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8"/>
  </p:notesMasterIdLst>
  <p:sldIdLst>
    <p:sldId id="2147472401" r:id="rId5"/>
    <p:sldId id="2147472402" r:id="rId6"/>
    <p:sldId id="2147472403" r:id="rId7"/>
    <p:sldId id="2147472404" r:id="rId8"/>
    <p:sldId id="2147472405" r:id="rId9"/>
    <p:sldId id="2147472406" r:id="rId10"/>
    <p:sldId id="2147472407" r:id="rId11"/>
    <p:sldId id="2147472408" r:id="rId12"/>
    <p:sldId id="2147472409" r:id="rId13"/>
    <p:sldId id="2147472410" r:id="rId14"/>
    <p:sldId id="2147472411" r:id="rId15"/>
    <p:sldId id="2147472412" r:id="rId16"/>
    <p:sldId id="2147472413" r:id="rId17"/>
    <p:sldId id="2147472414" r:id="rId18"/>
    <p:sldId id="2147472415" r:id="rId19"/>
    <p:sldId id="2147472416" r:id="rId20"/>
    <p:sldId id="2147472417" r:id="rId21"/>
    <p:sldId id="2147472418" r:id="rId22"/>
    <p:sldId id="2147472419" r:id="rId23"/>
    <p:sldId id="2147472420" r:id="rId24"/>
    <p:sldId id="311" r:id="rId25"/>
    <p:sldId id="2147472369" r:id="rId26"/>
    <p:sldId id="2147472367"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FBFFAF-ECBA-4260-8D92-C3253F88C2A5}" v="30" dt="2023-02-03T22:54:08.56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76" d="100"/>
          <a:sy n="76" d="100"/>
        </p:scale>
        <p:origin x="188" y="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viewProps" Target="viewProp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ana Grandmont" userId="92cb83fc-1a38-47eb-9a77-9fbcaf22d7bc" providerId="ADAL" clId="{6EFBFFAF-ECBA-4260-8D92-C3253F88C2A5}"/>
    <pc:docChg chg="custSel delSld modSld modMainMaster">
      <pc:chgData name="Mariana Grandmont" userId="92cb83fc-1a38-47eb-9a77-9fbcaf22d7bc" providerId="ADAL" clId="{6EFBFFAF-ECBA-4260-8D92-C3253F88C2A5}" dt="2023-02-03T22:54:38.526" v="83" actId="2"/>
      <pc:docMkLst>
        <pc:docMk/>
      </pc:docMkLst>
      <pc:sldChg chg="modSp del">
        <pc:chgData name="Mariana Grandmont" userId="92cb83fc-1a38-47eb-9a77-9fbcaf22d7bc" providerId="ADAL" clId="{6EFBFFAF-ECBA-4260-8D92-C3253F88C2A5}" dt="2023-02-03T22:48:57.234" v="21" actId="47"/>
        <pc:sldMkLst>
          <pc:docMk/>
          <pc:sldMk cId="1784942985" sldId="256"/>
        </pc:sldMkLst>
        <pc:spChg chg="mod">
          <ac:chgData name="Mariana Grandmont" userId="92cb83fc-1a38-47eb-9a77-9fbcaf22d7bc" providerId="ADAL" clId="{6EFBFFAF-ECBA-4260-8D92-C3253F88C2A5}" dt="2023-02-03T22:48:17.835" v="17"/>
          <ac:spMkLst>
            <pc:docMk/>
            <pc:sldMk cId="1784942985" sldId="256"/>
            <ac:spMk id="2" creationId="{7E3FFD58-B82F-4D5E-A738-6E3806383955}"/>
          </ac:spMkLst>
        </pc:spChg>
        <pc:spChg chg="mod">
          <ac:chgData name="Mariana Grandmont" userId="92cb83fc-1a38-47eb-9a77-9fbcaf22d7bc" providerId="ADAL" clId="{6EFBFFAF-ECBA-4260-8D92-C3253F88C2A5}" dt="2023-02-03T22:48:17.835" v="17"/>
          <ac:spMkLst>
            <pc:docMk/>
            <pc:sldMk cId="1784942985" sldId="256"/>
            <ac:spMk id="3" creationId="{768BD8C1-9B00-428D-8F15-B3B762C801B2}"/>
          </ac:spMkLst>
        </pc:spChg>
      </pc:sldChg>
      <pc:sldChg chg="modSp mod">
        <pc:chgData name="Mariana Grandmont" userId="92cb83fc-1a38-47eb-9a77-9fbcaf22d7bc" providerId="ADAL" clId="{6EFBFFAF-ECBA-4260-8D92-C3253F88C2A5}" dt="2023-02-03T22:54:38.526" v="83" actId="2"/>
        <pc:sldMkLst>
          <pc:docMk/>
          <pc:sldMk cId="2150832209" sldId="311"/>
        </pc:sldMkLst>
        <pc:spChg chg="mod">
          <ac:chgData name="Mariana Grandmont" userId="92cb83fc-1a38-47eb-9a77-9fbcaf22d7bc" providerId="ADAL" clId="{6EFBFFAF-ECBA-4260-8D92-C3253F88C2A5}" dt="2023-02-03T22:54:38.526" v="83" actId="2"/>
          <ac:spMkLst>
            <pc:docMk/>
            <pc:sldMk cId="2150832209" sldId="311"/>
            <ac:spMk id="6" creationId="{1A1FB5AF-72FE-44E8-ABD8-438921E116C0}"/>
          </ac:spMkLst>
        </pc:spChg>
      </pc:sldChg>
      <pc:sldChg chg="addSp modSp mod">
        <pc:chgData name="Mariana Grandmont" userId="92cb83fc-1a38-47eb-9a77-9fbcaf22d7bc" providerId="ADAL" clId="{6EFBFFAF-ECBA-4260-8D92-C3253F88C2A5}" dt="2023-02-03T22:49:53.293" v="34" actId="14100"/>
        <pc:sldMkLst>
          <pc:docMk/>
          <pc:sldMk cId="0" sldId="2147472401"/>
        </pc:sldMkLst>
        <pc:spChg chg="mod">
          <ac:chgData name="Mariana Grandmont" userId="92cb83fc-1a38-47eb-9a77-9fbcaf22d7bc" providerId="ADAL" clId="{6EFBFFAF-ECBA-4260-8D92-C3253F88C2A5}" dt="2023-02-03T22:47:30.590" v="8" actId="313"/>
          <ac:spMkLst>
            <pc:docMk/>
            <pc:sldMk cId="0" sldId="2147472401"/>
            <ac:spMk id="5" creationId="{D47E20EF-FEE1-4F1A-A876-3EA4879A9C9E}"/>
          </ac:spMkLst>
        </pc:spChg>
        <pc:spChg chg="mod">
          <ac:chgData name="Mariana Grandmont" userId="92cb83fc-1a38-47eb-9a77-9fbcaf22d7bc" providerId="ADAL" clId="{6EFBFFAF-ECBA-4260-8D92-C3253F88C2A5}" dt="2023-02-03T22:49:38.382" v="31" actId="1076"/>
          <ac:spMkLst>
            <pc:docMk/>
            <pc:sldMk cId="0" sldId="2147472401"/>
            <ac:spMk id="12" creationId="{364C8CA5-1425-48B8-B1AB-0DA9147E116C}"/>
          </ac:spMkLst>
        </pc:spChg>
        <pc:spChg chg="mod">
          <ac:chgData name="Mariana Grandmont" userId="92cb83fc-1a38-47eb-9a77-9fbcaf22d7bc" providerId="ADAL" clId="{6EFBFFAF-ECBA-4260-8D92-C3253F88C2A5}" dt="2023-02-03T22:49:38.382" v="31" actId="1076"/>
          <ac:spMkLst>
            <pc:docMk/>
            <pc:sldMk cId="0" sldId="2147472401"/>
            <ac:spMk id="13" creationId="{F193D5DA-49C5-4ADB-BA19-F2C66DE317AC}"/>
          </ac:spMkLst>
        </pc:spChg>
        <pc:spChg chg="mod">
          <ac:chgData name="Mariana Grandmont" userId="92cb83fc-1a38-47eb-9a77-9fbcaf22d7bc" providerId="ADAL" clId="{6EFBFFAF-ECBA-4260-8D92-C3253F88C2A5}" dt="2023-02-03T22:49:38.382" v="31" actId="1076"/>
          <ac:spMkLst>
            <pc:docMk/>
            <pc:sldMk cId="0" sldId="2147472401"/>
            <ac:spMk id="14" creationId="{D6F49EE6-1E6E-4861-859B-442AF50CA8DD}"/>
          </ac:spMkLst>
        </pc:spChg>
        <pc:grpChg chg="mod">
          <ac:chgData name="Mariana Grandmont" userId="92cb83fc-1a38-47eb-9a77-9fbcaf22d7bc" providerId="ADAL" clId="{6EFBFFAF-ECBA-4260-8D92-C3253F88C2A5}" dt="2023-02-03T22:49:38.382" v="31" actId="1076"/>
          <ac:grpSpMkLst>
            <pc:docMk/>
            <pc:sldMk cId="0" sldId="2147472401"/>
            <ac:grpSpMk id="11" creationId="{9AB9D7F2-F96E-49D3-862D-4D2359150DD5}"/>
          </ac:grpSpMkLst>
        </pc:grpChg>
        <pc:picChg chg="add mod">
          <ac:chgData name="Mariana Grandmont" userId="92cb83fc-1a38-47eb-9a77-9fbcaf22d7bc" providerId="ADAL" clId="{6EFBFFAF-ECBA-4260-8D92-C3253F88C2A5}" dt="2023-02-03T22:49:53.293" v="34" actId="14100"/>
          <ac:picMkLst>
            <pc:docMk/>
            <pc:sldMk cId="0" sldId="2147472401"/>
            <ac:picMk id="15" creationId="{8E17957E-C299-4726-A871-6317AD087097}"/>
          </ac:picMkLst>
        </pc:picChg>
        <pc:cxnChg chg="add mod">
          <ac:chgData name="Mariana Grandmont" userId="92cb83fc-1a38-47eb-9a77-9fbcaf22d7bc" providerId="ADAL" clId="{6EFBFFAF-ECBA-4260-8D92-C3253F88C2A5}" dt="2023-02-03T22:49:38.382" v="31" actId="1076"/>
          <ac:cxnSpMkLst>
            <pc:docMk/>
            <pc:sldMk cId="0" sldId="2147472401"/>
            <ac:cxnSpMk id="16" creationId="{E1EA2C34-C033-4D55-B719-95E354815BB3}"/>
          </ac:cxnSpMkLst>
        </pc:cxnChg>
      </pc:sldChg>
      <pc:sldChg chg="addSp delSp modSp mod">
        <pc:chgData name="Mariana Grandmont" userId="92cb83fc-1a38-47eb-9a77-9fbcaf22d7bc" providerId="ADAL" clId="{6EFBFFAF-ECBA-4260-8D92-C3253F88C2A5}" dt="2023-02-03T22:52:25.138" v="45"/>
        <pc:sldMkLst>
          <pc:docMk/>
          <pc:sldMk cId="3318029622" sldId="2147472402"/>
        </pc:sldMkLst>
        <pc:spChg chg="add mod">
          <ac:chgData name="Mariana Grandmont" userId="92cb83fc-1a38-47eb-9a77-9fbcaf22d7bc" providerId="ADAL" clId="{6EFBFFAF-ECBA-4260-8D92-C3253F88C2A5}" dt="2023-02-03T22:52:25.138" v="45"/>
          <ac:spMkLst>
            <pc:docMk/>
            <pc:sldMk cId="3318029622" sldId="2147472402"/>
            <ac:spMk id="40" creationId="{121D35FC-F19B-4480-ACE8-8DCDA7F2782E}"/>
          </ac:spMkLst>
        </pc:spChg>
        <pc:spChg chg="del">
          <ac:chgData name="Mariana Grandmont" userId="92cb83fc-1a38-47eb-9a77-9fbcaf22d7bc" providerId="ADAL" clId="{6EFBFFAF-ECBA-4260-8D92-C3253F88C2A5}" dt="2023-02-03T22:52:24.519" v="44" actId="478"/>
          <ac:spMkLst>
            <pc:docMk/>
            <pc:sldMk cId="3318029622" sldId="2147472402"/>
            <ac:spMk id="56" creationId="{7C7DD84F-6031-4712-A0F3-F22BCF712E7C}"/>
          </ac:spMkLst>
        </pc:spChg>
      </pc:sldChg>
      <pc:sldChg chg="addSp delSp modSp mod">
        <pc:chgData name="Mariana Grandmont" userId="92cb83fc-1a38-47eb-9a77-9fbcaf22d7bc" providerId="ADAL" clId="{6EFBFFAF-ECBA-4260-8D92-C3253F88C2A5}" dt="2023-02-03T22:52:33.666" v="48" actId="478"/>
        <pc:sldMkLst>
          <pc:docMk/>
          <pc:sldMk cId="858146468" sldId="2147472403"/>
        </pc:sldMkLst>
        <pc:spChg chg="del">
          <ac:chgData name="Mariana Grandmont" userId="92cb83fc-1a38-47eb-9a77-9fbcaf22d7bc" providerId="ADAL" clId="{6EFBFFAF-ECBA-4260-8D92-C3253F88C2A5}" dt="2023-02-03T22:52:33.666" v="48" actId="478"/>
          <ac:spMkLst>
            <pc:docMk/>
            <pc:sldMk cId="858146468" sldId="2147472403"/>
            <ac:spMk id="3" creationId="{46D80439-E41C-4734-B02E-83753FA2C3CD}"/>
          </ac:spMkLst>
        </pc:spChg>
        <pc:spChg chg="add del mod">
          <ac:chgData name="Mariana Grandmont" userId="92cb83fc-1a38-47eb-9a77-9fbcaf22d7bc" providerId="ADAL" clId="{6EFBFFAF-ECBA-4260-8D92-C3253F88C2A5}" dt="2023-02-03T22:52:30.016" v="46" actId="478"/>
          <ac:spMkLst>
            <pc:docMk/>
            <pc:sldMk cId="858146468" sldId="2147472403"/>
            <ac:spMk id="10" creationId="{57E7DD1C-71D8-4DE0-9EAD-286993F2E76A}"/>
          </ac:spMkLst>
        </pc:spChg>
        <pc:spChg chg="add mod">
          <ac:chgData name="Mariana Grandmont" userId="92cb83fc-1a38-47eb-9a77-9fbcaf22d7bc" providerId="ADAL" clId="{6EFBFFAF-ECBA-4260-8D92-C3253F88C2A5}" dt="2023-02-03T22:52:30.500" v="47"/>
          <ac:spMkLst>
            <pc:docMk/>
            <pc:sldMk cId="858146468" sldId="2147472403"/>
            <ac:spMk id="11" creationId="{ADE1F285-99A2-48D5-91DA-4E8998B538EA}"/>
          </ac:spMkLst>
        </pc:spChg>
      </pc:sldChg>
      <pc:sldChg chg="addSp delSp modSp mod">
        <pc:chgData name="Mariana Grandmont" userId="92cb83fc-1a38-47eb-9a77-9fbcaf22d7bc" providerId="ADAL" clId="{6EFBFFAF-ECBA-4260-8D92-C3253F88C2A5}" dt="2023-02-03T22:54:33.143" v="82" actId="2"/>
        <pc:sldMkLst>
          <pc:docMk/>
          <pc:sldMk cId="2951795432" sldId="2147472404"/>
        </pc:sldMkLst>
        <pc:spChg chg="del">
          <ac:chgData name="Mariana Grandmont" userId="92cb83fc-1a38-47eb-9a77-9fbcaf22d7bc" providerId="ADAL" clId="{6EFBFFAF-ECBA-4260-8D92-C3253F88C2A5}" dt="2023-02-03T22:52:37.296" v="49" actId="478"/>
          <ac:spMkLst>
            <pc:docMk/>
            <pc:sldMk cId="2951795432" sldId="2147472404"/>
            <ac:spMk id="5" creationId="{1DAA5593-3FDF-4827-AEE7-1A465E994FF2}"/>
          </ac:spMkLst>
        </pc:spChg>
        <pc:spChg chg="mod">
          <ac:chgData name="Mariana Grandmont" userId="92cb83fc-1a38-47eb-9a77-9fbcaf22d7bc" providerId="ADAL" clId="{6EFBFFAF-ECBA-4260-8D92-C3253F88C2A5}" dt="2023-02-03T22:54:33.143" v="82" actId="2"/>
          <ac:spMkLst>
            <pc:docMk/>
            <pc:sldMk cId="2951795432" sldId="2147472404"/>
            <ac:spMk id="33" creationId="{A55B4A99-CAAE-4538-A259-3075C8E99F68}"/>
          </ac:spMkLst>
        </pc:spChg>
        <pc:spChg chg="add mod">
          <ac:chgData name="Mariana Grandmont" userId="92cb83fc-1a38-47eb-9a77-9fbcaf22d7bc" providerId="ADAL" clId="{6EFBFFAF-ECBA-4260-8D92-C3253F88C2A5}" dt="2023-02-03T22:52:37.864" v="50"/>
          <ac:spMkLst>
            <pc:docMk/>
            <pc:sldMk cId="2951795432" sldId="2147472404"/>
            <ac:spMk id="35" creationId="{0855EF25-C7B1-4D44-9307-5994133FD3D3}"/>
          </ac:spMkLst>
        </pc:spChg>
      </pc:sldChg>
      <pc:sldChg chg="addSp delSp modSp mod">
        <pc:chgData name="Mariana Grandmont" userId="92cb83fc-1a38-47eb-9a77-9fbcaf22d7bc" providerId="ADAL" clId="{6EFBFFAF-ECBA-4260-8D92-C3253F88C2A5}" dt="2023-02-03T22:52:43.234" v="52"/>
        <pc:sldMkLst>
          <pc:docMk/>
          <pc:sldMk cId="4253770076" sldId="2147472405"/>
        </pc:sldMkLst>
        <pc:spChg chg="add mod">
          <ac:chgData name="Mariana Grandmont" userId="92cb83fc-1a38-47eb-9a77-9fbcaf22d7bc" providerId="ADAL" clId="{6EFBFFAF-ECBA-4260-8D92-C3253F88C2A5}" dt="2023-02-03T22:52:43.234" v="52"/>
          <ac:spMkLst>
            <pc:docMk/>
            <pc:sldMk cId="4253770076" sldId="2147472405"/>
            <ac:spMk id="411" creationId="{FE27CEE1-8A18-4E41-A90B-06A3EC91EE3F}"/>
          </ac:spMkLst>
        </pc:spChg>
        <pc:spChg chg="del">
          <ac:chgData name="Mariana Grandmont" userId="92cb83fc-1a38-47eb-9a77-9fbcaf22d7bc" providerId="ADAL" clId="{6EFBFFAF-ECBA-4260-8D92-C3253F88C2A5}" dt="2023-02-03T22:52:42.775" v="51" actId="478"/>
          <ac:spMkLst>
            <pc:docMk/>
            <pc:sldMk cId="4253770076" sldId="2147472405"/>
            <ac:spMk id="426" creationId="{38C0DFB7-3272-426F-9BCB-85F8C2A24A4F}"/>
          </ac:spMkLst>
        </pc:spChg>
      </pc:sldChg>
      <pc:sldChg chg="addSp delSp modSp mod">
        <pc:chgData name="Mariana Grandmont" userId="92cb83fc-1a38-47eb-9a77-9fbcaf22d7bc" providerId="ADAL" clId="{6EFBFFAF-ECBA-4260-8D92-C3253F88C2A5}" dt="2023-02-03T22:52:48.502" v="54"/>
        <pc:sldMkLst>
          <pc:docMk/>
          <pc:sldMk cId="2602863757" sldId="2147472406"/>
        </pc:sldMkLst>
        <pc:spChg chg="add mod">
          <ac:chgData name="Mariana Grandmont" userId="92cb83fc-1a38-47eb-9a77-9fbcaf22d7bc" providerId="ADAL" clId="{6EFBFFAF-ECBA-4260-8D92-C3253F88C2A5}" dt="2023-02-03T22:52:48.502" v="54"/>
          <ac:spMkLst>
            <pc:docMk/>
            <pc:sldMk cId="2602863757" sldId="2147472406"/>
            <ac:spMk id="448" creationId="{62ABD1F3-8397-412D-9F17-2CF4FEAD5B5A}"/>
          </ac:spMkLst>
        </pc:spChg>
        <pc:spChg chg="del">
          <ac:chgData name="Mariana Grandmont" userId="92cb83fc-1a38-47eb-9a77-9fbcaf22d7bc" providerId="ADAL" clId="{6EFBFFAF-ECBA-4260-8D92-C3253F88C2A5}" dt="2023-02-03T22:52:48.014" v="53" actId="478"/>
          <ac:spMkLst>
            <pc:docMk/>
            <pc:sldMk cId="2602863757" sldId="2147472406"/>
            <ac:spMk id="552" creationId="{0F16236E-9E1F-4293-8593-9C9A20D583FC}"/>
          </ac:spMkLst>
        </pc:spChg>
      </pc:sldChg>
      <pc:sldChg chg="addSp delSp modSp mod">
        <pc:chgData name="Mariana Grandmont" userId="92cb83fc-1a38-47eb-9a77-9fbcaf22d7bc" providerId="ADAL" clId="{6EFBFFAF-ECBA-4260-8D92-C3253F88C2A5}" dt="2023-02-03T22:52:54.334" v="56"/>
        <pc:sldMkLst>
          <pc:docMk/>
          <pc:sldMk cId="2696483173" sldId="2147472407"/>
        </pc:sldMkLst>
        <pc:spChg chg="add mod">
          <ac:chgData name="Mariana Grandmont" userId="92cb83fc-1a38-47eb-9a77-9fbcaf22d7bc" providerId="ADAL" clId="{6EFBFFAF-ECBA-4260-8D92-C3253F88C2A5}" dt="2023-02-03T22:52:54.334" v="56"/>
          <ac:spMkLst>
            <pc:docMk/>
            <pc:sldMk cId="2696483173" sldId="2147472407"/>
            <ac:spMk id="402" creationId="{7FB24092-0B19-4A96-B8DE-10456A18762F}"/>
          </ac:spMkLst>
        </pc:spChg>
        <pc:spChg chg="del">
          <ac:chgData name="Mariana Grandmont" userId="92cb83fc-1a38-47eb-9a77-9fbcaf22d7bc" providerId="ADAL" clId="{6EFBFFAF-ECBA-4260-8D92-C3253F88C2A5}" dt="2023-02-03T22:52:53.652" v="55" actId="478"/>
          <ac:spMkLst>
            <pc:docMk/>
            <pc:sldMk cId="2696483173" sldId="2147472407"/>
            <ac:spMk id="457" creationId="{A2BF5D78-8BD8-4A57-9288-8A55CD4BCD5E}"/>
          </ac:spMkLst>
        </pc:spChg>
      </pc:sldChg>
      <pc:sldChg chg="addSp delSp modSp mod">
        <pc:chgData name="Mariana Grandmont" userId="92cb83fc-1a38-47eb-9a77-9fbcaf22d7bc" providerId="ADAL" clId="{6EFBFFAF-ECBA-4260-8D92-C3253F88C2A5}" dt="2023-02-03T22:52:59.843" v="58"/>
        <pc:sldMkLst>
          <pc:docMk/>
          <pc:sldMk cId="437207848" sldId="2147472408"/>
        </pc:sldMkLst>
        <pc:spChg chg="add mod">
          <ac:chgData name="Mariana Grandmont" userId="92cb83fc-1a38-47eb-9a77-9fbcaf22d7bc" providerId="ADAL" clId="{6EFBFFAF-ECBA-4260-8D92-C3253F88C2A5}" dt="2023-02-03T22:52:59.843" v="58"/>
          <ac:spMkLst>
            <pc:docMk/>
            <pc:sldMk cId="437207848" sldId="2147472408"/>
            <ac:spMk id="47" creationId="{78F5830A-2164-4C00-8B5E-CFBFB10931EF}"/>
          </ac:spMkLst>
        </pc:spChg>
        <pc:spChg chg="del">
          <ac:chgData name="Mariana Grandmont" userId="92cb83fc-1a38-47eb-9a77-9fbcaf22d7bc" providerId="ADAL" clId="{6EFBFFAF-ECBA-4260-8D92-C3253F88C2A5}" dt="2023-02-03T22:52:59.350" v="57" actId="478"/>
          <ac:spMkLst>
            <pc:docMk/>
            <pc:sldMk cId="437207848" sldId="2147472408"/>
            <ac:spMk id="49" creationId="{7912D72D-8A35-4B8E-9909-70FD50941265}"/>
          </ac:spMkLst>
        </pc:spChg>
      </pc:sldChg>
      <pc:sldChg chg="addSp delSp modSp mod">
        <pc:chgData name="Mariana Grandmont" userId="92cb83fc-1a38-47eb-9a77-9fbcaf22d7bc" providerId="ADAL" clId="{6EFBFFAF-ECBA-4260-8D92-C3253F88C2A5}" dt="2023-02-03T22:53:09.842" v="61" actId="478"/>
        <pc:sldMkLst>
          <pc:docMk/>
          <pc:sldMk cId="126801439" sldId="2147472409"/>
        </pc:sldMkLst>
        <pc:spChg chg="del">
          <ac:chgData name="Mariana Grandmont" userId="92cb83fc-1a38-47eb-9a77-9fbcaf22d7bc" providerId="ADAL" clId="{6EFBFFAF-ECBA-4260-8D92-C3253F88C2A5}" dt="2023-02-03T22:53:09.842" v="61" actId="478"/>
          <ac:spMkLst>
            <pc:docMk/>
            <pc:sldMk cId="126801439" sldId="2147472409"/>
            <ac:spMk id="2" creationId="{3BC68BEF-CBB2-4097-B017-4D6C46F08CCF}"/>
          </ac:spMkLst>
        </pc:spChg>
        <pc:spChg chg="add mod">
          <ac:chgData name="Mariana Grandmont" userId="92cb83fc-1a38-47eb-9a77-9fbcaf22d7bc" providerId="ADAL" clId="{6EFBFFAF-ECBA-4260-8D92-C3253F88C2A5}" dt="2023-02-03T22:53:05.370" v="60"/>
          <ac:spMkLst>
            <pc:docMk/>
            <pc:sldMk cId="126801439" sldId="2147472409"/>
            <ac:spMk id="42" creationId="{87F1E476-9D3E-46B6-A546-2458B7E4982A}"/>
          </ac:spMkLst>
        </pc:spChg>
        <pc:spChg chg="del">
          <ac:chgData name="Mariana Grandmont" userId="92cb83fc-1a38-47eb-9a77-9fbcaf22d7bc" providerId="ADAL" clId="{6EFBFFAF-ECBA-4260-8D92-C3253F88C2A5}" dt="2023-02-03T22:53:04.817" v="59" actId="478"/>
          <ac:spMkLst>
            <pc:docMk/>
            <pc:sldMk cId="126801439" sldId="2147472409"/>
            <ac:spMk id="70" creationId="{9512527B-3410-4FFD-B2E9-BCE63085C40F}"/>
          </ac:spMkLst>
        </pc:spChg>
      </pc:sldChg>
      <pc:sldChg chg="addSp delSp modSp mod">
        <pc:chgData name="Mariana Grandmont" userId="92cb83fc-1a38-47eb-9a77-9fbcaf22d7bc" providerId="ADAL" clId="{6EFBFFAF-ECBA-4260-8D92-C3253F88C2A5}" dt="2023-02-03T22:53:14.417" v="63"/>
        <pc:sldMkLst>
          <pc:docMk/>
          <pc:sldMk cId="3329576885" sldId="2147472410"/>
        </pc:sldMkLst>
        <pc:spChg chg="add mod">
          <ac:chgData name="Mariana Grandmont" userId="92cb83fc-1a38-47eb-9a77-9fbcaf22d7bc" providerId="ADAL" clId="{6EFBFFAF-ECBA-4260-8D92-C3253F88C2A5}" dt="2023-02-03T22:53:14.417" v="63"/>
          <ac:spMkLst>
            <pc:docMk/>
            <pc:sldMk cId="3329576885" sldId="2147472410"/>
            <ac:spMk id="38" creationId="{2607B775-46AA-422C-9576-54E34E774DD8}"/>
          </ac:spMkLst>
        </pc:spChg>
        <pc:spChg chg="del">
          <ac:chgData name="Mariana Grandmont" userId="92cb83fc-1a38-47eb-9a77-9fbcaf22d7bc" providerId="ADAL" clId="{6EFBFFAF-ECBA-4260-8D92-C3253F88C2A5}" dt="2023-02-03T22:53:13.897" v="62" actId="478"/>
          <ac:spMkLst>
            <pc:docMk/>
            <pc:sldMk cId="3329576885" sldId="2147472410"/>
            <ac:spMk id="83" creationId="{2838BECA-B421-43BE-89A1-C1C534E45EC8}"/>
          </ac:spMkLst>
        </pc:spChg>
      </pc:sldChg>
      <pc:sldChg chg="addSp delSp modSp mod">
        <pc:chgData name="Mariana Grandmont" userId="92cb83fc-1a38-47eb-9a77-9fbcaf22d7bc" providerId="ADAL" clId="{6EFBFFAF-ECBA-4260-8D92-C3253F88C2A5}" dt="2023-02-03T22:53:19.459" v="65"/>
        <pc:sldMkLst>
          <pc:docMk/>
          <pc:sldMk cId="2955954830" sldId="2147472411"/>
        </pc:sldMkLst>
        <pc:spChg chg="add mod">
          <ac:chgData name="Mariana Grandmont" userId="92cb83fc-1a38-47eb-9a77-9fbcaf22d7bc" providerId="ADAL" clId="{6EFBFFAF-ECBA-4260-8D92-C3253F88C2A5}" dt="2023-02-03T22:53:19.459" v="65"/>
          <ac:spMkLst>
            <pc:docMk/>
            <pc:sldMk cId="2955954830" sldId="2147472411"/>
            <ac:spMk id="42" creationId="{A4E31264-6A82-4CDB-B5B9-DCB5F145408D}"/>
          </ac:spMkLst>
        </pc:spChg>
        <pc:spChg chg="del">
          <ac:chgData name="Mariana Grandmont" userId="92cb83fc-1a38-47eb-9a77-9fbcaf22d7bc" providerId="ADAL" clId="{6EFBFFAF-ECBA-4260-8D92-C3253F88C2A5}" dt="2023-02-03T22:53:18.984" v="64" actId="478"/>
          <ac:spMkLst>
            <pc:docMk/>
            <pc:sldMk cId="2955954830" sldId="2147472411"/>
            <ac:spMk id="88" creationId="{18477AA0-E7F7-4278-8C90-26F6B8D84A95}"/>
          </ac:spMkLst>
        </pc:spChg>
      </pc:sldChg>
      <pc:sldChg chg="addSp delSp modSp mod">
        <pc:chgData name="Mariana Grandmont" userId="92cb83fc-1a38-47eb-9a77-9fbcaf22d7bc" providerId="ADAL" clId="{6EFBFFAF-ECBA-4260-8D92-C3253F88C2A5}" dt="2023-02-03T22:53:23.988" v="67"/>
        <pc:sldMkLst>
          <pc:docMk/>
          <pc:sldMk cId="1754211358" sldId="2147472412"/>
        </pc:sldMkLst>
        <pc:spChg chg="add mod">
          <ac:chgData name="Mariana Grandmont" userId="92cb83fc-1a38-47eb-9a77-9fbcaf22d7bc" providerId="ADAL" clId="{6EFBFFAF-ECBA-4260-8D92-C3253F88C2A5}" dt="2023-02-03T22:53:23.988" v="67"/>
          <ac:spMkLst>
            <pc:docMk/>
            <pc:sldMk cId="1754211358" sldId="2147472412"/>
            <ac:spMk id="48" creationId="{3A3A95F2-BB2E-40BD-9657-60AB47B4751D}"/>
          </ac:spMkLst>
        </pc:spChg>
        <pc:spChg chg="del">
          <ac:chgData name="Mariana Grandmont" userId="92cb83fc-1a38-47eb-9a77-9fbcaf22d7bc" providerId="ADAL" clId="{6EFBFFAF-ECBA-4260-8D92-C3253F88C2A5}" dt="2023-02-03T22:53:23.523" v="66" actId="478"/>
          <ac:spMkLst>
            <pc:docMk/>
            <pc:sldMk cId="1754211358" sldId="2147472412"/>
            <ac:spMk id="88" creationId="{6C4564AC-622C-4D4A-86C5-22FB6529F160}"/>
          </ac:spMkLst>
        </pc:spChg>
      </pc:sldChg>
      <pc:sldChg chg="addSp delSp modSp mod">
        <pc:chgData name="Mariana Grandmont" userId="92cb83fc-1a38-47eb-9a77-9fbcaf22d7bc" providerId="ADAL" clId="{6EFBFFAF-ECBA-4260-8D92-C3253F88C2A5}" dt="2023-02-03T22:53:32.309" v="69"/>
        <pc:sldMkLst>
          <pc:docMk/>
          <pc:sldMk cId="3392880494" sldId="2147472414"/>
        </pc:sldMkLst>
        <pc:spChg chg="add mod">
          <ac:chgData name="Mariana Grandmont" userId="92cb83fc-1a38-47eb-9a77-9fbcaf22d7bc" providerId="ADAL" clId="{6EFBFFAF-ECBA-4260-8D92-C3253F88C2A5}" dt="2023-02-03T22:53:32.309" v="69"/>
          <ac:spMkLst>
            <pc:docMk/>
            <pc:sldMk cId="3392880494" sldId="2147472414"/>
            <ac:spMk id="60" creationId="{CBE681D2-C37C-4452-B413-DD4C5C857979}"/>
          </ac:spMkLst>
        </pc:spChg>
        <pc:spChg chg="del">
          <ac:chgData name="Mariana Grandmont" userId="92cb83fc-1a38-47eb-9a77-9fbcaf22d7bc" providerId="ADAL" clId="{6EFBFFAF-ECBA-4260-8D92-C3253F88C2A5}" dt="2023-02-03T22:53:31.854" v="68" actId="478"/>
          <ac:spMkLst>
            <pc:docMk/>
            <pc:sldMk cId="3392880494" sldId="2147472414"/>
            <ac:spMk id="95" creationId="{AA28CE50-5E3C-4680-BC49-C326C3213F52}"/>
          </ac:spMkLst>
        </pc:spChg>
      </pc:sldChg>
      <pc:sldChg chg="addSp delSp modSp mod">
        <pc:chgData name="Mariana Grandmont" userId="92cb83fc-1a38-47eb-9a77-9fbcaf22d7bc" providerId="ADAL" clId="{6EFBFFAF-ECBA-4260-8D92-C3253F88C2A5}" dt="2023-02-03T22:53:37.428" v="71"/>
        <pc:sldMkLst>
          <pc:docMk/>
          <pc:sldMk cId="3536415126" sldId="2147472415"/>
        </pc:sldMkLst>
        <pc:spChg chg="del">
          <ac:chgData name="Mariana Grandmont" userId="92cb83fc-1a38-47eb-9a77-9fbcaf22d7bc" providerId="ADAL" clId="{6EFBFFAF-ECBA-4260-8D92-C3253F88C2A5}" dt="2023-02-03T22:53:36.916" v="70" actId="478"/>
          <ac:spMkLst>
            <pc:docMk/>
            <pc:sldMk cId="3536415126" sldId="2147472415"/>
            <ac:spMk id="11" creationId="{19B2D2C9-0567-4428-B9BC-DECC2D5FD8BC}"/>
          </ac:spMkLst>
        </pc:spChg>
        <pc:spChg chg="add mod">
          <ac:chgData name="Mariana Grandmont" userId="92cb83fc-1a38-47eb-9a77-9fbcaf22d7bc" providerId="ADAL" clId="{6EFBFFAF-ECBA-4260-8D92-C3253F88C2A5}" dt="2023-02-03T22:53:37.428" v="71"/>
          <ac:spMkLst>
            <pc:docMk/>
            <pc:sldMk cId="3536415126" sldId="2147472415"/>
            <ac:spMk id="33" creationId="{A04C0831-74AE-465D-9DBB-2D13E54CC164}"/>
          </ac:spMkLst>
        </pc:spChg>
      </pc:sldChg>
      <pc:sldChg chg="addSp delSp modSp mod">
        <pc:chgData name="Mariana Grandmont" userId="92cb83fc-1a38-47eb-9a77-9fbcaf22d7bc" providerId="ADAL" clId="{6EFBFFAF-ECBA-4260-8D92-C3253F88C2A5}" dt="2023-02-03T22:53:47.800" v="73"/>
        <pc:sldMkLst>
          <pc:docMk/>
          <pc:sldMk cId="2904556992" sldId="2147472416"/>
        </pc:sldMkLst>
        <pc:spChg chg="add mod">
          <ac:chgData name="Mariana Grandmont" userId="92cb83fc-1a38-47eb-9a77-9fbcaf22d7bc" providerId="ADAL" clId="{6EFBFFAF-ECBA-4260-8D92-C3253F88C2A5}" dt="2023-02-03T22:53:47.800" v="73"/>
          <ac:spMkLst>
            <pc:docMk/>
            <pc:sldMk cId="2904556992" sldId="2147472416"/>
            <ac:spMk id="9" creationId="{0D518B39-29AC-4412-B657-43224E46E9A3}"/>
          </ac:spMkLst>
        </pc:spChg>
        <pc:spChg chg="del">
          <ac:chgData name="Mariana Grandmont" userId="92cb83fc-1a38-47eb-9a77-9fbcaf22d7bc" providerId="ADAL" clId="{6EFBFFAF-ECBA-4260-8D92-C3253F88C2A5}" dt="2023-02-03T22:53:47.332" v="72" actId="478"/>
          <ac:spMkLst>
            <pc:docMk/>
            <pc:sldMk cId="2904556992" sldId="2147472416"/>
            <ac:spMk id="11" creationId="{19B2D2C9-0567-4428-B9BC-DECC2D5FD8BC}"/>
          </ac:spMkLst>
        </pc:spChg>
      </pc:sldChg>
      <pc:sldChg chg="addSp delSp modSp mod">
        <pc:chgData name="Mariana Grandmont" userId="92cb83fc-1a38-47eb-9a77-9fbcaf22d7bc" providerId="ADAL" clId="{6EFBFFAF-ECBA-4260-8D92-C3253F88C2A5}" dt="2023-02-03T22:53:52.921" v="75"/>
        <pc:sldMkLst>
          <pc:docMk/>
          <pc:sldMk cId="316445728" sldId="2147472417"/>
        </pc:sldMkLst>
        <pc:spChg chg="add mod">
          <ac:chgData name="Mariana Grandmont" userId="92cb83fc-1a38-47eb-9a77-9fbcaf22d7bc" providerId="ADAL" clId="{6EFBFFAF-ECBA-4260-8D92-C3253F88C2A5}" dt="2023-02-03T22:53:52.921" v="75"/>
          <ac:spMkLst>
            <pc:docMk/>
            <pc:sldMk cId="316445728" sldId="2147472417"/>
            <ac:spMk id="12" creationId="{704403D0-1253-4E39-9868-19FE5FA49A8A}"/>
          </ac:spMkLst>
        </pc:spChg>
        <pc:spChg chg="del">
          <ac:chgData name="Mariana Grandmont" userId="92cb83fc-1a38-47eb-9a77-9fbcaf22d7bc" providerId="ADAL" clId="{6EFBFFAF-ECBA-4260-8D92-C3253F88C2A5}" dt="2023-02-03T22:53:52.494" v="74" actId="478"/>
          <ac:spMkLst>
            <pc:docMk/>
            <pc:sldMk cId="316445728" sldId="2147472417"/>
            <ac:spMk id="13" creationId="{AB180ED2-1DF0-4E32-9A0B-BD90A80E8066}"/>
          </ac:spMkLst>
        </pc:spChg>
      </pc:sldChg>
      <pc:sldChg chg="addSp delSp modSp mod">
        <pc:chgData name="Mariana Grandmont" userId="92cb83fc-1a38-47eb-9a77-9fbcaf22d7bc" providerId="ADAL" clId="{6EFBFFAF-ECBA-4260-8D92-C3253F88C2A5}" dt="2023-02-03T22:53:57.483" v="77"/>
        <pc:sldMkLst>
          <pc:docMk/>
          <pc:sldMk cId="1303894077" sldId="2147472418"/>
        </pc:sldMkLst>
        <pc:spChg chg="add mod">
          <ac:chgData name="Mariana Grandmont" userId="92cb83fc-1a38-47eb-9a77-9fbcaf22d7bc" providerId="ADAL" clId="{6EFBFFAF-ECBA-4260-8D92-C3253F88C2A5}" dt="2023-02-03T22:53:57.483" v="77"/>
          <ac:spMkLst>
            <pc:docMk/>
            <pc:sldMk cId="1303894077" sldId="2147472418"/>
            <ac:spMk id="9" creationId="{F7E1669A-59EF-4050-BDAF-26D6916F8152}"/>
          </ac:spMkLst>
        </pc:spChg>
        <pc:spChg chg="del">
          <ac:chgData name="Mariana Grandmont" userId="92cb83fc-1a38-47eb-9a77-9fbcaf22d7bc" providerId="ADAL" clId="{6EFBFFAF-ECBA-4260-8D92-C3253F88C2A5}" dt="2023-02-03T22:53:57.047" v="76" actId="478"/>
          <ac:spMkLst>
            <pc:docMk/>
            <pc:sldMk cId="1303894077" sldId="2147472418"/>
            <ac:spMk id="11" creationId="{C7642866-E9AC-409D-BFE6-A4026B4ADBF6}"/>
          </ac:spMkLst>
        </pc:spChg>
      </pc:sldChg>
      <pc:sldChg chg="addSp delSp modSp mod">
        <pc:chgData name="Mariana Grandmont" userId="92cb83fc-1a38-47eb-9a77-9fbcaf22d7bc" providerId="ADAL" clId="{6EFBFFAF-ECBA-4260-8D92-C3253F88C2A5}" dt="2023-02-03T22:54:02.347" v="79"/>
        <pc:sldMkLst>
          <pc:docMk/>
          <pc:sldMk cId="2173282834" sldId="2147472419"/>
        </pc:sldMkLst>
        <pc:spChg chg="add mod">
          <ac:chgData name="Mariana Grandmont" userId="92cb83fc-1a38-47eb-9a77-9fbcaf22d7bc" providerId="ADAL" clId="{6EFBFFAF-ECBA-4260-8D92-C3253F88C2A5}" dt="2023-02-03T22:54:02.347" v="79"/>
          <ac:spMkLst>
            <pc:docMk/>
            <pc:sldMk cId="2173282834" sldId="2147472419"/>
            <ac:spMk id="4" creationId="{A71FB741-33AB-4273-AF05-E35BF21728A1}"/>
          </ac:spMkLst>
        </pc:spChg>
        <pc:spChg chg="del">
          <ac:chgData name="Mariana Grandmont" userId="92cb83fc-1a38-47eb-9a77-9fbcaf22d7bc" providerId="ADAL" clId="{6EFBFFAF-ECBA-4260-8D92-C3253F88C2A5}" dt="2023-02-03T22:54:01.909" v="78" actId="478"/>
          <ac:spMkLst>
            <pc:docMk/>
            <pc:sldMk cId="2173282834" sldId="2147472419"/>
            <ac:spMk id="7" creationId="{A999EC61-CE85-4565-8D21-BC0E75CAB528}"/>
          </ac:spMkLst>
        </pc:spChg>
      </pc:sldChg>
      <pc:sldChg chg="addSp delSp modSp mod">
        <pc:chgData name="Mariana Grandmont" userId="92cb83fc-1a38-47eb-9a77-9fbcaf22d7bc" providerId="ADAL" clId="{6EFBFFAF-ECBA-4260-8D92-C3253F88C2A5}" dt="2023-02-03T22:54:08.566" v="81"/>
        <pc:sldMkLst>
          <pc:docMk/>
          <pc:sldMk cId="3934162486" sldId="2147472420"/>
        </pc:sldMkLst>
        <pc:spChg chg="del">
          <ac:chgData name="Mariana Grandmont" userId="92cb83fc-1a38-47eb-9a77-9fbcaf22d7bc" providerId="ADAL" clId="{6EFBFFAF-ECBA-4260-8D92-C3253F88C2A5}" dt="2023-02-03T22:54:08.027" v="80" actId="478"/>
          <ac:spMkLst>
            <pc:docMk/>
            <pc:sldMk cId="3934162486" sldId="2147472420"/>
            <ac:spMk id="2" creationId="{5C46B26A-2D8C-4C43-BAEC-249C8F05A7C1}"/>
          </ac:spMkLst>
        </pc:spChg>
        <pc:spChg chg="add mod">
          <ac:chgData name="Mariana Grandmont" userId="92cb83fc-1a38-47eb-9a77-9fbcaf22d7bc" providerId="ADAL" clId="{6EFBFFAF-ECBA-4260-8D92-C3253F88C2A5}" dt="2023-02-03T22:54:08.566" v="81"/>
          <ac:spMkLst>
            <pc:docMk/>
            <pc:sldMk cId="3934162486" sldId="2147472420"/>
            <ac:spMk id="29" creationId="{9BC7CA4D-F7E0-43B4-9304-5FAF81EB738F}"/>
          </ac:spMkLst>
        </pc:spChg>
      </pc:sldChg>
      <pc:sldMasterChg chg="addSp delSp modSp mod delSldLayout modSldLayout">
        <pc:chgData name="Mariana Grandmont" userId="92cb83fc-1a38-47eb-9a77-9fbcaf22d7bc" providerId="ADAL" clId="{6EFBFFAF-ECBA-4260-8D92-C3253F88C2A5}" dt="2023-02-03T22:52:04.954" v="43" actId="207"/>
        <pc:sldMasterMkLst>
          <pc:docMk/>
          <pc:sldMasterMk cId="1073763874" sldId="2147483660"/>
        </pc:sldMasterMkLst>
        <pc:spChg chg="add mod">
          <ac:chgData name="Mariana Grandmont" userId="92cb83fc-1a38-47eb-9a77-9fbcaf22d7bc" providerId="ADAL" clId="{6EFBFFAF-ECBA-4260-8D92-C3253F88C2A5}" dt="2023-02-03T22:52:04.954" v="43" actId="207"/>
          <ac:spMkLst>
            <pc:docMk/>
            <pc:sldMasterMk cId="1073763874" sldId="2147483660"/>
            <ac:spMk id="15" creationId="{C9373D10-802A-41F1-85CA-EDC25E533B95}"/>
          </ac:spMkLst>
        </pc:spChg>
        <pc:spChg chg="del">
          <ac:chgData name="Mariana Grandmont" userId="92cb83fc-1a38-47eb-9a77-9fbcaf22d7bc" providerId="ADAL" clId="{6EFBFFAF-ECBA-4260-8D92-C3253F88C2A5}" dt="2023-02-03T22:48:25.284" v="18" actId="478"/>
          <ac:spMkLst>
            <pc:docMk/>
            <pc:sldMasterMk cId="1073763874" sldId="2147483660"/>
            <ac:spMk id="20" creationId="{AC28FA70-87E4-49F4-AFDE-345AA28E0BE7}"/>
          </ac:spMkLst>
        </pc:spChg>
        <pc:sldLayoutChg chg="modSp mod">
          <pc:chgData name="Mariana Grandmont" userId="92cb83fc-1a38-47eb-9a77-9fbcaf22d7bc" providerId="ADAL" clId="{6EFBFFAF-ECBA-4260-8D92-C3253F88C2A5}" dt="2023-02-03T22:47:59.272" v="16" actId="1076"/>
          <pc:sldLayoutMkLst>
            <pc:docMk/>
            <pc:sldMasterMk cId="1073763874" sldId="2147483660"/>
            <pc:sldLayoutMk cId="2791501764" sldId="2147483704"/>
          </pc:sldLayoutMkLst>
          <pc:spChg chg="mod">
            <ac:chgData name="Mariana Grandmont" userId="92cb83fc-1a38-47eb-9a77-9fbcaf22d7bc" providerId="ADAL" clId="{6EFBFFAF-ECBA-4260-8D92-C3253F88C2A5}" dt="2023-02-03T22:47:59.272" v="16" actId="1076"/>
            <ac:spMkLst>
              <pc:docMk/>
              <pc:sldMasterMk cId="1073763874" sldId="2147483660"/>
              <pc:sldLayoutMk cId="2791501764" sldId="2147483704"/>
              <ac:spMk id="3" creationId="{9DEF40EA-FE63-4D50-8C90-EC25A860C0C3}"/>
            </ac:spMkLst>
          </pc:spChg>
        </pc:sldLayoutChg>
        <pc:sldLayoutChg chg="del">
          <pc:chgData name="Mariana Grandmont" userId="92cb83fc-1a38-47eb-9a77-9fbcaf22d7bc" providerId="ADAL" clId="{6EFBFFAF-ECBA-4260-8D92-C3253F88C2A5}" dt="2023-02-03T22:48:57.234" v="21" actId="47"/>
          <pc:sldLayoutMkLst>
            <pc:docMk/>
            <pc:sldMasterMk cId="1073763874" sldId="2147483660"/>
            <pc:sldLayoutMk cId="2072385785" sldId="214748371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FCE9F5-4242-476D-982F-24A8A2B54F16}" type="datetimeFigureOut">
              <a:rPr lang="en-US" smtClean="0"/>
              <a:t>2/3/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3358327-8F2B-48A7-93A1-5F0ABADCDF58}" type="slidenum">
              <a:rPr lang="en-US" smtClean="0"/>
              <a:t>‹#›</a:t>
            </a:fld>
            <a:endParaRPr lang="en-US" dirty="0"/>
          </a:p>
        </p:txBody>
      </p:sp>
    </p:spTree>
    <p:extLst>
      <p:ext uri="{BB962C8B-B14F-4D97-AF65-F5344CB8AC3E}">
        <p14:creationId xmlns:p14="http://schemas.microsoft.com/office/powerpoint/2010/main" val="36590307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2C489-2AAD-4030-90EA-AF87870D2B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43314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2C489-2AAD-4030-90EA-AF87870D2B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61123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2C489-2AAD-4030-90EA-AF87870D2B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44426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2C489-2AAD-4030-90EA-AF87870D2B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4850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2C489-2AAD-4030-90EA-AF87870D2B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5741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2C489-2AAD-4030-90EA-AF87870D2B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10203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2C489-2AAD-4030-90EA-AF87870D2B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46474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spcBef>
                <a:spcPts val="0"/>
              </a:spcBef>
              <a:spcAft>
                <a:spcPts val="0"/>
              </a:spcAft>
              <a:buFont typeface="+mj-lt"/>
              <a:buNone/>
            </a:pPr>
            <a:endParaRPr lang="en-US" sz="1400" dirty="0">
              <a:solidFill>
                <a:schemeClr val="bg1"/>
              </a:solidFill>
              <a:effectLst/>
              <a:latin typeface="EYInterstate Light" panose="02000506000000020004" pitchFamily="2"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2C489-2AAD-4030-90EA-AF87870D2B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73860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2C489-2AAD-4030-90EA-AF87870D2B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0775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endParaRPr lang="en-US" sz="1800" b="0" i="0" dirty="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2C489-2AAD-4030-90EA-AF87870D2B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09180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2C489-2AAD-4030-90EA-AF87870D2B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30758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800" dirty="0">
                <a:effectLst/>
                <a:latin typeface="Calibri" panose="020F0502020204030204" pitchFamily="34" charset="0"/>
              </a:rPr>
              <a:t>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2C489-2AAD-4030-90EA-AF87870D2B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2221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2C489-2AAD-4030-90EA-AF87870D2B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12717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2C489-2AAD-4030-90EA-AF87870D2B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62461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2C489-2AAD-4030-90EA-AF87870D2B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97592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84614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2C489-2AAD-4030-90EA-AF87870D2B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73097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2C489-2AAD-4030-90EA-AF87870D2B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32569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2C489-2AAD-4030-90EA-AF87870D2B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89956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2C489-2AAD-4030-90EA-AF87870D2B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20640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59392" y="4960938"/>
            <a:ext cx="1224912"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60552201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080E3E-2219-4614-8126-08599BDA23B5}"/>
              </a:ext>
            </a:extLst>
          </p:cNvPr>
          <p:cNvSpPr/>
          <p:nvPr userDrawn="1"/>
        </p:nvSpPr>
        <p:spPr>
          <a:xfrm>
            <a:off x="0" y="1"/>
            <a:ext cx="12192000" cy="241388"/>
          </a:xfrm>
          <a:prstGeom prst="rect">
            <a:avLst/>
          </a:prstGeom>
          <a:gradFill flip="none" rotWithShape="1">
            <a:gsLst>
              <a:gs pos="0">
                <a:srgbClr val="4C4C5C">
                  <a:shade val="30000"/>
                  <a:satMod val="115000"/>
                </a:srgbClr>
              </a:gs>
              <a:gs pos="50000">
                <a:srgbClr val="4C4C5C">
                  <a:shade val="67500"/>
                  <a:satMod val="115000"/>
                </a:srgbClr>
              </a:gs>
              <a:gs pos="100000">
                <a:srgbClr val="4C4C5C">
                  <a:shade val="100000"/>
                  <a:satMod val="115000"/>
                </a:srgbClr>
              </a:gs>
            </a:gsLst>
            <a:path path="circle">
              <a:fillToRect r="100000" b="100000"/>
            </a:path>
            <a:tileRect l="-100000" t="-10000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BF2C04E3-9852-4EE1-995A-A982B306E72F}" type="datetime3">
              <a:rPr lang="en-US" smtClean="0"/>
              <a:t>3 February 2023</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a:xfrm>
            <a:off x="3237502" y="6471244"/>
            <a:ext cx="3084493" cy="180000"/>
          </a:xfrm>
          <a:prstGeom prst="rect">
            <a:avLst/>
          </a:prstGeom>
        </p:spPr>
        <p:txBody>
          <a:bodyPr/>
          <a:lstStyle/>
          <a:p>
            <a:r>
              <a:rPr lang="en-US" dirty="0"/>
              <a:t>Presentation title</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28" name="Rectangle 354">
            <a:hlinkClick r:id="" action="ppaction://noaction"/>
            <a:extLst>
              <a:ext uri="{FF2B5EF4-FFF2-40B4-BE49-F238E27FC236}">
                <a16:creationId xmlns:a16="http://schemas.microsoft.com/office/drawing/2014/main" id="{AF914DC3-A2C8-40D7-B540-616A5B8B0552}"/>
              </a:ext>
            </a:extLst>
          </p:cNvPr>
          <p:cNvSpPr/>
          <p:nvPr userDrawn="1"/>
        </p:nvSpPr>
        <p:spPr>
          <a:xfrm>
            <a:off x="5963706" y="68510"/>
            <a:ext cx="1258231" cy="164253"/>
          </a:xfrm>
          <a:prstGeom prst="rect">
            <a:avLst/>
          </a:prstGeom>
        </p:spPr>
        <p:txBody>
          <a:bodyPr wrap="square" lIns="0" tIns="0" rIns="0" bIns="0" anchor="ctr" anchorCtr="0">
            <a:noAutofit/>
          </a:bodyPr>
          <a:lstStyle/>
          <a:p>
            <a:pPr marL="0" algn="ctr">
              <a:lnSpc>
                <a:spcPct val="85000"/>
              </a:lnSpc>
            </a:pPr>
            <a:r>
              <a:rPr lang="en-US" sz="800" b="0" dirty="0">
                <a:solidFill>
                  <a:schemeClr val="tx2"/>
                </a:solidFill>
              </a:rPr>
              <a:t>Design objective</a:t>
            </a:r>
          </a:p>
        </p:txBody>
      </p:sp>
      <p:sp>
        <p:nvSpPr>
          <p:cNvPr id="29" name="Rectangle 354">
            <a:hlinkClick r:id="" action="ppaction://noaction"/>
            <a:extLst>
              <a:ext uri="{FF2B5EF4-FFF2-40B4-BE49-F238E27FC236}">
                <a16:creationId xmlns:a16="http://schemas.microsoft.com/office/drawing/2014/main" id="{B830B3D4-C53F-4078-B668-318DEFE5E468}"/>
              </a:ext>
            </a:extLst>
          </p:cNvPr>
          <p:cNvSpPr/>
          <p:nvPr userDrawn="1"/>
        </p:nvSpPr>
        <p:spPr>
          <a:xfrm>
            <a:off x="7228532" y="75660"/>
            <a:ext cx="1504979" cy="139850"/>
          </a:xfrm>
          <a:prstGeom prst="rect">
            <a:avLst/>
          </a:prstGeom>
        </p:spPr>
        <p:txBody>
          <a:bodyPr wrap="square" lIns="0" tIns="0" rIns="0" bIns="0" anchor="ctr" anchorCtr="0">
            <a:noAutofit/>
          </a:bodyPr>
          <a:lstStyle/>
          <a:p>
            <a:pPr marL="0" algn="ctr">
              <a:lnSpc>
                <a:spcPct val="85000"/>
              </a:lnSpc>
            </a:pPr>
            <a:r>
              <a:rPr lang="en-US" sz="800" b="0" dirty="0">
                <a:solidFill>
                  <a:schemeClr val="bg1"/>
                </a:solidFill>
              </a:rPr>
              <a:t>Value chain pathway</a:t>
            </a:r>
          </a:p>
        </p:txBody>
      </p:sp>
      <p:sp>
        <p:nvSpPr>
          <p:cNvPr id="30" name="Rectangle 354">
            <a:hlinkClick r:id="" action="ppaction://noaction"/>
            <a:extLst>
              <a:ext uri="{FF2B5EF4-FFF2-40B4-BE49-F238E27FC236}">
                <a16:creationId xmlns:a16="http://schemas.microsoft.com/office/drawing/2014/main" id="{507D7F6D-D018-4ACB-AA58-64163354B901}"/>
              </a:ext>
            </a:extLst>
          </p:cNvPr>
          <p:cNvSpPr/>
          <p:nvPr userDrawn="1"/>
        </p:nvSpPr>
        <p:spPr>
          <a:xfrm>
            <a:off x="8829825" y="71079"/>
            <a:ext cx="1184452" cy="148904"/>
          </a:xfrm>
          <a:prstGeom prst="rect">
            <a:avLst/>
          </a:prstGeom>
        </p:spPr>
        <p:txBody>
          <a:bodyPr wrap="square" lIns="0" tIns="0" rIns="0" bIns="0" anchor="ctr" anchorCtr="0">
            <a:noAutofit/>
          </a:bodyPr>
          <a:lstStyle/>
          <a:p>
            <a:pPr marL="0" algn="ctr">
              <a:lnSpc>
                <a:spcPct val="85000"/>
              </a:lnSpc>
            </a:pPr>
            <a:r>
              <a:rPr lang="en-US" sz="800" b="0" dirty="0">
                <a:solidFill>
                  <a:schemeClr val="bg1"/>
                </a:solidFill>
              </a:rPr>
              <a:t>Value proposition</a:t>
            </a:r>
          </a:p>
        </p:txBody>
      </p:sp>
      <p:sp>
        <p:nvSpPr>
          <p:cNvPr id="31" name="Rectangle 354">
            <a:hlinkClick r:id="" action="ppaction://noaction"/>
            <a:extLst>
              <a:ext uri="{FF2B5EF4-FFF2-40B4-BE49-F238E27FC236}">
                <a16:creationId xmlns:a16="http://schemas.microsoft.com/office/drawing/2014/main" id="{5D217E24-7BA0-4011-B401-350B3B75C428}"/>
              </a:ext>
            </a:extLst>
          </p:cNvPr>
          <p:cNvSpPr/>
          <p:nvPr userDrawn="1"/>
        </p:nvSpPr>
        <p:spPr>
          <a:xfrm>
            <a:off x="10015227" y="72720"/>
            <a:ext cx="1117727" cy="119765"/>
          </a:xfrm>
          <a:prstGeom prst="rect">
            <a:avLst/>
          </a:prstGeom>
        </p:spPr>
        <p:txBody>
          <a:bodyPr wrap="square" lIns="0" tIns="0" rIns="0" bIns="0" anchor="ctr" anchorCtr="0">
            <a:noAutofit/>
          </a:bodyPr>
          <a:lstStyle/>
          <a:p>
            <a:pPr marL="0" algn="ctr">
              <a:lnSpc>
                <a:spcPct val="100000"/>
              </a:lnSpc>
            </a:pPr>
            <a:r>
              <a:rPr lang="en-US" sz="800" b="0" dirty="0">
                <a:solidFill>
                  <a:schemeClr val="bg1"/>
                </a:solidFill>
              </a:rPr>
              <a:t>Q&amp;A</a:t>
            </a:r>
          </a:p>
        </p:txBody>
      </p:sp>
      <p:cxnSp>
        <p:nvCxnSpPr>
          <p:cNvPr id="32" name="Straight Connector 31">
            <a:extLst>
              <a:ext uri="{FF2B5EF4-FFF2-40B4-BE49-F238E27FC236}">
                <a16:creationId xmlns:a16="http://schemas.microsoft.com/office/drawing/2014/main" id="{0BBF9FBF-B5AC-4D13-8F12-858F62AA98B6}"/>
              </a:ext>
            </a:extLst>
          </p:cNvPr>
          <p:cNvCxnSpPr>
            <a:cxnSpLocks/>
          </p:cNvCxnSpPr>
          <p:nvPr userDrawn="1"/>
        </p:nvCxnSpPr>
        <p:spPr>
          <a:xfrm>
            <a:off x="7199804" y="57861"/>
            <a:ext cx="0" cy="132503"/>
          </a:xfrm>
          <a:prstGeom prst="line">
            <a:avLst/>
          </a:prstGeom>
          <a:ln w="9525">
            <a:solidFill>
              <a:srgbClr val="FAF9F1"/>
            </a:solidFill>
            <a:tailEnd type="none"/>
          </a:ln>
        </p:spPr>
        <p:style>
          <a:lnRef idx="1">
            <a:schemeClr val="accent1"/>
          </a:lnRef>
          <a:fillRef idx="0">
            <a:schemeClr val="accent1"/>
          </a:fillRef>
          <a:effectRef idx="0">
            <a:schemeClr val="accent1"/>
          </a:effectRef>
          <a:fontRef idx="minor">
            <a:schemeClr val="tx1"/>
          </a:fontRef>
        </p:style>
      </p:cxnSp>
      <p:sp>
        <p:nvSpPr>
          <p:cNvPr id="33" name="Rectangle 354">
            <a:hlinkClick r:id="" action="ppaction://noaction"/>
            <a:extLst>
              <a:ext uri="{FF2B5EF4-FFF2-40B4-BE49-F238E27FC236}">
                <a16:creationId xmlns:a16="http://schemas.microsoft.com/office/drawing/2014/main" id="{28E4172A-798B-4EEF-B87A-68D678053D90}"/>
              </a:ext>
            </a:extLst>
          </p:cNvPr>
          <p:cNvSpPr/>
          <p:nvPr userDrawn="1"/>
        </p:nvSpPr>
        <p:spPr>
          <a:xfrm>
            <a:off x="11225436" y="75661"/>
            <a:ext cx="784020" cy="114703"/>
          </a:xfrm>
          <a:prstGeom prst="rect">
            <a:avLst/>
          </a:prstGeom>
        </p:spPr>
        <p:txBody>
          <a:bodyPr wrap="square" lIns="0" tIns="0" rIns="0" bIns="0" anchor="ctr" anchorCtr="0">
            <a:noAutofit/>
          </a:bodyPr>
          <a:lstStyle/>
          <a:p>
            <a:pPr marL="0" algn="ctr">
              <a:lnSpc>
                <a:spcPct val="100000"/>
              </a:lnSpc>
            </a:pPr>
            <a:r>
              <a:rPr lang="en-US" sz="800" b="0" dirty="0">
                <a:solidFill>
                  <a:schemeClr val="bg1"/>
                </a:solidFill>
              </a:rPr>
              <a:t>Appendices</a:t>
            </a:r>
          </a:p>
        </p:txBody>
      </p:sp>
      <p:cxnSp>
        <p:nvCxnSpPr>
          <p:cNvPr id="35" name="Straight Connector 34">
            <a:extLst>
              <a:ext uri="{FF2B5EF4-FFF2-40B4-BE49-F238E27FC236}">
                <a16:creationId xmlns:a16="http://schemas.microsoft.com/office/drawing/2014/main" id="{3D0F673B-AEE1-4B0F-AF54-A78785FAD3E4}"/>
              </a:ext>
            </a:extLst>
          </p:cNvPr>
          <p:cNvCxnSpPr>
            <a:cxnSpLocks/>
          </p:cNvCxnSpPr>
          <p:nvPr userDrawn="1"/>
        </p:nvCxnSpPr>
        <p:spPr>
          <a:xfrm>
            <a:off x="11020031" y="79280"/>
            <a:ext cx="0" cy="132503"/>
          </a:xfrm>
          <a:prstGeom prst="line">
            <a:avLst/>
          </a:prstGeom>
          <a:ln w="9525">
            <a:solidFill>
              <a:srgbClr val="FAF9F1"/>
            </a:solidFill>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B0FF741-181E-4AD3-95AB-5914621CF73D}"/>
              </a:ext>
            </a:extLst>
          </p:cNvPr>
          <p:cNvCxnSpPr>
            <a:cxnSpLocks/>
          </p:cNvCxnSpPr>
          <p:nvPr userDrawn="1"/>
        </p:nvCxnSpPr>
        <p:spPr>
          <a:xfrm>
            <a:off x="10107710" y="79280"/>
            <a:ext cx="0" cy="132503"/>
          </a:xfrm>
          <a:prstGeom prst="line">
            <a:avLst/>
          </a:prstGeom>
          <a:ln w="9525">
            <a:solidFill>
              <a:srgbClr val="FAF9F1"/>
            </a:solidFill>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B92FAA7-EBDB-4E47-B9E1-0509A605DDB8}"/>
              </a:ext>
            </a:extLst>
          </p:cNvPr>
          <p:cNvCxnSpPr>
            <a:cxnSpLocks/>
          </p:cNvCxnSpPr>
          <p:nvPr userDrawn="1"/>
        </p:nvCxnSpPr>
        <p:spPr>
          <a:xfrm>
            <a:off x="8735555" y="72720"/>
            <a:ext cx="0" cy="132503"/>
          </a:xfrm>
          <a:prstGeom prst="line">
            <a:avLst/>
          </a:prstGeom>
          <a:ln w="9525">
            <a:solidFill>
              <a:srgbClr val="FAF9F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11442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Standard slide_Quot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080E3E-2219-4614-8126-08599BDA23B5}"/>
              </a:ext>
            </a:extLst>
          </p:cNvPr>
          <p:cNvSpPr/>
          <p:nvPr userDrawn="1"/>
        </p:nvSpPr>
        <p:spPr>
          <a:xfrm>
            <a:off x="0" y="1"/>
            <a:ext cx="12192000" cy="241388"/>
          </a:xfrm>
          <a:prstGeom prst="rect">
            <a:avLst/>
          </a:prstGeom>
          <a:gradFill flip="none" rotWithShape="1">
            <a:gsLst>
              <a:gs pos="0">
                <a:srgbClr val="4C4C5C">
                  <a:shade val="30000"/>
                  <a:satMod val="115000"/>
                </a:srgbClr>
              </a:gs>
              <a:gs pos="50000">
                <a:srgbClr val="4C4C5C">
                  <a:shade val="67500"/>
                  <a:satMod val="115000"/>
                </a:srgbClr>
              </a:gs>
              <a:gs pos="100000">
                <a:srgbClr val="4C4C5C">
                  <a:shade val="100000"/>
                  <a:satMod val="115000"/>
                </a:srgbClr>
              </a:gs>
            </a:gsLst>
            <a:path path="circle">
              <a:fillToRect r="100000" b="100000"/>
            </a:path>
            <a:tileRect l="-100000" t="-10000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BF2C04E3-9852-4EE1-995A-A982B306E72F}" type="datetime3">
              <a:rPr lang="en-US" smtClean="0"/>
              <a:t>3 February 2023</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a:xfrm>
            <a:off x="3237502" y="6471244"/>
            <a:ext cx="3084493" cy="180000"/>
          </a:xfrm>
          <a:prstGeom prst="rect">
            <a:avLst/>
          </a:prstGeom>
        </p:spPr>
        <p:txBody>
          <a:bodyPr/>
          <a:lstStyle/>
          <a:p>
            <a:r>
              <a:rPr lang="en-US" dirty="0"/>
              <a:t>Presentation title</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28" name="Rectangle 354">
            <a:hlinkClick r:id="" action="ppaction://noaction"/>
            <a:extLst>
              <a:ext uri="{FF2B5EF4-FFF2-40B4-BE49-F238E27FC236}">
                <a16:creationId xmlns:a16="http://schemas.microsoft.com/office/drawing/2014/main" id="{AF914DC3-A2C8-40D7-B540-616A5B8B0552}"/>
              </a:ext>
            </a:extLst>
          </p:cNvPr>
          <p:cNvSpPr/>
          <p:nvPr userDrawn="1"/>
        </p:nvSpPr>
        <p:spPr>
          <a:xfrm>
            <a:off x="5963706" y="68510"/>
            <a:ext cx="1258231" cy="164253"/>
          </a:xfrm>
          <a:prstGeom prst="rect">
            <a:avLst/>
          </a:prstGeom>
        </p:spPr>
        <p:txBody>
          <a:bodyPr wrap="square" lIns="0" tIns="0" rIns="0" bIns="0" anchor="ctr" anchorCtr="0">
            <a:noAutofit/>
          </a:bodyPr>
          <a:lstStyle/>
          <a:p>
            <a:pPr marL="0" algn="ctr">
              <a:lnSpc>
                <a:spcPct val="85000"/>
              </a:lnSpc>
            </a:pPr>
            <a:r>
              <a:rPr lang="en-US" sz="800" b="0" dirty="0">
                <a:solidFill>
                  <a:schemeClr val="bg1"/>
                </a:solidFill>
              </a:rPr>
              <a:t>Design objective</a:t>
            </a:r>
          </a:p>
        </p:txBody>
      </p:sp>
      <p:sp>
        <p:nvSpPr>
          <p:cNvPr id="29" name="Rectangle 354">
            <a:hlinkClick r:id="" action="ppaction://noaction"/>
            <a:extLst>
              <a:ext uri="{FF2B5EF4-FFF2-40B4-BE49-F238E27FC236}">
                <a16:creationId xmlns:a16="http://schemas.microsoft.com/office/drawing/2014/main" id="{B830B3D4-C53F-4078-B668-318DEFE5E468}"/>
              </a:ext>
            </a:extLst>
          </p:cNvPr>
          <p:cNvSpPr/>
          <p:nvPr userDrawn="1"/>
        </p:nvSpPr>
        <p:spPr>
          <a:xfrm>
            <a:off x="7228532" y="75660"/>
            <a:ext cx="1504979" cy="139850"/>
          </a:xfrm>
          <a:prstGeom prst="rect">
            <a:avLst/>
          </a:prstGeom>
        </p:spPr>
        <p:txBody>
          <a:bodyPr wrap="square" lIns="0" tIns="0" rIns="0" bIns="0" anchor="ctr" anchorCtr="0">
            <a:noAutofit/>
          </a:bodyPr>
          <a:lstStyle/>
          <a:p>
            <a:pPr marL="0" algn="ctr">
              <a:lnSpc>
                <a:spcPct val="85000"/>
              </a:lnSpc>
            </a:pPr>
            <a:r>
              <a:rPr lang="en-US" sz="800" b="0" dirty="0">
                <a:solidFill>
                  <a:schemeClr val="tx2"/>
                </a:solidFill>
              </a:rPr>
              <a:t>Value chain pathway</a:t>
            </a:r>
          </a:p>
        </p:txBody>
      </p:sp>
      <p:sp>
        <p:nvSpPr>
          <p:cNvPr id="30" name="Rectangle 354">
            <a:hlinkClick r:id="" action="ppaction://noaction"/>
            <a:extLst>
              <a:ext uri="{FF2B5EF4-FFF2-40B4-BE49-F238E27FC236}">
                <a16:creationId xmlns:a16="http://schemas.microsoft.com/office/drawing/2014/main" id="{507D7F6D-D018-4ACB-AA58-64163354B901}"/>
              </a:ext>
            </a:extLst>
          </p:cNvPr>
          <p:cNvSpPr/>
          <p:nvPr userDrawn="1"/>
        </p:nvSpPr>
        <p:spPr>
          <a:xfrm>
            <a:off x="8829825" y="71079"/>
            <a:ext cx="1184452" cy="148904"/>
          </a:xfrm>
          <a:prstGeom prst="rect">
            <a:avLst/>
          </a:prstGeom>
        </p:spPr>
        <p:txBody>
          <a:bodyPr wrap="square" lIns="0" tIns="0" rIns="0" bIns="0" anchor="ctr" anchorCtr="0">
            <a:noAutofit/>
          </a:bodyPr>
          <a:lstStyle/>
          <a:p>
            <a:pPr marL="0" algn="ctr">
              <a:lnSpc>
                <a:spcPct val="85000"/>
              </a:lnSpc>
            </a:pPr>
            <a:r>
              <a:rPr lang="en-US" sz="800" b="0" dirty="0">
                <a:solidFill>
                  <a:schemeClr val="bg1"/>
                </a:solidFill>
              </a:rPr>
              <a:t>Value proposition</a:t>
            </a:r>
          </a:p>
        </p:txBody>
      </p:sp>
      <p:sp>
        <p:nvSpPr>
          <p:cNvPr id="31" name="Rectangle 354">
            <a:hlinkClick r:id="" action="ppaction://noaction"/>
            <a:extLst>
              <a:ext uri="{FF2B5EF4-FFF2-40B4-BE49-F238E27FC236}">
                <a16:creationId xmlns:a16="http://schemas.microsoft.com/office/drawing/2014/main" id="{5D217E24-7BA0-4011-B401-350B3B75C428}"/>
              </a:ext>
            </a:extLst>
          </p:cNvPr>
          <p:cNvSpPr/>
          <p:nvPr userDrawn="1"/>
        </p:nvSpPr>
        <p:spPr>
          <a:xfrm>
            <a:off x="10015227" y="72720"/>
            <a:ext cx="1117727" cy="119765"/>
          </a:xfrm>
          <a:prstGeom prst="rect">
            <a:avLst/>
          </a:prstGeom>
        </p:spPr>
        <p:txBody>
          <a:bodyPr wrap="square" lIns="0" tIns="0" rIns="0" bIns="0" anchor="ctr" anchorCtr="0">
            <a:noAutofit/>
          </a:bodyPr>
          <a:lstStyle/>
          <a:p>
            <a:pPr marL="0" algn="ctr">
              <a:lnSpc>
                <a:spcPct val="100000"/>
              </a:lnSpc>
            </a:pPr>
            <a:r>
              <a:rPr lang="en-US" sz="800" b="0" dirty="0">
                <a:solidFill>
                  <a:schemeClr val="bg1"/>
                </a:solidFill>
              </a:rPr>
              <a:t>Q&amp;A</a:t>
            </a:r>
          </a:p>
        </p:txBody>
      </p:sp>
      <p:cxnSp>
        <p:nvCxnSpPr>
          <p:cNvPr id="32" name="Straight Connector 31">
            <a:extLst>
              <a:ext uri="{FF2B5EF4-FFF2-40B4-BE49-F238E27FC236}">
                <a16:creationId xmlns:a16="http://schemas.microsoft.com/office/drawing/2014/main" id="{0BBF9FBF-B5AC-4D13-8F12-858F62AA98B6}"/>
              </a:ext>
            </a:extLst>
          </p:cNvPr>
          <p:cNvCxnSpPr>
            <a:cxnSpLocks/>
          </p:cNvCxnSpPr>
          <p:nvPr userDrawn="1"/>
        </p:nvCxnSpPr>
        <p:spPr>
          <a:xfrm>
            <a:off x="7199804" y="57861"/>
            <a:ext cx="0" cy="132503"/>
          </a:xfrm>
          <a:prstGeom prst="line">
            <a:avLst/>
          </a:prstGeom>
          <a:ln w="9525">
            <a:solidFill>
              <a:srgbClr val="FAF9F1"/>
            </a:solidFill>
            <a:tailEnd type="none"/>
          </a:ln>
        </p:spPr>
        <p:style>
          <a:lnRef idx="1">
            <a:schemeClr val="accent1"/>
          </a:lnRef>
          <a:fillRef idx="0">
            <a:schemeClr val="accent1"/>
          </a:fillRef>
          <a:effectRef idx="0">
            <a:schemeClr val="accent1"/>
          </a:effectRef>
          <a:fontRef idx="minor">
            <a:schemeClr val="tx1"/>
          </a:fontRef>
        </p:style>
      </p:cxnSp>
      <p:sp>
        <p:nvSpPr>
          <p:cNvPr id="33" name="Rectangle 354">
            <a:hlinkClick r:id="" action="ppaction://noaction"/>
            <a:extLst>
              <a:ext uri="{FF2B5EF4-FFF2-40B4-BE49-F238E27FC236}">
                <a16:creationId xmlns:a16="http://schemas.microsoft.com/office/drawing/2014/main" id="{28E4172A-798B-4EEF-B87A-68D678053D90}"/>
              </a:ext>
            </a:extLst>
          </p:cNvPr>
          <p:cNvSpPr/>
          <p:nvPr userDrawn="1"/>
        </p:nvSpPr>
        <p:spPr>
          <a:xfrm>
            <a:off x="11225436" y="75661"/>
            <a:ext cx="784020" cy="114703"/>
          </a:xfrm>
          <a:prstGeom prst="rect">
            <a:avLst/>
          </a:prstGeom>
        </p:spPr>
        <p:txBody>
          <a:bodyPr wrap="square" lIns="0" tIns="0" rIns="0" bIns="0" anchor="ctr" anchorCtr="0">
            <a:noAutofit/>
          </a:bodyPr>
          <a:lstStyle/>
          <a:p>
            <a:pPr marL="0" algn="ctr">
              <a:lnSpc>
                <a:spcPct val="100000"/>
              </a:lnSpc>
            </a:pPr>
            <a:r>
              <a:rPr lang="en-US" sz="800" b="0" dirty="0">
                <a:solidFill>
                  <a:schemeClr val="bg1"/>
                </a:solidFill>
              </a:rPr>
              <a:t>Appendices</a:t>
            </a:r>
          </a:p>
        </p:txBody>
      </p:sp>
      <p:cxnSp>
        <p:nvCxnSpPr>
          <p:cNvPr id="35" name="Straight Connector 34">
            <a:extLst>
              <a:ext uri="{FF2B5EF4-FFF2-40B4-BE49-F238E27FC236}">
                <a16:creationId xmlns:a16="http://schemas.microsoft.com/office/drawing/2014/main" id="{3D0F673B-AEE1-4B0F-AF54-A78785FAD3E4}"/>
              </a:ext>
            </a:extLst>
          </p:cNvPr>
          <p:cNvCxnSpPr>
            <a:cxnSpLocks/>
          </p:cNvCxnSpPr>
          <p:nvPr userDrawn="1"/>
        </p:nvCxnSpPr>
        <p:spPr>
          <a:xfrm>
            <a:off x="11020031" y="79280"/>
            <a:ext cx="0" cy="132503"/>
          </a:xfrm>
          <a:prstGeom prst="line">
            <a:avLst/>
          </a:prstGeom>
          <a:ln w="9525">
            <a:solidFill>
              <a:srgbClr val="FAF9F1"/>
            </a:solidFill>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B0FF741-181E-4AD3-95AB-5914621CF73D}"/>
              </a:ext>
            </a:extLst>
          </p:cNvPr>
          <p:cNvCxnSpPr>
            <a:cxnSpLocks/>
          </p:cNvCxnSpPr>
          <p:nvPr userDrawn="1"/>
        </p:nvCxnSpPr>
        <p:spPr>
          <a:xfrm>
            <a:off x="10107710" y="79280"/>
            <a:ext cx="0" cy="132503"/>
          </a:xfrm>
          <a:prstGeom prst="line">
            <a:avLst/>
          </a:prstGeom>
          <a:ln w="9525">
            <a:solidFill>
              <a:srgbClr val="FAF9F1"/>
            </a:solidFill>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B92FAA7-EBDB-4E47-B9E1-0509A605DDB8}"/>
              </a:ext>
            </a:extLst>
          </p:cNvPr>
          <p:cNvCxnSpPr>
            <a:cxnSpLocks/>
          </p:cNvCxnSpPr>
          <p:nvPr userDrawn="1"/>
        </p:nvCxnSpPr>
        <p:spPr>
          <a:xfrm>
            <a:off x="8735555" y="72720"/>
            <a:ext cx="0" cy="132503"/>
          </a:xfrm>
          <a:prstGeom prst="line">
            <a:avLst/>
          </a:prstGeom>
          <a:ln w="9525">
            <a:solidFill>
              <a:srgbClr val="FAF9F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1103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Standard slide_Quot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080E3E-2219-4614-8126-08599BDA23B5}"/>
              </a:ext>
            </a:extLst>
          </p:cNvPr>
          <p:cNvSpPr/>
          <p:nvPr userDrawn="1"/>
        </p:nvSpPr>
        <p:spPr>
          <a:xfrm>
            <a:off x="0" y="1"/>
            <a:ext cx="12192000" cy="241388"/>
          </a:xfrm>
          <a:prstGeom prst="rect">
            <a:avLst/>
          </a:prstGeom>
          <a:gradFill flip="none" rotWithShape="1">
            <a:gsLst>
              <a:gs pos="0">
                <a:srgbClr val="4C4C5C">
                  <a:shade val="30000"/>
                  <a:satMod val="115000"/>
                </a:srgbClr>
              </a:gs>
              <a:gs pos="50000">
                <a:srgbClr val="4C4C5C">
                  <a:shade val="67500"/>
                  <a:satMod val="115000"/>
                </a:srgbClr>
              </a:gs>
              <a:gs pos="100000">
                <a:srgbClr val="4C4C5C">
                  <a:shade val="100000"/>
                  <a:satMod val="115000"/>
                </a:srgbClr>
              </a:gs>
            </a:gsLst>
            <a:path path="circle">
              <a:fillToRect r="100000" b="100000"/>
            </a:path>
            <a:tileRect l="-100000" t="-10000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BF2C04E3-9852-4EE1-995A-A982B306E72F}" type="datetime3">
              <a:rPr lang="en-US" smtClean="0"/>
              <a:t>3 February 2023</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a:xfrm>
            <a:off x="3237502" y="6471244"/>
            <a:ext cx="3084493" cy="180000"/>
          </a:xfrm>
          <a:prstGeom prst="rect">
            <a:avLst/>
          </a:prstGeom>
        </p:spPr>
        <p:txBody>
          <a:bodyPr/>
          <a:lstStyle/>
          <a:p>
            <a:r>
              <a:rPr lang="en-US" dirty="0"/>
              <a:t>Presentation title</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28" name="Rectangle 354">
            <a:hlinkClick r:id="" action="ppaction://noaction"/>
            <a:extLst>
              <a:ext uri="{FF2B5EF4-FFF2-40B4-BE49-F238E27FC236}">
                <a16:creationId xmlns:a16="http://schemas.microsoft.com/office/drawing/2014/main" id="{AF914DC3-A2C8-40D7-B540-616A5B8B0552}"/>
              </a:ext>
            </a:extLst>
          </p:cNvPr>
          <p:cNvSpPr/>
          <p:nvPr userDrawn="1"/>
        </p:nvSpPr>
        <p:spPr>
          <a:xfrm>
            <a:off x="5963706" y="68510"/>
            <a:ext cx="1258231" cy="164253"/>
          </a:xfrm>
          <a:prstGeom prst="rect">
            <a:avLst/>
          </a:prstGeom>
        </p:spPr>
        <p:txBody>
          <a:bodyPr wrap="square" lIns="0" tIns="0" rIns="0" bIns="0" anchor="ctr" anchorCtr="0">
            <a:noAutofit/>
          </a:bodyPr>
          <a:lstStyle/>
          <a:p>
            <a:pPr marL="0" algn="ctr">
              <a:lnSpc>
                <a:spcPct val="85000"/>
              </a:lnSpc>
            </a:pPr>
            <a:r>
              <a:rPr lang="en-US" sz="800" b="0" dirty="0">
                <a:solidFill>
                  <a:schemeClr val="bg1"/>
                </a:solidFill>
              </a:rPr>
              <a:t>Design objective</a:t>
            </a:r>
          </a:p>
        </p:txBody>
      </p:sp>
      <p:sp>
        <p:nvSpPr>
          <p:cNvPr id="29" name="Rectangle 354">
            <a:hlinkClick r:id="" action="ppaction://noaction"/>
            <a:extLst>
              <a:ext uri="{FF2B5EF4-FFF2-40B4-BE49-F238E27FC236}">
                <a16:creationId xmlns:a16="http://schemas.microsoft.com/office/drawing/2014/main" id="{B830B3D4-C53F-4078-B668-318DEFE5E468}"/>
              </a:ext>
            </a:extLst>
          </p:cNvPr>
          <p:cNvSpPr/>
          <p:nvPr userDrawn="1"/>
        </p:nvSpPr>
        <p:spPr>
          <a:xfrm>
            <a:off x="7228532" y="75660"/>
            <a:ext cx="1504979" cy="139850"/>
          </a:xfrm>
          <a:prstGeom prst="rect">
            <a:avLst/>
          </a:prstGeom>
        </p:spPr>
        <p:txBody>
          <a:bodyPr wrap="square" lIns="0" tIns="0" rIns="0" bIns="0" anchor="ctr" anchorCtr="0">
            <a:noAutofit/>
          </a:bodyPr>
          <a:lstStyle/>
          <a:p>
            <a:pPr marL="0" algn="ctr">
              <a:lnSpc>
                <a:spcPct val="85000"/>
              </a:lnSpc>
            </a:pPr>
            <a:r>
              <a:rPr lang="en-US" sz="800" b="0" dirty="0">
                <a:solidFill>
                  <a:schemeClr val="bg1"/>
                </a:solidFill>
              </a:rPr>
              <a:t>Value chain pathway</a:t>
            </a:r>
          </a:p>
        </p:txBody>
      </p:sp>
      <p:sp>
        <p:nvSpPr>
          <p:cNvPr id="30" name="Rectangle 354">
            <a:hlinkClick r:id="" action="ppaction://noaction"/>
            <a:extLst>
              <a:ext uri="{FF2B5EF4-FFF2-40B4-BE49-F238E27FC236}">
                <a16:creationId xmlns:a16="http://schemas.microsoft.com/office/drawing/2014/main" id="{507D7F6D-D018-4ACB-AA58-64163354B901}"/>
              </a:ext>
            </a:extLst>
          </p:cNvPr>
          <p:cNvSpPr/>
          <p:nvPr userDrawn="1"/>
        </p:nvSpPr>
        <p:spPr>
          <a:xfrm>
            <a:off x="8829825" y="71079"/>
            <a:ext cx="1184452" cy="148904"/>
          </a:xfrm>
          <a:prstGeom prst="rect">
            <a:avLst/>
          </a:prstGeom>
        </p:spPr>
        <p:txBody>
          <a:bodyPr wrap="square" lIns="0" tIns="0" rIns="0" bIns="0" anchor="ctr" anchorCtr="0">
            <a:noAutofit/>
          </a:bodyPr>
          <a:lstStyle/>
          <a:p>
            <a:pPr marL="0" algn="ctr">
              <a:lnSpc>
                <a:spcPct val="85000"/>
              </a:lnSpc>
            </a:pPr>
            <a:r>
              <a:rPr lang="en-US" sz="800" b="0" dirty="0">
                <a:solidFill>
                  <a:schemeClr val="tx2"/>
                </a:solidFill>
              </a:rPr>
              <a:t>Value proposition</a:t>
            </a:r>
          </a:p>
        </p:txBody>
      </p:sp>
      <p:sp>
        <p:nvSpPr>
          <p:cNvPr id="31" name="Rectangle 354">
            <a:hlinkClick r:id="" action="ppaction://noaction"/>
            <a:extLst>
              <a:ext uri="{FF2B5EF4-FFF2-40B4-BE49-F238E27FC236}">
                <a16:creationId xmlns:a16="http://schemas.microsoft.com/office/drawing/2014/main" id="{5D217E24-7BA0-4011-B401-350B3B75C428}"/>
              </a:ext>
            </a:extLst>
          </p:cNvPr>
          <p:cNvSpPr/>
          <p:nvPr userDrawn="1"/>
        </p:nvSpPr>
        <p:spPr>
          <a:xfrm>
            <a:off x="10015227" y="72720"/>
            <a:ext cx="1117727" cy="119765"/>
          </a:xfrm>
          <a:prstGeom prst="rect">
            <a:avLst/>
          </a:prstGeom>
        </p:spPr>
        <p:txBody>
          <a:bodyPr wrap="square" lIns="0" tIns="0" rIns="0" bIns="0" anchor="ctr" anchorCtr="0">
            <a:noAutofit/>
          </a:bodyPr>
          <a:lstStyle/>
          <a:p>
            <a:pPr marL="0" algn="ctr">
              <a:lnSpc>
                <a:spcPct val="100000"/>
              </a:lnSpc>
            </a:pPr>
            <a:r>
              <a:rPr lang="en-US" sz="800" b="0" dirty="0">
                <a:solidFill>
                  <a:schemeClr val="bg1"/>
                </a:solidFill>
              </a:rPr>
              <a:t>Q&amp;A</a:t>
            </a:r>
          </a:p>
        </p:txBody>
      </p:sp>
      <p:cxnSp>
        <p:nvCxnSpPr>
          <p:cNvPr id="32" name="Straight Connector 31">
            <a:extLst>
              <a:ext uri="{FF2B5EF4-FFF2-40B4-BE49-F238E27FC236}">
                <a16:creationId xmlns:a16="http://schemas.microsoft.com/office/drawing/2014/main" id="{0BBF9FBF-B5AC-4D13-8F12-858F62AA98B6}"/>
              </a:ext>
            </a:extLst>
          </p:cNvPr>
          <p:cNvCxnSpPr>
            <a:cxnSpLocks/>
          </p:cNvCxnSpPr>
          <p:nvPr userDrawn="1"/>
        </p:nvCxnSpPr>
        <p:spPr>
          <a:xfrm>
            <a:off x="7199804" y="57861"/>
            <a:ext cx="0" cy="132503"/>
          </a:xfrm>
          <a:prstGeom prst="line">
            <a:avLst/>
          </a:prstGeom>
          <a:ln w="9525">
            <a:solidFill>
              <a:srgbClr val="FAF9F1"/>
            </a:solidFill>
            <a:tailEnd type="none"/>
          </a:ln>
        </p:spPr>
        <p:style>
          <a:lnRef idx="1">
            <a:schemeClr val="accent1"/>
          </a:lnRef>
          <a:fillRef idx="0">
            <a:schemeClr val="accent1"/>
          </a:fillRef>
          <a:effectRef idx="0">
            <a:schemeClr val="accent1"/>
          </a:effectRef>
          <a:fontRef idx="minor">
            <a:schemeClr val="tx1"/>
          </a:fontRef>
        </p:style>
      </p:cxnSp>
      <p:sp>
        <p:nvSpPr>
          <p:cNvPr id="33" name="Rectangle 354">
            <a:hlinkClick r:id="" action="ppaction://noaction"/>
            <a:extLst>
              <a:ext uri="{FF2B5EF4-FFF2-40B4-BE49-F238E27FC236}">
                <a16:creationId xmlns:a16="http://schemas.microsoft.com/office/drawing/2014/main" id="{28E4172A-798B-4EEF-B87A-68D678053D90}"/>
              </a:ext>
            </a:extLst>
          </p:cNvPr>
          <p:cNvSpPr/>
          <p:nvPr userDrawn="1"/>
        </p:nvSpPr>
        <p:spPr>
          <a:xfrm>
            <a:off x="11225436" y="75661"/>
            <a:ext cx="784020" cy="114703"/>
          </a:xfrm>
          <a:prstGeom prst="rect">
            <a:avLst/>
          </a:prstGeom>
        </p:spPr>
        <p:txBody>
          <a:bodyPr wrap="square" lIns="0" tIns="0" rIns="0" bIns="0" anchor="ctr" anchorCtr="0">
            <a:noAutofit/>
          </a:bodyPr>
          <a:lstStyle/>
          <a:p>
            <a:pPr marL="0" algn="ctr">
              <a:lnSpc>
                <a:spcPct val="100000"/>
              </a:lnSpc>
            </a:pPr>
            <a:r>
              <a:rPr lang="en-US" sz="800" b="0" dirty="0">
                <a:solidFill>
                  <a:schemeClr val="bg1"/>
                </a:solidFill>
              </a:rPr>
              <a:t>Appendices</a:t>
            </a:r>
          </a:p>
        </p:txBody>
      </p:sp>
      <p:cxnSp>
        <p:nvCxnSpPr>
          <p:cNvPr id="35" name="Straight Connector 34">
            <a:extLst>
              <a:ext uri="{FF2B5EF4-FFF2-40B4-BE49-F238E27FC236}">
                <a16:creationId xmlns:a16="http://schemas.microsoft.com/office/drawing/2014/main" id="{3D0F673B-AEE1-4B0F-AF54-A78785FAD3E4}"/>
              </a:ext>
            </a:extLst>
          </p:cNvPr>
          <p:cNvCxnSpPr>
            <a:cxnSpLocks/>
          </p:cNvCxnSpPr>
          <p:nvPr userDrawn="1"/>
        </p:nvCxnSpPr>
        <p:spPr>
          <a:xfrm>
            <a:off x="11020031" y="79280"/>
            <a:ext cx="0" cy="132503"/>
          </a:xfrm>
          <a:prstGeom prst="line">
            <a:avLst/>
          </a:prstGeom>
          <a:ln w="9525">
            <a:solidFill>
              <a:srgbClr val="FAF9F1"/>
            </a:solidFill>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B0FF741-181E-4AD3-95AB-5914621CF73D}"/>
              </a:ext>
            </a:extLst>
          </p:cNvPr>
          <p:cNvCxnSpPr>
            <a:cxnSpLocks/>
          </p:cNvCxnSpPr>
          <p:nvPr userDrawn="1"/>
        </p:nvCxnSpPr>
        <p:spPr>
          <a:xfrm>
            <a:off x="10107710" y="79280"/>
            <a:ext cx="0" cy="132503"/>
          </a:xfrm>
          <a:prstGeom prst="line">
            <a:avLst/>
          </a:prstGeom>
          <a:ln w="9525">
            <a:solidFill>
              <a:srgbClr val="FAF9F1"/>
            </a:solidFill>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B92FAA7-EBDB-4E47-B9E1-0509A605DDB8}"/>
              </a:ext>
            </a:extLst>
          </p:cNvPr>
          <p:cNvCxnSpPr>
            <a:cxnSpLocks/>
          </p:cNvCxnSpPr>
          <p:nvPr userDrawn="1"/>
        </p:nvCxnSpPr>
        <p:spPr>
          <a:xfrm>
            <a:off x="8735555" y="72720"/>
            <a:ext cx="0" cy="132503"/>
          </a:xfrm>
          <a:prstGeom prst="line">
            <a:avLst/>
          </a:prstGeom>
          <a:ln w="9525">
            <a:solidFill>
              <a:srgbClr val="FAF9F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44317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8_Standard slide_Quot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080E3E-2219-4614-8126-08599BDA23B5}"/>
              </a:ext>
            </a:extLst>
          </p:cNvPr>
          <p:cNvSpPr/>
          <p:nvPr userDrawn="1"/>
        </p:nvSpPr>
        <p:spPr>
          <a:xfrm>
            <a:off x="0" y="1"/>
            <a:ext cx="12192000" cy="241388"/>
          </a:xfrm>
          <a:prstGeom prst="rect">
            <a:avLst/>
          </a:prstGeom>
          <a:gradFill flip="none" rotWithShape="1">
            <a:gsLst>
              <a:gs pos="0">
                <a:srgbClr val="4C4C5C">
                  <a:shade val="30000"/>
                  <a:satMod val="115000"/>
                </a:srgbClr>
              </a:gs>
              <a:gs pos="50000">
                <a:srgbClr val="4C4C5C">
                  <a:shade val="67500"/>
                  <a:satMod val="115000"/>
                </a:srgbClr>
              </a:gs>
              <a:gs pos="100000">
                <a:srgbClr val="4C4C5C">
                  <a:shade val="100000"/>
                  <a:satMod val="115000"/>
                </a:srgbClr>
              </a:gs>
            </a:gsLst>
            <a:path path="circle">
              <a:fillToRect r="100000" b="100000"/>
            </a:path>
            <a:tileRect l="-100000" t="-10000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BF2C04E3-9852-4EE1-995A-A982B306E72F}" type="datetime3">
              <a:rPr lang="en-US" smtClean="0"/>
              <a:t>3 February 2023</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a:xfrm>
            <a:off x="3237502" y="6471244"/>
            <a:ext cx="3084493" cy="180000"/>
          </a:xfrm>
          <a:prstGeom prst="rect">
            <a:avLst/>
          </a:prstGeom>
        </p:spPr>
        <p:txBody>
          <a:bodyPr/>
          <a:lstStyle/>
          <a:p>
            <a:r>
              <a:rPr lang="en-US" dirty="0"/>
              <a:t>Presentation title</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28" name="Rectangle 354">
            <a:hlinkClick r:id="" action="ppaction://noaction"/>
            <a:extLst>
              <a:ext uri="{FF2B5EF4-FFF2-40B4-BE49-F238E27FC236}">
                <a16:creationId xmlns:a16="http://schemas.microsoft.com/office/drawing/2014/main" id="{AF914DC3-A2C8-40D7-B540-616A5B8B0552}"/>
              </a:ext>
            </a:extLst>
          </p:cNvPr>
          <p:cNvSpPr/>
          <p:nvPr userDrawn="1"/>
        </p:nvSpPr>
        <p:spPr>
          <a:xfrm>
            <a:off x="5963706" y="68510"/>
            <a:ext cx="1258231" cy="164253"/>
          </a:xfrm>
          <a:prstGeom prst="rect">
            <a:avLst/>
          </a:prstGeom>
        </p:spPr>
        <p:txBody>
          <a:bodyPr wrap="square" lIns="0" tIns="0" rIns="0" bIns="0" anchor="ctr" anchorCtr="0">
            <a:noAutofit/>
          </a:bodyPr>
          <a:lstStyle/>
          <a:p>
            <a:pPr marL="0" algn="ctr">
              <a:lnSpc>
                <a:spcPct val="85000"/>
              </a:lnSpc>
            </a:pPr>
            <a:r>
              <a:rPr lang="en-US" sz="800" b="0" dirty="0">
                <a:solidFill>
                  <a:schemeClr val="bg1"/>
                </a:solidFill>
              </a:rPr>
              <a:t>Design objective</a:t>
            </a:r>
          </a:p>
        </p:txBody>
      </p:sp>
      <p:sp>
        <p:nvSpPr>
          <p:cNvPr id="29" name="Rectangle 354">
            <a:hlinkClick r:id="" action="ppaction://noaction"/>
            <a:extLst>
              <a:ext uri="{FF2B5EF4-FFF2-40B4-BE49-F238E27FC236}">
                <a16:creationId xmlns:a16="http://schemas.microsoft.com/office/drawing/2014/main" id="{B830B3D4-C53F-4078-B668-318DEFE5E468}"/>
              </a:ext>
            </a:extLst>
          </p:cNvPr>
          <p:cNvSpPr/>
          <p:nvPr userDrawn="1"/>
        </p:nvSpPr>
        <p:spPr>
          <a:xfrm>
            <a:off x="7228532" y="75660"/>
            <a:ext cx="1504979" cy="139850"/>
          </a:xfrm>
          <a:prstGeom prst="rect">
            <a:avLst/>
          </a:prstGeom>
        </p:spPr>
        <p:txBody>
          <a:bodyPr wrap="square" lIns="0" tIns="0" rIns="0" bIns="0" anchor="ctr" anchorCtr="0">
            <a:noAutofit/>
          </a:bodyPr>
          <a:lstStyle/>
          <a:p>
            <a:pPr marL="0" algn="ctr">
              <a:lnSpc>
                <a:spcPct val="85000"/>
              </a:lnSpc>
            </a:pPr>
            <a:r>
              <a:rPr lang="en-US" sz="800" b="0" dirty="0">
                <a:solidFill>
                  <a:schemeClr val="bg1"/>
                </a:solidFill>
              </a:rPr>
              <a:t>Value chain pathway</a:t>
            </a:r>
          </a:p>
        </p:txBody>
      </p:sp>
      <p:sp>
        <p:nvSpPr>
          <p:cNvPr id="30" name="Rectangle 354">
            <a:hlinkClick r:id="" action="ppaction://noaction"/>
            <a:extLst>
              <a:ext uri="{FF2B5EF4-FFF2-40B4-BE49-F238E27FC236}">
                <a16:creationId xmlns:a16="http://schemas.microsoft.com/office/drawing/2014/main" id="{507D7F6D-D018-4ACB-AA58-64163354B901}"/>
              </a:ext>
            </a:extLst>
          </p:cNvPr>
          <p:cNvSpPr/>
          <p:nvPr userDrawn="1"/>
        </p:nvSpPr>
        <p:spPr>
          <a:xfrm>
            <a:off x="8829825" y="71079"/>
            <a:ext cx="1184452" cy="148904"/>
          </a:xfrm>
          <a:prstGeom prst="rect">
            <a:avLst/>
          </a:prstGeom>
        </p:spPr>
        <p:txBody>
          <a:bodyPr wrap="square" lIns="0" tIns="0" rIns="0" bIns="0" anchor="ctr" anchorCtr="0">
            <a:noAutofit/>
          </a:bodyPr>
          <a:lstStyle/>
          <a:p>
            <a:pPr marL="0" algn="ctr">
              <a:lnSpc>
                <a:spcPct val="85000"/>
              </a:lnSpc>
            </a:pPr>
            <a:r>
              <a:rPr lang="en-US" sz="800" b="0" dirty="0">
                <a:solidFill>
                  <a:schemeClr val="bg1"/>
                </a:solidFill>
              </a:rPr>
              <a:t>Value proposition</a:t>
            </a:r>
          </a:p>
        </p:txBody>
      </p:sp>
      <p:sp>
        <p:nvSpPr>
          <p:cNvPr id="31" name="Rectangle 354">
            <a:hlinkClick r:id="" action="ppaction://noaction"/>
            <a:extLst>
              <a:ext uri="{FF2B5EF4-FFF2-40B4-BE49-F238E27FC236}">
                <a16:creationId xmlns:a16="http://schemas.microsoft.com/office/drawing/2014/main" id="{5D217E24-7BA0-4011-B401-350B3B75C428}"/>
              </a:ext>
            </a:extLst>
          </p:cNvPr>
          <p:cNvSpPr/>
          <p:nvPr userDrawn="1"/>
        </p:nvSpPr>
        <p:spPr>
          <a:xfrm>
            <a:off x="10015227" y="72720"/>
            <a:ext cx="1117727" cy="119765"/>
          </a:xfrm>
          <a:prstGeom prst="rect">
            <a:avLst/>
          </a:prstGeom>
        </p:spPr>
        <p:txBody>
          <a:bodyPr wrap="square" lIns="0" tIns="0" rIns="0" bIns="0" anchor="ctr" anchorCtr="0">
            <a:noAutofit/>
          </a:bodyPr>
          <a:lstStyle/>
          <a:p>
            <a:pPr marL="0" algn="ctr">
              <a:lnSpc>
                <a:spcPct val="100000"/>
              </a:lnSpc>
            </a:pPr>
            <a:r>
              <a:rPr lang="en-US" sz="800" b="0" dirty="0">
                <a:solidFill>
                  <a:schemeClr val="tx2"/>
                </a:solidFill>
              </a:rPr>
              <a:t>Q&amp;A</a:t>
            </a:r>
          </a:p>
        </p:txBody>
      </p:sp>
      <p:cxnSp>
        <p:nvCxnSpPr>
          <p:cNvPr id="32" name="Straight Connector 31">
            <a:extLst>
              <a:ext uri="{FF2B5EF4-FFF2-40B4-BE49-F238E27FC236}">
                <a16:creationId xmlns:a16="http://schemas.microsoft.com/office/drawing/2014/main" id="{0BBF9FBF-B5AC-4D13-8F12-858F62AA98B6}"/>
              </a:ext>
            </a:extLst>
          </p:cNvPr>
          <p:cNvCxnSpPr>
            <a:cxnSpLocks/>
          </p:cNvCxnSpPr>
          <p:nvPr userDrawn="1"/>
        </p:nvCxnSpPr>
        <p:spPr>
          <a:xfrm>
            <a:off x="7199804" y="57861"/>
            <a:ext cx="0" cy="132503"/>
          </a:xfrm>
          <a:prstGeom prst="line">
            <a:avLst/>
          </a:prstGeom>
          <a:ln w="9525">
            <a:solidFill>
              <a:srgbClr val="FAF9F1"/>
            </a:solidFill>
            <a:tailEnd type="none"/>
          </a:ln>
        </p:spPr>
        <p:style>
          <a:lnRef idx="1">
            <a:schemeClr val="accent1"/>
          </a:lnRef>
          <a:fillRef idx="0">
            <a:schemeClr val="accent1"/>
          </a:fillRef>
          <a:effectRef idx="0">
            <a:schemeClr val="accent1"/>
          </a:effectRef>
          <a:fontRef idx="minor">
            <a:schemeClr val="tx1"/>
          </a:fontRef>
        </p:style>
      </p:cxnSp>
      <p:sp>
        <p:nvSpPr>
          <p:cNvPr id="33" name="Rectangle 354">
            <a:hlinkClick r:id="" action="ppaction://noaction"/>
            <a:extLst>
              <a:ext uri="{FF2B5EF4-FFF2-40B4-BE49-F238E27FC236}">
                <a16:creationId xmlns:a16="http://schemas.microsoft.com/office/drawing/2014/main" id="{28E4172A-798B-4EEF-B87A-68D678053D90}"/>
              </a:ext>
            </a:extLst>
          </p:cNvPr>
          <p:cNvSpPr/>
          <p:nvPr userDrawn="1"/>
        </p:nvSpPr>
        <p:spPr>
          <a:xfrm>
            <a:off x="11225436" y="75661"/>
            <a:ext cx="784020" cy="114703"/>
          </a:xfrm>
          <a:prstGeom prst="rect">
            <a:avLst/>
          </a:prstGeom>
        </p:spPr>
        <p:txBody>
          <a:bodyPr wrap="square" lIns="0" tIns="0" rIns="0" bIns="0" anchor="ctr" anchorCtr="0">
            <a:noAutofit/>
          </a:bodyPr>
          <a:lstStyle/>
          <a:p>
            <a:pPr marL="0" algn="ctr">
              <a:lnSpc>
                <a:spcPct val="100000"/>
              </a:lnSpc>
            </a:pPr>
            <a:r>
              <a:rPr lang="en-US" sz="800" b="0" dirty="0">
                <a:solidFill>
                  <a:schemeClr val="bg1"/>
                </a:solidFill>
              </a:rPr>
              <a:t>Appendices</a:t>
            </a:r>
          </a:p>
        </p:txBody>
      </p:sp>
      <p:cxnSp>
        <p:nvCxnSpPr>
          <p:cNvPr id="35" name="Straight Connector 34">
            <a:extLst>
              <a:ext uri="{FF2B5EF4-FFF2-40B4-BE49-F238E27FC236}">
                <a16:creationId xmlns:a16="http://schemas.microsoft.com/office/drawing/2014/main" id="{3D0F673B-AEE1-4B0F-AF54-A78785FAD3E4}"/>
              </a:ext>
            </a:extLst>
          </p:cNvPr>
          <p:cNvCxnSpPr>
            <a:cxnSpLocks/>
          </p:cNvCxnSpPr>
          <p:nvPr userDrawn="1"/>
        </p:nvCxnSpPr>
        <p:spPr>
          <a:xfrm>
            <a:off x="11020031" y="79280"/>
            <a:ext cx="0" cy="132503"/>
          </a:xfrm>
          <a:prstGeom prst="line">
            <a:avLst/>
          </a:prstGeom>
          <a:ln w="9525">
            <a:solidFill>
              <a:srgbClr val="FAF9F1"/>
            </a:solidFill>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B0FF741-181E-4AD3-95AB-5914621CF73D}"/>
              </a:ext>
            </a:extLst>
          </p:cNvPr>
          <p:cNvCxnSpPr>
            <a:cxnSpLocks/>
          </p:cNvCxnSpPr>
          <p:nvPr userDrawn="1"/>
        </p:nvCxnSpPr>
        <p:spPr>
          <a:xfrm>
            <a:off x="10107710" y="79280"/>
            <a:ext cx="0" cy="132503"/>
          </a:xfrm>
          <a:prstGeom prst="line">
            <a:avLst/>
          </a:prstGeom>
          <a:ln w="9525">
            <a:solidFill>
              <a:srgbClr val="FAF9F1"/>
            </a:solidFill>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B92FAA7-EBDB-4E47-B9E1-0509A605DDB8}"/>
              </a:ext>
            </a:extLst>
          </p:cNvPr>
          <p:cNvCxnSpPr>
            <a:cxnSpLocks/>
          </p:cNvCxnSpPr>
          <p:nvPr userDrawn="1"/>
        </p:nvCxnSpPr>
        <p:spPr>
          <a:xfrm>
            <a:off x="8735555" y="72720"/>
            <a:ext cx="0" cy="132503"/>
          </a:xfrm>
          <a:prstGeom prst="line">
            <a:avLst/>
          </a:prstGeom>
          <a:ln w="9525">
            <a:solidFill>
              <a:srgbClr val="FAF9F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60924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9_Standard slide_Quot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080E3E-2219-4614-8126-08599BDA23B5}"/>
              </a:ext>
            </a:extLst>
          </p:cNvPr>
          <p:cNvSpPr/>
          <p:nvPr userDrawn="1"/>
        </p:nvSpPr>
        <p:spPr>
          <a:xfrm>
            <a:off x="0" y="1"/>
            <a:ext cx="12192000" cy="241388"/>
          </a:xfrm>
          <a:prstGeom prst="rect">
            <a:avLst/>
          </a:prstGeom>
          <a:gradFill flip="none" rotWithShape="1">
            <a:gsLst>
              <a:gs pos="0">
                <a:srgbClr val="4C4C5C">
                  <a:shade val="30000"/>
                  <a:satMod val="115000"/>
                </a:srgbClr>
              </a:gs>
              <a:gs pos="50000">
                <a:srgbClr val="4C4C5C">
                  <a:shade val="67500"/>
                  <a:satMod val="115000"/>
                </a:srgbClr>
              </a:gs>
              <a:gs pos="100000">
                <a:srgbClr val="4C4C5C">
                  <a:shade val="100000"/>
                  <a:satMod val="115000"/>
                </a:srgbClr>
              </a:gs>
            </a:gsLst>
            <a:path path="circle">
              <a:fillToRect r="100000" b="100000"/>
            </a:path>
            <a:tileRect l="-100000" t="-10000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BF2C04E3-9852-4EE1-995A-A982B306E72F}" type="datetime3">
              <a:rPr lang="en-US" smtClean="0"/>
              <a:t>3 February 2023</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a:xfrm>
            <a:off x="3237502" y="6471244"/>
            <a:ext cx="3084493" cy="180000"/>
          </a:xfrm>
          <a:prstGeom prst="rect">
            <a:avLst/>
          </a:prstGeom>
        </p:spPr>
        <p:txBody>
          <a:bodyPr/>
          <a:lstStyle/>
          <a:p>
            <a:r>
              <a:rPr lang="en-US" dirty="0"/>
              <a:t>Presentation title</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28" name="Rectangle 354">
            <a:hlinkClick r:id="" action="ppaction://noaction"/>
            <a:extLst>
              <a:ext uri="{FF2B5EF4-FFF2-40B4-BE49-F238E27FC236}">
                <a16:creationId xmlns:a16="http://schemas.microsoft.com/office/drawing/2014/main" id="{AF914DC3-A2C8-40D7-B540-616A5B8B0552}"/>
              </a:ext>
            </a:extLst>
          </p:cNvPr>
          <p:cNvSpPr/>
          <p:nvPr userDrawn="1"/>
        </p:nvSpPr>
        <p:spPr>
          <a:xfrm>
            <a:off x="5963706" y="68510"/>
            <a:ext cx="1258231" cy="164253"/>
          </a:xfrm>
          <a:prstGeom prst="rect">
            <a:avLst/>
          </a:prstGeom>
        </p:spPr>
        <p:txBody>
          <a:bodyPr wrap="square" lIns="0" tIns="0" rIns="0" bIns="0" anchor="ctr" anchorCtr="0">
            <a:noAutofit/>
          </a:bodyPr>
          <a:lstStyle/>
          <a:p>
            <a:pPr marL="0" algn="ctr">
              <a:lnSpc>
                <a:spcPct val="85000"/>
              </a:lnSpc>
            </a:pPr>
            <a:r>
              <a:rPr lang="en-US" sz="800" b="0" dirty="0">
                <a:solidFill>
                  <a:schemeClr val="bg1"/>
                </a:solidFill>
              </a:rPr>
              <a:t>Design objective</a:t>
            </a:r>
          </a:p>
        </p:txBody>
      </p:sp>
      <p:sp>
        <p:nvSpPr>
          <p:cNvPr id="29" name="Rectangle 354">
            <a:hlinkClick r:id="" action="ppaction://noaction"/>
            <a:extLst>
              <a:ext uri="{FF2B5EF4-FFF2-40B4-BE49-F238E27FC236}">
                <a16:creationId xmlns:a16="http://schemas.microsoft.com/office/drawing/2014/main" id="{B830B3D4-C53F-4078-B668-318DEFE5E468}"/>
              </a:ext>
            </a:extLst>
          </p:cNvPr>
          <p:cNvSpPr/>
          <p:nvPr userDrawn="1"/>
        </p:nvSpPr>
        <p:spPr>
          <a:xfrm>
            <a:off x="7228532" y="75660"/>
            <a:ext cx="1504979" cy="139850"/>
          </a:xfrm>
          <a:prstGeom prst="rect">
            <a:avLst/>
          </a:prstGeom>
        </p:spPr>
        <p:txBody>
          <a:bodyPr wrap="square" lIns="0" tIns="0" rIns="0" bIns="0" anchor="ctr" anchorCtr="0">
            <a:noAutofit/>
          </a:bodyPr>
          <a:lstStyle/>
          <a:p>
            <a:pPr marL="0" algn="ctr">
              <a:lnSpc>
                <a:spcPct val="85000"/>
              </a:lnSpc>
            </a:pPr>
            <a:r>
              <a:rPr lang="en-US" sz="800" b="0" dirty="0">
                <a:solidFill>
                  <a:schemeClr val="bg1"/>
                </a:solidFill>
              </a:rPr>
              <a:t>Value chain pathway</a:t>
            </a:r>
          </a:p>
        </p:txBody>
      </p:sp>
      <p:sp>
        <p:nvSpPr>
          <p:cNvPr id="30" name="Rectangle 354">
            <a:hlinkClick r:id="" action="ppaction://noaction"/>
            <a:extLst>
              <a:ext uri="{FF2B5EF4-FFF2-40B4-BE49-F238E27FC236}">
                <a16:creationId xmlns:a16="http://schemas.microsoft.com/office/drawing/2014/main" id="{507D7F6D-D018-4ACB-AA58-64163354B901}"/>
              </a:ext>
            </a:extLst>
          </p:cNvPr>
          <p:cNvSpPr/>
          <p:nvPr userDrawn="1"/>
        </p:nvSpPr>
        <p:spPr>
          <a:xfrm>
            <a:off x="8829825" y="71079"/>
            <a:ext cx="1184452" cy="148904"/>
          </a:xfrm>
          <a:prstGeom prst="rect">
            <a:avLst/>
          </a:prstGeom>
        </p:spPr>
        <p:txBody>
          <a:bodyPr wrap="square" lIns="0" tIns="0" rIns="0" bIns="0" anchor="ctr" anchorCtr="0">
            <a:noAutofit/>
          </a:bodyPr>
          <a:lstStyle/>
          <a:p>
            <a:pPr marL="0" algn="ctr">
              <a:lnSpc>
                <a:spcPct val="85000"/>
              </a:lnSpc>
            </a:pPr>
            <a:r>
              <a:rPr lang="en-US" sz="800" b="0" dirty="0">
                <a:solidFill>
                  <a:schemeClr val="bg1"/>
                </a:solidFill>
              </a:rPr>
              <a:t>Value proposition</a:t>
            </a:r>
          </a:p>
        </p:txBody>
      </p:sp>
      <p:sp>
        <p:nvSpPr>
          <p:cNvPr id="31" name="Rectangle 354">
            <a:hlinkClick r:id="" action="ppaction://noaction"/>
            <a:extLst>
              <a:ext uri="{FF2B5EF4-FFF2-40B4-BE49-F238E27FC236}">
                <a16:creationId xmlns:a16="http://schemas.microsoft.com/office/drawing/2014/main" id="{5D217E24-7BA0-4011-B401-350B3B75C428}"/>
              </a:ext>
            </a:extLst>
          </p:cNvPr>
          <p:cNvSpPr/>
          <p:nvPr userDrawn="1"/>
        </p:nvSpPr>
        <p:spPr>
          <a:xfrm>
            <a:off x="10015227" y="72720"/>
            <a:ext cx="1117727" cy="119765"/>
          </a:xfrm>
          <a:prstGeom prst="rect">
            <a:avLst/>
          </a:prstGeom>
        </p:spPr>
        <p:txBody>
          <a:bodyPr wrap="square" lIns="0" tIns="0" rIns="0" bIns="0" anchor="ctr" anchorCtr="0">
            <a:noAutofit/>
          </a:bodyPr>
          <a:lstStyle/>
          <a:p>
            <a:pPr marL="0" algn="ctr">
              <a:lnSpc>
                <a:spcPct val="100000"/>
              </a:lnSpc>
            </a:pPr>
            <a:r>
              <a:rPr lang="en-US" sz="800" b="0" dirty="0">
                <a:solidFill>
                  <a:schemeClr val="bg1"/>
                </a:solidFill>
              </a:rPr>
              <a:t>Q&amp;A</a:t>
            </a:r>
          </a:p>
        </p:txBody>
      </p:sp>
      <p:cxnSp>
        <p:nvCxnSpPr>
          <p:cNvPr id="32" name="Straight Connector 31">
            <a:extLst>
              <a:ext uri="{FF2B5EF4-FFF2-40B4-BE49-F238E27FC236}">
                <a16:creationId xmlns:a16="http://schemas.microsoft.com/office/drawing/2014/main" id="{0BBF9FBF-B5AC-4D13-8F12-858F62AA98B6}"/>
              </a:ext>
            </a:extLst>
          </p:cNvPr>
          <p:cNvCxnSpPr>
            <a:cxnSpLocks/>
          </p:cNvCxnSpPr>
          <p:nvPr userDrawn="1"/>
        </p:nvCxnSpPr>
        <p:spPr>
          <a:xfrm>
            <a:off x="7199804" y="57861"/>
            <a:ext cx="0" cy="132503"/>
          </a:xfrm>
          <a:prstGeom prst="line">
            <a:avLst/>
          </a:prstGeom>
          <a:ln w="9525">
            <a:solidFill>
              <a:srgbClr val="FAF9F1"/>
            </a:solidFill>
            <a:tailEnd type="none"/>
          </a:ln>
        </p:spPr>
        <p:style>
          <a:lnRef idx="1">
            <a:schemeClr val="accent1"/>
          </a:lnRef>
          <a:fillRef idx="0">
            <a:schemeClr val="accent1"/>
          </a:fillRef>
          <a:effectRef idx="0">
            <a:schemeClr val="accent1"/>
          </a:effectRef>
          <a:fontRef idx="minor">
            <a:schemeClr val="tx1"/>
          </a:fontRef>
        </p:style>
      </p:cxnSp>
      <p:sp>
        <p:nvSpPr>
          <p:cNvPr id="33" name="Rectangle 354">
            <a:hlinkClick r:id="" action="ppaction://noaction"/>
            <a:extLst>
              <a:ext uri="{FF2B5EF4-FFF2-40B4-BE49-F238E27FC236}">
                <a16:creationId xmlns:a16="http://schemas.microsoft.com/office/drawing/2014/main" id="{28E4172A-798B-4EEF-B87A-68D678053D90}"/>
              </a:ext>
            </a:extLst>
          </p:cNvPr>
          <p:cNvSpPr/>
          <p:nvPr userDrawn="1"/>
        </p:nvSpPr>
        <p:spPr>
          <a:xfrm>
            <a:off x="11225436" y="75661"/>
            <a:ext cx="784020" cy="114703"/>
          </a:xfrm>
          <a:prstGeom prst="rect">
            <a:avLst/>
          </a:prstGeom>
        </p:spPr>
        <p:txBody>
          <a:bodyPr wrap="square" lIns="0" tIns="0" rIns="0" bIns="0" anchor="ctr" anchorCtr="0">
            <a:noAutofit/>
          </a:bodyPr>
          <a:lstStyle/>
          <a:p>
            <a:pPr marL="0" algn="ctr">
              <a:lnSpc>
                <a:spcPct val="100000"/>
              </a:lnSpc>
            </a:pPr>
            <a:r>
              <a:rPr lang="en-US" sz="800" b="0" dirty="0">
                <a:solidFill>
                  <a:schemeClr val="tx2"/>
                </a:solidFill>
              </a:rPr>
              <a:t>Appendices</a:t>
            </a:r>
          </a:p>
        </p:txBody>
      </p:sp>
      <p:cxnSp>
        <p:nvCxnSpPr>
          <p:cNvPr id="35" name="Straight Connector 34">
            <a:extLst>
              <a:ext uri="{FF2B5EF4-FFF2-40B4-BE49-F238E27FC236}">
                <a16:creationId xmlns:a16="http://schemas.microsoft.com/office/drawing/2014/main" id="{3D0F673B-AEE1-4B0F-AF54-A78785FAD3E4}"/>
              </a:ext>
            </a:extLst>
          </p:cNvPr>
          <p:cNvCxnSpPr>
            <a:cxnSpLocks/>
          </p:cNvCxnSpPr>
          <p:nvPr userDrawn="1"/>
        </p:nvCxnSpPr>
        <p:spPr>
          <a:xfrm>
            <a:off x="11020031" y="79280"/>
            <a:ext cx="0" cy="132503"/>
          </a:xfrm>
          <a:prstGeom prst="line">
            <a:avLst/>
          </a:prstGeom>
          <a:ln w="9525">
            <a:solidFill>
              <a:srgbClr val="FAF9F1"/>
            </a:solidFill>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B0FF741-181E-4AD3-95AB-5914621CF73D}"/>
              </a:ext>
            </a:extLst>
          </p:cNvPr>
          <p:cNvCxnSpPr>
            <a:cxnSpLocks/>
          </p:cNvCxnSpPr>
          <p:nvPr userDrawn="1"/>
        </p:nvCxnSpPr>
        <p:spPr>
          <a:xfrm>
            <a:off x="10107710" y="79280"/>
            <a:ext cx="0" cy="132503"/>
          </a:xfrm>
          <a:prstGeom prst="line">
            <a:avLst/>
          </a:prstGeom>
          <a:ln w="9525">
            <a:solidFill>
              <a:srgbClr val="FAF9F1"/>
            </a:solidFill>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B92FAA7-EBDB-4E47-B9E1-0509A605DDB8}"/>
              </a:ext>
            </a:extLst>
          </p:cNvPr>
          <p:cNvCxnSpPr>
            <a:cxnSpLocks/>
          </p:cNvCxnSpPr>
          <p:nvPr userDrawn="1"/>
        </p:nvCxnSpPr>
        <p:spPr>
          <a:xfrm>
            <a:off x="8735555" y="72720"/>
            <a:ext cx="0" cy="132503"/>
          </a:xfrm>
          <a:prstGeom prst="line">
            <a:avLst/>
          </a:prstGeom>
          <a:ln w="9525">
            <a:solidFill>
              <a:srgbClr val="FAF9F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83190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FFE600"/>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2332713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tx2"/>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bg1"/>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27219358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8234455"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fld id="{F4FB490B-7BF8-4509-9F0D-5A2D3FE1A9A1}" type="datetime3">
              <a:rPr lang="en-US" smtClean="0"/>
              <a:t>3 February 2023</a:t>
            </a:fld>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a:xfrm>
            <a:off x="3237502" y="6471244"/>
            <a:ext cx="3084493" cy="180000"/>
          </a:xfrm>
          <a:prstGeom prst="rect">
            <a:avLst/>
          </a:prstGeom>
        </p:spPr>
        <p:txBody>
          <a:bodyPr/>
          <a:lstStyle/>
          <a:p>
            <a:r>
              <a:rPr lang="en-US" dirty="0"/>
              <a:t>Presentation title</a:t>
            </a:r>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9823959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3 February 2023</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a:xfrm>
            <a:off x="3237502" y="6471244"/>
            <a:ext cx="3084493" cy="180000"/>
          </a:xfrm>
          <a:prstGeom prst="rect">
            <a:avLst/>
          </a:prstGeom>
        </p:spPr>
        <p:txBody>
          <a:bodyPr/>
          <a:lstStyle/>
          <a:p>
            <a:r>
              <a:rPr lang="en-US" dirty="0"/>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7446759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7848B339-892E-45B1-8EC6-9663C993893D}" type="datetime3">
              <a:rPr lang="en-US" smtClean="0"/>
              <a:t>3 February 2023</a:t>
            </a:fld>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a:xfrm>
            <a:off x="3237502" y="6471244"/>
            <a:ext cx="3084493" cy="180000"/>
          </a:xfrm>
          <a:prstGeom prst="rect">
            <a:avLst/>
          </a:prstGeom>
        </p:spPr>
        <p:txBody>
          <a:bodyPr/>
          <a:lstStyle/>
          <a:p>
            <a:r>
              <a:rPr lang="en-US" dirty="0"/>
              <a:t>Presentation title</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3633831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fld id="{97B14021-CB4E-4A4F-8709-D33FAB29C8FB}" type="datetime3">
              <a:rPr lang="en-US" smtClean="0"/>
              <a:t>3 February 2023</a:t>
            </a:fld>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a:xfrm>
            <a:off x="3237502" y="6471244"/>
            <a:ext cx="3084493" cy="180000"/>
          </a:xfrm>
          <a:prstGeom prst="rect">
            <a:avLst/>
          </a:prstGeom>
        </p:spPr>
        <p:txBody>
          <a:bodyPr/>
          <a:lstStyle/>
          <a:p>
            <a:r>
              <a:rPr lang="en-US" dirty="0"/>
              <a:t>Presentation title</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831618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53C96D42-85A7-4FB8-81C2-A76989CD2C0B}" type="datetime3">
              <a:rPr lang="en-US" smtClean="0"/>
              <a:t>3 February 2023</a:t>
            </a:fld>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a:xfrm>
            <a:off x="3237502" y="6471244"/>
            <a:ext cx="3084493" cy="180000"/>
          </a:xfrm>
          <a:prstGeom prst="rect">
            <a:avLst/>
          </a:prstGeom>
        </p:spPr>
        <p:txBody>
          <a:bodyPr/>
          <a:lstStyle/>
          <a:p>
            <a:r>
              <a:rPr lang="en-US" dirty="0"/>
              <a:t>Presentation title</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7277261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BE72F864-C261-4ACC-899D-1F7B54215EB6}" type="datetime3">
              <a:rPr lang="en-US" smtClean="0"/>
              <a:t>3 February 2023</a:t>
            </a:fld>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a:xfrm>
            <a:off x="3237502" y="6471244"/>
            <a:ext cx="3084493" cy="180000"/>
          </a:xfrm>
          <a:prstGeom prst="rect">
            <a:avLst/>
          </a:prstGeom>
        </p:spPr>
        <p:txBody>
          <a:bodyPr/>
          <a:lstStyle/>
          <a:p>
            <a:r>
              <a:rPr lang="en-US" dirty="0"/>
              <a:t>Presentation title</a:t>
            </a:r>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9222949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fld id="{DE39BF9A-0D1B-456C-90FD-7DD4E43985FE}" type="datetime3">
              <a:rPr lang="en-US" smtClean="0"/>
              <a:t>3 February 2023</a:t>
            </a:fld>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a:xfrm>
            <a:off x="3237502" y="6471244"/>
            <a:ext cx="3084493" cy="180000"/>
          </a:xfrm>
          <a:prstGeom prst="rect">
            <a:avLst/>
          </a:prstGeom>
        </p:spPr>
        <p:txBody>
          <a:bodyPr/>
          <a:lstStyle/>
          <a:p>
            <a:r>
              <a:rPr lang="en-US" dirty="0"/>
              <a:t>Presentation title</a:t>
            </a:r>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4623894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fld id="{678A09A2-12AE-4A08-9E31-994E3910808B}" type="datetime3">
              <a:rPr lang="en-US" smtClean="0"/>
              <a:t>3 February 2023</a:t>
            </a:fld>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a:xfrm>
            <a:off x="3237502" y="6471244"/>
            <a:ext cx="3084493" cy="180000"/>
          </a:xfrm>
          <a:prstGeom prst="rect">
            <a:avLst/>
          </a:prstGeom>
        </p:spPr>
        <p:txBody>
          <a:bodyPr/>
          <a:lstStyle/>
          <a:p>
            <a:r>
              <a:rPr lang="en-US" dirty="0"/>
              <a:t>Presentation title</a:t>
            </a:r>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870757900"/>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0BD55BA1-5616-41A0-A230-900CC53918C9}" type="datetime3">
              <a:rPr lang="en-US" smtClean="0"/>
              <a:t>3 February 2023</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a:xfrm>
            <a:off x="3237502" y="6471244"/>
            <a:ext cx="3084493" cy="180000"/>
          </a:xfrm>
          <a:prstGeom prst="rect">
            <a:avLst/>
          </a:prstGeom>
        </p:spPr>
        <p:txBody>
          <a:bodyPr/>
          <a:lstStyle/>
          <a:p>
            <a:r>
              <a:rPr lang="en-US" dirty="0"/>
              <a:t>Presentation title</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285326076"/>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45775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ECB31890-3905-4699-8A54-4A643E2FBD12}" type="datetime3">
              <a:rPr lang="en-US" smtClean="0"/>
              <a:t>3 February 2023</a:t>
            </a:fld>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a:xfrm>
            <a:off x="3237502" y="6471244"/>
            <a:ext cx="3084493" cy="180000"/>
          </a:xfrm>
          <a:prstGeom prst="rect">
            <a:avLst/>
          </a:prstGeom>
        </p:spPr>
        <p:txBody>
          <a:bodyPr/>
          <a:lstStyle/>
          <a:p>
            <a:r>
              <a:rPr lang="en-US" dirty="0"/>
              <a:t>Presentation title</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512606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4"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929614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0"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8769097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49" y="0"/>
            <a:ext cx="12185658"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202792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a:t>Standard slide</a:t>
            </a:r>
            <a:endParaRPr lang="en-GB"/>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EE19B0F1-44AD-42A5-9A37-2FB41F1EC903}" type="datetime3">
              <a:rPr lang="en-US" smtClean="0"/>
              <a:t>3 February 2023</a:t>
            </a:fld>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a:xfrm>
            <a:off x="3237502" y="6471244"/>
            <a:ext cx="3084493" cy="180000"/>
          </a:xfrm>
          <a:prstGeom prst="rect">
            <a:avLst/>
          </a:prstGeom>
        </p:spPr>
        <p:txBody>
          <a:bodyPr/>
          <a:lstStyle/>
          <a:p>
            <a:r>
              <a:rPr lang="en-US" dirty="0"/>
              <a:t>Presentation title</a:t>
            </a:r>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9984547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66032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100" y="1954221"/>
            <a:ext cx="4326679"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0"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4" y="5605201"/>
            <a:ext cx="1044529" cy="197581"/>
          </a:xfrm>
          <a:prstGeom prst="rect">
            <a:avLst/>
          </a:prstGeom>
          <a:noFill/>
        </p:spPr>
        <p:txBody>
          <a:bodyPr wrap="square" lIns="0" tIns="0" rIns="0" bIns="0" rtlCol="0" anchor="ctr" anchorCtr="0">
            <a:noAutofit/>
          </a:bodyPr>
          <a:lstStyle/>
          <a:p>
            <a:r>
              <a:rPr lang="en-GB" sz="1199"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2490" y="6019189"/>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2490" y="6216807"/>
            <a:ext cx="3087667" cy="180000"/>
          </a:xfrm>
        </p:spPr>
        <p:txBody>
          <a:bodyPr/>
          <a:lstStyle>
            <a:lvl1pPr marL="0" indent="0">
              <a:buNone/>
              <a:defRPr sz="1199">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743" y="5914642"/>
            <a:ext cx="5757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59392" y="4960938"/>
            <a:ext cx="1224912"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194880329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3"/>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112" y="876059"/>
            <a:ext cx="4852768"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59392" y="4960938"/>
            <a:ext cx="1224912"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1045220714"/>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59392" y="4960938"/>
            <a:ext cx="1224912"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1110542834"/>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86AD1DFC-053D-4B86-B715-9C611EC38679}" type="datetime3">
              <a:rPr lang="en-US" smtClean="0"/>
              <a:t>3 February 2023</a:t>
            </a:fld>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a:xfrm>
            <a:off x="3237502" y="6471244"/>
            <a:ext cx="3084493" cy="180000"/>
          </a:xfrm>
          <a:prstGeom prst="rect">
            <a:avLst/>
          </a:prstGeom>
        </p:spPr>
        <p:txBody>
          <a:bodyPr/>
          <a:lstStyle/>
          <a:p>
            <a:r>
              <a:rPr lang="en-IN" dirty="0"/>
              <a:t>Presentation title</a:t>
            </a:r>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65498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16D63E5D-D4D4-47A0-B3D2-9C348E301267}" type="datetime3">
              <a:rPr lang="en-US" smtClean="0"/>
              <a:t>3 February 2023</a:t>
            </a:fld>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a:xfrm>
            <a:off x="3237502" y="6471244"/>
            <a:ext cx="3084493" cy="180000"/>
          </a:xfrm>
          <a:prstGeom prst="rect">
            <a:avLst/>
          </a:prstGeom>
        </p:spPr>
        <p:txBody>
          <a:bodyPr/>
          <a:lstStyle/>
          <a:p>
            <a:r>
              <a:rPr lang="en-IN" dirty="0"/>
              <a:t>Presentation title</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2185180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dirty="0"/>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0E49E8CE-5235-4494-B0FD-9ECC8206E96E}" type="datetime3">
              <a:rPr lang="en-US" smtClean="0"/>
              <a:t>3 February 2023</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a:xfrm>
            <a:off x="3237502" y="6471244"/>
            <a:ext cx="3084493" cy="180000"/>
          </a:xfrm>
          <a:prstGeom prst="rect">
            <a:avLst/>
          </a:prstGeom>
        </p:spPr>
        <p:txBody>
          <a:bodyPr/>
          <a:lstStyle/>
          <a:p>
            <a:r>
              <a:rPr lang="en-IN" dirty="0"/>
              <a:t>Presentation title</a:t>
            </a:r>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1607709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endParaRPr lang="en-IN" dirty="0"/>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CFB1ADCF-7548-48F2-B4E3-18B2C0EE8460}" type="datetime3">
              <a:rPr lang="en-US" smtClean="0"/>
              <a:t>3 February 2023</a:t>
            </a:fld>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a:xfrm>
            <a:off x="3237502" y="6471244"/>
            <a:ext cx="3084493" cy="180000"/>
          </a:xfrm>
          <a:prstGeom prst="rect">
            <a:avLst/>
          </a:prstGeom>
        </p:spPr>
        <p:txBody>
          <a:bodyPr/>
          <a:lstStyle/>
          <a:p>
            <a:r>
              <a:rPr lang="en-IN" dirty="0"/>
              <a:t>Presentation title</a:t>
            </a:r>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6325424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24850215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012487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dirty="0"/>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440548"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FAA65521-E907-4B6A-8E88-DD4BEE4ED137}" type="datetime3">
              <a:rPr lang="en-US" smtClean="0"/>
              <a:t>3 February 2023</a:t>
            </a:fld>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a:xfrm>
            <a:off x="3237502" y="6471244"/>
            <a:ext cx="3084493" cy="180000"/>
          </a:xfrm>
          <a:prstGeom prst="rect">
            <a:avLst/>
          </a:prstGeom>
        </p:spPr>
        <p:txBody>
          <a:bodyPr/>
          <a:lstStyle/>
          <a:p>
            <a:r>
              <a:rPr lang="en-US" dirty="0"/>
              <a:t>Presentation title</a:t>
            </a:r>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2709530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99948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8F6D9080-1DFC-4303-893C-6B8A3FEC05E8}" type="datetime3">
              <a:rPr lang="en-US" smtClean="0"/>
              <a:t>3 February 2023</a:t>
            </a:fld>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a:xfrm>
            <a:off x="3237502" y="6471244"/>
            <a:ext cx="3084493" cy="180000"/>
          </a:xfrm>
          <a:prstGeom prst="rect">
            <a:avLst/>
          </a:prstGeom>
        </p:spPr>
        <p:txBody>
          <a:bodyPr/>
          <a:lstStyle/>
          <a:p>
            <a:r>
              <a:rPr lang="en-IN" dirty="0"/>
              <a:t>Presentation title</a:t>
            </a:r>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050661630"/>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A8381BA6-C3FD-495B-9B56-A30783EC7416}" type="datetime3">
              <a:rPr lang="en-US" smtClean="0"/>
              <a:t>3 February 2023</a:t>
            </a:fld>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a:xfrm>
            <a:off x="3237502" y="6471244"/>
            <a:ext cx="3084493" cy="180000"/>
          </a:xfrm>
          <a:prstGeom prst="rect">
            <a:avLst/>
          </a:prstGeom>
        </p:spPr>
        <p:txBody>
          <a:bodyPr/>
          <a:lstStyle/>
          <a:p>
            <a:r>
              <a:rPr lang="en-IN" dirty="0"/>
              <a:t>Presentation title</a:t>
            </a:r>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8724885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2A7C88E1-FE33-48AD-9218-9258D62CDCC4}" type="datetime3">
              <a:rPr lang="en-US" smtClean="0"/>
              <a:t>3 February 2023</a:t>
            </a:fld>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a:xfrm>
            <a:off x="3237502" y="6471244"/>
            <a:ext cx="3084493" cy="180000"/>
          </a:xfrm>
          <a:prstGeom prst="rect">
            <a:avLst/>
          </a:prstGeom>
        </p:spPr>
        <p:txBody>
          <a:bodyPr/>
          <a:lstStyle/>
          <a:p>
            <a:r>
              <a:rPr lang="en-IN" dirty="0"/>
              <a:t>Presentation title</a:t>
            </a:r>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4732288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22FE8F4A-3FA1-4A64-AE77-2254BB85F3D2}" type="datetime3">
              <a:rPr lang="en-US" smtClean="0"/>
              <a:t>3 February 2023</a:t>
            </a:fld>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a:xfrm>
            <a:off x="4553753" y="6471244"/>
            <a:ext cx="3084493" cy="180000"/>
          </a:xfrm>
          <a:prstGeom prst="rect">
            <a:avLst/>
          </a:prstGeom>
        </p:spPr>
        <p:txBody>
          <a:bodyPr/>
          <a:lstStyle>
            <a:lvl1pPr algn="ctr">
              <a:defRPr>
                <a:solidFill>
                  <a:schemeClr val="tx2"/>
                </a:solidFill>
              </a:defRPr>
            </a:lvl1pPr>
          </a:lstStyle>
          <a:p>
            <a:r>
              <a:rPr lang="en-US" dirty="0"/>
              <a:t>Draft</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915017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C3A9E02A-78D6-48B7-A389-464ED573BA5D}" type="datetime3">
              <a:rPr lang="en-US" smtClean="0"/>
              <a:t>3 February 2023</a:t>
            </a:fld>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a:xfrm>
            <a:off x="3237502" y="6471244"/>
            <a:ext cx="3084493" cy="180000"/>
          </a:xfrm>
          <a:prstGeom prst="rect">
            <a:avLst/>
          </a:prstGeom>
        </p:spPr>
        <p:txBody>
          <a:bodyPr/>
          <a:lstStyle/>
          <a:p>
            <a:r>
              <a:rPr lang="en-IN" dirty="0"/>
              <a:t>Presentation title</a:t>
            </a:r>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0032889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029E1942-EB53-47E3-BCA7-F99D05C795EC}" type="datetime3">
              <a:rPr lang="en-US" smtClean="0"/>
              <a:t>3 February 2023</a:t>
            </a:fld>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a:xfrm>
            <a:off x="3237502" y="6471244"/>
            <a:ext cx="3084493" cy="180000"/>
          </a:xfrm>
          <a:prstGeom prst="rect">
            <a:avLst/>
          </a:prstGeom>
        </p:spPr>
        <p:txBody>
          <a:bodyPr/>
          <a:lstStyle/>
          <a:p>
            <a:r>
              <a:rPr lang="en-IN" dirty="0"/>
              <a:t>Presentation title</a:t>
            </a:r>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599049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3"/>
            <a:ext cx="4535597"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9"/>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1057AB47-DE48-402E-B5B7-CB9A0D0B7D44}" type="datetime3">
              <a:rPr lang="en-US" smtClean="0"/>
              <a:t>3 February 2023</a:t>
            </a:fld>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a:xfrm>
            <a:off x="3237502" y="6471244"/>
            <a:ext cx="3084493" cy="180000"/>
          </a:xfrm>
          <a:prstGeom prst="rect">
            <a:avLst/>
          </a:prstGeom>
        </p:spPr>
        <p:txBody>
          <a:bodyPr/>
          <a:lstStyle/>
          <a:p>
            <a:r>
              <a:rPr lang="en-IN" dirty="0"/>
              <a:t>Presentation title</a:t>
            </a:r>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30776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6A95EDC0-9791-477B-BA1D-1692FE9BFBAA}" type="datetime3">
              <a:rPr lang="en-US" smtClean="0"/>
              <a:t>3 February 2023</a:t>
            </a:fld>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a:xfrm>
            <a:off x="3237502" y="6471244"/>
            <a:ext cx="3084493" cy="180000"/>
          </a:xfrm>
          <a:prstGeom prst="rect">
            <a:avLst/>
          </a:prstGeom>
        </p:spPr>
        <p:txBody>
          <a:bodyPr/>
          <a:lstStyle/>
          <a:p>
            <a:r>
              <a:rPr lang="en-IN" dirty="0"/>
              <a:t>Presentation title</a:t>
            </a:r>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4132304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51FBADE3-2F67-4EB8-B1F9-B00F8B809757}" type="datetime3">
              <a:rPr lang="en-US" smtClean="0"/>
              <a:t>3 February 2023</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a:xfrm>
            <a:off x="3237502" y="6471244"/>
            <a:ext cx="3084493" cy="180000"/>
          </a:xfrm>
          <a:prstGeom prst="rect">
            <a:avLst/>
          </a:prstGeom>
        </p:spPr>
        <p:txBody>
          <a:bodyPr/>
          <a:lstStyle/>
          <a:p>
            <a:r>
              <a:rPr lang="en-IN" dirty="0"/>
              <a:t>Presentation title</a:t>
            </a:r>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65490406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endParaRPr lang="en-IN" dirty="0"/>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B2FB67F6-71E2-4CE9-9767-63F7E639F73F}" type="datetime3">
              <a:rPr lang="en-US" smtClean="0"/>
              <a:t>3 February 2023</a:t>
            </a:fld>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a:xfrm>
            <a:off x="3237502" y="6471244"/>
            <a:ext cx="3084493" cy="180000"/>
          </a:xfrm>
          <a:prstGeom prst="rect">
            <a:avLst/>
          </a:prstGeom>
        </p:spPr>
        <p:txBody>
          <a:bodyPr/>
          <a:lstStyle/>
          <a:p>
            <a:r>
              <a:rPr lang="en-US" dirty="0"/>
              <a:t>Presentation title</a:t>
            </a:r>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94640670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726512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63796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8234455"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1E6D7102-DD97-4F84-8724-387B81A0E6ED}" type="datetime3">
              <a:rPr lang="en-US" smtClean="0"/>
              <a:t>3 February 2023</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a:xfrm>
            <a:off x="3237502" y="6471244"/>
            <a:ext cx="3084493" cy="180000"/>
          </a:xfrm>
          <a:prstGeom prst="rect">
            <a:avLst/>
          </a:prstGeom>
        </p:spPr>
        <p:txBody>
          <a:bodyPr/>
          <a:lstStyle/>
          <a:p>
            <a:r>
              <a:rPr lang="en-US" dirty="0"/>
              <a:t>Presentation tit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7736299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fld id="{C1498488-8765-4B8D-9D72-8E71718AE3EF}" type="datetime3">
              <a:rPr lang="en-US" smtClean="0"/>
              <a:t>3 February 2023</a:t>
            </a:fld>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a:xfrm>
            <a:off x="3237502" y="6471244"/>
            <a:ext cx="3084493" cy="180000"/>
          </a:xfrm>
          <a:prstGeom prst="rect">
            <a:avLst/>
          </a:prstGeom>
        </p:spPr>
        <p:txBody>
          <a:bodyPr/>
          <a:lstStyle/>
          <a:p>
            <a:r>
              <a:rPr lang="en-US" dirty="0"/>
              <a:t>Presentation title</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588001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3"/>
            <a:ext cx="4535597"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9"/>
            </a:lvl1pPr>
          </a:lstStyle>
          <a:p>
            <a:pPr lvl="0"/>
            <a:r>
              <a:rPr lang="en-IN"/>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fld id="{70698E0F-C516-4EA3-9B7A-A60925844285}" type="datetime3">
              <a:rPr lang="en-US" smtClean="0"/>
              <a:t>3 February 2023</a:t>
            </a:fld>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a:xfrm>
            <a:off x="3237502" y="6471244"/>
            <a:ext cx="3084493" cy="180000"/>
          </a:xfrm>
          <a:prstGeom prst="rect">
            <a:avLst/>
          </a:prstGeom>
        </p:spPr>
        <p:txBody>
          <a:bodyPr/>
          <a:lstStyle/>
          <a:p>
            <a:r>
              <a:rPr lang="en-US" dirty="0"/>
              <a:t>Presentation title</a:t>
            </a:r>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8965681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A30B5B11-3029-4BDF-9283-90F5215BC815}" type="datetime3">
              <a:rPr lang="en-US" smtClean="0"/>
              <a:t>3 February 2023</a:t>
            </a:fld>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a:xfrm>
            <a:off x="3237502" y="6471244"/>
            <a:ext cx="3084493" cy="180000"/>
          </a:xfrm>
          <a:prstGeom prst="rect">
            <a:avLst/>
          </a:prstGeom>
        </p:spPr>
        <p:txBody>
          <a:bodyPr/>
          <a:lstStyle/>
          <a:p>
            <a:r>
              <a:rPr lang="en-US" dirty="0"/>
              <a:t>Presentation title</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72161152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D2D9DA-2AC1-47B6-8CAD-3F4039AE7E9F}"/>
              </a:ext>
            </a:extLst>
          </p:cNvPr>
          <p:cNvGraphicFramePr>
            <a:graphicFrameLocks noChangeAspect="1"/>
          </p:cNvGraphicFramePr>
          <p:nvPr userDrawn="1">
            <p:custDataLst>
              <p:tags r:id="rId53"/>
            </p:custDataLst>
            <p:extLst>
              <p:ext uri="{D42A27DB-BD31-4B8C-83A1-F6EECF244321}">
                <p14:modId xmlns:p14="http://schemas.microsoft.com/office/powerpoint/2010/main" val="205709953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4" imgW="592" imgH="591" progId="TCLayout.ActiveDocument.1">
                  <p:embed/>
                </p:oleObj>
              </mc:Choice>
              <mc:Fallback>
                <p:oleObj name="think-cell Slide" r:id="rId54" imgW="592" imgH="591" progId="TCLayout.ActiveDocument.1">
                  <p:embed/>
                  <p:pic>
                    <p:nvPicPr>
                      <p:cNvPr id="5" name="Object 4" hidden="1">
                        <a:extLst>
                          <a:ext uri="{FF2B5EF4-FFF2-40B4-BE49-F238E27FC236}">
                            <a16:creationId xmlns:a16="http://schemas.microsoft.com/office/drawing/2014/main" id="{A9D2D9DA-2AC1-47B6-8CAD-3F4039AE7E9F}"/>
                          </a:ext>
                        </a:extLst>
                      </p:cNvPr>
                      <p:cNvPicPr/>
                      <p:nvPr/>
                    </p:nvPicPr>
                    <p:blipFill>
                      <a:blip r:embed="rId55"/>
                      <a:stretch>
                        <a:fillRect/>
                      </a:stretch>
                    </p:blipFill>
                    <p:spPr>
                      <a:xfrm>
                        <a:off x="1587" y="1588"/>
                        <a:ext cx="1587" cy="1588"/>
                      </a:xfrm>
                      <a:prstGeom prst="rect">
                        <a:avLst/>
                      </a:prstGeom>
                    </p:spPr>
                  </p:pic>
                </p:oleObj>
              </mc:Fallback>
            </mc:AlternateContent>
          </a:graphicData>
        </a:graphic>
      </p:graphicFrame>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0007152" y="6193410"/>
            <a:ext cx="418462" cy="42964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184" y="6471244"/>
            <a:ext cx="1190638"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fld id="{CD05BAC6-7084-4B5E-A926-4CA635F89C64}" type="datetime3">
              <a:rPr lang="en-US" smtClean="0"/>
              <a:t>3 February 2023</a:t>
            </a:fld>
            <a:endParaRPr lang="en-IN"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6900" y="6471244"/>
            <a:ext cx="662721"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pic>
        <p:nvPicPr>
          <p:cNvPr id="17" name="Picture 16">
            <a:extLst>
              <a:ext uri="{FF2B5EF4-FFF2-40B4-BE49-F238E27FC236}">
                <a16:creationId xmlns:a16="http://schemas.microsoft.com/office/drawing/2014/main" id="{1DB6AADE-883F-42D4-B3FD-CA12F1AA6D39}"/>
              </a:ext>
            </a:extLst>
          </p:cNvPr>
          <p:cNvPicPr>
            <a:picLocks noChangeAspect="1"/>
          </p:cNvPicPr>
          <p:nvPr userDrawn="1"/>
        </p:nvPicPr>
        <p:blipFill>
          <a:blip r:embed="rId56" cstate="print">
            <a:extLst>
              <a:ext uri="{28A0092B-C50C-407E-A947-70E740481C1C}">
                <a14:useLocalDpi xmlns:a14="http://schemas.microsoft.com/office/drawing/2010/main" val="0"/>
              </a:ext>
            </a:extLst>
          </a:blip>
          <a:stretch>
            <a:fillRect/>
          </a:stretch>
        </p:blipFill>
        <p:spPr>
          <a:xfrm>
            <a:off x="10539301" y="6391769"/>
            <a:ext cx="1046185" cy="262846"/>
          </a:xfrm>
          <a:prstGeom prst="rect">
            <a:avLst/>
          </a:prstGeom>
        </p:spPr>
      </p:pic>
      <p:cxnSp>
        <p:nvCxnSpPr>
          <p:cNvPr id="6" name="Straight Connector 5">
            <a:extLst>
              <a:ext uri="{FF2B5EF4-FFF2-40B4-BE49-F238E27FC236}">
                <a16:creationId xmlns:a16="http://schemas.microsoft.com/office/drawing/2014/main" id="{2FABA20B-9FC7-4B70-95E0-72E8655F5E26}"/>
              </a:ext>
            </a:extLst>
          </p:cNvPr>
          <p:cNvCxnSpPr/>
          <p:nvPr userDrawn="1"/>
        </p:nvCxnSpPr>
        <p:spPr>
          <a:xfrm>
            <a:off x="10444458" y="6391770"/>
            <a:ext cx="0" cy="259475"/>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C9373D10-802A-41F1-85CA-EDC25E533B95}"/>
              </a:ext>
            </a:extLst>
          </p:cNvPr>
          <p:cNvSpPr>
            <a:spLocks noGrp="1"/>
          </p:cNvSpPr>
          <p:nvPr>
            <p:ph type="ftr" sz="quarter" idx="3"/>
          </p:nvPr>
        </p:nvSpPr>
        <p:spPr>
          <a:xfrm>
            <a:off x="4553753" y="6471244"/>
            <a:ext cx="3367734" cy="180000"/>
          </a:xfrm>
          <a:prstGeom prst="rect">
            <a:avLst/>
          </a:prstGeom>
        </p:spPr>
        <p:txBody>
          <a:bodyPr/>
          <a:lstStyle>
            <a:lvl1pPr algn="ctr">
              <a:defRPr sz="900">
                <a:solidFill>
                  <a:schemeClr val="bg1"/>
                </a:solidFill>
              </a:defRPr>
            </a:lvl1pPr>
          </a:lstStyle>
          <a:p>
            <a:r>
              <a:rPr lang="en-GB" dirty="0"/>
              <a:t>Page </a:t>
            </a:r>
            <a:fld id="{F1BC30E3-FFE5-4B91-AA19-87A149EBB9EE}" type="slidenum">
              <a:rPr smtClean="0"/>
              <a:pPr/>
              <a:t>‹#›</a:t>
            </a:fld>
            <a:r>
              <a:rPr lang="en-US" dirty="0"/>
              <a:t> | Draft</a:t>
            </a:r>
          </a:p>
        </p:txBody>
      </p:sp>
    </p:spTree>
    <p:extLst>
      <p:ext uri="{BB962C8B-B14F-4D97-AF65-F5344CB8AC3E}">
        <p14:creationId xmlns:p14="http://schemas.microsoft.com/office/powerpoint/2010/main" val="107376387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5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3.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2.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2.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5.xml.rels><?xml version="1.0" encoding="UTF-8" standalone="yes"?>
<Relationships xmlns="http://schemas.openxmlformats.org/package/2006/relationships"><Relationship Id="rId8" Type="http://schemas.openxmlformats.org/officeDocument/2006/relationships/image" Target="../media/image86.svg"/><Relationship Id="rId13" Type="http://schemas.openxmlformats.org/officeDocument/2006/relationships/image" Target="../media/image91.png"/><Relationship Id="rId18" Type="http://schemas.openxmlformats.org/officeDocument/2006/relationships/image" Target="../media/image96.svg"/><Relationship Id="rId3" Type="http://schemas.openxmlformats.org/officeDocument/2006/relationships/image" Target="../media/image81.png"/><Relationship Id="rId7" Type="http://schemas.openxmlformats.org/officeDocument/2006/relationships/image" Target="../media/image85.png"/><Relationship Id="rId12" Type="http://schemas.openxmlformats.org/officeDocument/2006/relationships/image" Target="../media/image90.svg"/><Relationship Id="rId17" Type="http://schemas.openxmlformats.org/officeDocument/2006/relationships/image" Target="../media/image95.png"/><Relationship Id="rId2" Type="http://schemas.openxmlformats.org/officeDocument/2006/relationships/notesSlide" Target="../notesSlides/notesSlide15.xml"/><Relationship Id="rId16" Type="http://schemas.openxmlformats.org/officeDocument/2006/relationships/image" Target="../media/image94.svg"/><Relationship Id="rId1" Type="http://schemas.openxmlformats.org/officeDocument/2006/relationships/slideLayout" Target="../slideLayouts/slideLayout3.xml"/><Relationship Id="rId6" Type="http://schemas.openxmlformats.org/officeDocument/2006/relationships/image" Target="../media/image84.png"/><Relationship Id="rId11" Type="http://schemas.openxmlformats.org/officeDocument/2006/relationships/image" Target="../media/image89.png"/><Relationship Id="rId5" Type="http://schemas.openxmlformats.org/officeDocument/2006/relationships/image" Target="../media/image83.jpeg"/><Relationship Id="rId15" Type="http://schemas.openxmlformats.org/officeDocument/2006/relationships/image" Target="../media/image93.png"/><Relationship Id="rId10" Type="http://schemas.openxmlformats.org/officeDocument/2006/relationships/image" Target="../media/image88.svg"/><Relationship Id="rId4" Type="http://schemas.openxmlformats.org/officeDocument/2006/relationships/image" Target="../media/image82.jpeg"/><Relationship Id="rId9" Type="http://schemas.openxmlformats.org/officeDocument/2006/relationships/image" Target="../media/image87.png"/><Relationship Id="rId14" Type="http://schemas.openxmlformats.org/officeDocument/2006/relationships/image" Target="../media/image92.svg"/></Relationships>
</file>

<file path=ppt/slides/_rels/slide1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81.png"/><Relationship Id="rId5" Type="http://schemas.openxmlformats.org/officeDocument/2006/relationships/image" Target="../media/image99.png"/><Relationship Id="rId4" Type="http://schemas.openxmlformats.org/officeDocument/2006/relationships/image" Target="../media/image98.svg"/></Relationships>
</file>

<file path=ppt/slides/_rels/slide17.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82.jpe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svg"/></Relationships>
</file>

<file path=ppt/slides/_rels/slide1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8.xml"/><Relationship Id="rId1" Type="http://schemas.openxmlformats.org/officeDocument/2006/relationships/slideLayout" Target="../slideLayouts/slideLayout3.xml"/><Relationship Id="rId5" Type="http://schemas.openxmlformats.org/officeDocument/2006/relationships/image" Target="../media/image83.jpeg"/><Relationship Id="rId4" Type="http://schemas.openxmlformats.org/officeDocument/2006/relationships/image" Target="../media/image105.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7.png"/><Relationship Id="rId7"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44.xml"/><Relationship Id="rId6" Type="http://schemas.openxmlformats.org/officeDocument/2006/relationships/hyperlink" Target="https://carboncaptureready.betterenergy.org/analysis/" TargetMode="External"/><Relationship Id="rId5" Type="http://schemas.openxmlformats.org/officeDocument/2006/relationships/image" Target="../media/image9.sv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image" Target="../media/image15.svg"/><Relationship Id="rId5" Type="http://schemas.openxmlformats.org/officeDocument/2006/relationships/image" Target="../media/image14.png"/><Relationship Id="rId10" Type="http://schemas.openxmlformats.org/officeDocument/2006/relationships/image" Target="../media/image19.svg"/><Relationship Id="rId4" Type="http://schemas.openxmlformats.org/officeDocument/2006/relationships/image" Target="../media/image13.svg"/><Relationship Id="rId9"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18" Type="http://schemas.openxmlformats.org/officeDocument/2006/relationships/image" Target="../media/image36.png"/><Relationship Id="rId3" Type="http://schemas.openxmlformats.org/officeDocument/2006/relationships/image" Target="../media/image21.png"/><Relationship Id="rId21" Type="http://schemas.openxmlformats.org/officeDocument/2006/relationships/image" Target="../media/image39.svg"/><Relationship Id="rId7" Type="http://schemas.openxmlformats.org/officeDocument/2006/relationships/image" Target="../media/image25.png"/><Relationship Id="rId12" Type="http://schemas.openxmlformats.org/officeDocument/2006/relationships/image" Target="../media/image30.png"/><Relationship Id="rId17" Type="http://schemas.openxmlformats.org/officeDocument/2006/relationships/image" Target="../media/image35.png"/><Relationship Id="rId2" Type="http://schemas.openxmlformats.org/officeDocument/2006/relationships/notesSlide" Target="../notesSlides/notesSlide5.xml"/><Relationship Id="rId16" Type="http://schemas.openxmlformats.org/officeDocument/2006/relationships/image" Target="../media/image34.png"/><Relationship Id="rId20" Type="http://schemas.openxmlformats.org/officeDocument/2006/relationships/image" Target="../media/image38.png"/><Relationship Id="rId1" Type="http://schemas.openxmlformats.org/officeDocument/2006/relationships/slideLayout" Target="../slideLayouts/slideLayout23.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5" Type="http://schemas.openxmlformats.org/officeDocument/2006/relationships/image" Target="../media/image33.png"/><Relationship Id="rId10" Type="http://schemas.openxmlformats.org/officeDocument/2006/relationships/image" Target="../media/image28.png"/><Relationship Id="rId19" Type="http://schemas.openxmlformats.org/officeDocument/2006/relationships/image" Target="../media/image37.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png"/><Relationship Id="rId22" Type="http://schemas.openxmlformats.org/officeDocument/2006/relationships/image" Target="../media/image40.png"/></Relationships>
</file>

<file path=ppt/slides/_rels/slide6.xml.rels><?xml version="1.0" encoding="UTF-8" standalone="yes"?>
<Relationships xmlns="http://schemas.openxmlformats.org/package/2006/relationships"><Relationship Id="rId13" Type="http://schemas.openxmlformats.org/officeDocument/2006/relationships/image" Target="../media/image51.png"/><Relationship Id="rId18" Type="http://schemas.openxmlformats.org/officeDocument/2006/relationships/image" Target="../media/image56.png"/><Relationship Id="rId26" Type="http://schemas.openxmlformats.org/officeDocument/2006/relationships/image" Target="../media/image64.png"/><Relationship Id="rId39" Type="http://schemas.openxmlformats.org/officeDocument/2006/relationships/image" Target="../media/image77.png"/><Relationship Id="rId21" Type="http://schemas.openxmlformats.org/officeDocument/2006/relationships/image" Target="../media/image59.png"/><Relationship Id="rId34" Type="http://schemas.openxmlformats.org/officeDocument/2006/relationships/image" Target="../media/image72.png"/><Relationship Id="rId42" Type="http://schemas.openxmlformats.org/officeDocument/2006/relationships/image" Target="../media/image80.png"/><Relationship Id="rId7" Type="http://schemas.openxmlformats.org/officeDocument/2006/relationships/image" Target="../media/image45.png"/><Relationship Id="rId2" Type="http://schemas.openxmlformats.org/officeDocument/2006/relationships/notesSlide" Target="../notesSlides/notesSlide6.xml"/><Relationship Id="rId16" Type="http://schemas.openxmlformats.org/officeDocument/2006/relationships/image" Target="../media/image54.png"/><Relationship Id="rId20" Type="http://schemas.openxmlformats.org/officeDocument/2006/relationships/image" Target="../media/image58.png"/><Relationship Id="rId29" Type="http://schemas.openxmlformats.org/officeDocument/2006/relationships/image" Target="../media/image67.png"/><Relationship Id="rId41" Type="http://schemas.openxmlformats.org/officeDocument/2006/relationships/image" Target="../media/image79.png"/><Relationship Id="rId1" Type="http://schemas.openxmlformats.org/officeDocument/2006/relationships/slideLayout" Target="../slideLayouts/slideLayout21.xml"/><Relationship Id="rId6" Type="http://schemas.openxmlformats.org/officeDocument/2006/relationships/image" Target="../media/image44.png"/><Relationship Id="rId11" Type="http://schemas.openxmlformats.org/officeDocument/2006/relationships/image" Target="../media/image49.png"/><Relationship Id="rId24" Type="http://schemas.openxmlformats.org/officeDocument/2006/relationships/image" Target="../media/image62.png"/><Relationship Id="rId32" Type="http://schemas.openxmlformats.org/officeDocument/2006/relationships/image" Target="../media/image70.svg"/><Relationship Id="rId37" Type="http://schemas.openxmlformats.org/officeDocument/2006/relationships/image" Target="../media/image75.png"/><Relationship Id="rId40" Type="http://schemas.openxmlformats.org/officeDocument/2006/relationships/image" Target="../media/image78.png"/><Relationship Id="rId5" Type="http://schemas.openxmlformats.org/officeDocument/2006/relationships/image" Target="../media/image43.png"/><Relationship Id="rId15" Type="http://schemas.openxmlformats.org/officeDocument/2006/relationships/image" Target="../media/image53.png"/><Relationship Id="rId23" Type="http://schemas.openxmlformats.org/officeDocument/2006/relationships/image" Target="../media/image61.png"/><Relationship Id="rId28" Type="http://schemas.openxmlformats.org/officeDocument/2006/relationships/image" Target="../media/image66.png"/><Relationship Id="rId36" Type="http://schemas.openxmlformats.org/officeDocument/2006/relationships/image" Target="../media/image74.png"/><Relationship Id="rId10" Type="http://schemas.openxmlformats.org/officeDocument/2006/relationships/image" Target="../media/image48.png"/><Relationship Id="rId19" Type="http://schemas.openxmlformats.org/officeDocument/2006/relationships/image" Target="../media/image57.png"/><Relationship Id="rId31" Type="http://schemas.openxmlformats.org/officeDocument/2006/relationships/image" Target="../media/image69.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60.png"/><Relationship Id="rId27" Type="http://schemas.openxmlformats.org/officeDocument/2006/relationships/image" Target="../media/image65.png"/><Relationship Id="rId30" Type="http://schemas.openxmlformats.org/officeDocument/2006/relationships/image" Target="../media/image68.png"/><Relationship Id="rId35" Type="http://schemas.openxmlformats.org/officeDocument/2006/relationships/image" Target="../media/image73.png"/><Relationship Id="rId8" Type="http://schemas.openxmlformats.org/officeDocument/2006/relationships/image" Target="../media/image46.png"/><Relationship Id="rId3" Type="http://schemas.openxmlformats.org/officeDocument/2006/relationships/image" Target="../media/image41.png"/><Relationship Id="rId12" Type="http://schemas.openxmlformats.org/officeDocument/2006/relationships/image" Target="../media/image50.png"/><Relationship Id="rId17" Type="http://schemas.openxmlformats.org/officeDocument/2006/relationships/image" Target="../media/image55.png"/><Relationship Id="rId25" Type="http://schemas.openxmlformats.org/officeDocument/2006/relationships/image" Target="../media/image63.png"/><Relationship Id="rId33" Type="http://schemas.openxmlformats.org/officeDocument/2006/relationships/image" Target="../media/image71.png"/><Relationship Id="rId38" Type="http://schemas.openxmlformats.org/officeDocument/2006/relationships/image" Target="../media/image76.png"/></Relationships>
</file>

<file path=ppt/slides/_rels/slide7.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18" Type="http://schemas.openxmlformats.org/officeDocument/2006/relationships/image" Target="../media/image65.png"/><Relationship Id="rId3" Type="http://schemas.openxmlformats.org/officeDocument/2006/relationships/image" Target="../media/image45.png"/><Relationship Id="rId21" Type="http://schemas.openxmlformats.org/officeDocument/2006/relationships/image" Target="../media/image68.png"/><Relationship Id="rId7" Type="http://schemas.openxmlformats.org/officeDocument/2006/relationships/image" Target="../media/image49.png"/><Relationship Id="rId12" Type="http://schemas.openxmlformats.org/officeDocument/2006/relationships/image" Target="../media/image54.png"/><Relationship Id="rId17" Type="http://schemas.openxmlformats.org/officeDocument/2006/relationships/image" Target="../media/image62.png"/><Relationship Id="rId2" Type="http://schemas.openxmlformats.org/officeDocument/2006/relationships/notesSlide" Target="../notesSlides/notesSlide7.xml"/><Relationship Id="rId16" Type="http://schemas.openxmlformats.org/officeDocument/2006/relationships/image" Target="../media/image58.png"/><Relationship Id="rId20" Type="http://schemas.openxmlformats.org/officeDocument/2006/relationships/image" Target="../media/image67.png"/><Relationship Id="rId1" Type="http://schemas.openxmlformats.org/officeDocument/2006/relationships/slideLayout" Target="../slideLayouts/slideLayout21.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47.png"/><Relationship Id="rId15" Type="http://schemas.openxmlformats.org/officeDocument/2006/relationships/image" Target="../media/image57.png"/><Relationship Id="rId23" Type="http://schemas.openxmlformats.org/officeDocument/2006/relationships/image" Target="../media/image70.svg"/><Relationship Id="rId10" Type="http://schemas.openxmlformats.org/officeDocument/2006/relationships/image" Target="../media/image52.png"/><Relationship Id="rId19" Type="http://schemas.openxmlformats.org/officeDocument/2006/relationships/image" Target="../media/image66.png"/><Relationship Id="rId4" Type="http://schemas.openxmlformats.org/officeDocument/2006/relationships/image" Target="../media/image46.png"/><Relationship Id="rId9" Type="http://schemas.openxmlformats.org/officeDocument/2006/relationships/image" Target="../media/image51.png"/><Relationship Id="rId14" Type="http://schemas.openxmlformats.org/officeDocument/2006/relationships/image" Target="../media/image56.png"/><Relationship Id="rId22" Type="http://schemas.openxmlformats.org/officeDocument/2006/relationships/image" Target="../media/image6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2.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3.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AD6F56D-6F3B-4033-8626-73EE382D7C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308"/>
            <a:ext cx="12191746" cy="6860523"/>
          </a:xfrm>
          <a:prstGeom prst="rect">
            <a:avLst/>
          </a:prstGeom>
        </p:spPr>
      </p:pic>
      <p:sp>
        <p:nvSpPr>
          <p:cNvPr id="104" name="Freeform 104"/>
          <p:cNvSpPr/>
          <p:nvPr/>
        </p:nvSpPr>
        <p:spPr>
          <a:xfrm>
            <a:off x="606236" y="870013"/>
            <a:ext cx="4496507" cy="3165223"/>
          </a:xfrm>
          <a:custGeom>
            <a:avLst/>
            <a:gdLst/>
            <a:ahLst/>
            <a:cxnLst/>
            <a:rect l="0" t="0" r="0" b="0"/>
            <a:pathLst>
              <a:path w="4498849" h="3166872">
                <a:moveTo>
                  <a:pt x="4498849" y="0"/>
                </a:moveTo>
                <a:lnTo>
                  <a:pt x="4498849" y="3166872"/>
                </a:lnTo>
                <a:lnTo>
                  <a:pt x="0" y="3166872"/>
                </a:lnTo>
                <a:lnTo>
                  <a:pt x="0" y="792861"/>
                </a:lnTo>
                <a:close/>
                <a:moveTo>
                  <a:pt x="5382769" y="5989320"/>
                </a:moveTo>
              </a:path>
            </a:pathLst>
          </a:custGeom>
          <a:solidFill>
            <a:srgbClr val="FFE60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105" name="Rectangle 105"/>
          <p:cNvSpPr/>
          <p:nvPr/>
        </p:nvSpPr>
        <p:spPr>
          <a:xfrm>
            <a:off x="927709" y="2150644"/>
            <a:ext cx="3853559" cy="941306"/>
          </a:xfrm>
          <a:prstGeom prst="rect">
            <a:avLst/>
          </a:prstGeom>
        </p:spPr>
        <p:txBody>
          <a:bodyPr wrap="square" lIns="0" tIns="0" rIns="0" bIns="0" anchor="t">
            <a:spAutoFit/>
          </a:body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2399" b="1" i="0" u="none" strike="noStrike" kern="1200" cap="none" spc="0" normalizeH="0" baseline="0" noProof="0" dirty="0">
                <a:ln>
                  <a:noFill/>
                </a:ln>
                <a:solidFill>
                  <a:srgbClr val="2E2E38"/>
                </a:solidFill>
                <a:effectLst/>
                <a:uLnTx/>
                <a:uFillTx/>
                <a:latin typeface="EYInterstate Light"/>
                <a:ea typeface="+mn-ea"/>
                <a:cs typeface="Arial"/>
              </a:rPr>
              <a:t>The importance of low carbon hydrogen in global decarbonization efforts </a:t>
            </a:r>
          </a:p>
        </p:txBody>
      </p:sp>
      <p:sp>
        <p:nvSpPr>
          <p:cNvPr id="107" name="Rectangle 107"/>
          <p:cNvSpPr/>
          <p:nvPr/>
        </p:nvSpPr>
        <p:spPr>
          <a:xfrm>
            <a:off x="744660" y="3147900"/>
            <a:ext cx="59281" cy="27717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1"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p>
        </p:txBody>
      </p:sp>
      <p:grpSp>
        <p:nvGrpSpPr>
          <p:cNvPr id="11" name="Group 4">
            <a:extLst>
              <a:ext uri="{FF2B5EF4-FFF2-40B4-BE49-F238E27FC236}">
                <a16:creationId xmlns:a16="http://schemas.microsoft.com/office/drawing/2014/main" id="{9AB9D7F2-F96E-49D3-862D-4D2359150DD5}"/>
              </a:ext>
            </a:extLst>
          </p:cNvPr>
          <p:cNvGrpSpPr>
            <a:grpSpLocks noChangeAspect="1"/>
          </p:cNvGrpSpPr>
          <p:nvPr/>
        </p:nvGrpSpPr>
        <p:grpSpPr bwMode="auto">
          <a:xfrm>
            <a:off x="8490147" y="5534916"/>
            <a:ext cx="961423" cy="986591"/>
            <a:chOff x="7110" y="4004"/>
            <a:chExt cx="191" cy="196"/>
          </a:xfrm>
        </p:grpSpPr>
        <p:sp>
          <p:nvSpPr>
            <p:cNvPr id="12" name="Freeform 5">
              <a:extLst>
                <a:ext uri="{FF2B5EF4-FFF2-40B4-BE49-F238E27FC236}">
                  <a16:creationId xmlns:a16="http://schemas.microsoft.com/office/drawing/2014/main" id="{364C8CA5-1425-48B8-B1AB-0DA9147E116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3" name="Freeform 6">
              <a:extLst>
                <a:ext uri="{FF2B5EF4-FFF2-40B4-BE49-F238E27FC236}">
                  <a16:creationId xmlns:a16="http://schemas.microsoft.com/office/drawing/2014/main" id="{F193D5DA-49C5-4ADB-BA19-F2C66DE317AC}"/>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4" name="Freeform 7">
              <a:extLst>
                <a:ext uri="{FF2B5EF4-FFF2-40B4-BE49-F238E27FC236}">
                  <a16:creationId xmlns:a16="http://schemas.microsoft.com/office/drawing/2014/main" id="{D6F49EE6-1E6E-4861-859B-442AF50CA8DD}"/>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dirty="0">
                <a:ln>
                  <a:noFill/>
                </a:ln>
                <a:solidFill>
                  <a:srgbClr val="2E2E38"/>
                </a:solidFill>
                <a:effectLst/>
                <a:uLnTx/>
                <a:uFillTx/>
                <a:latin typeface="EYInterstate Light"/>
                <a:ea typeface="+mn-ea"/>
                <a:cs typeface="+mn-cs"/>
              </a:endParaRPr>
            </a:p>
          </p:txBody>
        </p:sp>
      </p:grpSp>
      <p:sp>
        <p:nvSpPr>
          <p:cNvPr id="5" name="TextBox 4">
            <a:extLst>
              <a:ext uri="{FF2B5EF4-FFF2-40B4-BE49-F238E27FC236}">
                <a16:creationId xmlns:a16="http://schemas.microsoft.com/office/drawing/2014/main" id="{D47E20EF-FEE1-4F1A-A876-3EA4879A9C9E}"/>
              </a:ext>
            </a:extLst>
          </p:cNvPr>
          <p:cNvSpPr txBox="1"/>
          <p:nvPr/>
        </p:nvSpPr>
        <p:spPr>
          <a:xfrm>
            <a:off x="942366" y="3425077"/>
            <a:ext cx="1049967" cy="193752"/>
          </a:xfrm>
          <a:prstGeom prst="rect">
            <a:avLst/>
          </a:prstGeom>
          <a:noFill/>
        </p:spPr>
        <p:txBody>
          <a:bodyPr wrap="none" lIns="0" tIns="36557"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199" b="0" i="0" u="none" strike="noStrike" kern="1200" cap="none" spc="0" normalizeH="0" baseline="0" noProof="0" dirty="0">
                <a:ln>
                  <a:noFill/>
                </a:ln>
                <a:solidFill>
                  <a:srgbClr val="2E2E38"/>
                </a:solidFill>
                <a:effectLst/>
                <a:uLnTx/>
                <a:uFillTx/>
                <a:latin typeface="EYInterstate Light"/>
                <a:ea typeface="+mn-ea"/>
                <a:cs typeface="+mn-cs"/>
              </a:rPr>
              <a:t>February 2023</a:t>
            </a:r>
          </a:p>
        </p:txBody>
      </p:sp>
      <p:pic>
        <p:nvPicPr>
          <p:cNvPr id="15" name="Picture 14">
            <a:extLst>
              <a:ext uri="{FF2B5EF4-FFF2-40B4-BE49-F238E27FC236}">
                <a16:creationId xmlns:a16="http://schemas.microsoft.com/office/drawing/2014/main" id="{8E17957E-C299-4726-A871-6317AD08709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71133" y="6033245"/>
            <a:ext cx="2188228" cy="549776"/>
          </a:xfrm>
          <a:prstGeom prst="rect">
            <a:avLst/>
          </a:prstGeom>
        </p:spPr>
      </p:pic>
      <p:cxnSp>
        <p:nvCxnSpPr>
          <p:cNvPr id="16" name="Straight Connector 15">
            <a:extLst>
              <a:ext uri="{FF2B5EF4-FFF2-40B4-BE49-F238E27FC236}">
                <a16:creationId xmlns:a16="http://schemas.microsoft.com/office/drawing/2014/main" id="{E1EA2C34-C033-4D55-B719-95E354815BB3}"/>
              </a:ext>
            </a:extLst>
          </p:cNvPr>
          <p:cNvCxnSpPr>
            <a:cxnSpLocks/>
          </p:cNvCxnSpPr>
          <p:nvPr/>
        </p:nvCxnSpPr>
        <p:spPr>
          <a:xfrm>
            <a:off x="9538446" y="6033245"/>
            <a:ext cx="0" cy="488262"/>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52D084B-5835-4D3E-A88B-0C0238B6C6F1}"/>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8" name="Object 7" hidden="1">
                        <a:extLst>
                          <a:ext uri="{FF2B5EF4-FFF2-40B4-BE49-F238E27FC236}">
                            <a16:creationId xmlns:a16="http://schemas.microsoft.com/office/drawing/2014/main" id="{052D084B-5835-4D3E-A88B-0C0238B6C6F1}"/>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2CC132-BFAF-4794-9F52-E7A9DEECAF18}"/>
              </a:ext>
            </a:extLst>
          </p:cNvPr>
          <p:cNvSpPr>
            <a:spLocks noGrp="1"/>
          </p:cNvSpPr>
          <p:nvPr>
            <p:ph type="title" idx="4294967295"/>
          </p:nvPr>
        </p:nvSpPr>
        <p:spPr>
          <a:xfrm>
            <a:off x="616900" y="527355"/>
            <a:ext cx="10972800" cy="590550"/>
          </a:xfrm>
        </p:spPr>
        <p:txBody>
          <a:bodyPr vert="horz"/>
          <a:lstStyle/>
          <a:p>
            <a:r>
              <a:rPr lang="en-US" sz="2400" b="1" dirty="0">
                <a:solidFill>
                  <a:schemeClr val="tx2"/>
                </a:solidFill>
              </a:rPr>
              <a:t>Step 1: </a:t>
            </a:r>
            <a:br>
              <a:rPr lang="en-US" sz="2400" dirty="0">
                <a:solidFill>
                  <a:schemeClr val="tx2"/>
                </a:solidFill>
              </a:rPr>
            </a:br>
            <a:r>
              <a:rPr lang="en-US" sz="2400" dirty="0"/>
              <a:t>Obtain inputs for SMR + water-gas shift process (methane + steam)</a:t>
            </a:r>
            <a:br>
              <a:rPr lang="en-US" sz="2400" dirty="0">
                <a:solidFill>
                  <a:schemeClr val="tx2"/>
                </a:solidFill>
              </a:rPr>
            </a:br>
            <a:endParaRPr lang="en-US" dirty="0">
              <a:solidFill>
                <a:schemeClr val="tx2"/>
              </a:solidFill>
            </a:endParaRPr>
          </a:p>
        </p:txBody>
      </p:sp>
      <p:sp>
        <p:nvSpPr>
          <p:cNvPr id="40" name="Rectangle 39">
            <a:extLst>
              <a:ext uri="{FF2B5EF4-FFF2-40B4-BE49-F238E27FC236}">
                <a16:creationId xmlns:a16="http://schemas.microsoft.com/office/drawing/2014/main" id="{50BBC928-7EB9-4530-9C4C-24F97AEDF3E7}"/>
              </a:ext>
            </a:extLst>
          </p:cNvPr>
          <p:cNvSpPr/>
          <p:nvPr/>
        </p:nvSpPr>
        <p:spPr>
          <a:xfrm>
            <a:off x="10539092" y="352124"/>
            <a:ext cx="653290" cy="193899"/>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2E38"/>
                </a:solidFill>
                <a:effectLst/>
                <a:uLnTx/>
                <a:uFillTx/>
                <a:latin typeface="EYInterstate Light"/>
                <a:ea typeface="+mn-ea"/>
                <a:cs typeface="+mn-cs"/>
              </a:rPr>
              <a:t>Process</a:t>
            </a:r>
          </a:p>
        </p:txBody>
      </p:sp>
      <p:sp>
        <p:nvSpPr>
          <p:cNvPr id="41" name="Rectangle 40">
            <a:extLst>
              <a:ext uri="{FF2B5EF4-FFF2-40B4-BE49-F238E27FC236}">
                <a16:creationId xmlns:a16="http://schemas.microsoft.com/office/drawing/2014/main" id="{10BEC716-3603-4408-8BB6-69DD1EB92F8D}"/>
              </a:ext>
            </a:extLst>
          </p:cNvPr>
          <p:cNvSpPr/>
          <p:nvPr/>
        </p:nvSpPr>
        <p:spPr>
          <a:xfrm>
            <a:off x="11375199" y="353463"/>
            <a:ext cx="653290" cy="19389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EYInterstate Light"/>
                <a:ea typeface="+mn-ea"/>
                <a:cs typeface="+mn-cs"/>
              </a:rPr>
              <a:t>Storage</a:t>
            </a:r>
          </a:p>
        </p:txBody>
      </p:sp>
      <p:grpSp>
        <p:nvGrpSpPr>
          <p:cNvPr id="42" name="Group 41">
            <a:extLst>
              <a:ext uri="{FF2B5EF4-FFF2-40B4-BE49-F238E27FC236}">
                <a16:creationId xmlns:a16="http://schemas.microsoft.com/office/drawing/2014/main" id="{20D08887-6878-44AA-A9A3-2F891032D689}"/>
              </a:ext>
            </a:extLst>
          </p:cNvPr>
          <p:cNvGrpSpPr/>
          <p:nvPr/>
        </p:nvGrpSpPr>
        <p:grpSpPr>
          <a:xfrm>
            <a:off x="8788347" y="351757"/>
            <a:ext cx="1023432" cy="154658"/>
            <a:chOff x="7559030" y="5965502"/>
            <a:chExt cx="1023432" cy="154658"/>
          </a:xfrm>
        </p:grpSpPr>
        <p:cxnSp>
          <p:nvCxnSpPr>
            <p:cNvPr id="45" name="Straight Arrow Connector 44">
              <a:extLst>
                <a:ext uri="{FF2B5EF4-FFF2-40B4-BE49-F238E27FC236}">
                  <a16:creationId xmlns:a16="http://schemas.microsoft.com/office/drawing/2014/main" id="{6180C06A-F378-404E-9344-9F4F24542F64}"/>
                </a:ext>
              </a:extLst>
            </p:cNvPr>
            <p:cNvCxnSpPr>
              <a:cxnSpLocks/>
            </p:cNvCxnSpPr>
            <p:nvPr/>
          </p:nvCxnSpPr>
          <p:spPr>
            <a:xfrm>
              <a:off x="7559030" y="6062451"/>
              <a:ext cx="274353" cy="3297"/>
            </a:xfrm>
            <a:prstGeom prst="straightConnector1">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E7B0E148-2A94-4E80-99F5-21712AF68284}"/>
                </a:ext>
              </a:extLst>
            </p:cNvPr>
            <p:cNvSpPr txBox="1"/>
            <p:nvPr/>
          </p:nvSpPr>
          <p:spPr>
            <a:xfrm>
              <a:off x="7929172" y="5965502"/>
              <a:ext cx="653290" cy="15465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900" b="0" i="0" u="none" strike="noStrike" kern="1200" cap="none" spc="0" normalizeH="0" baseline="0" noProof="0" dirty="0">
                  <a:ln>
                    <a:noFill/>
                  </a:ln>
                  <a:solidFill>
                    <a:prstClr val="white"/>
                  </a:solidFill>
                  <a:effectLst/>
                  <a:uLnTx/>
                  <a:uFillTx/>
                  <a:latin typeface="EYInterstate Light"/>
                  <a:ea typeface="+mn-ea"/>
                  <a:cs typeface="+mn-cs"/>
                </a:rPr>
                <a:t>Liquid</a:t>
              </a:r>
            </a:p>
          </p:txBody>
        </p:sp>
      </p:grpSp>
      <p:grpSp>
        <p:nvGrpSpPr>
          <p:cNvPr id="48" name="Group 47">
            <a:extLst>
              <a:ext uri="{FF2B5EF4-FFF2-40B4-BE49-F238E27FC236}">
                <a16:creationId xmlns:a16="http://schemas.microsoft.com/office/drawing/2014/main" id="{5B5FDB19-84FF-4C64-AC9C-45D26ECCD4F5}"/>
              </a:ext>
            </a:extLst>
          </p:cNvPr>
          <p:cNvGrpSpPr/>
          <p:nvPr/>
        </p:nvGrpSpPr>
        <p:grpSpPr>
          <a:xfrm>
            <a:off x="9722472" y="351757"/>
            <a:ext cx="1020855" cy="154658"/>
            <a:chOff x="8500221" y="5972665"/>
            <a:chExt cx="1020855" cy="154658"/>
          </a:xfrm>
        </p:grpSpPr>
        <p:cxnSp>
          <p:nvCxnSpPr>
            <p:cNvPr id="49" name="Straight Arrow Connector 48">
              <a:extLst>
                <a:ext uri="{FF2B5EF4-FFF2-40B4-BE49-F238E27FC236}">
                  <a16:creationId xmlns:a16="http://schemas.microsoft.com/office/drawing/2014/main" id="{36FC4C57-EE14-44A0-9C9A-75CB8B2DCD71}"/>
                </a:ext>
              </a:extLst>
            </p:cNvPr>
            <p:cNvCxnSpPr>
              <a:cxnSpLocks/>
            </p:cNvCxnSpPr>
            <p:nvPr/>
          </p:nvCxnSpPr>
          <p:spPr>
            <a:xfrm>
              <a:off x="8500221" y="6062452"/>
              <a:ext cx="274320" cy="7087"/>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710D672E-0755-420B-8C90-061288AFDB10}"/>
                </a:ext>
              </a:extLst>
            </p:cNvPr>
            <p:cNvSpPr txBox="1"/>
            <p:nvPr/>
          </p:nvSpPr>
          <p:spPr>
            <a:xfrm>
              <a:off x="8867786" y="5972665"/>
              <a:ext cx="653290" cy="15465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900" b="0" i="0" u="none" strike="noStrike" kern="1200" cap="none" spc="0" normalizeH="0" baseline="0" noProof="0" dirty="0">
                  <a:ln>
                    <a:noFill/>
                  </a:ln>
                  <a:solidFill>
                    <a:prstClr val="white"/>
                  </a:solidFill>
                  <a:effectLst/>
                  <a:uLnTx/>
                  <a:uFillTx/>
                  <a:latin typeface="EYInterstate Light"/>
                  <a:ea typeface="+mn-ea"/>
                  <a:cs typeface="+mn-cs"/>
                </a:rPr>
                <a:t>Gas</a:t>
              </a:r>
            </a:p>
          </p:txBody>
        </p:sp>
      </p:grpSp>
      <p:sp>
        <p:nvSpPr>
          <p:cNvPr id="52" name="TextBox 51">
            <a:extLst>
              <a:ext uri="{FF2B5EF4-FFF2-40B4-BE49-F238E27FC236}">
                <a16:creationId xmlns:a16="http://schemas.microsoft.com/office/drawing/2014/main" id="{3A5A16B0-8A02-42C6-8CF8-AFBD4F516FAC}"/>
              </a:ext>
            </a:extLst>
          </p:cNvPr>
          <p:cNvSpPr txBox="1"/>
          <p:nvPr/>
        </p:nvSpPr>
        <p:spPr>
          <a:xfrm>
            <a:off x="8788347" y="54064"/>
            <a:ext cx="36195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Key</a:t>
            </a:r>
          </a:p>
        </p:txBody>
      </p:sp>
      <p:cxnSp>
        <p:nvCxnSpPr>
          <p:cNvPr id="53" name="Straight Connector 52">
            <a:extLst>
              <a:ext uri="{FF2B5EF4-FFF2-40B4-BE49-F238E27FC236}">
                <a16:creationId xmlns:a16="http://schemas.microsoft.com/office/drawing/2014/main" id="{A9ECF698-52C5-4E41-B315-297A551A8C6D}"/>
              </a:ext>
            </a:extLst>
          </p:cNvPr>
          <p:cNvCxnSpPr>
            <a:cxnSpLocks/>
          </p:cNvCxnSpPr>
          <p:nvPr/>
        </p:nvCxnSpPr>
        <p:spPr>
          <a:xfrm flipH="1">
            <a:off x="8792772" y="232620"/>
            <a:ext cx="269928" cy="0"/>
          </a:xfrm>
          <a:prstGeom prst="line">
            <a:avLst/>
          </a:prstGeom>
          <a:ln w="9525">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54" name="Table 53">
            <a:extLst>
              <a:ext uri="{FF2B5EF4-FFF2-40B4-BE49-F238E27FC236}">
                <a16:creationId xmlns:a16="http://schemas.microsoft.com/office/drawing/2014/main" id="{AD88AA1D-F7EE-4FC6-A684-19F34669C04C}"/>
              </a:ext>
            </a:extLst>
          </p:cNvPr>
          <p:cNvGraphicFramePr>
            <a:graphicFrameLocks noGrp="1"/>
          </p:cNvGraphicFramePr>
          <p:nvPr/>
        </p:nvGraphicFramePr>
        <p:xfrm>
          <a:off x="616900" y="4301538"/>
          <a:ext cx="3413557" cy="1813145"/>
        </p:xfrm>
        <a:graphic>
          <a:graphicData uri="http://schemas.openxmlformats.org/drawingml/2006/table">
            <a:tbl>
              <a:tblPr>
                <a:tableStyleId>{5C22544A-7EE6-4342-B048-85BDC9FD1C3A}</a:tableStyleId>
              </a:tblPr>
              <a:tblGrid>
                <a:gridCol w="1616047">
                  <a:extLst>
                    <a:ext uri="{9D8B030D-6E8A-4147-A177-3AD203B41FA5}">
                      <a16:colId xmlns:a16="http://schemas.microsoft.com/office/drawing/2014/main" val="711398887"/>
                    </a:ext>
                  </a:extLst>
                </a:gridCol>
                <a:gridCol w="359502">
                  <a:extLst>
                    <a:ext uri="{9D8B030D-6E8A-4147-A177-3AD203B41FA5}">
                      <a16:colId xmlns:a16="http://schemas.microsoft.com/office/drawing/2014/main" val="1030759635"/>
                    </a:ext>
                  </a:extLst>
                </a:gridCol>
                <a:gridCol w="359502">
                  <a:extLst>
                    <a:ext uri="{9D8B030D-6E8A-4147-A177-3AD203B41FA5}">
                      <a16:colId xmlns:a16="http://schemas.microsoft.com/office/drawing/2014/main" val="2323964013"/>
                    </a:ext>
                  </a:extLst>
                </a:gridCol>
                <a:gridCol w="359502">
                  <a:extLst>
                    <a:ext uri="{9D8B030D-6E8A-4147-A177-3AD203B41FA5}">
                      <a16:colId xmlns:a16="http://schemas.microsoft.com/office/drawing/2014/main" val="1777564282"/>
                    </a:ext>
                  </a:extLst>
                </a:gridCol>
                <a:gridCol w="359502">
                  <a:extLst>
                    <a:ext uri="{9D8B030D-6E8A-4147-A177-3AD203B41FA5}">
                      <a16:colId xmlns:a16="http://schemas.microsoft.com/office/drawing/2014/main" val="3932358994"/>
                    </a:ext>
                  </a:extLst>
                </a:gridCol>
                <a:gridCol w="359502">
                  <a:extLst>
                    <a:ext uri="{9D8B030D-6E8A-4147-A177-3AD203B41FA5}">
                      <a16:colId xmlns:a16="http://schemas.microsoft.com/office/drawing/2014/main" val="1275082126"/>
                    </a:ext>
                  </a:extLst>
                </a:gridCol>
              </a:tblGrid>
              <a:tr h="289145">
                <a:tc gridSpan="6">
                  <a:txBody>
                    <a:bodyPr/>
                    <a:lstStyle/>
                    <a:p>
                      <a:pPr algn="ctr" fontAlgn="b"/>
                      <a:r>
                        <a:rPr lang="en-US" sz="1300" b="1" i="0" u="none" strike="noStrike" dirty="0">
                          <a:solidFill>
                            <a:schemeClr val="bg1"/>
                          </a:solidFill>
                          <a:effectLst/>
                          <a:latin typeface="+mn-lt"/>
                        </a:rPr>
                        <a:t>Molecular Accounting</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871745425"/>
                  </a:ext>
                </a:extLst>
              </a:tr>
              <a:tr h="190500">
                <a:tc>
                  <a:txBody>
                    <a:bodyPr/>
                    <a:lstStyle/>
                    <a:p>
                      <a:pPr algn="ctr" fontAlgn="b"/>
                      <a:r>
                        <a:rPr lang="en-US" sz="1000" b="1" u="none" strike="noStrike" dirty="0">
                          <a:solidFill>
                            <a:schemeClr val="bg1"/>
                          </a:solidFill>
                          <a:effectLst/>
                          <a:latin typeface="+mn-lt"/>
                        </a:rPr>
                        <a:t>Process</a:t>
                      </a:r>
                      <a:endParaRPr lang="en-US" sz="1000" b="1"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CH</a:t>
                      </a:r>
                      <a:r>
                        <a:rPr lang="en-US" sz="800" u="none" strike="noStrike" dirty="0">
                          <a:solidFill>
                            <a:schemeClr val="bg1"/>
                          </a:solidFill>
                          <a:effectLst/>
                          <a:latin typeface="+mn-lt"/>
                        </a:rPr>
                        <a:t>4</a:t>
                      </a:r>
                      <a:endParaRPr lang="en-US" sz="800" b="0" i="0" u="none" strike="noStrike" dirty="0">
                        <a:solidFill>
                          <a:schemeClr val="bg1"/>
                        </a:solidFill>
                        <a:effectLst/>
                        <a:latin typeface="+mn-lt"/>
                      </a:endParaRPr>
                    </a:p>
                  </a:txBody>
                  <a:tcPr marL="9525" marR="9525" marT="9525" marB="0" anchor="b">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H</a:t>
                      </a:r>
                      <a:r>
                        <a:rPr lang="en-US" sz="800" u="none" strike="noStrike" dirty="0">
                          <a:solidFill>
                            <a:schemeClr val="bg1"/>
                          </a:solidFill>
                          <a:effectLst/>
                          <a:latin typeface="+mn-lt"/>
                        </a:rPr>
                        <a:t>2</a:t>
                      </a:r>
                      <a:r>
                        <a:rPr lang="en-US" sz="1000" u="none" strike="noStrike" dirty="0">
                          <a:solidFill>
                            <a:schemeClr val="bg1"/>
                          </a:solidFill>
                          <a:effectLst/>
                          <a:latin typeface="+mn-lt"/>
                        </a:rPr>
                        <a:t>O</a:t>
                      </a:r>
                      <a:endParaRPr lang="en-US" sz="1000" b="0" i="0" u="none" strike="noStrike" dirty="0">
                        <a:solidFill>
                          <a:schemeClr val="bg1"/>
                        </a:solidFill>
                        <a:effectLst/>
                        <a:latin typeface="+mn-lt"/>
                      </a:endParaRPr>
                    </a:p>
                  </a:txBody>
                  <a:tcPr marL="9525" marR="9525" marT="9525" marB="0" anchor="b">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CO</a:t>
                      </a:r>
                      <a:r>
                        <a:rPr lang="en-US" sz="800" u="none" strike="noStrike" dirty="0">
                          <a:solidFill>
                            <a:schemeClr val="bg1"/>
                          </a:solidFill>
                          <a:effectLst/>
                          <a:latin typeface="+mn-lt"/>
                        </a:rPr>
                        <a:t>2</a:t>
                      </a:r>
                      <a:endParaRPr lang="en-US" sz="800" b="0" i="0" u="none" strike="noStrike" dirty="0">
                        <a:solidFill>
                          <a:schemeClr val="bg1"/>
                        </a:solidFill>
                        <a:effectLst/>
                        <a:latin typeface="+mn-lt"/>
                      </a:endParaRPr>
                    </a:p>
                  </a:txBody>
                  <a:tcPr marL="9525" marR="9525" marT="9525" marB="0" anchor="b">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H</a:t>
                      </a:r>
                      <a:r>
                        <a:rPr lang="en-US" sz="800" u="none" strike="noStrike" dirty="0">
                          <a:solidFill>
                            <a:schemeClr val="bg1"/>
                          </a:solidFill>
                          <a:effectLst/>
                          <a:latin typeface="+mn-lt"/>
                        </a:rPr>
                        <a:t>2</a:t>
                      </a:r>
                      <a:endParaRPr lang="en-US" sz="800" b="0" i="0" u="none" strike="noStrike" dirty="0">
                        <a:solidFill>
                          <a:schemeClr val="bg1"/>
                        </a:solidFill>
                        <a:effectLst/>
                        <a:latin typeface="+mn-lt"/>
                      </a:endParaRPr>
                    </a:p>
                  </a:txBody>
                  <a:tcPr marL="9525" marR="9525" marT="9525" marB="0" anchor="b">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LH</a:t>
                      </a:r>
                      <a:r>
                        <a:rPr lang="en-US" sz="800" u="none" strike="noStrike" dirty="0">
                          <a:solidFill>
                            <a:schemeClr val="bg1"/>
                          </a:solidFill>
                          <a:effectLst/>
                          <a:latin typeface="+mn-lt"/>
                        </a:rPr>
                        <a:t>2</a:t>
                      </a:r>
                      <a:endParaRPr lang="en-US" sz="800" b="0" i="0" u="none" strike="noStrike" dirty="0">
                        <a:solidFill>
                          <a:schemeClr val="bg1"/>
                        </a:solidFill>
                        <a:effectLst/>
                        <a:latin typeface="+mn-lt"/>
                      </a:endParaRPr>
                    </a:p>
                  </a:txBody>
                  <a:tcPr marL="9525" marR="9525" marT="9525" marB="0" anchor="b">
                    <a:lnL w="12700" cmpd="sng">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257263026"/>
                  </a:ext>
                </a:extLst>
              </a:tr>
              <a:tr h="190500">
                <a:tc>
                  <a:txBody>
                    <a:bodyPr/>
                    <a:lstStyle/>
                    <a:p>
                      <a:pPr algn="l" fontAlgn="b"/>
                      <a:r>
                        <a:rPr lang="en-US" sz="1000" u="none" strike="noStrike" dirty="0">
                          <a:solidFill>
                            <a:schemeClr val="bg1"/>
                          </a:solidFill>
                          <a:effectLst/>
                          <a:latin typeface="+mn-lt"/>
                        </a:rPr>
                        <a:t>SMR + Water-Gas Shift</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5</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1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43997096"/>
                  </a:ext>
                </a:extLst>
              </a:tr>
              <a:tr h="190500">
                <a:tc>
                  <a:txBody>
                    <a:bodyPr/>
                    <a:lstStyle/>
                    <a:p>
                      <a:pPr algn="l" fontAlgn="b"/>
                      <a:r>
                        <a:rPr lang="en-US" sz="1000" u="none" strike="noStrike" dirty="0">
                          <a:solidFill>
                            <a:schemeClr val="bg1"/>
                          </a:solidFill>
                          <a:effectLst/>
                          <a:latin typeface="+mn-lt"/>
                        </a:rPr>
                        <a:t>Hydrogen Liquefaction</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75270870"/>
                  </a:ext>
                </a:extLst>
              </a:tr>
              <a:tr h="190500">
                <a:tc>
                  <a:txBody>
                    <a:bodyPr/>
                    <a:lstStyle/>
                    <a:p>
                      <a:pPr algn="l" fontAlgn="b"/>
                      <a:r>
                        <a:rPr lang="en-US" sz="1000" u="none" strike="noStrike" dirty="0">
                          <a:solidFill>
                            <a:schemeClr val="bg1"/>
                          </a:solidFill>
                          <a:effectLst/>
                          <a:latin typeface="+mn-lt"/>
                        </a:rPr>
                        <a:t>Sequestration</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050855797"/>
                  </a:ext>
                </a:extLst>
              </a:tr>
              <a:tr h="190500">
                <a:tc>
                  <a:txBody>
                    <a:bodyPr/>
                    <a:lstStyle/>
                    <a:p>
                      <a:pPr algn="l" fontAlgn="b"/>
                      <a:r>
                        <a:rPr lang="en-US" sz="1000" u="none" strike="noStrike" dirty="0">
                          <a:solidFill>
                            <a:schemeClr val="bg1"/>
                          </a:solidFill>
                          <a:effectLst/>
                          <a:latin typeface="+mn-lt"/>
                        </a:rPr>
                        <a:t>Storage</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738928020"/>
                  </a:ext>
                </a:extLst>
              </a:tr>
              <a:tr h="190500">
                <a:tc>
                  <a:txBody>
                    <a:bodyPr/>
                    <a:lstStyle/>
                    <a:p>
                      <a:pPr algn="l" fontAlgn="b"/>
                      <a:r>
                        <a:rPr lang="en-US" sz="1000" u="none" strike="noStrike" dirty="0">
                          <a:solidFill>
                            <a:schemeClr val="bg1"/>
                          </a:solidFill>
                          <a:effectLst/>
                          <a:latin typeface="+mn-lt"/>
                        </a:rPr>
                        <a:t>Transport</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44349904"/>
                  </a:ext>
                </a:extLst>
              </a:tr>
              <a:tr h="190500">
                <a:tc>
                  <a:txBody>
                    <a:bodyPr/>
                    <a:lstStyle/>
                    <a:p>
                      <a:pPr algn="l" fontAlgn="b"/>
                      <a:r>
                        <a:rPr lang="en-US" sz="1000" u="none" strike="noStrike" dirty="0">
                          <a:solidFill>
                            <a:schemeClr val="bg1"/>
                          </a:solidFill>
                          <a:effectLst/>
                          <a:latin typeface="+mn-lt"/>
                        </a:rPr>
                        <a:t>Distribution</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774404770"/>
                  </a:ext>
                </a:extLst>
              </a:tr>
              <a:tr h="190500">
                <a:tc>
                  <a:txBody>
                    <a:bodyPr/>
                    <a:lstStyle/>
                    <a:p>
                      <a:pPr algn="r" fontAlgn="b"/>
                      <a:r>
                        <a:rPr lang="en-US" sz="1000" u="none" strike="noStrike" dirty="0">
                          <a:solidFill>
                            <a:schemeClr val="bg1"/>
                          </a:solidFill>
                          <a:effectLst/>
                          <a:latin typeface="+mn-lt"/>
                        </a:rPr>
                        <a:t>Totals: </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5</a:t>
                      </a:r>
                    </a:p>
                  </a:txBody>
                  <a:tcPr marL="9525" marR="9525" marT="9525" marB="0" anchor="b">
                    <a:lnL w="12700" cmpd="sng">
                      <a:noFill/>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10</a:t>
                      </a:r>
                    </a:p>
                  </a:txBody>
                  <a:tcPr marL="9525" marR="9525" marT="9525" marB="0" anchor="b">
                    <a:lnL w="12700" cmpd="sng">
                      <a:noFill/>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10</a:t>
                      </a:r>
                    </a:p>
                  </a:txBody>
                  <a:tcPr marL="9525" marR="9525" marT="9525" marB="0" anchor="b">
                    <a:lnL w="12700" cmpd="sng">
                      <a:noFill/>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endParaRPr lang="en-US" sz="1000" b="0" i="0" u="none" strike="noStrike" dirty="0">
                        <a:solidFill>
                          <a:schemeClr val="bg1"/>
                        </a:solidFill>
                        <a:effectLst/>
                        <a:latin typeface="+mn-lt"/>
                      </a:endParaRPr>
                    </a:p>
                  </a:txBody>
                  <a:tcPr marL="9525" marR="9525" marT="9525" marB="0" anchor="b">
                    <a:lnL w="12700" cmpd="sng">
                      <a:noFill/>
                    </a:lnL>
                    <a:lnR w="12700" cap="flat" cmpd="sng" algn="ctr">
                      <a:noFill/>
                      <a:prstDash val="solid"/>
                      <a:round/>
                      <a:headEnd type="none" w="med" len="med"/>
                      <a:tailEnd type="none" w="med" len="med"/>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97872866"/>
                  </a:ext>
                </a:extLst>
              </a:tr>
            </a:tbl>
          </a:graphicData>
        </a:graphic>
      </p:graphicFrame>
      <p:sp>
        <p:nvSpPr>
          <p:cNvPr id="39" name="Rectangle 38">
            <a:extLst>
              <a:ext uri="{FF2B5EF4-FFF2-40B4-BE49-F238E27FC236}">
                <a16:creationId xmlns:a16="http://schemas.microsoft.com/office/drawing/2014/main" id="{9DD7EE6A-540E-471B-96C9-86A349727460}"/>
              </a:ext>
            </a:extLst>
          </p:cNvPr>
          <p:cNvSpPr/>
          <p:nvPr/>
        </p:nvSpPr>
        <p:spPr>
          <a:xfrm>
            <a:off x="1949115" y="1812997"/>
            <a:ext cx="1349229" cy="734663"/>
          </a:xfrm>
          <a:prstGeom prst="rect">
            <a:avLst/>
          </a:prstGeom>
          <a:solidFill>
            <a:schemeClr val="bg1">
              <a:lumMod val="7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SMR + Water Gas Shift</a:t>
            </a:r>
          </a:p>
        </p:txBody>
      </p:sp>
      <p:sp>
        <p:nvSpPr>
          <p:cNvPr id="56" name="TextBox 55">
            <a:extLst>
              <a:ext uri="{FF2B5EF4-FFF2-40B4-BE49-F238E27FC236}">
                <a16:creationId xmlns:a16="http://schemas.microsoft.com/office/drawing/2014/main" id="{056DB282-C5BC-4FF9-B65F-3E87B215A3BE}"/>
              </a:ext>
            </a:extLst>
          </p:cNvPr>
          <p:cNvSpPr txBox="1"/>
          <p:nvPr/>
        </p:nvSpPr>
        <p:spPr>
          <a:xfrm>
            <a:off x="812393" y="1867814"/>
            <a:ext cx="503339" cy="193899"/>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CH</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4</a:t>
            </a:r>
          </a:p>
        </p:txBody>
      </p:sp>
      <p:sp>
        <p:nvSpPr>
          <p:cNvPr id="57" name="TextBox 56">
            <a:extLst>
              <a:ext uri="{FF2B5EF4-FFF2-40B4-BE49-F238E27FC236}">
                <a16:creationId xmlns:a16="http://schemas.microsoft.com/office/drawing/2014/main" id="{7821967B-D8E4-467D-87FF-AE26B5327909}"/>
              </a:ext>
            </a:extLst>
          </p:cNvPr>
          <p:cNvSpPr txBox="1"/>
          <p:nvPr/>
        </p:nvSpPr>
        <p:spPr>
          <a:xfrm>
            <a:off x="812393" y="2277566"/>
            <a:ext cx="503339"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2 H</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2</a:t>
            </a: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0</a:t>
            </a:r>
          </a:p>
        </p:txBody>
      </p:sp>
      <p:cxnSp>
        <p:nvCxnSpPr>
          <p:cNvPr id="59" name="Straight Arrow Connector 58">
            <a:extLst>
              <a:ext uri="{FF2B5EF4-FFF2-40B4-BE49-F238E27FC236}">
                <a16:creationId xmlns:a16="http://schemas.microsoft.com/office/drawing/2014/main" id="{A3EE7966-BA9D-4213-9F67-2D1EF55F1D44}"/>
              </a:ext>
            </a:extLst>
          </p:cNvPr>
          <p:cNvCxnSpPr>
            <a:stCxn id="56" idx="3"/>
          </p:cNvCxnSpPr>
          <p:nvPr/>
        </p:nvCxnSpPr>
        <p:spPr>
          <a:xfrm flipV="1">
            <a:off x="1315732" y="1964763"/>
            <a:ext cx="562063" cy="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DFBB864B-765A-400A-B763-B63466B90DC1}"/>
              </a:ext>
            </a:extLst>
          </p:cNvPr>
          <p:cNvCxnSpPr>
            <a:cxnSpLocks/>
          </p:cNvCxnSpPr>
          <p:nvPr/>
        </p:nvCxnSpPr>
        <p:spPr>
          <a:xfrm>
            <a:off x="1315732" y="2376199"/>
            <a:ext cx="514539" cy="0"/>
          </a:xfrm>
          <a:prstGeom prst="straightConnector1">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8D374BF6-BBA0-4C96-8934-8D81CFD49B73}"/>
              </a:ext>
            </a:extLst>
          </p:cNvPr>
          <p:cNvCxnSpPr/>
          <p:nvPr/>
        </p:nvCxnSpPr>
        <p:spPr>
          <a:xfrm flipV="1">
            <a:off x="3417188" y="1968445"/>
            <a:ext cx="562063" cy="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302C9E56-C602-4F34-9D80-4388FD7A1C0C}"/>
              </a:ext>
            </a:extLst>
          </p:cNvPr>
          <p:cNvCxnSpPr>
            <a:cxnSpLocks/>
          </p:cNvCxnSpPr>
          <p:nvPr/>
        </p:nvCxnSpPr>
        <p:spPr>
          <a:xfrm>
            <a:off x="3417188" y="2374516"/>
            <a:ext cx="562063" cy="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15E09662-9D87-4310-9D37-D399E47CC439}"/>
              </a:ext>
            </a:extLst>
          </p:cNvPr>
          <p:cNvSpPr txBox="1"/>
          <p:nvPr/>
        </p:nvSpPr>
        <p:spPr>
          <a:xfrm>
            <a:off x="4098095" y="1867814"/>
            <a:ext cx="503339"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2 CO</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2</a:t>
            </a:r>
          </a:p>
        </p:txBody>
      </p:sp>
      <p:sp>
        <p:nvSpPr>
          <p:cNvPr id="64" name="TextBox 63">
            <a:extLst>
              <a:ext uri="{FF2B5EF4-FFF2-40B4-BE49-F238E27FC236}">
                <a16:creationId xmlns:a16="http://schemas.microsoft.com/office/drawing/2014/main" id="{0B669C48-F23F-4213-9EA5-9ED9B7C2F65B}"/>
              </a:ext>
            </a:extLst>
          </p:cNvPr>
          <p:cNvSpPr txBox="1"/>
          <p:nvPr/>
        </p:nvSpPr>
        <p:spPr>
          <a:xfrm>
            <a:off x="4098095" y="2277566"/>
            <a:ext cx="503339"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4 H</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2</a:t>
            </a:r>
          </a:p>
        </p:txBody>
      </p:sp>
      <p:sp>
        <p:nvSpPr>
          <p:cNvPr id="65" name="Rectangle 64">
            <a:extLst>
              <a:ext uri="{FF2B5EF4-FFF2-40B4-BE49-F238E27FC236}">
                <a16:creationId xmlns:a16="http://schemas.microsoft.com/office/drawing/2014/main" id="{A8A3BC46-A702-4FBA-9CDC-C03AAA170BE4}"/>
              </a:ext>
            </a:extLst>
          </p:cNvPr>
          <p:cNvSpPr/>
          <p:nvPr/>
        </p:nvSpPr>
        <p:spPr>
          <a:xfrm>
            <a:off x="9140257" y="1755693"/>
            <a:ext cx="1874939" cy="42783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Sequestration</a:t>
            </a:r>
          </a:p>
        </p:txBody>
      </p:sp>
      <p:sp>
        <p:nvSpPr>
          <p:cNvPr id="66" name="Rectangle 65">
            <a:extLst>
              <a:ext uri="{FF2B5EF4-FFF2-40B4-BE49-F238E27FC236}">
                <a16:creationId xmlns:a16="http://schemas.microsoft.com/office/drawing/2014/main" id="{0655B689-C023-4926-B714-13ECBBE01AE7}"/>
              </a:ext>
            </a:extLst>
          </p:cNvPr>
          <p:cNvSpPr/>
          <p:nvPr/>
        </p:nvSpPr>
        <p:spPr>
          <a:xfrm>
            <a:off x="5076810" y="3310311"/>
            <a:ext cx="1517009" cy="427839"/>
          </a:xfrm>
          <a:prstGeom prst="rect">
            <a:avLst/>
          </a:prstGeom>
          <a:solidFill>
            <a:schemeClr val="bg1">
              <a:lumMod val="7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Hydrogen Liquefaction</a:t>
            </a:r>
          </a:p>
        </p:txBody>
      </p:sp>
      <p:cxnSp>
        <p:nvCxnSpPr>
          <p:cNvPr id="67" name="Connector: Elbow 66">
            <a:extLst>
              <a:ext uri="{FF2B5EF4-FFF2-40B4-BE49-F238E27FC236}">
                <a16:creationId xmlns:a16="http://schemas.microsoft.com/office/drawing/2014/main" id="{F3EFA53C-E1BC-4A4F-BA72-BEB102C6C368}"/>
              </a:ext>
            </a:extLst>
          </p:cNvPr>
          <p:cNvCxnSpPr>
            <a:cxnSpLocks/>
            <a:stCxn id="64" idx="3"/>
            <a:endCxn id="66" idx="1"/>
          </p:cNvCxnSpPr>
          <p:nvPr/>
        </p:nvCxnSpPr>
        <p:spPr>
          <a:xfrm>
            <a:off x="4601434" y="2374516"/>
            <a:ext cx="475376" cy="1149715"/>
          </a:xfrm>
          <a:prstGeom prst="bentConnector3">
            <a:avLst>
              <a:gd name="adj1" fmla="val 50000"/>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C3A6E4CA-C341-49B0-B088-F8A591ACE09D}"/>
              </a:ext>
            </a:extLst>
          </p:cNvPr>
          <p:cNvSpPr/>
          <p:nvPr/>
        </p:nvSpPr>
        <p:spPr>
          <a:xfrm>
            <a:off x="9140258" y="2533002"/>
            <a:ext cx="1874939" cy="42783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Storage</a:t>
            </a:r>
          </a:p>
        </p:txBody>
      </p:sp>
      <p:cxnSp>
        <p:nvCxnSpPr>
          <p:cNvPr id="69" name="Connector: Elbow 68">
            <a:extLst>
              <a:ext uri="{FF2B5EF4-FFF2-40B4-BE49-F238E27FC236}">
                <a16:creationId xmlns:a16="http://schemas.microsoft.com/office/drawing/2014/main" id="{12DD2A0B-72EE-4230-8DAC-89206C3032FB}"/>
              </a:ext>
            </a:extLst>
          </p:cNvPr>
          <p:cNvCxnSpPr>
            <a:cxnSpLocks/>
            <a:stCxn id="64" idx="3"/>
            <a:endCxn id="68" idx="1"/>
          </p:cNvCxnSpPr>
          <p:nvPr/>
        </p:nvCxnSpPr>
        <p:spPr>
          <a:xfrm>
            <a:off x="4601434" y="2374516"/>
            <a:ext cx="4538824" cy="372406"/>
          </a:xfrm>
          <a:prstGeom prst="bentConnector3">
            <a:avLst>
              <a:gd name="adj1" fmla="val 50000"/>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6D50841D-0E87-49D3-8084-2C83266F2C0F}"/>
              </a:ext>
            </a:extLst>
          </p:cNvPr>
          <p:cNvCxnSpPr>
            <a:cxnSpLocks/>
            <a:stCxn id="63" idx="3"/>
            <a:endCxn id="65" idx="1"/>
          </p:cNvCxnSpPr>
          <p:nvPr/>
        </p:nvCxnSpPr>
        <p:spPr>
          <a:xfrm>
            <a:off x="4601434" y="1964764"/>
            <a:ext cx="4538823" cy="4849"/>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EF1A188D-B7EB-4C81-B75A-04FF8F9AC09E}"/>
              </a:ext>
            </a:extLst>
          </p:cNvPr>
          <p:cNvSpPr/>
          <p:nvPr/>
        </p:nvSpPr>
        <p:spPr>
          <a:xfrm>
            <a:off x="9140257" y="3310311"/>
            <a:ext cx="1874939" cy="42783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Transport (Ship)</a:t>
            </a:r>
          </a:p>
        </p:txBody>
      </p:sp>
      <p:sp>
        <p:nvSpPr>
          <p:cNvPr id="72" name="Rectangle 71">
            <a:extLst>
              <a:ext uri="{FF2B5EF4-FFF2-40B4-BE49-F238E27FC236}">
                <a16:creationId xmlns:a16="http://schemas.microsoft.com/office/drawing/2014/main" id="{B5576A8A-A373-4A5C-A906-2D2EB092B9EE}"/>
              </a:ext>
            </a:extLst>
          </p:cNvPr>
          <p:cNvSpPr/>
          <p:nvPr/>
        </p:nvSpPr>
        <p:spPr>
          <a:xfrm>
            <a:off x="9140256" y="4087620"/>
            <a:ext cx="1874939" cy="42783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Distribute (Pipeline)</a:t>
            </a:r>
          </a:p>
        </p:txBody>
      </p:sp>
      <p:sp>
        <p:nvSpPr>
          <p:cNvPr id="73" name="TextBox 72">
            <a:extLst>
              <a:ext uri="{FF2B5EF4-FFF2-40B4-BE49-F238E27FC236}">
                <a16:creationId xmlns:a16="http://schemas.microsoft.com/office/drawing/2014/main" id="{35761D76-E3AD-40C7-AB42-764FBCCEC3DF}"/>
              </a:ext>
            </a:extLst>
          </p:cNvPr>
          <p:cNvSpPr txBox="1"/>
          <p:nvPr/>
        </p:nvSpPr>
        <p:spPr>
          <a:xfrm>
            <a:off x="6781888" y="3296746"/>
            <a:ext cx="65329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2.4 LH</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2</a:t>
            </a:r>
          </a:p>
        </p:txBody>
      </p:sp>
      <p:cxnSp>
        <p:nvCxnSpPr>
          <p:cNvPr id="74" name="Connector: Elbow 73">
            <a:extLst>
              <a:ext uri="{FF2B5EF4-FFF2-40B4-BE49-F238E27FC236}">
                <a16:creationId xmlns:a16="http://schemas.microsoft.com/office/drawing/2014/main" id="{DE465BD7-F54B-431B-BA7A-D4BAA4B6F01E}"/>
              </a:ext>
            </a:extLst>
          </p:cNvPr>
          <p:cNvCxnSpPr>
            <a:cxnSpLocks/>
            <a:stCxn id="66" idx="3"/>
            <a:endCxn id="72" idx="1"/>
          </p:cNvCxnSpPr>
          <p:nvPr/>
        </p:nvCxnSpPr>
        <p:spPr>
          <a:xfrm>
            <a:off x="6593819" y="3524231"/>
            <a:ext cx="2546437" cy="777309"/>
          </a:xfrm>
          <a:prstGeom prst="bentConnector3">
            <a:avLst>
              <a:gd name="adj1" fmla="val 50000"/>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77F201DB-200A-4A35-AA82-9EDFA3C5AA86}"/>
              </a:ext>
            </a:extLst>
          </p:cNvPr>
          <p:cNvCxnSpPr>
            <a:cxnSpLocks/>
            <a:stCxn id="66" idx="3"/>
            <a:endCxn id="71" idx="1"/>
          </p:cNvCxnSpPr>
          <p:nvPr/>
        </p:nvCxnSpPr>
        <p:spPr>
          <a:xfrm>
            <a:off x="6593819" y="3524231"/>
            <a:ext cx="2546438" cy="0"/>
          </a:xfrm>
          <a:prstGeom prst="straightConnector1">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BE862747-E037-41D8-BAB1-FF7D044D9192}"/>
              </a:ext>
            </a:extLst>
          </p:cNvPr>
          <p:cNvCxnSpPr>
            <a:cxnSpLocks/>
            <a:stCxn id="66" idx="3"/>
            <a:endCxn id="68" idx="1"/>
          </p:cNvCxnSpPr>
          <p:nvPr/>
        </p:nvCxnSpPr>
        <p:spPr>
          <a:xfrm flipV="1">
            <a:off x="6593819" y="2746922"/>
            <a:ext cx="2546439" cy="777309"/>
          </a:xfrm>
          <a:prstGeom prst="bentConnector3">
            <a:avLst>
              <a:gd name="adj1" fmla="val 50000"/>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D26C6447-60D7-46D8-8834-DE30FA18E8B1}"/>
              </a:ext>
            </a:extLst>
          </p:cNvPr>
          <p:cNvSpPr/>
          <p:nvPr/>
        </p:nvSpPr>
        <p:spPr>
          <a:xfrm>
            <a:off x="49016" y="1810557"/>
            <a:ext cx="766180" cy="734663"/>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EYInterstate Light"/>
                <a:ea typeface="+mn-ea"/>
                <a:cs typeface="+mn-cs"/>
              </a:rPr>
              <a:t>5 CH</a:t>
            </a:r>
            <a:r>
              <a:rPr kumimoji="0" lang="en-US" sz="1200" b="0" i="0" u="none" strike="noStrike" kern="1200" cap="none" spc="0" normalizeH="0" baseline="-25000" noProof="0" dirty="0">
                <a:ln>
                  <a:noFill/>
                </a:ln>
                <a:solidFill>
                  <a:srgbClr val="000000"/>
                </a:solidFill>
                <a:effectLst/>
                <a:uLnTx/>
                <a:uFillTx/>
                <a:latin typeface="EYInterstate Light"/>
                <a:ea typeface="+mn-ea"/>
                <a:cs typeface="+mn-cs"/>
              </a:rPr>
              <a:t>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EYInterstate Light"/>
                <a:ea typeface="+mn-ea"/>
                <a:cs typeface="+mn-cs"/>
              </a:rPr>
              <a:t>10 H</a:t>
            </a:r>
            <a:r>
              <a:rPr kumimoji="0" lang="en-US" sz="1200" b="0" i="0" u="none" strike="noStrike" kern="1200" cap="none" spc="0" normalizeH="0" baseline="-25000" noProof="0" dirty="0">
                <a:ln>
                  <a:noFill/>
                </a:ln>
                <a:solidFill>
                  <a:srgbClr val="000000"/>
                </a:solidFill>
                <a:effectLst/>
                <a:uLnTx/>
                <a:uFillTx/>
                <a:latin typeface="EYInterstate Light"/>
                <a:ea typeface="+mn-ea"/>
                <a:cs typeface="+mn-cs"/>
              </a:rPr>
              <a:t>2</a:t>
            </a:r>
            <a:r>
              <a:rPr kumimoji="0" lang="en-US" sz="1200" b="0" i="0" u="none" strike="noStrike" kern="1200" cap="none" spc="0" normalizeH="0" baseline="0" noProof="0" dirty="0">
                <a:ln>
                  <a:noFill/>
                </a:ln>
                <a:solidFill>
                  <a:srgbClr val="000000"/>
                </a:solidFill>
                <a:effectLst/>
                <a:uLnTx/>
                <a:uFillTx/>
                <a:latin typeface="EYInterstate Light"/>
                <a:ea typeface="+mn-ea"/>
                <a:cs typeface="+mn-cs"/>
              </a:rPr>
              <a:t>O</a:t>
            </a:r>
          </a:p>
        </p:txBody>
      </p:sp>
      <p:sp>
        <p:nvSpPr>
          <p:cNvPr id="38" name="Footer Placeholder 2">
            <a:extLst>
              <a:ext uri="{FF2B5EF4-FFF2-40B4-BE49-F238E27FC236}">
                <a16:creationId xmlns:a16="http://schemas.microsoft.com/office/drawing/2014/main" id="{2607B775-46AA-422C-9576-54E34E774DD8}"/>
              </a:ext>
            </a:extLst>
          </p:cNvPr>
          <p:cNvSpPr txBox="1">
            <a:spLocks/>
          </p:cNvSpPr>
          <p:nvPr/>
        </p:nvSpPr>
        <p:spPr>
          <a:xfrm>
            <a:off x="4553753" y="6471244"/>
            <a:ext cx="3367734" cy="180000"/>
          </a:xfrm>
          <a:prstGeom prst="rect">
            <a:avLst/>
          </a:prstGeom>
        </p:spPr>
        <p:txBody>
          <a:bodyPr/>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Page </a:t>
            </a:r>
            <a:fld id="{F1BC30E3-FFE5-4B91-AA19-87A149EBB9EE}" type="slidenum">
              <a:rPr smtClean="0"/>
              <a:pPr/>
              <a:t>10</a:t>
            </a:fld>
            <a:r>
              <a:rPr lang="en-US" dirty="0"/>
              <a:t> | Draft</a:t>
            </a:r>
          </a:p>
        </p:txBody>
      </p:sp>
    </p:spTree>
    <p:extLst>
      <p:ext uri="{BB962C8B-B14F-4D97-AF65-F5344CB8AC3E}">
        <p14:creationId xmlns:p14="http://schemas.microsoft.com/office/powerpoint/2010/main" val="332957688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Oval 37">
            <a:extLst>
              <a:ext uri="{FF2B5EF4-FFF2-40B4-BE49-F238E27FC236}">
                <a16:creationId xmlns:a16="http://schemas.microsoft.com/office/drawing/2014/main" id="{F4697FA6-E2C6-491E-92C5-9E7E933A20B6}"/>
              </a:ext>
            </a:extLst>
          </p:cNvPr>
          <p:cNvSpPr/>
          <p:nvPr/>
        </p:nvSpPr>
        <p:spPr>
          <a:xfrm>
            <a:off x="2208496" y="1810557"/>
            <a:ext cx="766180" cy="734663"/>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EYInterstate Light"/>
                <a:ea typeface="+mn-ea"/>
                <a:cs typeface="+mn-cs"/>
              </a:rPr>
              <a:t>5 CH</a:t>
            </a:r>
            <a:r>
              <a:rPr kumimoji="0" lang="en-US" sz="900" b="0" i="0" u="none" strike="noStrike" kern="1200" cap="none" spc="0" normalizeH="0" baseline="0" noProof="0" dirty="0">
                <a:ln>
                  <a:noFill/>
                </a:ln>
                <a:solidFill>
                  <a:srgbClr val="000000"/>
                </a:solidFill>
                <a:effectLst/>
                <a:uLnTx/>
                <a:uFillTx/>
                <a:latin typeface="EYInterstate Light"/>
                <a:ea typeface="+mn-ea"/>
                <a:cs typeface="+mn-cs"/>
              </a:rPr>
              <a:t>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EYInterstate Light"/>
                <a:ea typeface="+mn-ea"/>
                <a:cs typeface="+mn-cs"/>
              </a:rPr>
              <a:t>10 H</a:t>
            </a:r>
            <a:r>
              <a:rPr kumimoji="0" lang="en-US" sz="900" b="0" i="0" u="none" strike="noStrike" kern="1200" cap="none" spc="0" normalizeH="0" baseline="0" noProof="0" dirty="0">
                <a:ln>
                  <a:noFill/>
                </a:ln>
                <a:solidFill>
                  <a:srgbClr val="000000"/>
                </a:solidFill>
                <a:effectLst/>
                <a:uLnTx/>
                <a:uFillTx/>
                <a:latin typeface="EYInterstate Light"/>
                <a:ea typeface="+mn-ea"/>
                <a:cs typeface="+mn-cs"/>
              </a:rPr>
              <a:t>2</a:t>
            </a:r>
            <a:r>
              <a:rPr kumimoji="0" lang="en-US" sz="1200" b="0" i="0" u="none" strike="noStrike" kern="1200" cap="none" spc="0" normalizeH="0" baseline="0" noProof="0" dirty="0">
                <a:ln>
                  <a:noFill/>
                </a:ln>
                <a:solidFill>
                  <a:srgbClr val="000000"/>
                </a:solidFill>
                <a:effectLst/>
                <a:uLnTx/>
                <a:uFillTx/>
                <a:latin typeface="EYInterstate Light"/>
                <a:ea typeface="+mn-ea"/>
                <a:cs typeface="+mn-cs"/>
              </a:rPr>
              <a:t>O</a:t>
            </a:r>
          </a:p>
        </p:txBody>
      </p:sp>
      <p:graphicFrame>
        <p:nvGraphicFramePr>
          <p:cNvPr id="8" name="Object 7" hidden="1">
            <a:extLst>
              <a:ext uri="{FF2B5EF4-FFF2-40B4-BE49-F238E27FC236}">
                <a16:creationId xmlns:a16="http://schemas.microsoft.com/office/drawing/2014/main" id="{052D084B-5835-4D3E-A88B-0C0238B6C6F1}"/>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8" name="Object 7" hidden="1">
                        <a:extLst>
                          <a:ext uri="{FF2B5EF4-FFF2-40B4-BE49-F238E27FC236}">
                            <a16:creationId xmlns:a16="http://schemas.microsoft.com/office/drawing/2014/main" id="{052D084B-5835-4D3E-A88B-0C0238B6C6F1}"/>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2CC132-BFAF-4794-9F52-E7A9DEECAF18}"/>
              </a:ext>
            </a:extLst>
          </p:cNvPr>
          <p:cNvSpPr>
            <a:spLocks noGrp="1"/>
          </p:cNvSpPr>
          <p:nvPr>
            <p:ph type="title" idx="4294967295"/>
          </p:nvPr>
        </p:nvSpPr>
        <p:spPr>
          <a:xfrm>
            <a:off x="616900" y="536532"/>
            <a:ext cx="10972800" cy="590550"/>
          </a:xfrm>
        </p:spPr>
        <p:txBody>
          <a:bodyPr vert="horz"/>
          <a:lstStyle/>
          <a:p>
            <a:r>
              <a:rPr lang="en-US" b="1" dirty="0">
                <a:solidFill>
                  <a:schemeClr val="tx2"/>
                </a:solidFill>
              </a:rPr>
              <a:t>Step 2: </a:t>
            </a:r>
            <a:br>
              <a:rPr lang="en-US" sz="2400" dirty="0">
                <a:solidFill>
                  <a:schemeClr val="tx2"/>
                </a:solidFill>
              </a:rPr>
            </a:br>
            <a:r>
              <a:rPr lang="en-US" sz="2000" dirty="0"/>
              <a:t>Execute SMR &amp; water-gas shift process</a:t>
            </a:r>
          </a:p>
        </p:txBody>
      </p:sp>
      <p:sp>
        <p:nvSpPr>
          <p:cNvPr id="59" name="Rectangle 58">
            <a:extLst>
              <a:ext uri="{FF2B5EF4-FFF2-40B4-BE49-F238E27FC236}">
                <a16:creationId xmlns:a16="http://schemas.microsoft.com/office/drawing/2014/main" id="{C47707F5-A3DF-4215-B8D9-AF23E2969C76}"/>
              </a:ext>
            </a:extLst>
          </p:cNvPr>
          <p:cNvSpPr/>
          <p:nvPr/>
        </p:nvSpPr>
        <p:spPr>
          <a:xfrm>
            <a:off x="10539092" y="352124"/>
            <a:ext cx="653290" cy="193899"/>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2E38"/>
                </a:solidFill>
                <a:effectLst/>
                <a:uLnTx/>
                <a:uFillTx/>
                <a:latin typeface="EYInterstate Light"/>
                <a:ea typeface="+mn-ea"/>
                <a:cs typeface="+mn-cs"/>
              </a:rPr>
              <a:t>Process</a:t>
            </a:r>
          </a:p>
        </p:txBody>
      </p:sp>
      <p:sp>
        <p:nvSpPr>
          <p:cNvPr id="60" name="Rectangle 59">
            <a:extLst>
              <a:ext uri="{FF2B5EF4-FFF2-40B4-BE49-F238E27FC236}">
                <a16:creationId xmlns:a16="http://schemas.microsoft.com/office/drawing/2014/main" id="{06F1C660-5E3D-4FB6-936C-EEB0A1CC7BEA}"/>
              </a:ext>
            </a:extLst>
          </p:cNvPr>
          <p:cNvSpPr/>
          <p:nvPr/>
        </p:nvSpPr>
        <p:spPr>
          <a:xfrm>
            <a:off x="11375199" y="353463"/>
            <a:ext cx="653290" cy="19389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EYInterstate Light"/>
                <a:ea typeface="+mn-ea"/>
                <a:cs typeface="+mn-cs"/>
              </a:rPr>
              <a:t>Storage</a:t>
            </a:r>
          </a:p>
        </p:txBody>
      </p:sp>
      <p:grpSp>
        <p:nvGrpSpPr>
          <p:cNvPr id="61" name="Group 60">
            <a:extLst>
              <a:ext uri="{FF2B5EF4-FFF2-40B4-BE49-F238E27FC236}">
                <a16:creationId xmlns:a16="http://schemas.microsoft.com/office/drawing/2014/main" id="{DF88D429-7F4E-4850-B16C-DE2B93C245EB}"/>
              </a:ext>
            </a:extLst>
          </p:cNvPr>
          <p:cNvGrpSpPr/>
          <p:nvPr/>
        </p:nvGrpSpPr>
        <p:grpSpPr>
          <a:xfrm>
            <a:off x="8788347" y="351757"/>
            <a:ext cx="1023432" cy="154658"/>
            <a:chOff x="7559030" y="5965502"/>
            <a:chExt cx="1023432" cy="154658"/>
          </a:xfrm>
        </p:grpSpPr>
        <p:cxnSp>
          <p:nvCxnSpPr>
            <p:cNvPr id="62" name="Straight Arrow Connector 61">
              <a:extLst>
                <a:ext uri="{FF2B5EF4-FFF2-40B4-BE49-F238E27FC236}">
                  <a16:creationId xmlns:a16="http://schemas.microsoft.com/office/drawing/2014/main" id="{C6FABC06-0049-4869-8B30-39495999D868}"/>
                </a:ext>
              </a:extLst>
            </p:cNvPr>
            <p:cNvCxnSpPr>
              <a:cxnSpLocks/>
            </p:cNvCxnSpPr>
            <p:nvPr/>
          </p:nvCxnSpPr>
          <p:spPr>
            <a:xfrm>
              <a:off x="7559030" y="6062451"/>
              <a:ext cx="274353" cy="3297"/>
            </a:xfrm>
            <a:prstGeom prst="straightConnector1">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7E904EA7-CC4C-4731-A75E-9ACB05AA62D9}"/>
                </a:ext>
              </a:extLst>
            </p:cNvPr>
            <p:cNvSpPr txBox="1"/>
            <p:nvPr/>
          </p:nvSpPr>
          <p:spPr>
            <a:xfrm>
              <a:off x="7929172" y="5965502"/>
              <a:ext cx="653290" cy="15465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900" b="0" i="0" u="none" strike="noStrike" kern="1200" cap="none" spc="0" normalizeH="0" baseline="0" noProof="0" dirty="0">
                  <a:ln>
                    <a:noFill/>
                  </a:ln>
                  <a:solidFill>
                    <a:prstClr val="white"/>
                  </a:solidFill>
                  <a:effectLst/>
                  <a:uLnTx/>
                  <a:uFillTx/>
                  <a:latin typeface="EYInterstate Light"/>
                  <a:ea typeface="+mn-ea"/>
                  <a:cs typeface="+mn-cs"/>
                </a:rPr>
                <a:t>Liquid</a:t>
              </a:r>
            </a:p>
          </p:txBody>
        </p:sp>
      </p:grpSp>
      <p:grpSp>
        <p:nvGrpSpPr>
          <p:cNvPr id="64" name="Group 63">
            <a:extLst>
              <a:ext uri="{FF2B5EF4-FFF2-40B4-BE49-F238E27FC236}">
                <a16:creationId xmlns:a16="http://schemas.microsoft.com/office/drawing/2014/main" id="{3F89C1D2-F908-4759-9B2A-EC06CB09D1F7}"/>
              </a:ext>
            </a:extLst>
          </p:cNvPr>
          <p:cNvGrpSpPr/>
          <p:nvPr/>
        </p:nvGrpSpPr>
        <p:grpSpPr>
          <a:xfrm>
            <a:off x="9722472" y="351757"/>
            <a:ext cx="1020855" cy="154658"/>
            <a:chOff x="8500221" y="5972665"/>
            <a:chExt cx="1020855" cy="154658"/>
          </a:xfrm>
        </p:grpSpPr>
        <p:cxnSp>
          <p:nvCxnSpPr>
            <p:cNvPr id="65" name="Straight Arrow Connector 64">
              <a:extLst>
                <a:ext uri="{FF2B5EF4-FFF2-40B4-BE49-F238E27FC236}">
                  <a16:creationId xmlns:a16="http://schemas.microsoft.com/office/drawing/2014/main" id="{1E4C910A-B0A1-40F2-8CB7-01DA1684B4CD}"/>
                </a:ext>
              </a:extLst>
            </p:cNvPr>
            <p:cNvCxnSpPr>
              <a:cxnSpLocks/>
            </p:cNvCxnSpPr>
            <p:nvPr/>
          </p:nvCxnSpPr>
          <p:spPr>
            <a:xfrm>
              <a:off x="8500221" y="6062452"/>
              <a:ext cx="274320" cy="7087"/>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054443DE-2E23-41C4-B976-8E347D85D5D0}"/>
                </a:ext>
              </a:extLst>
            </p:cNvPr>
            <p:cNvSpPr txBox="1"/>
            <p:nvPr/>
          </p:nvSpPr>
          <p:spPr>
            <a:xfrm>
              <a:off x="8867786" y="5972665"/>
              <a:ext cx="653290" cy="15465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900" b="0" i="0" u="none" strike="noStrike" kern="1200" cap="none" spc="0" normalizeH="0" baseline="0" noProof="0" dirty="0">
                  <a:ln>
                    <a:noFill/>
                  </a:ln>
                  <a:solidFill>
                    <a:prstClr val="white"/>
                  </a:solidFill>
                  <a:effectLst/>
                  <a:uLnTx/>
                  <a:uFillTx/>
                  <a:latin typeface="EYInterstate Light"/>
                  <a:ea typeface="+mn-ea"/>
                  <a:cs typeface="+mn-cs"/>
                </a:rPr>
                <a:t>Gas</a:t>
              </a:r>
            </a:p>
          </p:txBody>
        </p:sp>
      </p:grpSp>
      <p:sp>
        <p:nvSpPr>
          <p:cNvPr id="73" name="TextBox 72">
            <a:extLst>
              <a:ext uri="{FF2B5EF4-FFF2-40B4-BE49-F238E27FC236}">
                <a16:creationId xmlns:a16="http://schemas.microsoft.com/office/drawing/2014/main" id="{E24D1ED1-4005-4CDB-ABEC-5114E0C012E6}"/>
              </a:ext>
            </a:extLst>
          </p:cNvPr>
          <p:cNvSpPr txBox="1"/>
          <p:nvPr/>
        </p:nvSpPr>
        <p:spPr>
          <a:xfrm>
            <a:off x="8788347" y="54064"/>
            <a:ext cx="36195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Key</a:t>
            </a:r>
          </a:p>
        </p:txBody>
      </p:sp>
      <p:cxnSp>
        <p:nvCxnSpPr>
          <p:cNvPr id="74" name="Straight Connector 73">
            <a:extLst>
              <a:ext uri="{FF2B5EF4-FFF2-40B4-BE49-F238E27FC236}">
                <a16:creationId xmlns:a16="http://schemas.microsoft.com/office/drawing/2014/main" id="{923DF6AE-D1EF-4EFC-9B9B-02146E8EE270}"/>
              </a:ext>
            </a:extLst>
          </p:cNvPr>
          <p:cNvCxnSpPr>
            <a:cxnSpLocks/>
          </p:cNvCxnSpPr>
          <p:nvPr/>
        </p:nvCxnSpPr>
        <p:spPr>
          <a:xfrm flipH="1">
            <a:off x="8792772" y="232620"/>
            <a:ext cx="269928" cy="0"/>
          </a:xfrm>
          <a:prstGeom prst="line">
            <a:avLst/>
          </a:prstGeom>
          <a:ln w="9525">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75" name="Table 74">
            <a:extLst>
              <a:ext uri="{FF2B5EF4-FFF2-40B4-BE49-F238E27FC236}">
                <a16:creationId xmlns:a16="http://schemas.microsoft.com/office/drawing/2014/main" id="{4F4A8917-3CC7-415F-94FA-CCF69FE99D9F}"/>
              </a:ext>
            </a:extLst>
          </p:cNvPr>
          <p:cNvGraphicFramePr>
            <a:graphicFrameLocks noGrp="1"/>
          </p:cNvGraphicFramePr>
          <p:nvPr/>
        </p:nvGraphicFramePr>
        <p:xfrm>
          <a:off x="616900" y="4301538"/>
          <a:ext cx="3413557" cy="1813145"/>
        </p:xfrm>
        <a:graphic>
          <a:graphicData uri="http://schemas.openxmlformats.org/drawingml/2006/table">
            <a:tbl>
              <a:tblPr>
                <a:tableStyleId>{5C22544A-7EE6-4342-B048-85BDC9FD1C3A}</a:tableStyleId>
              </a:tblPr>
              <a:tblGrid>
                <a:gridCol w="1616047">
                  <a:extLst>
                    <a:ext uri="{9D8B030D-6E8A-4147-A177-3AD203B41FA5}">
                      <a16:colId xmlns:a16="http://schemas.microsoft.com/office/drawing/2014/main" val="711398887"/>
                    </a:ext>
                  </a:extLst>
                </a:gridCol>
                <a:gridCol w="359502">
                  <a:extLst>
                    <a:ext uri="{9D8B030D-6E8A-4147-A177-3AD203B41FA5}">
                      <a16:colId xmlns:a16="http://schemas.microsoft.com/office/drawing/2014/main" val="1030759635"/>
                    </a:ext>
                  </a:extLst>
                </a:gridCol>
                <a:gridCol w="359502">
                  <a:extLst>
                    <a:ext uri="{9D8B030D-6E8A-4147-A177-3AD203B41FA5}">
                      <a16:colId xmlns:a16="http://schemas.microsoft.com/office/drawing/2014/main" val="2323964013"/>
                    </a:ext>
                  </a:extLst>
                </a:gridCol>
                <a:gridCol w="359502">
                  <a:extLst>
                    <a:ext uri="{9D8B030D-6E8A-4147-A177-3AD203B41FA5}">
                      <a16:colId xmlns:a16="http://schemas.microsoft.com/office/drawing/2014/main" val="1777564282"/>
                    </a:ext>
                  </a:extLst>
                </a:gridCol>
                <a:gridCol w="359502">
                  <a:extLst>
                    <a:ext uri="{9D8B030D-6E8A-4147-A177-3AD203B41FA5}">
                      <a16:colId xmlns:a16="http://schemas.microsoft.com/office/drawing/2014/main" val="3932358994"/>
                    </a:ext>
                  </a:extLst>
                </a:gridCol>
                <a:gridCol w="359502">
                  <a:extLst>
                    <a:ext uri="{9D8B030D-6E8A-4147-A177-3AD203B41FA5}">
                      <a16:colId xmlns:a16="http://schemas.microsoft.com/office/drawing/2014/main" val="1275082126"/>
                    </a:ext>
                  </a:extLst>
                </a:gridCol>
              </a:tblGrid>
              <a:tr h="289145">
                <a:tc gridSpan="6">
                  <a:txBody>
                    <a:bodyPr/>
                    <a:lstStyle/>
                    <a:p>
                      <a:pPr algn="ctr" fontAlgn="b"/>
                      <a:r>
                        <a:rPr lang="en-US" sz="1300" b="1" i="0" u="none" strike="noStrike" dirty="0">
                          <a:solidFill>
                            <a:schemeClr val="bg1"/>
                          </a:solidFill>
                          <a:effectLst/>
                          <a:latin typeface="+mn-lt"/>
                        </a:rPr>
                        <a:t>Molecular Accounting</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871745425"/>
                  </a:ext>
                </a:extLst>
              </a:tr>
              <a:tr h="190500">
                <a:tc>
                  <a:txBody>
                    <a:bodyPr/>
                    <a:lstStyle/>
                    <a:p>
                      <a:pPr algn="ctr" fontAlgn="b"/>
                      <a:r>
                        <a:rPr lang="en-US" sz="1000" b="1" u="none" strike="noStrike" dirty="0">
                          <a:solidFill>
                            <a:schemeClr val="bg1"/>
                          </a:solidFill>
                          <a:effectLst/>
                          <a:latin typeface="+mn-lt"/>
                        </a:rPr>
                        <a:t>Process</a:t>
                      </a:r>
                      <a:endParaRPr lang="en-US" sz="1000" b="1"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CH</a:t>
                      </a:r>
                      <a:r>
                        <a:rPr lang="en-US" sz="800" u="none" strike="noStrike" dirty="0">
                          <a:solidFill>
                            <a:schemeClr val="bg1"/>
                          </a:solidFill>
                          <a:effectLst/>
                          <a:latin typeface="+mn-lt"/>
                        </a:rPr>
                        <a:t>4</a:t>
                      </a:r>
                      <a:endParaRPr lang="en-US" sz="800" b="0" i="0" u="none" strike="noStrike" dirty="0">
                        <a:solidFill>
                          <a:schemeClr val="bg1"/>
                        </a:solidFill>
                        <a:effectLst/>
                        <a:latin typeface="+mn-lt"/>
                      </a:endParaRPr>
                    </a:p>
                  </a:txBody>
                  <a:tcPr marL="9525" marR="9525" marT="9525" marB="0" anchor="b">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H</a:t>
                      </a:r>
                      <a:r>
                        <a:rPr lang="en-US" sz="800" u="none" strike="noStrike" dirty="0">
                          <a:solidFill>
                            <a:schemeClr val="bg1"/>
                          </a:solidFill>
                          <a:effectLst/>
                          <a:latin typeface="+mn-lt"/>
                        </a:rPr>
                        <a:t>2</a:t>
                      </a:r>
                      <a:r>
                        <a:rPr lang="en-US" sz="1000" u="none" strike="noStrike" dirty="0">
                          <a:solidFill>
                            <a:schemeClr val="bg1"/>
                          </a:solidFill>
                          <a:effectLst/>
                          <a:latin typeface="+mn-lt"/>
                        </a:rPr>
                        <a:t>O</a:t>
                      </a:r>
                      <a:endParaRPr lang="en-US" sz="1000" b="0" i="0" u="none" strike="noStrike" dirty="0">
                        <a:solidFill>
                          <a:schemeClr val="bg1"/>
                        </a:solidFill>
                        <a:effectLst/>
                        <a:latin typeface="+mn-lt"/>
                      </a:endParaRPr>
                    </a:p>
                  </a:txBody>
                  <a:tcPr marL="9525" marR="9525" marT="9525" marB="0" anchor="b">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CO</a:t>
                      </a:r>
                      <a:r>
                        <a:rPr lang="en-US" sz="800" u="none" strike="noStrike" dirty="0">
                          <a:solidFill>
                            <a:schemeClr val="bg1"/>
                          </a:solidFill>
                          <a:effectLst/>
                          <a:latin typeface="+mn-lt"/>
                        </a:rPr>
                        <a:t>2</a:t>
                      </a:r>
                      <a:endParaRPr lang="en-US" sz="800" b="0" i="0" u="none" strike="noStrike" dirty="0">
                        <a:solidFill>
                          <a:schemeClr val="bg1"/>
                        </a:solidFill>
                        <a:effectLst/>
                        <a:latin typeface="+mn-lt"/>
                      </a:endParaRPr>
                    </a:p>
                  </a:txBody>
                  <a:tcPr marL="9525" marR="9525" marT="9525" marB="0" anchor="b">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H</a:t>
                      </a:r>
                      <a:r>
                        <a:rPr lang="en-US" sz="800" u="none" strike="noStrike" dirty="0">
                          <a:solidFill>
                            <a:schemeClr val="bg1"/>
                          </a:solidFill>
                          <a:effectLst/>
                          <a:latin typeface="+mn-lt"/>
                        </a:rPr>
                        <a:t>2</a:t>
                      </a:r>
                      <a:endParaRPr lang="en-US" sz="800" b="0" i="0" u="none" strike="noStrike" dirty="0">
                        <a:solidFill>
                          <a:schemeClr val="bg1"/>
                        </a:solidFill>
                        <a:effectLst/>
                        <a:latin typeface="+mn-lt"/>
                      </a:endParaRPr>
                    </a:p>
                  </a:txBody>
                  <a:tcPr marL="9525" marR="9525" marT="9525" marB="0" anchor="b">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LH</a:t>
                      </a:r>
                      <a:r>
                        <a:rPr lang="en-US" sz="800" u="none" strike="noStrike" dirty="0">
                          <a:solidFill>
                            <a:schemeClr val="bg1"/>
                          </a:solidFill>
                          <a:effectLst/>
                          <a:latin typeface="+mn-lt"/>
                        </a:rPr>
                        <a:t>2</a:t>
                      </a:r>
                      <a:endParaRPr lang="en-US" sz="800" b="0" i="0" u="none" strike="noStrike" dirty="0">
                        <a:solidFill>
                          <a:schemeClr val="bg1"/>
                        </a:solidFill>
                        <a:effectLst/>
                        <a:latin typeface="+mn-lt"/>
                      </a:endParaRPr>
                    </a:p>
                  </a:txBody>
                  <a:tcPr marL="9525" marR="9525" marT="9525" marB="0" anchor="b">
                    <a:lnL w="12700" cmpd="sng">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257263026"/>
                  </a:ext>
                </a:extLst>
              </a:tr>
              <a:tr h="190500">
                <a:tc>
                  <a:txBody>
                    <a:bodyPr/>
                    <a:lstStyle/>
                    <a:p>
                      <a:pPr algn="l" fontAlgn="b"/>
                      <a:r>
                        <a:rPr lang="en-US" sz="1000" u="none" strike="noStrike" dirty="0">
                          <a:solidFill>
                            <a:schemeClr val="bg1"/>
                          </a:solidFill>
                          <a:effectLst/>
                          <a:latin typeface="+mn-lt"/>
                        </a:rPr>
                        <a:t>SMR + Water-Gas Shift</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5</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1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43997096"/>
                  </a:ext>
                </a:extLst>
              </a:tr>
              <a:tr h="190500">
                <a:tc>
                  <a:txBody>
                    <a:bodyPr/>
                    <a:lstStyle/>
                    <a:p>
                      <a:pPr algn="l" fontAlgn="b"/>
                      <a:r>
                        <a:rPr lang="en-US" sz="1000" u="none" strike="noStrike" dirty="0">
                          <a:solidFill>
                            <a:schemeClr val="bg1"/>
                          </a:solidFill>
                          <a:effectLst/>
                          <a:latin typeface="+mn-lt"/>
                        </a:rPr>
                        <a:t>Hydrogen Liquefaction </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75270870"/>
                  </a:ext>
                </a:extLst>
              </a:tr>
              <a:tr h="190500">
                <a:tc>
                  <a:txBody>
                    <a:bodyPr/>
                    <a:lstStyle/>
                    <a:p>
                      <a:pPr algn="l" fontAlgn="b"/>
                      <a:r>
                        <a:rPr lang="en-US" sz="1000" u="none" strike="noStrike" dirty="0">
                          <a:solidFill>
                            <a:schemeClr val="bg1"/>
                          </a:solidFill>
                          <a:effectLst/>
                          <a:latin typeface="+mn-lt"/>
                        </a:rPr>
                        <a:t>Sequestration</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050855797"/>
                  </a:ext>
                </a:extLst>
              </a:tr>
              <a:tr h="190500">
                <a:tc>
                  <a:txBody>
                    <a:bodyPr/>
                    <a:lstStyle/>
                    <a:p>
                      <a:pPr algn="l" fontAlgn="b"/>
                      <a:r>
                        <a:rPr lang="en-US" sz="1000" u="none" strike="noStrike" dirty="0">
                          <a:solidFill>
                            <a:schemeClr val="bg1"/>
                          </a:solidFill>
                          <a:effectLst/>
                          <a:latin typeface="+mn-lt"/>
                        </a:rPr>
                        <a:t>Storage</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738928020"/>
                  </a:ext>
                </a:extLst>
              </a:tr>
              <a:tr h="190500">
                <a:tc>
                  <a:txBody>
                    <a:bodyPr/>
                    <a:lstStyle/>
                    <a:p>
                      <a:pPr algn="l" fontAlgn="b"/>
                      <a:r>
                        <a:rPr lang="en-US" sz="1000" u="none" strike="noStrike" dirty="0">
                          <a:solidFill>
                            <a:schemeClr val="bg1"/>
                          </a:solidFill>
                          <a:effectLst/>
                          <a:latin typeface="+mn-lt"/>
                        </a:rPr>
                        <a:t>Transport</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44349904"/>
                  </a:ext>
                </a:extLst>
              </a:tr>
              <a:tr h="190500">
                <a:tc>
                  <a:txBody>
                    <a:bodyPr/>
                    <a:lstStyle/>
                    <a:p>
                      <a:pPr algn="l" fontAlgn="b"/>
                      <a:r>
                        <a:rPr lang="en-US" sz="1000" u="none" strike="noStrike" dirty="0">
                          <a:solidFill>
                            <a:schemeClr val="bg1"/>
                          </a:solidFill>
                          <a:effectLst/>
                          <a:latin typeface="+mn-lt"/>
                        </a:rPr>
                        <a:t>Distribution</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774404770"/>
                  </a:ext>
                </a:extLst>
              </a:tr>
              <a:tr h="190500">
                <a:tc>
                  <a:txBody>
                    <a:bodyPr/>
                    <a:lstStyle/>
                    <a:p>
                      <a:pPr algn="r" fontAlgn="b"/>
                      <a:r>
                        <a:rPr lang="en-US" sz="1000" u="none" strike="noStrike" dirty="0">
                          <a:solidFill>
                            <a:schemeClr val="bg1"/>
                          </a:solidFill>
                          <a:effectLst/>
                          <a:latin typeface="+mn-lt"/>
                        </a:rPr>
                        <a:t>Totals: </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5</a:t>
                      </a:r>
                    </a:p>
                  </a:txBody>
                  <a:tcPr marL="9525" marR="9525" marT="9525" marB="0" anchor="b">
                    <a:lnL w="12700" cmpd="sng">
                      <a:noFill/>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10</a:t>
                      </a:r>
                    </a:p>
                  </a:txBody>
                  <a:tcPr marL="9525" marR="9525" marT="9525" marB="0" anchor="b">
                    <a:lnL w="12700" cmpd="sng">
                      <a:noFill/>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endParaRPr lang="en-US" sz="1000" b="0" i="0" u="none" strike="noStrike" dirty="0">
                        <a:solidFill>
                          <a:schemeClr val="bg1"/>
                        </a:solidFill>
                        <a:effectLst/>
                        <a:latin typeface="+mn-lt"/>
                      </a:endParaRPr>
                    </a:p>
                  </a:txBody>
                  <a:tcPr marL="9525" marR="9525" marT="9525" marB="0" anchor="b">
                    <a:lnL w="12700" cmpd="sng">
                      <a:noFill/>
                    </a:lnL>
                    <a:lnR w="12700" cap="flat" cmpd="sng" algn="ctr">
                      <a:noFill/>
                      <a:prstDash val="solid"/>
                      <a:round/>
                      <a:headEnd type="none" w="med" len="med"/>
                      <a:tailEnd type="none" w="med" len="med"/>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97872866"/>
                  </a:ext>
                </a:extLst>
              </a:tr>
            </a:tbl>
          </a:graphicData>
        </a:graphic>
      </p:graphicFrame>
      <p:sp>
        <p:nvSpPr>
          <p:cNvPr id="49" name="Rectangle 48">
            <a:extLst>
              <a:ext uri="{FF2B5EF4-FFF2-40B4-BE49-F238E27FC236}">
                <a16:creationId xmlns:a16="http://schemas.microsoft.com/office/drawing/2014/main" id="{815A35FD-B29A-41B9-8055-CC44D60CC219}"/>
              </a:ext>
            </a:extLst>
          </p:cNvPr>
          <p:cNvSpPr/>
          <p:nvPr/>
        </p:nvSpPr>
        <p:spPr>
          <a:xfrm>
            <a:off x="1949115" y="1812997"/>
            <a:ext cx="1349229" cy="734663"/>
          </a:xfrm>
          <a:prstGeom prst="rect">
            <a:avLst/>
          </a:prstGeom>
          <a:solidFill>
            <a:schemeClr val="bg1">
              <a:lumMod val="7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SMR + Water Gas Shift</a:t>
            </a:r>
          </a:p>
        </p:txBody>
      </p:sp>
      <p:sp>
        <p:nvSpPr>
          <p:cNvPr id="51" name="TextBox 50">
            <a:extLst>
              <a:ext uri="{FF2B5EF4-FFF2-40B4-BE49-F238E27FC236}">
                <a16:creationId xmlns:a16="http://schemas.microsoft.com/office/drawing/2014/main" id="{AF34D6F8-02A8-4F9B-950A-C02796922CDC}"/>
              </a:ext>
            </a:extLst>
          </p:cNvPr>
          <p:cNvSpPr txBox="1"/>
          <p:nvPr/>
        </p:nvSpPr>
        <p:spPr>
          <a:xfrm>
            <a:off x="764869" y="1873179"/>
            <a:ext cx="503339"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CH4</a:t>
            </a:r>
          </a:p>
        </p:txBody>
      </p:sp>
      <p:sp>
        <p:nvSpPr>
          <p:cNvPr id="52" name="TextBox 51">
            <a:extLst>
              <a:ext uri="{FF2B5EF4-FFF2-40B4-BE49-F238E27FC236}">
                <a16:creationId xmlns:a16="http://schemas.microsoft.com/office/drawing/2014/main" id="{68C0A341-A6BA-45E4-9620-4721A21F2F9F}"/>
              </a:ext>
            </a:extLst>
          </p:cNvPr>
          <p:cNvSpPr txBox="1"/>
          <p:nvPr/>
        </p:nvSpPr>
        <p:spPr>
          <a:xfrm>
            <a:off x="764869" y="2282931"/>
            <a:ext cx="503339"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2 H</a:t>
            </a:r>
            <a:r>
              <a:rPr kumimoji="0" lang="en-US" sz="900" b="0" i="0" u="none" strike="noStrike" kern="1200" cap="none" spc="0" normalizeH="0" baseline="0" noProof="0" dirty="0">
                <a:ln>
                  <a:noFill/>
                </a:ln>
                <a:solidFill>
                  <a:prstClr val="white"/>
                </a:solidFill>
                <a:effectLst/>
                <a:uLnTx/>
                <a:uFillTx/>
                <a:latin typeface="EYInterstate Light"/>
                <a:ea typeface="+mn-ea"/>
                <a:cs typeface="+mn-cs"/>
              </a:rPr>
              <a:t>2</a:t>
            </a: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0</a:t>
            </a:r>
          </a:p>
        </p:txBody>
      </p:sp>
      <p:cxnSp>
        <p:nvCxnSpPr>
          <p:cNvPr id="53" name="Straight Arrow Connector 52">
            <a:extLst>
              <a:ext uri="{FF2B5EF4-FFF2-40B4-BE49-F238E27FC236}">
                <a16:creationId xmlns:a16="http://schemas.microsoft.com/office/drawing/2014/main" id="{ED521118-4228-4F1B-8DE6-4A9A7A2D96AE}"/>
              </a:ext>
            </a:extLst>
          </p:cNvPr>
          <p:cNvCxnSpPr>
            <a:stCxn id="51" idx="3"/>
          </p:cNvCxnSpPr>
          <p:nvPr/>
        </p:nvCxnSpPr>
        <p:spPr>
          <a:xfrm flipV="1">
            <a:off x="1268208" y="1970128"/>
            <a:ext cx="562063" cy="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EE5D0FA2-79F0-4E2F-A546-E6AEF9376F73}"/>
              </a:ext>
            </a:extLst>
          </p:cNvPr>
          <p:cNvCxnSpPr>
            <a:cxnSpLocks/>
          </p:cNvCxnSpPr>
          <p:nvPr/>
        </p:nvCxnSpPr>
        <p:spPr>
          <a:xfrm>
            <a:off x="1268208" y="2376199"/>
            <a:ext cx="562063" cy="0"/>
          </a:xfrm>
          <a:prstGeom prst="straightConnector1">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674C12D6-43C1-4D08-B404-F44BA27177B9}"/>
              </a:ext>
            </a:extLst>
          </p:cNvPr>
          <p:cNvCxnSpPr/>
          <p:nvPr/>
        </p:nvCxnSpPr>
        <p:spPr>
          <a:xfrm flipV="1">
            <a:off x="3417188" y="1968445"/>
            <a:ext cx="562063" cy="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F98168EF-EE95-4648-829E-193F746ABE22}"/>
              </a:ext>
            </a:extLst>
          </p:cNvPr>
          <p:cNvCxnSpPr>
            <a:cxnSpLocks/>
          </p:cNvCxnSpPr>
          <p:nvPr/>
        </p:nvCxnSpPr>
        <p:spPr>
          <a:xfrm>
            <a:off x="3417188" y="2374516"/>
            <a:ext cx="562063" cy="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29E818ED-13C2-4CCB-BBEA-1B4BCF6562BF}"/>
              </a:ext>
            </a:extLst>
          </p:cNvPr>
          <p:cNvSpPr/>
          <p:nvPr/>
        </p:nvSpPr>
        <p:spPr>
          <a:xfrm>
            <a:off x="9140257" y="1755693"/>
            <a:ext cx="1874939" cy="42783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Sequestration</a:t>
            </a:r>
          </a:p>
        </p:txBody>
      </p:sp>
      <p:sp>
        <p:nvSpPr>
          <p:cNvPr id="69" name="Rectangle 68">
            <a:extLst>
              <a:ext uri="{FF2B5EF4-FFF2-40B4-BE49-F238E27FC236}">
                <a16:creationId xmlns:a16="http://schemas.microsoft.com/office/drawing/2014/main" id="{3E00725D-22DA-47FE-A99C-E7B3A28E8ACD}"/>
              </a:ext>
            </a:extLst>
          </p:cNvPr>
          <p:cNvSpPr/>
          <p:nvPr/>
        </p:nvSpPr>
        <p:spPr>
          <a:xfrm>
            <a:off x="5076810" y="3310311"/>
            <a:ext cx="1517009" cy="427839"/>
          </a:xfrm>
          <a:prstGeom prst="rect">
            <a:avLst/>
          </a:prstGeom>
          <a:solidFill>
            <a:schemeClr val="bg1">
              <a:lumMod val="7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Hydrogen Liquefaction</a:t>
            </a:r>
          </a:p>
        </p:txBody>
      </p:sp>
      <p:cxnSp>
        <p:nvCxnSpPr>
          <p:cNvPr id="70" name="Connector: Elbow 69">
            <a:extLst>
              <a:ext uri="{FF2B5EF4-FFF2-40B4-BE49-F238E27FC236}">
                <a16:creationId xmlns:a16="http://schemas.microsoft.com/office/drawing/2014/main" id="{E4C88A77-B29E-4628-9B33-12EF3864F56B}"/>
              </a:ext>
            </a:extLst>
          </p:cNvPr>
          <p:cNvCxnSpPr>
            <a:cxnSpLocks/>
            <a:endCxn id="69" idx="1"/>
          </p:cNvCxnSpPr>
          <p:nvPr/>
        </p:nvCxnSpPr>
        <p:spPr>
          <a:xfrm>
            <a:off x="4601434" y="2374516"/>
            <a:ext cx="475376" cy="1149715"/>
          </a:xfrm>
          <a:prstGeom prst="bentConnector3">
            <a:avLst>
              <a:gd name="adj1" fmla="val 50000"/>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A2DBCD81-E401-4F67-9E23-F66A16F70BA8}"/>
              </a:ext>
            </a:extLst>
          </p:cNvPr>
          <p:cNvSpPr/>
          <p:nvPr/>
        </p:nvSpPr>
        <p:spPr>
          <a:xfrm>
            <a:off x="9140258" y="2533002"/>
            <a:ext cx="1874939" cy="427839"/>
          </a:xfrm>
          <a:prstGeom prst="rect">
            <a:avLst/>
          </a:prstGeom>
          <a:no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Storage</a:t>
            </a:r>
          </a:p>
        </p:txBody>
      </p:sp>
      <p:cxnSp>
        <p:nvCxnSpPr>
          <p:cNvPr id="76" name="Connector: Elbow 75">
            <a:extLst>
              <a:ext uri="{FF2B5EF4-FFF2-40B4-BE49-F238E27FC236}">
                <a16:creationId xmlns:a16="http://schemas.microsoft.com/office/drawing/2014/main" id="{CD82A6B1-0BB5-4D7B-A961-2141502F2B05}"/>
              </a:ext>
            </a:extLst>
          </p:cNvPr>
          <p:cNvCxnSpPr>
            <a:cxnSpLocks/>
            <a:endCxn id="71" idx="1"/>
          </p:cNvCxnSpPr>
          <p:nvPr/>
        </p:nvCxnSpPr>
        <p:spPr>
          <a:xfrm>
            <a:off x="4601434" y="2374516"/>
            <a:ext cx="4538824" cy="372406"/>
          </a:xfrm>
          <a:prstGeom prst="bentConnector3">
            <a:avLst>
              <a:gd name="adj1" fmla="val 50000"/>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B0A8D999-C90B-4E3E-8900-E0104255D608}"/>
              </a:ext>
            </a:extLst>
          </p:cNvPr>
          <p:cNvCxnSpPr>
            <a:cxnSpLocks/>
            <a:endCxn id="68" idx="1"/>
          </p:cNvCxnSpPr>
          <p:nvPr/>
        </p:nvCxnSpPr>
        <p:spPr>
          <a:xfrm>
            <a:off x="4601434" y="1964764"/>
            <a:ext cx="4538823" cy="4849"/>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4A278AAB-A8DD-47B3-A995-DEE43A0FEB64}"/>
              </a:ext>
            </a:extLst>
          </p:cNvPr>
          <p:cNvSpPr/>
          <p:nvPr/>
        </p:nvSpPr>
        <p:spPr>
          <a:xfrm>
            <a:off x="9140257" y="3310311"/>
            <a:ext cx="1874939" cy="427839"/>
          </a:xfrm>
          <a:prstGeom prst="rect">
            <a:avLst/>
          </a:prstGeom>
          <a:no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Transport (Ship)</a:t>
            </a:r>
          </a:p>
        </p:txBody>
      </p:sp>
      <p:sp>
        <p:nvSpPr>
          <p:cNvPr id="79" name="Rectangle 78">
            <a:extLst>
              <a:ext uri="{FF2B5EF4-FFF2-40B4-BE49-F238E27FC236}">
                <a16:creationId xmlns:a16="http://schemas.microsoft.com/office/drawing/2014/main" id="{6DDDB5D7-4C3F-4DD0-AE62-E75C22E5E6D6}"/>
              </a:ext>
            </a:extLst>
          </p:cNvPr>
          <p:cNvSpPr/>
          <p:nvPr/>
        </p:nvSpPr>
        <p:spPr>
          <a:xfrm>
            <a:off x="9140256" y="4087620"/>
            <a:ext cx="1874939" cy="427839"/>
          </a:xfrm>
          <a:prstGeom prst="rect">
            <a:avLst/>
          </a:prstGeom>
          <a:no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Distribute (Pipeline)</a:t>
            </a:r>
          </a:p>
        </p:txBody>
      </p:sp>
      <p:cxnSp>
        <p:nvCxnSpPr>
          <p:cNvPr id="81" name="Connector: Elbow 80">
            <a:extLst>
              <a:ext uri="{FF2B5EF4-FFF2-40B4-BE49-F238E27FC236}">
                <a16:creationId xmlns:a16="http://schemas.microsoft.com/office/drawing/2014/main" id="{EE62305E-7C39-4F94-9918-B7E6EDD413A5}"/>
              </a:ext>
            </a:extLst>
          </p:cNvPr>
          <p:cNvCxnSpPr>
            <a:cxnSpLocks/>
            <a:stCxn id="69" idx="3"/>
            <a:endCxn id="79" idx="1"/>
          </p:cNvCxnSpPr>
          <p:nvPr/>
        </p:nvCxnSpPr>
        <p:spPr>
          <a:xfrm>
            <a:off x="6593819" y="3524231"/>
            <a:ext cx="2546437" cy="777309"/>
          </a:xfrm>
          <a:prstGeom prst="bentConnector3">
            <a:avLst>
              <a:gd name="adj1" fmla="val 50000"/>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0A3A66F8-319D-4D32-BA19-979721CEF117}"/>
              </a:ext>
            </a:extLst>
          </p:cNvPr>
          <p:cNvCxnSpPr>
            <a:cxnSpLocks/>
            <a:stCxn id="69" idx="3"/>
            <a:endCxn id="78" idx="1"/>
          </p:cNvCxnSpPr>
          <p:nvPr/>
        </p:nvCxnSpPr>
        <p:spPr>
          <a:xfrm>
            <a:off x="6593819" y="3524231"/>
            <a:ext cx="2546438" cy="0"/>
          </a:xfrm>
          <a:prstGeom prst="straightConnector1">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3" name="Connector: Elbow 82">
            <a:extLst>
              <a:ext uri="{FF2B5EF4-FFF2-40B4-BE49-F238E27FC236}">
                <a16:creationId xmlns:a16="http://schemas.microsoft.com/office/drawing/2014/main" id="{BEC2A2E6-A9AE-4DA5-BD8F-E9AAC86B731C}"/>
              </a:ext>
            </a:extLst>
          </p:cNvPr>
          <p:cNvCxnSpPr>
            <a:cxnSpLocks/>
            <a:stCxn id="69" idx="3"/>
            <a:endCxn id="71" idx="1"/>
          </p:cNvCxnSpPr>
          <p:nvPr/>
        </p:nvCxnSpPr>
        <p:spPr>
          <a:xfrm flipV="1">
            <a:off x="6593819" y="2746922"/>
            <a:ext cx="2546439" cy="777309"/>
          </a:xfrm>
          <a:prstGeom prst="bentConnector3">
            <a:avLst>
              <a:gd name="adj1" fmla="val 50000"/>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1C380683-0AE5-46DF-A1C5-0E57FD47C4AD}"/>
              </a:ext>
            </a:extLst>
          </p:cNvPr>
          <p:cNvSpPr txBox="1"/>
          <p:nvPr/>
        </p:nvSpPr>
        <p:spPr>
          <a:xfrm>
            <a:off x="4098095" y="1867814"/>
            <a:ext cx="503339"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2 CO</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2</a:t>
            </a:r>
          </a:p>
        </p:txBody>
      </p:sp>
      <p:sp>
        <p:nvSpPr>
          <p:cNvPr id="40" name="TextBox 39">
            <a:extLst>
              <a:ext uri="{FF2B5EF4-FFF2-40B4-BE49-F238E27FC236}">
                <a16:creationId xmlns:a16="http://schemas.microsoft.com/office/drawing/2014/main" id="{542903A7-F399-446D-8B7F-FD30B48B5E38}"/>
              </a:ext>
            </a:extLst>
          </p:cNvPr>
          <p:cNvSpPr txBox="1"/>
          <p:nvPr/>
        </p:nvSpPr>
        <p:spPr>
          <a:xfrm>
            <a:off x="4098095" y="2277566"/>
            <a:ext cx="503339"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4 H</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2</a:t>
            </a:r>
          </a:p>
        </p:txBody>
      </p:sp>
      <p:sp>
        <p:nvSpPr>
          <p:cNvPr id="41" name="TextBox 40">
            <a:extLst>
              <a:ext uri="{FF2B5EF4-FFF2-40B4-BE49-F238E27FC236}">
                <a16:creationId xmlns:a16="http://schemas.microsoft.com/office/drawing/2014/main" id="{52718E35-9F86-42D0-A15D-16479F01E1F4}"/>
              </a:ext>
            </a:extLst>
          </p:cNvPr>
          <p:cNvSpPr txBox="1"/>
          <p:nvPr/>
        </p:nvSpPr>
        <p:spPr>
          <a:xfrm>
            <a:off x="6781888" y="3296746"/>
            <a:ext cx="65329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2.4 LH</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2</a:t>
            </a:r>
          </a:p>
        </p:txBody>
      </p:sp>
      <p:sp>
        <p:nvSpPr>
          <p:cNvPr id="42" name="Footer Placeholder 2">
            <a:extLst>
              <a:ext uri="{FF2B5EF4-FFF2-40B4-BE49-F238E27FC236}">
                <a16:creationId xmlns:a16="http://schemas.microsoft.com/office/drawing/2014/main" id="{A4E31264-6A82-4CDB-B5B9-DCB5F145408D}"/>
              </a:ext>
            </a:extLst>
          </p:cNvPr>
          <p:cNvSpPr txBox="1">
            <a:spLocks/>
          </p:cNvSpPr>
          <p:nvPr/>
        </p:nvSpPr>
        <p:spPr>
          <a:xfrm>
            <a:off x="4553753" y="6471244"/>
            <a:ext cx="3367734" cy="180000"/>
          </a:xfrm>
          <a:prstGeom prst="rect">
            <a:avLst/>
          </a:prstGeom>
        </p:spPr>
        <p:txBody>
          <a:bodyPr/>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Page </a:t>
            </a:r>
            <a:fld id="{F1BC30E3-FFE5-4B91-AA19-87A149EBB9EE}" type="slidenum">
              <a:rPr smtClean="0"/>
              <a:pPr/>
              <a:t>11</a:t>
            </a:fld>
            <a:r>
              <a:rPr lang="en-US" dirty="0"/>
              <a:t> | Draft</a:t>
            </a:r>
          </a:p>
        </p:txBody>
      </p:sp>
    </p:spTree>
    <p:extLst>
      <p:ext uri="{BB962C8B-B14F-4D97-AF65-F5344CB8AC3E}">
        <p14:creationId xmlns:p14="http://schemas.microsoft.com/office/powerpoint/2010/main" val="295595483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52D084B-5835-4D3E-A88B-0C0238B6C6F1}"/>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8" name="Object 7" hidden="1">
                        <a:extLst>
                          <a:ext uri="{FF2B5EF4-FFF2-40B4-BE49-F238E27FC236}">
                            <a16:creationId xmlns:a16="http://schemas.microsoft.com/office/drawing/2014/main" id="{052D084B-5835-4D3E-A88B-0C0238B6C6F1}"/>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59" name="Title 1">
            <a:extLst>
              <a:ext uri="{FF2B5EF4-FFF2-40B4-BE49-F238E27FC236}">
                <a16:creationId xmlns:a16="http://schemas.microsoft.com/office/drawing/2014/main" id="{546F6C4C-221B-44BD-9881-3E7CB4745B9F}"/>
              </a:ext>
            </a:extLst>
          </p:cNvPr>
          <p:cNvSpPr txBox="1">
            <a:spLocks/>
          </p:cNvSpPr>
          <p:nvPr/>
        </p:nvSpPr>
        <p:spPr>
          <a:xfrm>
            <a:off x="616900" y="536532"/>
            <a:ext cx="10972800" cy="590550"/>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399" b="1" i="0" u="none" strike="noStrike" kern="1200" cap="none" spc="0" normalizeH="0" baseline="0" noProof="0" dirty="0">
                <a:ln>
                  <a:noFill/>
                </a:ln>
                <a:solidFill>
                  <a:srgbClr val="FFE600"/>
                </a:solidFill>
                <a:effectLst/>
                <a:uLnTx/>
                <a:uFillTx/>
                <a:latin typeface="EYInterstate Light" panose="02000506000000020004" pitchFamily="2" charset="0"/>
                <a:ea typeface="+mj-ea"/>
                <a:cs typeface="Arial" pitchFamily="34" charset="0"/>
              </a:rPr>
              <a:t>Step 3:</a:t>
            </a:r>
          </a:p>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Determine next process for outputs</a:t>
            </a:r>
          </a:p>
        </p:txBody>
      </p:sp>
      <p:sp>
        <p:nvSpPr>
          <p:cNvPr id="65" name="Rectangle 64">
            <a:extLst>
              <a:ext uri="{FF2B5EF4-FFF2-40B4-BE49-F238E27FC236}">
                <a16:creationId xmlns:a16="http://schemas.microsoft.com/office/drawing/2014/main" id="{BAE9CF7C-9F4E-4223-B5A9-B401BF9ED8C1}"/>
              </a:ext>
            </a:extLst>
          </p:cNvPr>
          <p:cNvSpPr/>
          <p:nvPr/>
        </p:nvSpPr>
        <p:spPr>
          <a:xfrm>
            <a:off x="10539092" y="352124"/>
            <a:ext cx="653290" cy="193899"/>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2E38"/>
                </a:solidFill>
                <a:effectLst/>
                <a:uLnTx/>
                <a:uFillTx/>
                <a:latin typeface="EYInterstate Light"/>
                <a:ea typeface="+mn-ea"/>
                <a:cs typeface="+mn-cs"/>
              </a:rPr>
              <a:t>Process</a:t>
            </a:r>
          </a:p>
        </p:txBody>
      </p:sp>
      <p:sp>
        <p:nvSpPr>
          <p:cNvPr id="66" name="Rectangle 65">
            <a:extLst>
              <a:ext uri="{FF2B5EF4-FFF2-40B4-BE49-F238E27FC236}">
                <a16:creationId xmlns:a16="http://schemas.microsoft.com/office/drawing/2014/main" id="{A281A911-6788-4A2B-A187-A8270B5CD283}"/>
              </a:ext>
            </a:extLst>
          </p:cNvPr>
          <p:cNvSpPr/>
          <p:nvPr/>
        </p:nvSpPr>
        <p:spPr>
          <a:xfrm>
            <a:off x="11375199" y="353463"/>
            <a:ext cx="653290" cy="19389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EYInterstate Light"/>
                <a:ea typeface="+mn-ea"/>
                <a:cs typeface="+mn-cs"/>
              </a:rPr>
              <a:t>Storage</a:t>
            </a:r>
          </a:p>
        </p:txBody>
      </p:sp>
      <p:grpSp>
        <p:nvGrpSpPr>
          <p:cNvPr id="67" name="Group 66">
            <a:extLst>
              <a:ext uri="{FF2B5EF4-FFF2-40B4-BE49-F238E27FC236}">
                <a16:creationId xmlns:a16="http://schemas.microsoft.com/office/drawing/2014/main" id="{CC723D67-EE86-4A29-9AAD-82DCEC177BB7}"/>
              </a:ext>
            </a:extLst>
          </p:cNvPr>
          <p:cNvGrpSpPr/>
          <p:nvPr/>
        </p:nvGrpSpPr>
        <p:grpSpPr>
          <a:xfrm>
            <a:off x="8788347" y="351757"/>
            <a:ext cx="1023432" cy="154658"/>
            <a:chOff x="7559030" y="5965502"/>
            <a:chExt cx="1023432" cy="154658"/>
          </a:xfrm>
        </p:grpSpPr>
        <p:cxnSp>
          <p:nvCxnSpPr>
            <p:cNvPr id="68" name="Straight Arrow Connector 67">
              <a:extLst>
                <a:ext uri="{FF2B5EF4-FFF2-40B4-BE49-F238E27FC236}">
                  <a16:creationId xmlns:a16="http://schemas.microsoft.com/office/drawing/2014/main" id="{389E2CAF-33D5-4CA4-9222-4EA00E0B7F67}"/>
                </a:ext>
              </a:extLst>
            </p:cNvPr>
            <p:cNvCxnSpPr>
              <a:cxnSpLocks/>
            </p:cNvCxnSpPr>
            <p:nvPr/>
          </p:nvCxnSpPr>
          <p:spPr>
            <a:xfrm>
              <a:off x="7559030" y="6062451"/>
              <a:ext cx="274353" cy="3297"/>
            </a:xfrm>
            <a:prstGeom prst="straightConnector1">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DC446541-40CC-4770-8357-AB180245C65E}"/>
                </a:ext>
              </a:extLst>
            </p:cNvPr>
            <p:cNvSpPr txBox="1"/>
            <p:nvPr/>
          </p:nvSpPr>
          <p:spPr>
            <a:xfrm>
              <a:off x="7929172" y="5965502"/>
              <a:ext cx="653290" cy="15465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900" b="0" i="0" u="none" strike="noStrike" kern="1200" cap="none" spc="0" normalizeH="0" baseline="0" noProof="0" dirty="0">
                  <a:ln>
                    <a:noFill/>
                  </a:ln>
                  <a:solidFill>
                    <a:prstClr val="white"/>
                  </a:solidFill>
                  <a:effectLst/>
                  <a:uLnTx/>
                  <a:uFillTx/>
                  <a:latin typeface="EYInterstate Light"/>
                  <a:ea typeface="+mn-ea"/>
                  <a:cs typeface="+mn-cs"/>
                </a:rPr>
                <a:t>Liquid</a:t>
              </a:r>
            </a:p>
          </p:txBody>
        </p:sp>
      </p:grpSp>
      <p:grpSp>
        <p:nvGrpSpPr>
          <p:cNvPr id="70" name="Group 69">
            <a:extLst>
              <a:ext uri="{FF2B5EF4-FFF2-40B4-BE49-F238E27FC236}">
                <a16:creationId xmlns:a16="http://schemas.microsoft.com/office/drawing/2014/main" id="{AC63CB0D-BC53-475E-B1D4-19D9E803ABFD}"/>
              </a:ext>
            </a:extLst>
          </p:cNvPr>
          <p:cNvGrpSpPr/>
          <p:nvPr/>
        </p:nvGrpSpPr>
        <p:grpSpPr>
          <a:xfrm>
            <a:off x="9722472" y="351757"/>
            <a:ext cx="1020855" cy="154658"/>
            <a:chOff x="8500221" y="5972665"/>
            <a:chExt cx="1020855" cy="154658"/>
          </a:xfrm>
        </p:grpSpPr>
        <p:cxnSp>
          <p:nvCxnSpPr>
            <p:cNvPr id="71" name="Straight Arrow Connector 70">
              <a:extLst>
                <a:ext uri="{FF2B5EF4-FFF2-40B4-BE49-F238E27FC236}">
                  <a16:creationId xmlns:a16="http://schemas.microsoft.com/office/drawing/2014/main" id="{7B2C4A75-60D1-4028-8249-AE4BB941E4BD}"/>
                </a:ext>
              </a:extLst>
            </p:cNvPr>
            <p:cNvCxnSpPr>
              <a:cxnSpLocks/>
            </p:cNvCxnSpPr>
            <p:nvPr/>
          </p:nvCxnSpPr>
          <p:spPr>
            <a:xfrm>
              <a:off x="8500221" y="6062452"/>
              <a:ext cx="274320" cy="7087"/>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0C0DD98C-901A-4514-96D5-11D622676B80}"/>
                </a:ext>
              </a:extLst>
            </p:cNvPr>
            <p:cNvSpPr txBox="1"/>
            <p:nvPr/>
          </p:nvSpPr>
          <p:spPr>
            <a:xfrm>
              <a:off x="8867786" y="5972665"/>
              <a:ext cx="653290" cy="15465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900" b="0" i="0" u="none" strike="noStrike" kern="1200" cap="none" spc="0" normalizeH="0" baseline="0" noProof="0" dirty="0">
                  <a:ln>
                    <a:noFill/>
                  </a:ln>
                  <a:solidFill>
                    <a:prstClr val="white"/>
                  </a:solidFill>
                  <a:effectLst/>
                  <a:uLnTx/>
                  <a:uFillTx/>
                  <a:latin typeface="EYInterstate Light"/>
                  <a:ea typeface="+mn-ea"/>
                  <a:cs typeface="+mn-cs"/>
                </a:rPr>
                <a:t>Gas</a:t>
              </a:r>
            </a:p>
          </p:txBody>
        </p:sp>
      </p:grpSp>
      <p:sp>
        <p:nvSpPr>
          <p:cNvPr id="73" name="TextBox 72">
            <a:extLst>
              <a:ext uri="{FF2B5EF4-FFF2-40B4-BE49-F238E27FC236}">
                <a16:creationId xmlns:a16="http://schemas.microsoft.com/office/drawing/2014/main" id="{3F0E4177-95D7-48CA-A59A-C206C2A687F4}"/>
              </a:ext>
            </a:extLst>
          </p:cNvPr>
          <p:cNvSpPr txBox="1"/>
          <p:nvPr/>
        </p:nvSpPr>
        <p:spPr>
          <a:xfrm>
            <a:off x="8788347" y="54064"/>
            <a:ext cx="36195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Key</a:t>
            </a:r>
          </a:p>
        </p:txBody>
      </p:sp>
      <p:cxnSp>
        <p:nvCxnSpPr>
          <p:cNvPr id="74" name="Straight Connector 73">
            <a:extLst>
              <a:ext uri="{FF2B5EF4-FFF2-40B4-BE49-F238E27FC236}">
                <a16:creationId xmlns:a16="http://schemas.microsoft.com/office/drawing/2014/main" id="{0E54430A-CBFA-44E9-ADB4-E727E09C8A72}"/>
              </a:ext>
            </a:extLst>
          </p:cNvPr>
          <p:cNvCxnSpPr>
            <a:cxnSpLocks/>
          </p:cNvCxnSpPr>
          <p:nvPr/>
        </p:nvCxnSpPr>
        <p:spPr>
          <a:xfrm flipH="1">
            <a:off x="8792772" y="232620"/>
            <a:ext cx="269928" cy="0"/>
          </a:xfrm>
          <a:prstGeom prst="line">
            <a:avLst/>
          </a:prstGeom>
          <a:ln w="9525">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75" name="Table 74">
            <a:extLst>
              <a:ext uri="{FF2B5EF4-FFF2-40B4-BE49-F238E27FC236}">
                <a16:creationId xmlns:a16="http://schemas.microsoft.com/office/drawing/2014/main" id="{5A577F6E-205A-404B-98B6-6C56C2534791}"/>
              </a:ext>
            </a:extLst>
          </p:cNvPr>
          <p:cNvGraphicFramePr>
            <a:graphicFrameLocks noGrp="1"/>
          </p:cNvGraphicFramePr>
          <p:nvPr/>
        </p:nvGraphicFramePr>
        <p:xfrm>
          <a:off x="616900" y="4301538"/>
          <a:ext cx="3413557" cy="1813145"/>
        </p:xfrm>
        <a:graphic>
          <a:graphicData uri="http://schemas.openxmlformats.org/drawingml/2006/table">
            <a:tbl>
              <a:tblPr>
                <a:tableStyleId>{5C22544A-7EE6-4342-B048-85BDC9FD1C3A}</a:tableStyleId>
              </a:tblPr>
              <a:tblGrid>
                <a:gridCol w="1616047">
                  <a:extLst>
                    <a:ext uri="{9D8B030D-6E8A-4147-A177-3AD203B41FA5}">
                      <a16:colId xmlns:a16="http://schemas.microsoft.com/office/drawing/2014/main" val="711398887"/>
                    </a:ext>
                  </a:extLst>
                </a:gridCol>
                <a:gridCol w="359502">
                  <a:extLst>
                    <a:ext uri="{9D8B030D-6E8A-4147-A177-3AD203B41FA5}">
                      <a16:colId xmlns:a16="http://schemas.microsoft.com/office/drawing/2014/main" val="1030759635"/>
                    </a:ext>
                  </a:extLst>
                </a:gridCol>
                <a:gridCol w="359502">
                  <a:extLst>
                    <a:ext uri="{9D8B030D-6E8A-4147-A177-3AD203B41FA5}">
                      <a16:colId xmlns:a16="http://schemas.microsoft.com/office/drawing/2014/main" val="2323964013"/>
                    </a:ext>
                  </a:extLst>
                </a:gridCol>
                <a:gridCol w="359502">
                  <a:extLst>
                    <a:ext uri="{9D8B030D-6E8A-4147-A177-3AD203B41FA5}">
                      <a16:colId xmlns:a16="http://schemas.microsoft.com/office/drawing/2014/main" val="1777564282"/>
                    </a:ext>
                  </a:extLst>
                </a:gridCol>
                <a:gridCol w="359502">
                  <a:extLst>
                    <a:ext uri="{9D8B030D-6E8A-4147-A177-3AD203B41FA5}">
                      <a16:colId xmlns:a16="http://schemas.microsoft.com/office/drawing/2014/main" val="3932358994"/>
                    </a:ext>
                  </a:extLst>
                </a:gridCol>
                <a:gridCol w="359502">
                  <a:extLst>
                    <a:ext uri="{9D8B030D-6E8A-4147-A177-3AD203B41FA5}">
                      <a16:colId xmlns:a16="http://schemas.microsoft.com/office/drawing/2014/main" val="1275082126"/>
                    </a:ext>
                  </a:extLst>
                </a:gridCol>
              </a:tblGrid>
              <a:tr h="289145">
                <a:tc gridSpan="6">
                  <a:txBody>
                    <a:bodyPr/>
                    <a:lstStyle/>
                    <a:p>
                      <a:pPr algn="ctr" fontAlgn="b"/>
                      <a:r>
                        <a:rPr lang="en-US" sz="1300" b="1" i="0" u="none" strike="noStrike" dirty="0">
                          <a:solidFill>
                            <a:schemeClr val="bg1"/>
                          </a:solidFill>
                          <a:effectLst/>
                          <a:latin typeface="+mn-lt"/>
                        </a:rPr>
                        <a:t>Molecular Accounting</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871745425"/>
                  </a:ext>
                </a:extLst>
              </a:tr>
              <a:tr h="190500">
                <a:tc>
                  <a:txBody>
                    <a:bodyPr/>
                    <a:lstStyle/>
                    <a:p>
                      <a:pPr algn="ctr" fontAlgn="b"/>
                      <a:r>
                        <a:rPr lang="en-US" sz="1000" b="1" u="none" strike="noStrike" dirty="0">
                          <a:solidFill>
                            <a:schemeClr val="bg1"/>
                          </a:solidFill>
                          <a:effectLst/>
                          <a:latin typeface="+mn-lt"/>
                        </a:rPr>
                        <a:t>Process</a:t>
                      </a:r>
                      <a:endParaRPr lang="en-US" sz="1000" b="1"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CH</a:t>
                      </a:r>
                      <a:r>
                        <a:rPr lang="en-US" sz="800" u="none" strike="noStrike" dirty="0">
                          <a:solidFill>
                            <a:schemeClr val="bg1"/>
                          </a:solidFill>
                          <a:effectLst/>
                          <a:latin typeface="+mn-lt"/>
                        </a:rPr>
                        <a:t>4</a:t>
                      </a:r>
                      <a:endParaRPr lang="en-US" sz="800" b="0" i="0" u="none" strike="noStrike" dirty="0">
                        <a:solidFill>
                          <a:schemeClr val="bg1"/>
                        </a:solidFill>
                        <a:effectLst/>
                        <a:latin typeface="+mn-lt"/>
                      </a:endParaRPr>
                    </a:p>
                  </a:txBody>
                  <a:tcPr marL="9525" marR="9525" marT="9525" marB="0" anchor="b">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H</a:t>
                      </a:r>
                      <a:r>
                        <a:rPr lang="en-US" sz="800" u="none" strike="noStrike" dirty="0">
                          <a:solidFill>
                            <a:schemeClr val="bg1"/>
                          </a:solidFill>
                          <a:effectLst/>
                          <a:latin typeface="+mn-lt"/>
                        </a:rPr>
                        <a:t>2</a:t>
                      </a:r>
                      <a:r>
                        <a:rPr lang="en-US" sz="1000" u="none" strike="noStrike" dirty="0">
                          <a:solidFill>
                            <a:schemeClr val="bg1"/>
                          </a:solidFill>
                          <a:effectLst/>
                          <a:latin typeface="+mn-lt"/>
                        </a:rPr>
                        <a:t>O</a:t>
                      </a:r>
                      <a:endParaRPr lang="en-US" sz="1000" b="0" i="0" u="none" strike="noStrike" dirty="0">
                        <a:solidFill>
                          <a:schemeClr val="bg1"/>
                        </a:solidFill>
                        <a:effectLst/>
                        <a:latin typeface="+mn-lt"/>
                      </a:endParaRPr>
                    </a:p>
                  </a:txBody>
                  <a:tcPr marL="9525" marR="9525" marT="9525" marB="0" anchor="b">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CO</a:t>
                      </a:r>
                      <a:r>
                        <a:rPr lang="en-US" sz="800" u="none" strike="noStrike" dirty="0">
                          <a:solidFill>
                            <a:schemeClr val="bg1"/>
                          </a:solidFill>
                          <a:effectLst/>
                          <a:latin typeface="+mn-lt"/>
                        </a:rPr>
                        <a:t>2</a:t>
                      </a:r>
                      <a:endParaRPr lang="en-US" sz="800" b="0" i="0" u="none" strike="noStrike" dirty="0">
                        <a:solidFill>
                          <a:schemeClr val="bg1"/>
                        </a:solidFill>
                        <a:effectLst/>
                        <a:latin typeface="+mn-lt"/>
                      </a:endParaRPr>
                    </a:p>
                  </a:txBody>
                  <a:tcPr marL="9525" marR="9525" marT="9525" marB="0" anchor="b">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H</a:t>
                      </a:r>
                      <a:r>
                        <a:rPr lang="en-US" sz="800" u="none" strike="noStrike" dirty="0">
                          <a:solidFill>
                            <a:schemeClr val="bg1"/>
                          </a:solidFill>
                          <a:effectLst/>
                          <a:latin typeface="+mn-lt"/>
                        </a:rPr>
                        <a:t>2</a:t>
                      </a:r>
                      <a:endParaRPr lang="en-US" sz="800" b="0" i="0" u="none" strike="noStrike" dirty="0">
                        <a:solidFill>
                          <a:schemeClr val="bg1"/>
                        </a:solidFill>
                        <a:effectLst/>
                        <a:latin typeface="+mn-lt"/>
                      </a:endParaRPr>
                    </a:p>
                  </a:txBody>
                  <a:tcPr marL="9525" marR="9525" marT="9525" marB="0" anchor="b">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LH</a:t>
                      </a:r>
                      <a:r>
                        <a:rPr lang="en-US" sz="800" u="none" strike="noStrike" dirty="0">
                          <a:solidFill>
                            <a:schemeClr val="bg1"/>
                          </a:solidFill>
                          <a:effectLst/>
                          <a:latin typeface="+mn-lt"/>
                        </a:rPr>
                        <a:t>2</a:t>
                      </a:r>
                      <a:endParaRPr lang="en-US" sz="800" b="0" i="0" u="none" strike="noStrike" dirty="0">
                        <a:solidFill>
                          <a:schemeClr val="bg1"/>
                        </a:solidFill>
                        <a:effectLst/>
                        <a:latin typeface="+mn-lt"/>
                      </a:endParaRPr>
                    </a:p>
                  </a:txBody>
                  <a:tcPr marL="9525" marR="9525" marT="9525" marB="0" anchor="b">
                    <a:lnL w="12700" cmpd="sng">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257263026"/>
                  </a:ext>
                </a:extLst>
              </a:tr>
              <a:tr h="190500">
                <a:tc>
                  <a:txBody>
                    <a:bodyPr/>
                    <a:lstStyle/>
                    <a:p>
                      <a:pPr algn="l" fontAlgn="b"/>
                      <a:r>
                        <a:rPr lang="en-US" sz="1000" u="none" strike="noStrike" dirty="0">
                          <a:solidFill>
                            <a:schemeClr val="bg1"/>
                          </a:solidFill>
                          <a:effectLst/>
                          <a:latin typeface="+mn-lt"/>
                        </a:rPr>
                        <a:t>SMR + Water-Gas Shift</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1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2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43997096"/>
                  </a:ext>
                </a:extLst>
              </a:tr>
              <a:tr h="190500">
                <a:tc>
                  <a:txBody>
                    <a:bodyPr/>
                    <a:lstStyle/>
                    <a:p>
                      <a:pPr algn="l" fontAlgn="b"/>
                      <a:r>
                        <a:rPr lang="en-US" sz="1000" u="none" strike="noStrike" dirty="0">
                          <a:solidFill>
                            <a:schemeClr val="bg1"/>
                          </a:solidFill>
                          <a:effectLst/>
                          <a:latin typeface="+mn-lt"/>
                        </a:rPr>
                        <a:t>Hydrogen Liquefaction</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75270870"/>
                  </a:ext>
                </a:extLst>
              </a:tr>
              <a:tr h="190500">
                <a:tc>
                  <a:txBody>
                    <a:bodyPr/>
                    <a:lstStyle/>
                    <a:p>
                      <a:pPr algn="l" fontAlgn="b"/>
                      <a:r>
                        <a:rPr lang="en-US" sz="1000" u="none" strike="noStrike" dirty="0">
                          <a:solidFill>
                            <a:schemeClr val="bg1"/>
                          </a:solidFill>
                          <a:effectLst/>
                          <a:latin typeface="+mn-lt"/>
                        </a:rPr>
                        <a:t>Sequestration</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050855797"/>
                  </a:ext>
                </a:extLst>
              </a:tr>
              <a:tr h="190500">
                <a:tc>
                  <a:txBody>
                    <a:bodyPr/>
                    <a:lstStyle/>
                    <a:p>
                      <a:pPr algn="l" fontAlgn="b"/>
                      <a:r>
                        <a:rPr lang="en-US" sz="1000" u="none" strike="noStrike" dirty="0">
                          <a:solidFill>
                            <a:schemeClr val="bg1"/>
                          </a:solidFill>
                          <a:effectLst/>
                          <a:latin typeface="+mn-lt"/>
                        </a:rPr>
                        <a:t>Storage</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738928020"/>
                  </a:ext>
                </a:extLst>
              </a:tr>
              <a:tr h="190500">
                <a:tc>
                  <a:txBody>
                    <a:bodyPr/>
                    <a:lstStyle/>
                    <a:p>
                      <a:pPr algn="l" fontAlgn="b"/>
                      <a:r>
                        <a:rPr lang="en-US" sz="1000" u="none" strike="noStrike" dirty="0">
                          <a:solidFill>
                            <a:schemeClr val="bg1"/>
                          </a:solidFill>
                          <a:effectLst/>
                          <a:latin typeface="+mn-lt"/>
                        </a:rPr>
                        <a:t>Transport</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44349904"/>
                  </a:ext>
                </a:extLst>
              </a:tr>
              <a:tr h="190500">
                <a:tc>
                  <a:txBody>
                    <a:bodyPr/>
                    <a:lstStyle/>
                    <a:p>
                      <a:pPr algn="l" fontAlgn="b"/>
                      <a:r>
                        <a:rPr lang="en-US" sz="1000" u="none" strike="noStrike" dirty="0">
                          <a:solidFill>
                            <a:schemeClr val="bg1"/>
                          </a:solidFill>
                          <a:effectLst/>
                          <a:latin typeface="+mn-lt"/>
                        </a:rPr>
                        <a:t>Distribution</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774404770"/>
                  </a:ext>
                </a:extLst>
              </a:tr>
              <a:tr h="190500">
                <a:tc>
                  <a:txBody>
                    <a:bodyPr/>
                    <a:lstStyle/>
                    <a:p>
                      <a:pPr algn="r" fontAlgn="b"/>
                      <a:r>
                        <a:rPr lang="en-US" sz="1000" u="none" strike="noStrike" dirty="0">
                          <a:solidFill>
                            <a:schemeClr val="bg1"/>
                          </a:solidFill>
                          <a:effectLst/>
                          <a:latin typeface="+mn-lt"/>
                        </a:rPr>
                        <a:t>Totals: </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10</a:t>
                      </a:r>
                    </a:p>
                  </a:txBody>
                  <a:tcPr marL="9525" marR="9525" marT="9525" marB="0" anchor="b">
                    <a:lnL w="12700" cmpd="sng">
                      <a:noFill/>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20</a:t>
                      </a:r>
                    </a:p>
                  </a:txBody>
                  <a:tcPr marL="9525" marR="9525" marT="9525" marB="0" anchor="b">
                    <a:lnL w="12700" cmpd="sng">
                      <a:noFill/>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endParaRPr lang="en-US" sz="1000" b="0" i="0" u="none" strike="noStrike" dirty="0">
                        <a:solidFill>
                          <a:schemeClr val="bg1"/>
                        </a:solidFill>
                        <a:effectLst/>
                        <a:latin typeface="+mn-lt"/>
                      </a:endParaRPr>
                    </a:p>
                  </a:txBody>
                  <a:tcPr marL="9525" marR="9525" marT="9525" marB="0" anchor="b">
                    <a:lnL w="12700" cmpd="sng">
                      <a:noFill/>
                    </a:lnL>
                    <a:lnR w="12700" cap="flat" cmpd="sng" algn="ctr">
                      <a:noFill/>
                      <a:prstDash val="solid"/>
                      <a:round/>
                      <a:headEnd type="none" w="med" len="med"/>
                      <a:tailEnd type="none" w="med" len="med"/>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97872866"/>
                  </a:ext>
                </a:extLst>
              </a:tr>
            </a:tbl>
          </a:graphicData>
        </a:graphic>
      </p:graphicFrame>
      <p:sp>
        <p:nvSpPr>
          <p:cNvPr id="42" name="Rectangle 41">
            <a:extLst>
              <a:ext uri="{FF2B5EF4-FFF2-40B4-BE49-F238E27FC236}">
                <a16:creationId xmlns:a16="http://schemas.microsoft.com/office/drawing/2014/main" id="{F2520680-0A26-4B32-9304-FF8A914330F0}"/>
              </a:ext>
            </a:extLst>
          </p:cNvPr>
          <p:cNvSpPr/>
          <p:nvPr/>
        </p:nvSpPr>
        <p:spPr>
          <a:xfrm>
            <a:off x="1949115" y="1812997"/>
            <a:ext cx="1349229" cy="734663"/>
          </a:xfrm>
          <a:prstGeom prst="rect">
            <a:avLst/>
          </a:prstGeom>
          <a:solidFill>
            <a:schemeClr val="bg1">
              <a:lumMod val="7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SMR + Water Gas Shift</a:t>
            </a:r>
          </a:p>
        </p:txBody>
      </p:sp>
      <p:sp>
        <p:nvSpPr>
          <p:cNvPr id="45" name="TextBox 44">
            <a:extLst>
              <a:ext uri="{FF2B5EF4-FFF2-40B4-BE49-F238E27FC236}">
                <a16:creationId xmlns:a16="http://schemas.microsoft.com/office/drawing/2014/main" id="{A9075A89-7625-42AF-866A-AF09EC25FEE4}"/>
              </a:ext>
            </a:extLst>
          </p:cNvPr>
          <p:cNvSpPr txBox="1"/>
          <p:nvPr/>
        </p:nvSpPr>
        <p:spPr>
          <a:xfrm>
            <a:off x="764869" y="1873179"/>
            <a:ext cx="503339"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CH</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4</a:t>
            </a:r>
          </a:p>
        </p:txBody>
      </p:sp>
      <p:sp>
        <p:nvSpPr>
          <p:cNvPr id="46" name="TextBox 45">
            <a:extLst>
              <a:ext uri="{FF2B5EF4-FFF2-40B4-BE49-F238E27FC236}">
                <a16:creationId xmlns:a16="http://schemas.microsoft.com/office/drawing/2014/main" id="{4BFE1824-05ED-4BE5-9C85-6A94ADA7269C}"/>
              </a:ext>
            </a:extLst>
          </p:cNvPr>
          <p:cNvSpPr txBox="1"/>
          <p:nvPr/>
        </p:nvSpPr>
        <p:spPr>
          <a:xfrm>
            <a:off x="764869" y="2282931"/>
            <a:ext cx="503339"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2 H</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2</a:t>
            </a: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0</a:t>
            </a:r>
          </a:p>
        </p:txBody>
      </p:sp>
      <p:cxnSp>
        <p:nvCxnSpPr>
          <p:cNvPr id="51" name="Straight Arrow Connector 50">
            <a:extLst>
              <a:ext uri="{FF2B5EF4-FFF2-40B4-BE49-F238E27FC236}">
                <a16:creationId xmlns:a16="http://schemas.microsoft.com/office/drawing/2014/main" id="{DF482A6E-98F4-4B2E-9D86-E691F18DC12A}"/>
              </a:ext>
            </a:extLst>
          </p:cNvPr>
          <p:cNvCxnSpPr>
            <a:stCxn id="45" idx="3"/>
          </p:cNvCxnSpPr>
          <p:nvPr/>
        </p:nvCxnSpPr>
        <p:spPr>
          <a:xfrm flipV="1">
            <a:off x="1268208" y="1970128"/>
            <a:ext cx="562063" cy="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47488C1F-9EA7-418D-B5CC-B790B0F55638}"/>
              </a:ext>
            </a:extLst>
          </p:cNvPr>
          <p:cNvCxnSpPr>
            <a:cxnSpLocks/>
          </p:cNvCxnSpPr>
          <p:nvPr/>
        </p:nvCxnSpPr>
        <p:spPr>
          <a:xfrm>
            <a:off x="1268208" y="2376199"/>
            <a:ext cx="562063" cy="0"/>
          </a:xfrm>
          <a:prstGeom prst="straightConnector1">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445E550D-F768-4AC4-BB11-8CB6950BE744}"/>
              </a:ext>
            </a:extLst>
          </p:cNvPr>
          <p:cNvCxnSpPr/>
          <p:nvPr/>
        </p:nvCxnSpPr>
        <p:spPr>
          <a:xfrm flipV="1">
            <a:off x="3417188" y="1968445"/>
            <a:ext cx="562063" cy="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44895750-7F43-4A67-BD6C-971C97BB78AC}"/>
              </a:ext>
            </a:extLst>
          </p:cNvPr>
          <p:cNvCxnSpPr>
            <a:cxnSpLocks/>
          </p:cNvCxnSpPr>
          <p:nvPr/>
        </p:nvCxnSpPr>
        <p:spPr>
          <a:xfrm>
            <a:off x="3417188" y="2374516"/>
            <a:ext cx="562063" cy="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DAECBC14-B814-4310-AA15-CBEA1522FEE2}"/>
              </a:ext>
            </a:extLst>
          </p:cNvPr>
          <p:cNvSpPr/>
          <p:nvPr/>
        </p:nvSpPr>
        <p:spPr>
          <a:xfrm>
            <a:off x="9140257" y="1755693"/>
            <a:ext cx="1874939" cy="42783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Sequestration</a:t>
            </a:r>
          </a:p>
        </p:txBody>
      </p:sp>
      <p:sp>
        <p:nvSpPr>
          <p:cNvPr id="62" name="Rectangle 61">
            <a:extLst>
              <a:ext uri="{FF2B5EF4-FFF2-40B4-BE49-F238E27FC236}">
                <a16:creationId xmlns:a16="http://schemas.microsoft.com/office/drawing/2014/main" id="{E91F7B9F-8BEF-4AF6-BC7A-DDD1AA541306}"/>
              </a:ext>
            </a:extLst>
          </p:cNvPr>
          <p:cNvSpPr/>
          <p:nvPr/>
        </p:nvSpPr>
        <p:spPr>
          <a:xfrm>
            <a:off x="5076810" y="3310311"/>
            <a:ext cx="1517009" cy="427839"/>
          </a:xfrm>
          <a:prstGeom prst="rect">
            <a:avLst/>
          </a:prstGeom>
          <a:solidFill>
            <a:schemeClr val="bg1">
              <a:lumMod val="7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Hydrogen Liquefaction</a:t>
            </a:r>
          </a:p>
        </p:txBody>
      </p:sp>
      <p:cxnSp>
        <p:nvCxnSpPr>
          <p:cNvPr id="63" name="Connector: Elbow 62">
            <a:extLst>
              <a:ext uri="{FF2B5EF4-FFF2-40B4-BE49-F238E27FC236}">
                <a16:creationId xmlns:a16="http://schemas.microsoft.com/office/drawing/2014/main" id="{385978E6-E4B8-40C6-91CF-B8E2503278C7}"/>
              </a:ext>
            </a:extLst>
          </p:cNvPr>
          <p:cNvCxnSpPr>
            <a:cxnSpLocks/>
            <a:endCxn id="62" idx="1"/>
          </p:cNvCxnSpPr>
          <p:nvPr/>
        </p:nvCxnSpPr>
        <p:spPr>
          <a:xfrm>
            <a:off x="4601434" y="2374516"/>
            <a:ext cx="475376" cy="1149715"/>
          </a:xfrm>
          <a:prstGeom prst="bentConnector3">
            <a:avLst>
              <a:gd name="adj1" fmla="val 50000"/>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B326EA40-F113-4CD6-8393-003C7F3E2BB4}"/>
              </a:ext>
            </a:extLst>
          </p:cNvPr>
          <p:cNvSpPr/>
          <p:nvPr/>
        </p:nvSpPr>
        <p:spPr>
          <a:xfrm>
            <a:off x="9140258" y="2533002"/>
            <a:ext cx="1874939" cy="427839"/>
          </a:xfrm>
          <a:prstGeom prst="rect">
            <a:avLst/>
          </a:prstGeom>
          <a:no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Storage</a:t>
            </a:r>
          </a:p>
        </p:txBody>
      </p:sp>
      <p:cxnSp>
        <p:nvCxnSpPr>
          <p:cNvPr id="76" name="Connector: Elbow 75">
            <a:extLst>
              <a:ext uri="{FF2B5EF4-FFF2-40B4-BE49-F238E27FC236}">
                <a16:creationId xmlns:a16="http://schemas.microsoft.com/office/drawing/2014/main" id="{23FA3BCB-2332-49A9-9299-00D0B6146732}"/>
              </a:ext>
            </a:extLst>
          </p:cNvPr>
          <p:cNvCxnSpPr>
            <a:cxnSpLocks/>
            <a:endCxn id="64" idx="1"/>
          </p:cNvCxnSpPr>
          <p:nvPr/>
        </p:nvCxnSpPr>
        <p:spPr>
          <a:xfrm>
            <a:off x="4601434" y="2374516"/>
            <a:ext cx="4538824" cy="372406"/>
          </a:xfrm>
          <a:prstGeom prst="bentConnector3">
            <a:avLst>
              <a:gd name="adj1" fmla="val 50000"/>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476F0D18-F350-400E-BF55-C6C93ADF71A9}"/>
              </a:ext>
            </a:extLst>
          </p:cNvPr>
          <p:cNvCxnSpPr>
            <a:cxnSpLocks/>
            <a:endCxn id="61" idx="1"/>
          </p:cNvCxnSpPr>
          <p:nvPr/>
        </p:nvCxnSpPr>
        <p:spPr>
          <a:xfrm>
            <a:off x="4601434" y="1964764"/>
            <a:ext cx="4538823" cy="4849"/>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CE15D3AE-7756-4C8F-8B4C-1261B3055C1F}"/>
              </a:ext>
            </a:extLst>
          </p:cNvPr>
          <p:cNvSpPr/>
          <p:nvPr/>
        </p:nvSpPr>
        <p:spPr>
          <a:xfrm>
            <a:off x="9140257" y="3310311"/>
            <a:ext cx="1874939" cy="427839"/>
          </a:xfrm>
          <a:prstGeom prst="rect">
            <a:avLst/>
          </a:prstGeom>
          <a:no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Transport (Ship)</a:t>
            </a:r>
          </a:p>
        </p:txBody>
      </p:sp>
      <p:sp>
        <p:nvSpPr>
          <p:cNvPr id="79" name="Rectangle 78">
            <a:extLst>
              <a:ext uri="{FF2B5EF4-FFF2-40B4-BE49-F238E27FC236}">
                <a16:creationId xmlns:a16="http://schemas.microsoft.com/office/drawing/2014/main" id="{639D6CBB-158B-4B43-8DA9-AEEF84B85ECB}"/>
              </a:ext>
            </a:extLst>
          </p:cNvPr>
          <p:cNvSpPr/>
          <p:nvPr/>
        </p:nvSpPr>
        <p:spPr>
          <a:xfrm>
            <a:off x="9140256" y="4087620"/>
            <a:ext cx="1874939" cy="427839"/>
          </a:xfrm>
          <a:prstGeom prst="rect">
            <a:avLst/>
          </a:prstGeom>
          <a:no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Distribute (Pipeline)</a:t>
            </a:r>
          </a:p>
        </p:txBody>
      </p:sp>
      <p:cxnSp>
        <p:nvCxnSpPr>
          <p:cNvPr id="81" name="Connector: Elbow 80">
            <a:extLst>
              <a:ext uri="{FF2B5EF4-FFF2-40B4-BE49-F238E27FC236}">
                <a16:creationId xmlns:a16="http://schemas.microsoft.com/office/drawing/2014/main" id="{E2A01005-B294-49D4-85CA-4F1F78966EBB}"/>
              </a:ext>
            </a:extLst>
          </p:cNvPr>
          <p:cNvCxnSpPr>
            <a:cxnSpLocks/>
            <a:stCxn id="62" idx="3"/>
            <a:endCxn id="79" idx="1"/>
          </p:cNvCxnSpPr>
          <p:nvPr/>
        </p:nvCxnSpPr>
        <p:spPr>
          <a:xfrm>
            <a:off x="6593819" y="3524231"/>
            <a:ext cx="2546437" cy="777309"/>
          </a:xfrm>
          <a:prstGeom prst="bentConnector3">
            <a:avLst>
              <a:gd name="adj1" fmla="val 50000"/>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FF1D3FD3-FACF-4779-AD4C-F8A6B4CCB78E}"/>
              </a:ext>
            </a:extLst>
          </p:cNvPr>
          <p:cNvCxnSpPr>
            <a:cxnSpLocks/>
            <a:stCxn id="62" idx="3"/>
            <a:endCxn id="78" idx="1"/>
          </p:cNvCxnSpPr>
          <p:nvPr/>
        </p:nvCxnSpPr>
        <p:spPr>
          <a:xfrm>
            <a:off x="6593819" y="3524231"/>
            <a:ext cx="2546438" cy="0"/>
          </a:xfrm>
          <a:prstGeom prst="straightConnector1">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3" name="Connector: Elbow 82">
            <a:extLst>
              <a:ext uri="{FF2B5EF4-FFF2-40B4-BE49-F238E27FC236}">
                <a16:creationId xmlns:a16="http://schemas.microsoft.com/office/drawing/2014/main" id="{6C254B77-9E07-40EB-B10B-A40BBA40C528}"/>
              </a:ext>
            </a:extLst>
          </p:cNvPr>
          <p:cNvCxnSpPr>
            <a:cxnSpLocks/>
            <a:stCxn id="62" idx="3"/>
            <a:endCxn id="64" idx="1"/>
          </p:cNvCxnSpPr>
          <p:nvPr/>
        </p:nvCxnSpPr>
        <p:spPr>
          <a:xfrm flipV="1">
            <a:off x="6593819" y="2746922"/>
            <a:ext cx="2546439" cy="777309"/>
          </a:xfrm>
          <a:prstGeom prst="bentConnector3">
            <a:avLst>
              <a:gd name="adj1" fmla="val 50000"/>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84" name="Oval 83">
            <a:extLst>
              <a:ext uri="{FF2B5EF4-FFF2-40B4-BE49-F238E27FC236}">
                <a16:creationId xmlns:a16="http://schemas.microsoft.com/office/drawing/2014/main" id="{D4AD431A-AF34-4854-ACE2-71C5E9AD8AEF}"/>
              </a:ext>
            </a:extLst>
          </p:cNvPr>
          <p:cNvSpPr/>
          <p:nvPr/>
        </p:nvSpPr>
        <p:spPr>
          <a:xfrm>
            <a:off x="3350374" y="1815689"/>
            <a:ext cx="330701" cy="298148"/>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2E38"/>
                </a:solidFill>
                <a:effectLst/>
                <a:uLnTx/>
                <a:uFillTx/>
                <a:latin typeface="EYInterstate Light"/>
                <a:ea typeface="+mn-ea"/>
                <a:cs typeface="+mn-cs"/>
              </a:rPr>
              <a:t>CO</a:t>
            </a:r>
            <a:r>
              <a:rPr kumimoji="0" lang="en-US" sz="600" b="0" i="0" u="none" strike="noStrike" kern="1200" cap="none" spc="0" normalizeH="0" baseline="0" noProof="0" dirty="0">
                <a:ln>
                  <a:noFill/>
                </a:ln>
                <a:solidFill>
                  <a:srgbClr val="2E2E38"/>
                </a:solidFill>
                <a:effectLst/>
                <a:uLnTx/>
                <a:uFillTx/>
                <a:latin typeface="EYInterstate Light"/>
                <a:ea typeface="+mn-ea"/>
                <a:cs typeface="+mn-cs"/>
              </a:rPr>
              <a:t>2</a:t>
            </a:r>
          </a:p>
        </p:txBody>
      </p:sp>
      <p:sp>
        <p:nvSpPr>
          <p:cNvPr id="86" name="Oval 85">
            <a:extLst>
              <a:ext uri="{FF2B5EF4-FFF2-40B4-BE49-F238E27FC236}">
                <a16:creationId xmlns:a16="http://schemas.microsoft.com/office/drawing/2014/main" id="{8111C5D3-FF4F-4921-82FD-404BD2C5BBCD}"/>
              </a:ext>
            </a:extLst>
          </p:cNvPr>
          <p:cNvSpPr/>
          <p:nvPr/>
        </p:nvSpPr>
        <p:spPr>
          <a:xfrm>
            <a:off x="3350373" y="2234854"/>
            <a:ext cx="330702" cy="298148"/>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H</a:t>
            </a:r>
            <a:r>
              <a:rPr kumimoji="0" lang="en-US" sz="900" b="0" i="0" u="none" strike="noStrike" kern="1200" cap="none" spc="0" normalizeH="0" baseline="0" noProof="0" dirty="0">
                <a:ln>
                  <a:noFill/>
                </a:ln>
                <a:solidFill>
                  <a:srgbClr val="2E2E38"/>
                </a:solidFill>
                <a:effectLst/>
                <a:uLnTx/>
                <a:uFillTx/>
                <a:latin typeface="EYInterstate Light"/>
                <a:ea typeface="+mn-ea"/>
                <a:cs typeface="+mn-cs"/>
              </a:rPr>
              <a:t>2</a:t>
            </a:r>
          </a:p>
        </p:txBody>
      </p:sp>
      <p:sp>
        <p:nvSpPr>
          <p:cNvPr id="40" name="Oval 39">
            <a:extLst>
              <a:ext uri="{FF2B5EF4-FFF2-40B4-BE49-F238E27FC236}">
                <a16:creationId xmlns:a16="http://schemas.microsoft.com/office/drawing/2014/main" id="{053F4480-1704-4441-B93E-7589203F365F}"/>
              </a:ext>
            </a:extLst>
          </p:cNvPr>
          <p:cNvSpPr/>
          <p:nvPr/>
        </p:nvSpPr>
        <p:spPr>
          <a:xfrm>
            <a:off x="3350373" y="2234854"/>
            <a:ext cx="330702" cy="298148"/>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H</a:t>
            </a:r>
            <a:r>
              <a:rPr kumimoji="0" lang="en-US" sz="900" b="0" i="0" u="none" strike="noStrike" kern="1200" cap="none" spc="0" normalizeH="0" baseline="0" noProof="0" dirty="0">
                <a:ln>
                  <a:noFill/>
                </a:ln>
                <a:solidFill>
                  <a:srgbClr val="2E2E38"/>
                </a:solidFill>
                <a:effectLst/>
                <a:uLnTx/>
                <a:uFillTx/>
                <a:latin typeface="EYInterstate Light"/>
                <a:ea typeface="+mn-ea"/>
                <a:cs typeface="+mn-cs"/>
              </a:rPr>
              <a:t>2</a:t>
            </a:r>
          </a:p>
        </p:txBody>
      </p:sp>
      <p:sp>
        <p:nvSpPr>
          <p:cNvPr id="41" name="Oval 40">
            <a:extLst>
              <a:ext uri="{FF2B5EF4-FFF2-40B4-BE49-F238E27FC236}">
                <a16:creationId xmlns:a16="http://schemas.microsoft.com/office/drawing/2014/main" id="{6025176B-0E03-4445-8BC2-2D90D611215B}"/>
              </a:ext>
            </a:extLst>
          </p:cNvPr>
          <p:cNvSpPr/>
          <p:nvPr/>
        </p:nvSpPr>
        <p:spPr>
          <a:xfrm>
            <a:off x="3350373" y="2225834"/>
            <a:ext cx="330702" cy="298148"/>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H</a:t>
            </a:r>
            <a:r>
              <a:rPr kumimoji="0" lang="en-US" sz="600" b="0" i="0" u="none" strike="noStrike" kern="1200" cap="none" spc="0" normalizeH="0" baseline="0" noProof="0" dirty="0">
                <a:ln>
                  <a:noFill/>
                </a:ln>
                <a:solidFill>
                  <a:srgbClr val="2E2E38"/>
                </a:solidFill>
                <a:effectLst/>
                <a:uLnTx/>
                <a:uFillTx/>
                <a:latin typeface="EYInterstate Light"/>
                <a:ea typeface="+mn-ea"/>
                <a:cs typeface="+mn-cs"/>
              </a:rPr>
              <a:t>2</a:t>
            </a:r>
          </a:p>
        </p:txBody>
      </p:sp>
      <p:sp>
        <p:nvSpPr>
          <p:cNvPr id="43" name="TextBox 42">
            <a:extLst>
              <a:ext uri="{FF2B5EF4-FFF2-40B4-BE49-F238E27FC236}">
                <a16:creationId xmlns:a16="http://schemas.microsoft.com/office/drawing/2014/main" id="{47A0DA04-2581-443C-80BD-89653A9DAA3A}"/>
              </a:ext>
            </a:extLst>
          </p:cNvPr>
          <p:cNvSpPr txBox="1"/>
          <p:nvPr/>
        </p:nvSpPr>
        <p:spPr>
          <a:xfrm>
            <a:off x="4098095" y="1867814"/>
            <a:ext cx="503339"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2 CO</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2</a:t>
            </a:r>
          </a:p>
        </p:txBody>
      </p:sp>
      <p:sp>
        <p:nvSpPr>
          <p:cNvPr id="44" name="TextBox 43">
            <a:extLst>
              <a:ext uri="{FF2B5EF4-FFF2-40B4-BE49-F238E27FC236}">
                <a16:creationId xmlns:a16="http://schemas.microsoft.com/office/drawing/2014/main" id="{F2F04E3D-C3B4-4AF0-9821-EA3C79B9B846}"/>
              </a:ext>
            </a:extLst>
          </p:cNvPr>
          <p:cNvSpPr txBox="1"/>
          <p:nvPr/>
        </p:nvSpPr>
        <p:spPr>
          <a:xfrm>
            <a:off x="4098095" y="2277566"/>
            <a:ext cx="503339"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4 H</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2</a:t>
            </a:r>
          </a:p>
        </p:txBody>
      </p:sp>
      <p:sp>
        <p:nvSpPr>
          <p:cNvPr id="47" name="TextBox 46">
            <a:extLst>
              <a:ext uri="{FF2B5EF4-FFF2-40B4-BE49-F238E27FC236}">
                <a16:creationId xmlns:a16="http://schemas.microsoft.com/office/drawing/2014/main" id="{ED55E451-C975-4B63-A6FA-0E6C27C485E3}"/>
              </a:ext>
            </a:extLst>
          </p:cNvPr>
          <p:cNvSpPr txBox="1"/>
          <p:nvPr/>
        </p:nvSpPr>
        <p:spPr>
          <a:xfrm>
            <a:off x="6781888" y="3296746"/>
            <a:ext cx="65329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2.4 LH</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2</a:t>
            </a:r>
          </a:p>
        </p:txBody>
      </p:sp>
      <p:sp>
        <p:nvSpPr>
          <p:cNvPr id="48" name="Footer Placeholder 2">
            <a:extLst>
              <a:ext uri="{FF2B5EF4-FFF2-40B4-BE49-F238E27FC236}">
                <a16:creationId xmlns:a16="http://schemas.microsoft.com/office/drawing/2014/main" id="{3A3A95F2-BB2E-40BD-9657-60AB47B4751D}"/>
              </a:ext>
            </a:extLst>
          </p:cNvPr>
          <p:cNvSpPr txBox="1">
            <a:spLocks/>
          </p:cNvSpPr>
          <p:nvPr/>
        </p:nvSpPr>
        <p:spPr>
          <a:xfrm>
            <a:off x="4553753" y="6471244"/>
            <a:ext cx="3367734" cy="180000"/>
          </a:xfrm>
          <a:prstGeom prst="rect">
            <a:avLst/>
          </a:prstGeom>
        </p:spPr>
        <p:txBody>
          <a:bodyPr/>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Page </a:t>
            </a:r>
            <a:fld id="{F1BC30E3-FFE5-4B91-AA19-87A149EBB9EE}" type="slidenum">
              <a:rPr smtClean="0"/>
              <a:pPr/>
              <a:t>12</a:t>
            </a:fld>
            <a:r>
              <a:rPr lang="en-US" dirty="0"/>
              <a:t> | Draft</a:t>
            </a:r>
          </a:p>
        </p:txBody>
      </p:sp>
    </p:spTree>
    <p:extLst>
      <p:ext uri="{BB962C8B-B14F-4D97-AF65-F5344CB8AC3E}">
        <p14:creationId xmlns:p14="http://schemas.microsoft.com/office/powerpoint/2010/main" val="175421135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a:extLst>
              <a:ext uri="{FF2B5EF4-FFF2-40B4-BE49-F238E27FC236}">
                <a16:creationId xmlns:a16="http://schemas.microsoft.com/office/drawing/2014/main" id="{404E868F-4A6B-4337-87DF-A76BF5F3E822}"/>
              </a:ext>
            </a:extLst>
          </p:cNvPr>
          <p:cNvSpPr txBox="1"/>
          <p:nvPr/>
        </p:nvSpPr>
        <p:spPr>
          <a:xfrm>
            <a:off x="4987636" y="3931039"/>
            <a:ext cx="2092613" cy="406265"/>
          </a:xfrm>
          <a:prstGeom prst="rect">
            <a:avLst/>
          </a:prstGeom>
          <a:noFill/>
          <a:ln>
            <a:solidFill>
              <a:schemeClr val="tx1">
                <a:lumMod val="20000"/>
                <a:lumOff val="80000"/>
              </a:schemeClr>
            </a:solidFill>
            <a:prstDash val="dash"/>
          </a:ln>
        </p:spPr>
        <p:txBody>
          <a:bodyPr wrap="square" lIns="45720" tIns="45720" rIns="45720" bIns="45720" rtlCol="0">
            <a:spAutoFit/>
          </a:bodyPr>
          <a:lstStyle/>
          <a:p>
            <a:pPr marL="9144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Energy expenditure =  </a:t>
            </a:r>
            <a:br>
              <a:rPr kumimoji="0" lang="en-US" sz="1200" b="0" i="0" u="none" strike="noStrike" kern="1200" cap="none" spc="0" normalizeH="0" baseline="0" noProof="0" dirty="0">
                <a:ln>
                  <a:noFill/>
                </a:ln>
                <a:solidFill>
                  <a:prstClr val="white"/>
                </a:solidFill>
                <a:effectLst/>
                <a:uLnTx/>
                <a:uFillTx/>
                <a:latin typeface="EYInterstate Light"/>
                <a:ea typeface="+mn-ea"/>
                <a:cs typeface="+mn-cs"/>
              </a:rPr>
            </a:b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12.5-15 kWh e/kg</a:t>
            </a:r>
          </a:p>
        </p:txBody>
      </p:sp>
      <p:graphicFrame>
        <p:nvGraphicFramePr>
          <p:cNvPr id="8" name="Object 7" hidden="1">
            <a:extLst>
              <a:ext uri="{FF2B5EF4-FFF2-40B4-BE49-F238E27FC236}">
                <a16:creationId xmlns:a16="http://schemas.microsoft.com/office/drawing/2014/main" id="{052D084B-5835-4D3E-A88B-0C0238B6C6F1}"/>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8" name="Object 7" hidden="1">
                        <a:extLst>
                          <a:ext uri="{FF2B5EF4-FFF2-40B4-BE49-F238E27FC236}">
                            <a16:creationId xmlns:a16="http://schemas.microsoft.com/office/drawing/2014/main" id="{052D084B-5835-4D3E-A88B-0C0238B6C6F1}"/>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54" name="Title 1">
            <a:extLst>
              <a:ext uri="{FF2B5EF4-FFF2-40B4-BE49-F238E27FC236}">
                <a16:creationId xmlns:a16="http://schemas.microsoft.com/office/drawing/2014/main" id="{2A9AD536-C2F4-4A4C-AB29-4D57E36962BF}"/>
              </a:ext>
            </a:extLst>
          </p:cNvPr>
          <p:cNvSpPr txBox="1">
            <a:spLocks/>
          </p:cNvSpPr>
          <p:nvPr/>
        </p:nvSpPr>
        <p:spPr>
          <a:xfrm>
            <a:off x="609600" y="525181"/>
            <a:ext cx="10972800" cy="590550"/>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399" b="1" i="0" u="none" strike="noStrike" kern="1200" cap="none" spc="0" normalizeH="0" baseline="0" noProof="0" dirty="0">
                <a:ln>
                  <a:noFill/>
                </a:ln>
                <a:solidFill>
                  <a:srgbClr val="FFE600"/>
                </a:solidFill>
                <a:effectLst/>
                <a:uLnTx/>
                <a:uFillTx/>
                <a:latin typeface="EYInterstate Light" panose="02000506000000020004" pitchFamily="2" charset="0"/>
                <a:ea typeface="+mj-ea"/>
                <a:cs typeface="Arial" pitchFamily="34" charset="0"/>
              </a:rPr>
              <a:t>Step 4: </a:t>
            </a:r>
          </a:p>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Sequester CO</a:t>
            </a:r>
            <a:r>
              <a:rPr kumimoji="0" lang="en-US" sz="12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2</a:t>
            </a: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 store some H</a:t>
            </a:r>
            <a:r>
              <a:rPr kumimoji="0" lang="en-US" sz="12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2</a:t>
            </a: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 into gas storage; liquefy the remaining H</a:t>
            </a:r>
            <a:r>
              <a:rPr kumimoji="0" lang="en-US" sz="12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2</a:t>
            </a: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 for distribution</a:t>
            </a:r>
          </a:p>
          <a:p>
            <a:pPr marL="0" marR="0" lvl="0" indent="0" algn="l" defTabSz="913943" rtl="0" eaLnBrk="1" fontAlgn="auto" latinLnBrk="0" hangingPunct="1">
              <a:lnSpc>
                <a:spcPct val="85000"/>
              </a:lnSpc>
              <a:spcBef>
                <a:spcPct val="0"/>
              </a:spcBef>
              <a:spcAft>
                <a:spcPts val="0"/>
              </a:spcAft>
              <a:buClrTx/>
              <a:buSzTx/>
              <a:buFontTx/>
              <a:buNone/>
              <a:tabLst/>
              <a:defRPr/>
            </a:pPr>
            <a:endParaRPr kumimoji="0" lang="en-US" sz="2399"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graphicFrame>
        <p:nvGraphicFramePr>
          <p:cNvPr id="59" name="Table 58">
            <a:extLst>
              <a:ext uri="{FF2B5EF4-FFF2-40B4-BE49-F238E27FC236}">
                <a16:creationId xmlns:a16="http://schemas.microsoft.com/office/drawing/2014/main" id="{D0A3FA59-4914-45A8-933E-115FD101CEEE}"/>
              </a:ext>
            </a:extLst>
          </p:cNvPr>
          <p:cNvGraphicFramePr>
            <a:graphicFrameLocks noGrp="1"/>
          </p:cNvGraphicFramePr>
          <p:nvPr/>
        </p:nvGraphicFramePr>
        <p:xfrm>
          <a:off x="616900" y="4301538"/>
          <a:ext cx="3413557" cy="1813145"/>
        </p:xfrm>
        <a:graphic>
          <a:graphicData uri="http://schemas.openxmlformats.org/drawingml/2006/table">
            <a:tbl>
              <a:tblPr>
                <a:tableStyleId>{5C22544A-7EE6-4342-B048-85BDC9FD1C3A}</a:tableStyleId>
              </a:tblPr>
              <a:tblGrid>
                <a:gridCol w="1616047">
                  <a:extLst>
                    <a:ext uri="{9D8B030D-6E8A-4147-A177-3AD203B41FA5}">
                      <a16:colId xmlns:a16="http://schemas.microsoft.com/office/drawing/2014/main" val="711398887"/>
                    </a:ext>
                  </a:extLst>
                </a:gridCol>
                <a:gridCol w="359502">
                  <a:extLst>
                    <a:ext uri="{9D8B030D-6E8A-4147-A177-3AD203B41FA5}">
                      <a16:colId xmlns:a16="http://schemas.microsoft.com/office/drawing/2014/main" val="1030759635"/>
                    </a:ext>
                  </a:extLst>
                </a:gridCol>
                <a:gridCol w="359502">
                  <a:extLst>
                    <a:ext uri="{9D8B030D-6E8A-4147-A177-3AD203B41FA5}">
                      <a16:colId xmlns:a16="http://schemas.microsoft.com/office/drawing/2014/main" val="2323964013"/>
                    </a:ext>
                  </a:extLst>
                </a:gridCol>
                <a:gridCol w="359502">
                  <a:extLst>
                    <a:ext uri="{9D8B030D-6E8A-4147-A177-3AD203B41FA5}">
                      <a16:colId xmlns:a16="http://schemas.microsoft.com/office/drawing/2014/main" val="1777564282"/>
                    </a:ext>
                  </a:extLst>
                </a:gridCol>
                <a:gridCol w="359502">
                  <a:extLst>
                    <a:ext uri="{9D8B030D-6E8A-4147-A177-3AD203B41FA5}">
                      <a16:colId xmlns:a16="http://schemas.microsoft.com/office/drawing/2014/main" val="3932358994"/>
                    </a:ext>
                  </a:extLst>
                </a:gridCol>
                <a:gridCol w="359502">
                  <a:extLst>
                    <a:ext uri="{9D8B030D-6E8A-4147-A177-3AD203B41FA5}">
                      <a16:colId xmlns:a16="http://schemas.microsoft.com/office/drawing/2014/main" val="1275082126"/>
                    </a:ext>
                  </a:extLst>
                </a:gridCol>
              </a:tblGrid>
              <a:tr h="289145">
                <a:tc gridSpan="6">
                  <a:txBody>
                    <a:bodyPr/>
                    <a:lstStyle/>
                    <a:p>
                      <a:pPr algn="ctr" fontAlgn="b"/>
                      <a:r>
                        <a:rPr lang="en-US" sz="1300" b="1" i="0" u="none" strike="noStrike" dirty="0">
                          <a:solidFill>
                            <a:schemeClr val="bg1"/>
                          </a:solidFill>
                          <a:effectLst/>
                          <a:latin typeface="+mn-lt"/>
                        </a:rPr>
                        <a:t>Molecular Accounting</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871745425"/>
                  </a:ext>
                </a:extLst>
              </a:tr>
              <a:tr h="190500">
                <a:tc>
                  <a:txBody>
                    <a:bodyPr/>
                    <a:lstStyle/>
                    <a:p>
                      <a:pPr algn="ctr" fontAlgn="b"/>
                      <a:r>
                        <a:rPr lang="en-US" sz="1000" b="1" u="none" strike="noStrike" dirty="0">
                          <a:solidFill>
                            <a:schemeClr val="bg1"/>
                          </a:solidFill>
                          <a:effectLst/>
                          <a:latin typeface="+mn-lt"/>
                        </a:rPr>
                        <a:t>Process</a:t>
                      </a:r>
                      <a:endParaRPr lang="en-US" sz="1000" b="1"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CH</a:t>
                      </a:r>
                      <a:r>
                        <a:rPr lang="en-US" sz="800" u="none" strike="noStrike" dirty="0">
                          <a:solidFill>
                            <a:schemeClr val="bg1"/>
                          </a:solidFill>
                          <a:effectLst/>
                          <a:latin typeface="+mn-lt"/>
                        </a:rPr>
                        <a:t>4</a:t>
                      </a:r>
                      <a:endParaRPr lang="en-US" sz="800" b="0" i="0" u="none" strike="noStrike" dirty="0">
                        <a:solidFill>
                          <a:schemeClr val="bg1"/>
                        </a:solidFill>
                        <a:effectLst/>
                        <a:latin typeface="+mn-lt"/>
                      </a:endParaRPr>
                    </a:p>
                  </a:txBody>
                  <a:tcPr marL="9525" marR="9525" marT="9525" marB="0" anchor="b">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H</a:t>
                      </a:r>
                      <a:r>
                        <a:rPr lang="en-US" sz="800" u="none" strike="noStrike" dirty="0">
                          <a:solidFill>
                            <a:schemeClr val="bg1"/>
                          </a:solidFill>
                          <a:effectLst/>
                          <a:latin typeface="+mn-lt"/>
                        </a:rPr>
                        <a:t>2</a:t>
                      </a:r>
                      <a:r>
                        <a:rPr lang="en-US" sz="1000" u="none" strike="noStrike" dirty="0">
                          <a:solidFill>
                            <a:schemeClr val="bg1"/>
                          </a:solidFill>
                          <a:effectLst/>
                          <a:latin typeface="+mn-lt"/>
                        </a:rPr>
                        <a:t>O</a:t>
                      </a:r>
                      <a:endParaRPr lang="en-US" sz="1000" b="0" i="0" u="none" strike="noStrike" dirty="0">
                        <a:solidFill>
                          <a:schemeClr val="bg1"/>
                        </a:solidFill>
                        <a:effectLst/>
                        <a:latin typeface="+mn-lt"/>
                      </a:endParaRPr>
                    </a:p>
                  </a:txBody>
                  <a:tcPr marL="9525" marR="9525" marT="9525" marB="0" anchor="b">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CO</a:t>
                      </a:r>
                      <a:r>
                        <a:rPr lang="en-US" sz="800" u="none" strike="noStrike" dirty="0">
                          <a:solidFill>
                            <a:schemeClr val="bg1"/>
                          </a:solidFill>
                          <a:effectLst/>
                          <a:latin typeface="+mn-lt"/>
                        </a:rPr>
                        <a:t>2</a:t>
                      </a:r>
                      <a:endParaRPr lang="en-US" sz="800" b="0" i="0" u="none" strike="noStrike" dirty="0">
                        <a:solidFill>
                          <a:schemeClr val="bg1"/>
                        </a:solidFill>
                        <a:effectLst/>
                        <a:latin typeface="+mn-lt"/>
                      </a:endParaRPr>
                    </a:p>
                  </a:txBody>
                  <a:tcPr marL="9525" marR="9525" marT="9525" marB="0" anchor="b">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H</a:t>
                      </a:r>
                      <a:r>
                        <a:rPr lang="en-US" sz="800" u="none" strike="noStrike" dirty="0">
                          <a:solidFill>
                            <a:schemeClr val="bg1"/>
                          </a:solidFill>
                          <a:effectLst/>
                          <a:latin typeface="+mn-lt"/>
                        </a:rPr>
                        <a:t>2</a:t>
                      </a:r>
                      <a:endParaRPr lang="en-US" sz="800" b="0" i="0" u="none" strike="noStrike" dirty="0">
                        <a:solidFill>
                          <a:schemeClr val="bg1"/>
                        </a:solidFill>
                        <a:effectLst/>
                        <a:latin typeface="+mn-lt"/>
                      </a:endParaRPr>
                    </a:p>
                  </a:txBody>
                  <a:tcPr marL="9525" marR="9525" marT="9525" marB="0" anchor="b">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LH</a:t>
                      </a:r>
                      <a:r>
                        <a:rPr lang="en-US" sz="800" u="none" strike="noStrike" dirty="0">
                          <a:solidFill>
                            <a:schemeClr val="bg1"/>
                          </a:solidFill>
                          <a:effectLst/>
                          <a:latin typeface="+mn-lt"/>
                        </a:rPr>
                        <a:t>2</a:t>
                      </a:r>
                      <a:endParaRPr lang="en-US" sz="800" b="0" i="0" u="none" strike="noStrike" dirty="0">
                        <a:solidFill>
                          <a:schemeClr val="bg1"/>
                        </a:solidFill>
                        <a:effectLst/>
                        <a:latin typeface="+mn-lt"/>
                      </a:endParaRPr>
                    </a:p>
                  </a:txBody>
                  <a:tcPr marL="9525" marR="9525" marT="9525" marB="0" anchor="b">
                    <a:lnL w="12700" cmpd="sng">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257263026"/>
                  </a:ext>
                </a:extLst>
              </a:tr>
              <a:tr h="190500">
                <a:tc>
                  <a:txBody>
                    <a:bodyPr/>
                    <a:lstStyle/>
                    <a:p>
                      <a:pPr algn="l" fontAlgn="b"/>
                      <a:r>
                        <a:rPr lang="en-US" sz="1000" u="none" strike="noStrike" dirty="0">
                          <a:solidFill>
                            <a:schemeClr val="bg1"/>
                          </a:solidFill>
                          <a:effectLst/>
                          <a:latin typeface="+mn-lt"/>
                        </a:rPr>
                        <a:t>SMR + Water-Gas Shift</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43997096"/>
                  </a:ext>
                </a:extLst>
              </a:tr>
              <a:tr h="190500">
                <a:tc>
                  <a:txBody>
                    <a:bodyPr/>
                    <a:lstStyle/>
                    <a:p>
                      <a:pPr algn="l" fontAlgn="b"/>
                      <a:r>
                        <a:rPr lang="en-US" sz="1000" u="none" strike="noStrike" dirty="0">
                          <a:solidFill>
                            <a:schemeClr val="bg1"/>
                          </a:solidFill>
                          <a:effectLst/>
                          <a:latin typeface="+mn-lt"/>
                        </a:rPr>
                        <a:t>Hydrogen Liquefaction </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1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75270870"/>
                  </a:ext>
                </a:extLst>
              </a:tr>
              <a:tr h="190500">
                <a:tc>
                  <a:txBody>
                    <a:bodyPr/>
                    <a:lstStyle/>
                    <a:p>
                      <a:pPr algn="l" fontAlgn="b"/>
                      <a:r>
                        <a:rPr lang="en-US" sz="1000" u="none" strike="noStrike" dirty="0">
                          <a:solidFill>
                            <a:schemeClr val="bg1"/>
                          </a:solidFill>
                          <a:effectLst/>
                          <a:latin typeface="+mn-lt"/>
                        </a:rPr>
                        <a:t>Sequestration</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1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050855797"/>
                  </a:ext>
                </a:extLst>
              </a:tr>
              <a:tr h="190500">
                <a:tc>
                  <a:txBody>
                    <a:bodyPr/>
                    <a:lstStyle/>
                    <a:p>
                      <a:pPr algn="l" fontAlgn="b"/>
                      <a:r>
                        <a:rPr lang="en-US" sz="1000" u="none" strike="noStrike" dirty="0">
                          <a:solidFill>
                            <a:schemeClr val="bg1"/>
                          </a:solidFill>
                          <a:effectLst/>
                          <a:latin typeface="+mn-lt"/>
                        </a:rPr>
                        <a:t>Storage</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1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738928020"/>
                  </a:ext>
                </a:extLst>
              </a:tr>
              <a:tr h="190500">
                <a:tc>
                  <a:txBody>
                    <a:bodyPr/>
                    <a:lstStyle/>
                    <a:p>
                      <a:pPr algn="l" fontAlgn="b"/>
                      <a:r>
                        <a:rPr lang="en-US" sz="1000" u="none" strike="noStrike" dirty="0">
                          <a:solidFill>
                            <a:schemeClr val="bg1"/>
                          </a:solidFill>
                          <a:effectLst/>
                          <a:latin typeface="+mn-lt"/>
                        </a:rPr>
                        <a:t>Transport</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44349904"/>
                  </a:ext>
                </a:extLst>
              </a:tr>
              <a:tr h="190500">
                <a:tc>
                  <a:txBody>
                    <a:bodyPr/>
                    <a:lstStyle/>
                    <a:p>
                      <a:pPr algn="l" fontAlgn="b"/>
                      <a:r>
                        <a:rPr lang="en-US" sz="1000" u="none" strike="noStrike" dirty="0">
                          <a:solidFill>
                            <a:schemeClr val="bg1"/>
                          </a:solidFill>
                          <a:effectLst/>
                          <a:latin typeface="+mn-lt"/>
                        </a:rPr>
                        <a:t>Distribution</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774404770"/>
                  </a:ext>
                </a:extLst>
              </a:tr>
              <a:tr h="190500">
                <a:tc>
                  <a:txBody>
                    <a:bodyPr/>
                    <a:lstStyle/>
                    <a:p>
                      <a:pPr algn="r" fontAlgn="b"/>
                      <a:r>
                        <a:rPr lang="en-US" sz="1000" u="none" strike="noStrike" dirty="0">
                          <a:solidFill>
                            <a:schemeClr val="bg1"/>
                          </a:solidFill>
                          <a:effectLst/>
                          <a:latin typeface="+mn-lt"/>
                        </a:rPr>
                        <a:t>Totals: </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10</a:t>
                      </a:r>
                    </a:p>
                  </a:txBody>
                  <a:tcPr marL="9525" marR="9525" marT="9525" marB="0" anchor="b">
                    <a:lnL w="12700" cmpd="sng">
                      <a:noFill/>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20</a:t>
                      </a:r>
                    </a:p>
                  </a:txBody>
                  <a:tcPr marL="9525" marR="9525" marT="9525" marB="0" anchor="b">
                    <a:lnL w="12700" cmpd="sng">
                      <a:noFill/>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endParaRPr lang="en-US" sz="1000" b="0" i="0" u="none" strike="noStrike" dirty="0">
                        <a:solidFill>
                          <a:schemeClr val="bg1"/>
                        </a:solidFill>
                        <a:effectLst/>
                        <a:latin typeface="+mn-lt"/>
                      </a:endParaRPr>
                    </a:p>
                  </a:txBody>
                  <a:tcPr marL="9525" marR="9525" marT="9525" marB="0" anchor="b">
                    <a:lnL w="12700" cmpd="sng">
                      <a:noFill/>
                    </a:lnL>
                    <a:lnR w="12700" cap="flat" cmpd="sng" algn="ctr">
                      <a:noFill/>
                      <a:prstDash val="solid"/>
                      <a:round/>
                      <a:headEnd type="none" w="med" len="med"/>
                      <a:tailEnd type="none" w="med" len="med"/>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97872866"/>
                  </a:ext>
                </a:extLst>
              </a:tr>
            </a:tbl>
          </a:graphicData>
        </a:graphic>
      </p:graphicFrame>
      <p:sp>
        <p:nvSpPr>
          <p:cNvPr id="39" name="Rectangle 38">
            <a:extLst>
              <a:ext uri="{FF2B5EF4-FFF2-40B4-BE49-F238E27FC236}">
                <a16:creationId xmlns:a16="http://schemas.microsoft.com/office/drawing/2014/main" id="{CCBF3F7E-D483-42DC-87FD-0CDF3685A7B4}"/>
              </a:ext>
            </a:extLst>
          </p:cNvPr>
          <p:cNvSpPr/>
          <p:nvPr/>
        </p:nvSpPr>
        <p:spPr>
          <a:xfrm>
            <a:off x="1949115" y="1812997"/>
            <a:ext cx="1349229" cy="734663"/>
          </a:xfrm>
          <a:prstGeom prst="rect">
            <a:avLst/>
          </a:prstGeom>
          <a:solidFill>
            <a:schemeClr val="bg1">
              <a:lumMod val="7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SMR + Water Gas Shift</a:t>
            </a:r>
          </a:p>
        </p:txBody>
      </p:sp>
      <p:cxnSp>
        <p:nvCxnSpPr>
          <p:cNvPr id="51" name="Straight Arrow Connector 50">
            <a:extLst>
              <a:ext uri="{FF2B5EF4-FFF2-40B4-BE49-F238E27FC236}">
                <a16:creationId xmlns:a16="http://schemas.microsoft.com/office/drawing/2014/main" id="{52B7255F-DE8C-4538-AF92-DAF4DD921D26}"/>
              </a:ext>
            </a:extLst>
          </p:cNvPr>
          <p:cNvCxnSpPr>
            <a:cxnSpLocks/>
          </p:cNvCxnSpPr>
          <p:nvPr/>
        </p:nvCxnSpPr>
        <p:spPr>
          <a:xfrm flipV="1">
            <a:off x="1268208" y="1970128"/>
            <a:ext cx="562063" cy="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B0B61442-833E-4F31-8D4F-20A4E5C02ADD}"/>
              </a:ext>
            </a:extLst>
          </p:cNvPr>
          <p:cNvCxnSpPr>
            <a:cxnSpLocks/>
          </p:cNvCxnSpPr>
          <p:nvPr/>
        </p:nvCxnSpPr>
        <p:spPr>
          <a:xfrm>
            <a:off x="1268208" y="2376199"/>
            <a:ext cx="562063" cy="0"/>
          </a:xfrm>
          <a:prstGeom prst="straightConnector1">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7EABE803-1C94-4424-8D53-2B2BF4CDCADF}"/>
              </a:ext>
            </a:extLst>
          </p:cNvPr>
          <p:cNvCxnSpPr/>
          <p:nvPr/>
        </p:nvCxnSpPr>
        <p:spPr>
          <a:xfrm flipV="1">
            <a:off x="3417188" y="1968445"/>
            <a:ext cx="562063" cy="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0AAA516D-9DBD-4F40-AFFF-F73ADD3CD1BE}"/>
              </a:ext>
            </a:extLst>
          </p:cNvPr>
          <p:cNvCxnSpPr>
            <a:cxnSpLocks/>
          </p:cNvCxnSpPr>
          <p:nvPr/>
        </p:nvCxnSpPr>
        <p:spPr>
          <a:xfrm>
            <a:off x="3417188" y="2374516"/>
            <a:ext cx="562063" cy="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CB13B2FE-DCD5-42A0-91E4-0CB99C5317CA}"/>
              </a:ext>
            </a:extLst>
          </p:cNvPr>
          <p:cNvSpPr/>
          <p:nvPr/>
        </p:nvSpPr>
        <p:spPr>
          <a:xfrm>
            <a:off x="9140257" y="1755693"/>
            <a:ext cx="1874939" cy="42783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Sequestration</a:t>
            </a:r>
          </a:p>
        </p:txBody>
      </p:sp>
      <p:sp>
        <p:nvSpPr>
          <p:cNvPr id="63" name="Rectangle 62">
            <a:extLst>
              <a:ext uri="{FF2B5EF4-FFF2-40B4-BE49-F238E27FC236}">
                <a16:creationId xmlns:a16="http://schemas.microsoft.com/office/drawing/2014/main" id="{7FB601D1-B7A8-4135-AE90-A366E7ADC3AD}"/>
              </a:ext>
            </a:extLst>
          </p:cNvPr>
          <p:cNvSpPr/>
          <p:nvPr/>
        </p:nvSpPr>
        <p:spPr>
          <a:xfrm>
            <a:off x="5076810" y="3310311"/>
            <a:ext cx="1517009" cy="427839"/>
          </a:xfrm>
          <a:prstGeom prst="rect">
            <a:avLst/>
          </a:prstGeom>
          <a:solidFill>
            <a:schemeClr val="bg1">
              <a:lumMod val="7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Hydrogen Liquefaction</a:t>
            </a:r>
          </a:p>
        </p:txBody>
      </p:sp>
      <p:cxnSp>
        <p:nvCxnSpPr>
          <p:cNvPr id="64" name="Connector: Elbow 63">
            <a:extLst>
              <a:ext uri="{FF2B5EF4-FFF2-40B4-BE49-F238E27FC236}">
                <a16:creationId xmlns:a16="http://schemas.microsoft.com/office/drawing/2014/main" id="{5CEB762E-8C3A-4E1C-9170-9576BF5A6ED3}"/>
              </a:ext>
            </a:extLst>
          </p:cNvPr>
          <p:cNvCxnSpPr>
            <a:cxnSpLocks/>
            <a:endCxn id="63" idx="1"/>
          </p:cNvCxnSpPr>
          <p:nvPr/>
        </p:nvCxnSpPr>
        <p:spPr>
          <a:xfrm>
            <a:off x="4601434" y="2374516"/>
            <a:ext cx="475376" cy="1149715"/>
          </a:xfrm>
          <a:prstGeom prst="bentConnector3">
            <a:avLst>
              <a:gd name="adj1" fmla="val 50000"/>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3F58A16F-007F-45E8-B5C2-C94604B4F077}"/>
              </a:ext>
            </a:extLst>
          </p:cNvPr>
          <p:cNvSpPr/>
          <p:nvPr/>
        </p:nvSpPr>
        <p:spPr>
          <a:xfrm>
            <a:off x="9140258" y="2533002"/>
            <a:ext cx="1874939" cy="427839"/>
          </a:xfrm>
          <a:prstGeom prst="rect">
            <a:avLst/>
          </a:prstGeom>
          <a:no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Storage</a:t>
            </a:r>
          </a:p>
        </p:txBody>
      </p:sp>
      <p:cxnSp>
        <p:nvCxnSpPr>
          <p:cNvPr id="72" name="Connector: Elbow 71">
            <a:extLst>
              <a:ext uri="{FF2B5EF4-FFF2-40B4-BE49-F238E27FC236}">
                <a16:creationId xmlns:a16="http://schemas.microsoft.com/office/drawing/2014/main" id="{370F20BE-909A-426B-AA1E-FA0D051B7470}"/>
              </a:ext>
            </a:extLst>
          </p:cNvPr>
          <p:cNvCxnSpPr>
            <a:cxnSpLocks/>
            <a:endCxn id="71" idx="1"/>
          </p:cNvCxnSpPr>
          <p:nvPr/>
        </p:nvCxnSpPr>
        <p:spPr>
          <a:xfrm>
            <a:off x="4601434" y="2374516"/>
            <a:ext cx="4538824" cy="372406"/>
          </a:xfrm>
          <a:prstGeom prst="bentConnector3">
            <a:avLst>
              <a:gd name="adj1" fmla="val 50000"/>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F07A4C16-989C-40F4-9B05-A79BF96DDBCA}"/>
              </a:ext>
            </a:extLst>
          </p:cNvPr>
          <p:cNvCxnSpPr>
            <a:cxnSpLocks/>
            <a:endCxn id="62" idx="1"/>
          </p:cNvCxnSpPr>
          <p:nvPr/>
        </p:nvCxnSpPr>
        <p:spPr>
          <a:xfrm>
            <a:off x="4601434" y="1964764"/>
            <a:ext cx="4538823" cy="4849"/>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4129F507-36B6-4ED8-867D-DAD02807F79D}"/>
              </a:ext>
            </a:extLst>
          </p:cNvPr>
          <p:cNvSpPr/>
          <p:nvPr/>
        </p:nvSpPr>
        <p:spPr>
          <a:xfrm>
            <a:off x="9140257" y="3310311"/>
            <a:ext cx="1874939" cy="427839"/>
          </a:xfrm>
          <a:prstGeom prst="rect">
            <a:avLst/>
          </a:prstGeom>
          <a:no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Transport (Ship)</a:t>
            </a:r>
          </a:p>
        </p:txBody>
      </p:sp>
      <p:sp>
        <p:nvSpPr>
          <p:cNvPr id="75" name="Rectangle 74">
            <a:extLst>
              <a:ext uri="{FF2B5EF4-FFF2-40B4-BE49-F238E27FC236}">
                <a16:creationId xmlns:a16="http://schemas.microsoft.com/office/drawing/2014/main" id="{8F944B64-DB3B-4384-BA4F-EDD80F824073}"/>
              </a:ext>
            </a:extLst>
          </p:cNvPr>
          <p:cNvSpPr/>
          <p:nvPr/>
        </p:nvSpPr>
        <p:spPr>
          <a:xfrm>
            <a:off x="9140256" y="4087620"/>
            <a:ext cx="1874939" cy="427839"/>
          </a:xfrm>
          <a:prstGeom prst="rect">
            <a:avLst/>
          </a:prstGeom>
          <a:no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Distribute (Pipeline)</a:t>
            </a:r>
          </a:p>
        </p:txBody>
      </p:sp>
      <p:cxnSp>
        <p:nvCxnSpPr>
          <p:cNvPr id="77" name="Connector: Elbow 76">
            <a:extLst>
              <a:ext uri="{FF2B5EF4-FFF2-40B4-BE49-F238E27FC236}">
                <a16:creationId xmlns:a16="http://schemas.microsoft.com/office/drawing/2014/main" id="{A253A5D1-2FD2-4F20-9EF2-AB88D1BC55D9}"/>
              </a:ext>
            </a:extLst>
          </p:cNvPr>
          <p:cNvCxnSpPr>
            <a:cxnSpLocks/>
            <a:stCxn id="63" idx="3"/>
            <a:endCxn id="75" idx="1"/>
          </p:cNvCxnSpPr>
          <p:nvPr/>
        </p:nvCxnSpPr>
        <p:spPr>
          <a:xfrm>
            <a:off x="6593819" y="3524231"/>
            <a:ext cx="2546437" cy="777309"/>
          </a:xfrm>
          <a:prstGeom prst="bentConnector3">
            <a:avLst>
              <a:gd name="adj1" fmla="val 50000"/>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24DE26D4-7990-49EB-8FC7-D2E284AF4137}"/>
              </a:ext>
            </a:extLst>
          </p:cNvPr>
          <p:cNvCxnSpPr>
            <a:cxnSpLocks/>
            <a:stCxn id="63" idx="3"/>
            <a:endCxn id="74" idx="1"/>
          </p:cNvCxnSpPr>
          <p:nvPr/>
        </p:nvCxnSpPr>
        <p:spPr>
          <a:xfrm>
            <a:off x="6593819" y="3524231"/>
            <a:ext cx="2546438" cy="0"/>
          </a:xfrm>
          <a:prstGeom prst="straightConnector1">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AA0C1597-88F3-4038-892A-AEA89B36747C}"/>
              </a:ext>
            </a:extLst>
          </p:cNvPr>
          <p:cNvCxnSpPr>
            <a:cxnSpLocks/>
            <a:stCxn id="63" idx="3"/>
            <a:endCxn id="71" idx="1"/>
          </p:cNvCxnSpPr>
          <p:nvPr/>
        </p:nvCxnSpPr>
        <p:spPr>
          <a:xfrm flipV="1">
            <a:off x="6593819" y="2746922"/>
            <a:ext cx="2546439" cy="777309"/>
          </a:xfrm>
          <a:prstGeom prst="bentConnector3">
            <a:avLst>
              <a:gd name="adj1" fmla="val 50000"/>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589060F3-304C-4500-B383-25E7AAA6A14E}"/>
              </a:ext>
            </a:extLst>
          </p:cNvPr>
          <p:cNvSpPr/>
          <p:nvPr/>
        </p:nvSpPr>
        <p:spPr>
          <a:xfrm>
            <a:off x="9197406" y="1815689"/>
            <a:ext cx="330701" cy="298148"/>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2E38"/>
                </a:solidFill>
                <a:effectLst/>
                <a:uLnTx/>
                <a:uFillTx/>
                <a:latin typeface="EYInterstate Light"/>
                <a:ea typeface="+mn-ea"/>
                <a:cs typeface="+mn-cs"/>
              </a:rPr>
              <a:t>CO</a:t>
            </a:r>
            <a:r>
              <a:rPr kumimoji="0" lang="en-US" sz="600" b="0" i="0" u="none" strike="noStrike" kern="1200" cap="none" spc="0" normalizeH="0" baseline="0" noProof="0" dirty="0">
                <a:ln>
                  <a:noFill/>
                </a:ln>
                <a:solidFill>
                  <a:srgbClr val="2E2E38"/>
                </a:solidFill>
                <a:effectLst/>
                <a:uLnTx/>
                <a:uFillTx/>
                <a:latin typeface="EYInterstate Light"/>
                <a:ea typeface="+mn-ea"/>
                <a:cs typeface="+mn-cs"/>
              </a:rPr>
              <a:t>2</a:t>
            </a:r>
          </a:p>
        </p:txBody>
      </p:sp>
      <p:sp>
        <p:nvSpPr>
          <p:cNvPr id="81" name="Oval 80">
            <a:extLst>
              <a:ext uri="{FF2B5EF4-FFF2-40B4-BE49-F238E27FC236}">
                <a16:creationId xmlns:a16="http://schemas.microsoft.com/office/drawing/2014/main" id="{4C444D8F-89F7-406F-861D-D52813706CB2}"/>
              </a:ext>
            </a:extLst>
          </p:cNvPr>
          <p:cNvSpPr/>
          <p:nvPr/>
        </p:nvSpPr>
        <p:spPr>
          <a:xfrm>
            <a:off x="9197405" y="2581395"/>
            <a:ext cx="330702" cy="298148"/>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H</a:t>
            </a:r>
            <a:r>
              <a:rPr kumimoji="0" lang="en-US" sz="600" b="0" i="0" u="none" strike="noStrike" kern="1200" cap="none" spc="0" normalizeH="0" baseline="0" noProof="0" dirty="0">
                <a:ln>
                  <a:noFill/>
                </a:ln>
                <a:solidFill>
                  <a:srgbClr val="2E2E38"/>
                </a:solidFill>
                <a:effectLst/>
                <a:uLnTx/>
                <a:uFillTx/>
                <a:latin typeface="EYInterstate Light"/>
                <a:ea typeface="+mn-ea"/>
                <a:cs typeface="+mn-cs"/>
              </a:rPr>
              <a:t>2</a:t>
            </a:r>
          </a:p>
        </p:txBody>
      </p:sp>
      <p:sp>
        <p:nvSpPr>
          <p:cNvPr id="83" name="Oval 82">
            <a:extLst>
              <a:ext uri="{FF2B5EF4-FFF2-40B4-BE49-F238E27FC236}">
                <a16:creationId xmlns:a16="http://schemas.microsoft.com/office/drawing/2014/main" id="{CAC8EFE7-4588-4696-8E85-4BFDCC6A9941}"/>
              </a:ext>
            </a:extLst>
          </p:cNvPr>
          <p:cNvSpPr/>
          <p:nvPr/>
        </p:nvSpPr>
        <p:spPr>
          <a:xfrm>
            <a:off x="5099528" y="3375156"/>
            <a:ext cx="330702" cy="298148"/>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H</a:t>
            </a:r>
            <a:r>
              <a:rPr kumimoji="0" lang="en-US" sz="900" b="0" i="0" u="none" strike="noStrike" kern="1200" cap="none" spc="0" normalizeH="0" baseline="0" noProof="0" dirty="0">
                <a:ln>
                  <a:noFill/>
                </a:ln>
                <a:solidFill>
                  <a:srgbClr val="2E2E38"/>
                </a:solidFill>
                <a:effectLst/>
                <a:uLnTx/>
                <a:uFillTx/>
                <a:latin typeface="EYInterstate Light"/>
                <a:ea typeface="+mn-ea"/>
                <a:cs typeface="+mn-cs"/>
              </a:rPr>
              <a:t>2</a:t>
            </a:r>
          </a:p>
        </p:txBody>
      </p:sp>
      <p:sp>
        <p:nvSpPr>
          <p:cNvPr id="84" name="Rectangle 83">
            <a:extLst>
              <a:ext uri="{FF2B5EF4-FFF2-40B4-BE49-F238E27FC236}">
                <a16:creationId xmlns:a16="http://schemas.microsoft.com/office/drawing/2014/main" id="{C5282D25-AA40-4CC8-ACEE-E299B5B2E74F}"/>
              </a:ext>
            </a:extLst>
          </p:cNvPr>
          <p:cNvSpPr/>
          <p:nvPr/>
        </p:nvSpPr>
        <p:spPr>
          <a:xfrm>
            <a:off x="10539092" y="352124"/>
            <a:ext cx="653290" cy="193899"/>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2E38"/>
                </a:solidFill>
                <a:effectLst/>
                <a:uLnTx/>
                <a:uFillTx/>
                <a:latin typeface="EYInterstate Light"/>
                <a:ea typeface="+mn-ea"/>
                <a:cs typeface="+mn-cs"/>
              </a:rPr>
              <a:t>Process</a:t>
            </a:r>
          </a:p>
        </p:txBody>
      </p:sp>
      <p:sp>
        <p:nvSpPr>
          <p:cNvPr id="85" name="Rectangle 84">
            <a:extLst>
              <a:ext uri="{FF2B5EF4-FFF2-40B4-BE49-F238E27FC236}">
                <a16:creationId xmlns:a16="http://schemas.microsoft.com/office/drawing/2014/main" id="{8C2517EE-CB4E-44D8-9F98-FF50AC71F46B}"/>
              </a:ext>
            </a:extLst>
          </p:cNvPr>
          <p:cNvSpPr/>
          <p:nvPr/>
        </p:nvSpPr>
        <p:spPr>
          <a:xfrm>
            <a:off x="11375199" y="353463"/>
            <a:ext cx="653290" cy="19389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EYInterstate Light"/>
                <a:ea typeface="+mn-ea"/>
                <a:cs typeface="+mn-cs"/>
              </a:rPr>
              <a:t>Storage</a:t>
            </a:r>
          </a:p>
        </p:txBody>
      </p:sp>
      <p:grpSp>
        <p:nvGrpSpPr>
          <p:cNvPr id="86" name="Group 85">
            <a:extLst>
              <a:ext uri="{FF2B5EF4-FFF2-40B4-BE49-F238E27FC236}">
                <a16:creationId xmlns:a16="http://schemas.microsoft.com/office/drawing/2014/main" id="{D97BF25F-3827-453A-90EB-C65984EB4BE7}"/>
              </a:ext>
            </a:extLst>
          </p:cNvPr>
          <p:cNvGrpSpPr/>
          <p:nvPr/>
        </p:nvGrpSpPr>
        <p:grpSpPr>
          <a:xfrm>
            <a:off x="8788347" y="351757"/>
            <a:ext cx="1023432" cy="154658"/>
            <a:chOff x="7559030" y="5965502"/>
            <a:chExt cx="1023432" cy="154658"/>
          </a:xfrm>
        </p:grpSpPr>
        <p:cxnSp>
          <p:nvCxnSpPr>
            <p:cNvPr id="87" name="Straight Arrow Connector 86">
              <a:extLst>
                <a:ext uri="{FF2B5EF4-FFF2-40B4-BE49-F238E27FC236}">
                  <a16:creationId xmlns:a16="http://schemas.microsoft.com/office/drawing/2014/main" id="{5C716D21-8E33-4A64-BFBF-D43994CEB96E}"/>
                </a:ext>
              </a:extLst>
            </p:cNvPr>
            <p:cNvCxnSpPr>
              <a:cxnSpLocks/>
            </p:cNvCxnSpPr>
            <p:nvPr/>
          </p:nvCxnSpPr>
          <p:spPr>
            <a:xfrm>
              <a:off x="7559030" y="6062451"/>
              <a:ext cx="274353" cy="3297"/>
            </a:xfrm>
            <a:prstGeom prst="straightConnector1">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D3C6A45D-525D-49E2-AB13-39A966627D00}"/>
                </a:ext>
              </a:extLst>
            </p:cNvPr>
            <p:cNvSpPr txBox="1"/>
            <p:nvPr/>
          </p:nvSpPr>
          <p:spPr>
            <a:xfrm>
              <a:off x="7929172" y="5965502"/>
              <a:ext cx="653290" cy="15465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900" b="0" i="0" u="none" strike="noStrike" kern="1200" cap="none" spc="0" normalizeH="0" baseline="0" noProof="0" dirty="0">
                  <a:ln>
                    <a:noFill/>
                  </a:ln>
                  <a:solidFill>
                    <a:prstClr val="white"/>
                  </a:solidFill>
                  <a:effectLst/>
                  <a:uLnTx/>
                  <a:uFillTx/>
                  <a:latin typeface="EYInterstate Light"/>
                  <a:ea typeface="+mn-ea"/>
                  <a:cs typeface="+mn-cs"/>
                </a:rPr>
                <a:t>Liquid</a:t>
              </a:r>
            </a:p>
          </p:txBody>
        </p:sp>
      </p:grpSp>
      <p:grpSp>
        <p:nvGrpSpPr>
          <p:cNvPr id="89" name="Group 88">
            <a:extLst>
              <a:ext uri="{FF2B5EF4-FFF2-40B4-BE49-F238E27FC236}">
                <a16:creationId xmlns:a16="http://schemas.microsoft.com/office/drawing/2014/main" id="{CA0F7F3E-32EF-4E1C-8F02-87B096E7CD34}"/>
              </a:ext>
            </a:extLst>
          </p:cNvPr>
          <p:cNvGrpSpPr/>
          <p:nvPr/>
        </p:nvGrpSpPr>
        <p:grpSpPr>
          <a:xfrm>
            <a:off x="9722472" y="351757"/>
            <a:ext cx="1020855" cy="154658"/>
            <a:chOff x="8500221" y="5972665"/>
            <a:chExt cx="1020855" cy="154658"/>
          </a:xfrm>
        </p:grpSpPr>
        <p:cxnSp>
          <p:nvCxnSpPr>
            <p:cNvPr id="90" name="Straight Arrow Connector 89">
              <a:extLst>
                <a:ext uri="{FF2B5EF4-FFF2-40B4-BE49-F238E27FC236}">
                  <a16:creationId xmlns:a16="http://schemas.microsoft.com/office/drawing/2014/main" id="{E91D03CE-4B19-448A-9E79-0A2193FE23D7}"/>
                </a:ext>
              </a:extLst>
            </p:cNvPr>
            <p:cNvCxnSpPr>
              <a:cxnSpLocks/>
            </p:cNvCxnSpPr>
            <p:nvPr/>
          </p:nvCxnSpPr>
          <p:spPr>
            <a:xfrm>
              <a:off x="8500221" y="6062452"/>
              <a:ext cx="274320" cy="7087"/>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51C27546-779A-4B50-B69F-9D19E3043FEC}"/>
                </a:ext>
              </a:extLst>
            </p:cNvPr>
            <p:cNvSpPr txBox="1"/>
            <p:nvPr/>
          </p:nvSpPr>
          <p:spPr>
            <a:xfrm>
              <a:off x="8867786" y="5972665"/>
              <a:ext cx="653290" cy="15465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900" b="0" i="0" u="none" strike="noStrike" kern="1200" cap="none" spc="0" normalizeH="0" baseline="0" noProof="0" dirty="0">
                  <a:ln>
                    <a:noFill/>
                  </a:ln>
                  <a:solidFill>
                    <a:prstClr val="white"/>
                  </a:solidFill>
                  <a:effectLst/>
                  <a:uLnTx/>
                  <a:uFillTx/>
                  <a:latin typeface="EYInterstate Light"/>
                  <a:ea typeface="+mn-ea"/>
                  <a:cs typeface="+mn-cs"/>
                </a:rPr>
                <a:t>Gas</a:t>
              </a:r>
            </a:p>
          </p:txBody>
        </p:sp>
      </p:grpSp>
      <p:sp>
        <p:nvSpPr>
          <p:cNvPr id="92" name="TextBox 91">
            <a:extLst>
              <a:ext uri="{FF2B5EF4-FFF2-40B4-BE49-F238E27FC236}">
                <a16:creationId xmlns:a16="http://schemas.microsoft.com/office/drawing/2014/main" id="{53AEEDC8-2726-46D2-A862-23B642306C47}"/>
              </a:ext>
            </a:extLst>
          </p:cNvPr>
          <p:cNvSpPr txBox="1"/>
          <p:nvPr/>
        </p:nvSpPr>
        <p:spPr>
          <a:xfrm>
            <a:off x="8788347" y="54064"/>
            <a:ext cx="36195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Key</a:t>
            </a:r>
          </a:p>
        </p:txBody>
      </p:sp>
      <p:cxnSp>
        <p:nvCxnSpPr>
          <p:cNvPr id="93" name="Straight Connector 92">
            <a:extLst>
              <a:ext uri="{FF2B5EF4-FFF2-40B4-BE49-F238E27FC236}">
                <a16:creationId xmlns:a16="http://schemas.microsoft.com/office/drawing/2014/main" id="{B47BE365-F89F-4415-807B-86A30C7A399F}"/>
              </a:ext>
            </a:extLst>
          </p:cNvPr>
          <p:cNvCxnSpPr>
            <a:cxnSpLocks/>
          </p:cNvCxnSpPr>
          <p:nvPr/>
        </p:nvCxnSpPr>
        <p:spPr>
          <a:xfrm flipH="1">
            <a:off x="8792772" y="232620"/>
            <a:ext cx="269928" cy="0"/>
          </a:xfrm>
          <a:prstGeom prst="line">
            <a:avLst/>
          </a:prstGeom>
          <a:ln w="9525">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95" name="Slide Number Placeholder 4">
            <a:extLst>
              <a:ext uri="{FF2B5EF4-FFF2-40B4-BE49-F238E27FC236}">
                <a16:creationId xmlns:a16="http://schemas.microsoft.com/office/drawing/2014/main" id="{AA28CE50-5E3C-4680-BC49-C326C3213F52}"/>
              </a:ext>
            </a:extLst>
          </p:cNvPr>
          <p:cNvSpPr>
            <a:spLocks noGrp="1"/>
          </p:cNvSpPr>
          <p:nvPr>
            <p:ph type="sldNum" sz="quarter" idx="12"/>
          </p:nvPr>
        </p:nvSpPr>
        <p:spPr>
          <a:xfrm>
            <a:off x="5663791" y="6469660"/>
            <a:ext cx="662721" cy="179906"/>
          </a:xfrm>
          <a:prstGeom prst="rect">
            <a:avLst/>
          </a:prstGeom>
        </p:spPr>
        <p:txBody>
          <a:bodyPr vert="horz" lIns="0" tIns="0" rIns="0" bIns="0" rtlCol="0" anchor="ctr">
            <a:normAutofit/>
          </a:bodyPr>
          <a:lstStyle/>
          <a:p>
            <a:pPr marL="0" marR="0" lvl="0" indent="0" algn="l" defTabSz="913943" rtl="0" eaLnBrk="1" fontAlgn="auto" latinLnBrk="0" hangingPunct="1">
              <a:lnSpc>
                <a:spcPct val="100000"/>
              </a:lnSpc>
              <a:spcBef>
                <a:spcPts val="0"/>
              </a:spcBef>
              <a:spcAft>
                <a:spcPts val="600"/>
              </a:spcAft>
              <a:buClrTx/>
              <a:buSzTx/>
              <a:buFontTx/>
              <a:buNone/>
              <a:tabLst/>
              <a:defRPr/>
            </a:pPr>
            <a:r>
              <a:rPr kumimoji="0" lang="en-IN"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3943" rtl="0" eaLnBrk="1" fontAlgn="auto" latinLnBrk="0" hangingPunct="1">
                <a:lnSpc>
                  <a:spcPct val="100000"/>
                </a:lnSpc>
                <a:spcBef>
                  <a:spcPts val="0"/>
                </a:spcBef>
                <a:spcAft>
                  <a:spcPts val="600"/>
                </a:spcAft>
                <a:buClrTx/>
                <a:buSzTx/>
                <a:buFontTx/>
                <a:buNone/>
                <a:tabLst/>
                <a:defRPr/>
              </a:pPr>
              <a:t>13</a:t>
            </a:fld>
            <a:endParaRPr kumimoji="0" lang="en-IN"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42" name="Oval 41">
            <a:extLst>
              <a:ext uri="{FF2B5EF4-FFF2-40B4-BE49-F238E27FC236}">
                <a16:creationId xmlns:a16="http://schemas.microsoft.com/office/drawing/2014/main" id="{A0698006-2B35-4FA8-B0E7-8813DDA6F3BE}"/>
              </a:ext>
            </a:extLst>
          </p:cNvPr>
          <p:cNvSpPr/>
          <p:nvPr/>
        </p:nvSpPr>
        <p:spPr>
          <a:xfrm>
            <a:off x="5101432" y="3375156"/>
            <a:ext cx="330702" cy="298148"/>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H</a:t>
            </a:r>
            <a:r>
              <a:rPr kumimoji="0" lang="en-US" sz="600" b="0" i="0" u="none" strike="noStrike" kern="1200" cap="none" spc="0" normalizeH="0" baseline="0" noProof="0" dirty="0">
                <a:ln>
                  <a:noFill/>
                </a:ln>
                <a:solidFill>
                  <a:srgbClr val="2E2E38"/>
                </a:solidFill>
                <a:effectLst/>
                <a:uLnTx/>
                <a:uFillTx/>
                <a:latin typeface="EYInterstate Light"/>
                <a:ea typeface="+mn-ea"/>
                <a:cs typeface="+mn-cs"/>
              </a:rPr>
              <a:t>2</a:t>
            </a:r>
          </a:p>
        </p:txBody>
      </p:sp>
      <p:sp>
        <p:nvSpPr>
          <p:cNvPr id="44" name="Rectangle 43">
            <a:extLst>
              <a:ext uri="{FF2B5EF4-FFF2-40B4-BE49-F238E27FC236}">
                <a16:creationId xmlns:a16="http://schemas.microsoft.com/office/drawing/2014/main" id="{A01C6AD7-14B3-411E-AC39-35586C617B3F}"/>
              </a:ext>
            </a:extLst>
          </p:cNvPr>
          <p:cNvSpPr/>
          <p:nvPr/>
        </p:nvSpPr>
        <p:spPr>
          <a:xfrm>
            <a:off x="5076810" y="4994190"/>
            <a:ext cx="1517009" cy="427839"/>
          </a:xfrm>
          <a:prstGeom prst="rect">
            <a:avLst/>
          </a:prstGeom>
          <a:solidFill>
            <a:schemeClr val="bg1">
              <a:lumMod val="7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Energy</a:t>
            </a:r>
          </a:p>
        </p:txBody>
      </p:sp>
      <p:sp>
        <p:nvSpPr>
          <p:cNvPr id="48" name="Oval 47">
            <a:extLst>
              <a:ext uri="{FF2B5EF4-FFF2-40B4-BE49-F238E27FC236}">
                <a16:creationId xmlns:a16="http://schemas.microsoft.com/office/drawing/2014/main" id="{937936E4-D6C2-4287-99FD-7AB444DB2DD8}"/>
              </a:ext>
            </a:extLst>
          </p:cNvPr>
          <p:cNvSpPr/>
          <p:nvPr/>
        </p:nvSpPr>
        <p:spPr>
          <a:xfrm>
            <a:off x="5012292" y="3983580"/>
            <a:ext cx="330701" cy="298148"/>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2E38"/>
                </a:solidFill>
                <a:effectLst/>
                <a:uLnTx/>
                <a:uFillTx/>
                <a:latin typeface="EYInterstate Light"/>
                <a:ea typeface="+mn-ea"/>
                <a:cs typeface="+mn-cs"/>
              </a:rPr>
              <a:t>CO</a:t>
            </a:r>
            <a:r>
              <a:rPr kumimoji="0" lang="en-US" sz="600" b="0" i="0" u="none" strike="noStrike" kern="1200" cap="none" spc="0" normalizeH="0" baseline="0" noProof="0" dirty="0">
                <a:ln>
                  <a:noFill/>
                </a:ln>
                <a:solidFill>
                  <a:srgbClr val="2E2E38"/>
                </a:solidFill>
                <a:effectLst/>
                <a:uLnTx/>
                <a:uFillTx/>
                <a:latin typeface="EYInterstate Light"/>
                <a:ea typeface="+mn-ea"/>
                <a:cs typeface="+mn-cs"/>
              </a:rPr>
              <a:t>2</a:t>
            </a:r>
          </a:p>
        </p:txBody>
      </p:sp>
      <p:sp>
        <p:nvSpPr>
          <p:cNvPr id="49" name="Rectangle 48">
            <a:extLst>
              <a:ext uri="{FF2B5EF4-FFF2-40B4-BE49-F238E27FC236}">
                <a16:creationId xmlns:a16="http://schemas.microsoft.com/office/drawing/2014/main" id="{C595C750-7ECA-4E85-A70A-D8878135266C}"/>
              </a:ext>
            </a:extLst>
          </p:cNvPr>
          <p:cNvSpPr/>
          <p:nvPr/>
        </p:nvSpPr>
        <p:spPr>
          <a:xfrm>
            <a:off x="9140256" y="4984854"/>
            <a:ext cx="1874939" cy="42783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Emissions</a:t>
            </a:r>
          </a:p>
        </p:txBody>
      </p:sp>
      <p:cxnSp>
        <p:nvCxnSpPr>
          <p:cNvPr id="50" name="Straight Arrow Connector 49">
            <a:extLst>
              <a:ext uri="{FF2B5EF4-FFF2-40B4-BE49-F238E27FC236}">
                <a16:creationId xmlns:a16="http://schemas.microsoft.com/office/drawing/2014/main" id="{F36D75A8-EB9D-4786-AC98-1878CDB2A600}"/>
              </a:ext>
            </a:extLst>
          </p:cNvPr>
          <p:cNvCxnSpPr>
            <a:cxnSpLocks/>
            <a:endCxn id="49" idx="1"/>
          </p:cNvCxnSpPr>
          <p:nvPr/>
        </p:nvCxnSpPr>
        <p:spPr>
          <a:xfrm>
            <a:off x="6870845" y="5198774"/>
            <a:ext cx="2269411" cy="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C8D5411-4401-4053-8F7C-D4A44EF56B98}"/>
              </a:ext>
            </a:extLst>
          </p:cNvPr>
          <p:cNvCxnSpPr>
            <a:cxnSpLocks/>
          </p:cNvCxnSpPr>
          <p:nvPr/>
        </p:nvCxnSpPr>
        <p:spPr>
          <a:xfrm>
            <a:off x="6870845" y="4450612"/>
            <a:ext cx="0" cy="708128"/>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BA236E01-EA63-4887-A4B3-9511B27C4BB6}"/>
              </a:ext>
            </a:extLst>
          </p:cNvPr>
          <p:cNvCxnSpPr>
            <a:cxnSpLocks/>
          </p:cNvCxnSpPr>
          <p:nvPr/>
        </p:nvCxnSpPr>
        <p:spPr>
          <a:xfrm flipV="1">
            <a:off x="5835315" y="4450612"/>
            <a:ext cx="0" cy="543578"/>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537801BA-6E69-4054-A7B6-BA88A7921E2F}"/>
              </a:ext>
            </a:extLst>
          </p:cNvPr>
          <p:cNvSpPr txBox="1"/>
          <p:nvPr/>
        </p:nvSpPr>
        <p:spPr>
          <a:xfrm>
            <a:off x="4098095" y="1867814"/>
            <a:ext cx="503339"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2 CO</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2</a:t>
            </a:r>
          </a:p>
        </p:txBody>
      </p:sp>
      <p:sp>
        <p:nvSpPr>
          <p:cNvPr id="66" name="TextBox 65">
            <a:extLst>
              <a:ext uri="{FF2B5EF4-FFF2-40B4-BE49-F238E27FC236}">
                <a16:creationId xmlns:a16="http://schemas.microsoft.com/office/drawing/2014/main" id="{FF740484-0EE7-4B7E-8E4F-CD8EBCD5E770}"/>
              </a:ext>
            </a:extLst>
          </p:cNvPr>
          <p:cNvSpPr txBox="1"/>
          <p:nvPr/>
        </p:nvSpPr>
        <p:spPr>
          <a:xfrm>
            <a:off x="4098095" y="2277566"/>
            <a:ext cx="503339"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4 H</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2</a:t>
            </a:r>
          </a:p>
        </p:txBody>
      </p:sp>
      <p:sp>
        <p:nvSpPr>
          <p:cNvPr id="67" name="TextBox 66">
            <a:extLst>
              <a:ext uri="{FF2B5EF4-FFF2-40B4-BE49-F238E27FC236}">
                <a16:creationId xmlns:a16="http://schemas.microsoft.com/office/drawing/2014/main" id="{61B0244E-DDBF-4902-A1C5-36651411997A}"/>
              </a:ext>
            </a:extLst>
          </p:cNvPr>
          <p:cNvSpPr txBox="1"/>
          <p:nvPr/>
        </p:nvSpPr>
        <p:spPr>
          <a:xfrm>
            <a:off x="6781888" y="3296746"/>
            <a:ext cx="65329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2.4 LH</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2</a:t>
            </a:r>
          </a:p>
        </p:txBody>
      </p:sp>
      <p:sp>
        <p:nvSpPr>
          <p:cNvPr id="68" name="TextBox 67">
            <a:extLst>
              <a:ext uri="{FF2B5EF4-FFF2-40B4-BE49-F238E27FC236}">
                <a16:creationId xmlns:a16="http://schemas.microsoft.com/office/drawing/2014/main" id="{4AB22A49-5E33-4715-96D6-79E21306D69B}"/>
              </a:ext>
            </a:extLst>
          </p:cNvPr>
          <p:cNvSpPr txBox="1"/>
          <p:nvPr/>
        </p:nvSpPr>
        <p:spPr>
          <a:xfrm>
            <a:off x="764869" y="1873179"/>
            <a:ext cx="503339"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CH</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4</a:t>
            </a:r>
          </a:p>
        </p:txBody>
      </p:sp>
      <p:sp>
        <p:nvSpPr>
          <p:cNvPr id="69" name="TextBox 68">
            <a:extLst>
              <a:ext uri="{FF2B5EF4-FFF2-40B4-BE49-F238E27FC236}">
                <a16:creationId xmlns:a16="http://schemas.microsoft.com/office/drawing/2014/main" id="{49837CF2-DC52-4EE3-AFDB-9CE0DF76BF1A}"/>
              </a:ext>
            </a:extLst>
          </p:cNvPr>
          <p:cNvSpPr txBox="1"/>
          <p:nvPr/>
        </p:nvSpPr>
        <p:spPr>
          <a:xfrm>
            <a:off x="764869" y="2282931"/>
            <a:ext cx="503339"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2 H</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2</a:t>
            </a: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0</a:t>
            </a:r>
          </a:p>
        </p:txBody>
      </p:sp>
    </p:spTree>
    <p:extLst>
      <p:ext uri="{BB962C8B-B14F-4D97-AF65-F5344CB8AC3E}">
        <p14:creationId xmlns:p14="http://schemas.microsoft.com/office/powerpoint/2010/main" val="3228356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53" presetClass="entr" presetSubtype="16" fill="hold" grpId="1" nodeType="withEffect">
                                  <p:stCondLst>
                                    <p:cond delay="0"/>
                                  </p:stCondLst>
                                  <p:childTnLst>
                                    <p:set>
                                      <p:cBhvr>
                                        <p:cTn id="9" dur="1" fill="hold">
                                          <p:stCondLst>
                                            <p:cond delay="0"/>
                                          </p:stCondLst>
                                        </p:cTn>
                                        <p:tgtEl>
                                          <p:spTgt spid="48"/>
                                        </p:tgtEl>
                                        <p:attrNameLst>
                                          <p:attrName>style.visibility</p:attrName>
                                        </p:attrNameLst>
                                      </p:cBhvr>
                                      <p:to>
                                        <p:strVal val="visible"/>
                                      </p:to>
                                    </p:set>
                                    <p:anim calcmode="lin" valueType="num">
                                      <p:cBhvr>
                                        <p:cTn id="10" dur="500" fill="hold"/>
                                        <p:tgtEl>
                                          <p:spTgt spid="48"/>
                                        </p:tgtEl>
                                        <p:attrNameLst>
                                          <p:attrName>ppt_w</p:attrName>
                                        </p:attrNameLst>
                                      </p:cBhvr>
                                      <p:tavLst>
                                        <p:tav tm="0">
                                          <p:val>
                                            <p:fltVal val="0"/>
                                          </p:val>
                                        </p:tav>
                                        <p:tav tm="100000">
                                          <p:val>
                                            <p:strVal val="#ppt_w"/>
                                          </p:val>
                                        </p:tav>
                                      </p:tavLst>
                                    </p:anim>
                                    <p:anim calcmode="lin" valueType="num">
                                      <p:cBhvr>
                                        <p:cTn id="11" dur="500" fill="hold"/>
                                        <p:tgtEl>
                                          <p:spTgt spid="48"/>
                                        </p:tgtEl>
                                        <p:attrNameLst>
                                          <p:attrName>ppt_h</p:attrName>
                                        </p:attrNameLst>
                                      </p:cBhvr>
                                      <p:tavLst>
                                        <p:tav tm="0">
                                          <p:val>
                                            <p:fltVal val="0"/>
                                          </p:val>
                                        </p:tav>
                                        <p:tav tm="100000">
                                          <p:val>
                                            <p:strVal val="#ppt_h"/>
                                          </p:val>
                                        </p:tav>
                                      </p:tavLst>
                                    </p:anim>
                                    <p:animEffect transition="in" filter="fade">
                                      <p:cBhvr>
                                        <p:cTn id="12" dur="500"/>
                                        <p:tgtEl>
                                          <p:spTgt spid="48"/>
                                        </p:tgtEl>
                                      </p:cBhvr>
                                    </p:animEffect>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50"/>
                                        </p:tgtEl>
                                        <p:attrNameLst>
                                          <p:attrName>style.visibility</p:attrName>
                                        </p:attrNameLst>
                                      </p:cBhvr>
                                      <p:to>
                                        <p:strVal val="visible"/>
                                      </p:to>
                                    </p:set>
                                    <p:animEffect transition="in" filter="wipe(left)">
                                      <p:cBhvr>
                                        <p:cTn id="16" dur="500"/>
                                        <p:tgtEl>
                                          <p:spTgt spid="5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9"/>
                                        </p:tgtEl>
                                        <p:attrNameLst>
                                          <p:attrName>style.visibility</p:attrName>
                                        </p:attrNameLst>
                                      </p:cBhvr>
                                      <p:to>
                                        <p:strVal val="visible"/>
                                      </p:to>
                                    </p:set>
                                    <p:animEffect transition="in" filter="fade">
                                      <p:cBhvr>
                                        <p:cTn id="19" dur="500"/>
                                        <p:tgtEl>
                                          <p:spTgt spid="49"/>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8" grpId="0" animBg="1"/>
      <p:bldP spid="48" grpId="1" animBg="1"/>
      <p:bldP spid="4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52D084B-5835-4D3E-A88B-0C0238B6C6F1}"/>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8" name="Object 7" hidden="1">
                        <a:extLst>
                          <a:ext uri="{FF2B5EF4-FFF2-40B4-BE49-F238E27FC236}">
                            <a16:creationId xmlns:a16="http://schemas.microsoft.com/office/drawing/2014/main" id="{052D084B-5835-4D3E-A88B-0C0238B6C6F1}"/>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54" name="Title 1">
            <a:extLst>
              <a:ext uri="{FF2B5EF4-FFF2-40B4-BE49-F238E27FC236}">
                <a16:creationId xmlns:a16="http://schemas.microsoft.com/office/drawing/2014/main" id="{2A9AD536-C2F4-4A4C-AB29-4D57E36962BF}"/>
              </a:ext>
            </a:extLst>
          </p:cNvPr>
          <p:cNvSpPr txBox="1">
            <a:spLocks/>
          </p:cNvSpPr>
          <p:nvPr/>
        </p:nvSpPr>
        <p:spPr>
          <a:xfrm>
            <a:off x="609600" y="525181"/>
            <a:ext cx="10972800" cy="590550"/>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399" b="1" i="0" u="none" strike="noStrike" kern="1200" cap="none" spc="0" normalizeH="0" baseline="0" noProof="0" dirty="0">
                <a:ln>
                  <a:noFill/>
                </a:ln>
                <a:solidFill>
                  <a:srgbClr val="FFE600"/>
                </a:solidFill>
                <a:effectLst/>
                <a:uLnTx/>
                <a:uFillTx/>
                <a:latin typeface="EYInterstate Light" panose="02000506000000020004" pitchFamily="2" charset="0"/>
                <a:ea typeface="+mj-ea"/>
                <a:cs typeface="Arial" pitchFamily="34" charset="0"/>
              </a:rPr>
              <a:t>Step 4: </a:t>
            </a:r>
          </a:p>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Sequester CO</a:t>
            </a:r>
            <a:r>
              <a:rPr kumimoji="0" lang="en-US" sz="12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2</a:t>
            </a: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 store some H</a:t>
            </a:r>
            <a:r>
              <a:rPr kumimoji="0" lang="en-US" sz="12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2</a:t>
            </a: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 into gas storage; liquefy the remaining H</a:t>
            </a:r>
            <a:r>
              <a:rPr kumimoji="0" lang="en-US" sz="12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2</a:t>
            </a: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 for distribution</a:t>
            </a:r>
          </a:p>
          <a:p>
            <a:pPr marL="0" marR="0" lvl="0" indent="0" algn="l" defTabSz="913943" rtl="0" eaLnBrk="1" fontAlgn="auto" latinLnBrk="0" hangingPunct="1">
              <a:lnSpc>
                <a:spcPct val="85000"/>
              </a:lnSpc>
              <a:spcBef>
                <a:spcPct val="0"/>
              </a:spcBef>
              <a:spcAft>
                <a:spcPts val="0"/>
              </a:spcAft>
              <a:buClrTx/>
              <a:buSzTx/>
              <a:buFontTx/>
              <a:buNone/>
              <a:tabLst/>
              <a:defRPr/>
            </a:pPr>
            <a:endParaRPr kumimoji="0" lang="en-US" sz="2399"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graphicFrame>
        <p:nvGraphicFramePr>
          <p:cNvPr id="59" name="Table 58">
            <a:extLst>
              <a:ext uri="{FF2B5EF4-FFF2-40B4-BE49-F238E27FC236}">
                <a16:creationId xmlns:a16="http://schemas.microsoft.com/office/drawing/2014/main" id="{D0A3FA59-4914-45A8-933E-115FD101CEEE}"/>
              </a:ext>
            </a:extLst>
          </p:cNvPr>
          <p:cNvGraphicFramePr>
            <a:graphicFrameLocks noGrp="1"/>
          </p:cNvGraphicFramePr>
          <p:nvPr/>
        </p:nvGraphicFramePr>
        <p:xfrm>
          <a:off x="616900" y="4301538"/>
          <a:ext cx="3413557" cy="1813145"/>
        </p:xfrm>
        <a:graphic>
          <a:graphicData uri="http://schemas.openxmlformats.org/drawingml/2006/table">
            <a:tbl>
              <a:tblPr>
                <a:tableStyleId>{5C22544A-7EE6-4342-B048-85BDC9FD1C3A}</a:tableStyleId>
              </a:tblPr>
              <a:tblGrid>
                <a:gridCol w="1616047">
                  <a:extLst>
                    <a:ext uri="{9D8B030D-6E8A-4147-A177-3AD203B41FA5}">
                      <a16:colId xmlns:a16="http://schemas.microsoft.com/office/drawing/2014/main" val="711398887"/>
                    </a:ext>
                  </a:extLst>
                </a:gridCol>
                <a:gridCol w="359502">
                  <a:extLst>
                    <a:ext uri="{9D8B030D-6E8A-4147-A177-3AD203B41FA5}">
                      <a16:colId xmlns:a16="http://schemas.microsoft.com/office/drawing/2014/main" val="1030759635"/>
                    </a:ext>
                  </a:extLst>
                </a:gridCol>
                <a:gridCol w="359502">
                  <a:extLst>
                    <a:ext uri="{9D8B030D-6E8A-4147-A177-3AD203B41FA5}">
                      <a16:colId xmlns:a16="http://schemas.microsoft.com/office/drawing/2014/main" val="2323964013"/>
                    </a:ext>
                  </a:extLst>
                </a:gridCol>
                <a:gridCol w="359502">
                  <a:extLst>
                    <a:ext uri="{9D8B030D-6E8A-4147-A177-3AD203B41FA5}">
                      <a16:colId xmlns:a16="http://schemas.microsoft.com/office/drawing/2014/main" val="1777564282"/>
                    </a:ext>
                  </a:extLst>
                </a:gridCol>
                <a:gridCol w="359502">
                  <a:extLst>
                    <a:ext uri="{9D8B030D-6E8A-4147-A177-3AD203B41FA5}">
                      <a16:colId xmlns:a16="http://schemas.microsoft.com/office/drawing/2014/main" val="3932358994"/>
                    </a:ext>
                  </a:extLst>
                </a:gridCol>
                <a:gridCol w="359502">
                  <a:extLst>
                    <a:ext uri="{9D8B030D-6E8A-4147-A177-3AD203B41FA5}">
                      <a16:colId xmlns:a16="http://schemas.microsoft.com/office/drawing/2014/main" val="1275082126"/>
                    </a:ext>
                  </a:extLst>
                </a:gridCol>
              </a:tblGrid>
              <a:tr h="289145">
                <a:tc gridSpan="6">
                  <a:txBody>
                    <a:bodyPr/>
                    <a:lstStyle/>
                    <a:p>
                      <a:pPr algn="ctr" fontAlgn="b"/>
                      <a:r>
                        <a:rPr lang="en-US" sz="1300" b="1" i="0" u="none" strike="noStrike" dirty="0">
                          <a:solidFill>
                            <a:schemeClr val="bg1"/>
                          </a:solidFill>
                          <a:effectLst/>
                          <a:latin typeface="+mn-lt"/>
                        </a:rPr>
                        <a:t>Molecular Accounting</a:t>
                      </a:r>
                    </a:p>
                  </a:txBody>
                  <a:tcPr marL="9525" marR="9525" marT="952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hMerge="1">
                  <a:txBody>
                    <a:bodyPr/>
                    <a:lstStyle/>
                    <a:p>
                      <a:pPr algn="ctr" fontAlgn="b"/>
                      <a:endParaRPr lang="en-US" sz="1100" b="0" i="0" u="none" strike="noStrike">
                        <a:solidFill>
                          <a:schemeClr val="bg1"/>
                        </a:solidFill>
                        <a:effectLst/>
                        <a:latin typeface="Calibri" panose="020F0502020204030204" pitchFamily="34" charset="0"/>
                      </a:endParaRPr>
                    </a:p>
                  </a:txBody>
                  <a:tcPr marL="9525" marR="9525" marT="9525" marB="0" anchor="b">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871745425"/>
                  </a:ext>
                </a:extLst>
              </a:tr>
              <a:tr h="190500">
                <a:tc>
                  <a:txBody>
                    <a:bodyPr/>
                    <a:lstStyle/>
                    <a:p>
                      <a:pPr algn="ctr" fontAlgn="b"/>
                      <a:r>
                        <a:rPr lang="en-US" sz="1000" b="1" u="none" strike="noStrike" dirty="0">
                          <a:solidFill>
                            <a:schemeClr val="bg1"/>
                          </a:solidFill>
                          <a:effectLst/>
                          <a:latin typeface="+mn-lt"/>
                        </a:rPr>
                        <a:t>Process</a:t>
                      </a:r>
                      <a:endParaRPr lang="en-US" sz="1000" b="1"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CH</a:t>
                      </a:r>
                      <a:r>
                        <a:rPr lang="en-US" sz="800" u="none" strike="noStrike" dirty="0">
                          <a:solidFill>
                            <a:schemeClr val="bg1"/>
                          </a:solidFill>
                          <a:effectLst/>
                          <a:latin typeface="+mn-lt"/>
                        </a:rPr>
                        <a:t>4</a:t>
                      </a:r>
                      <a:endParaRPr lang="en-US" sz="800" b="0" i="0" u="none" strike="noStrike" dirty="0">
                        <a:solidFill>
                          <a:schemeClr val="bg1"/>
                        </a:solidFill>
                        <a:effectLst/>
                        <a:latin typeface="+mn-lt"/>
                      </a:endParaRPr>
                    </a:p>
                  </a:txBody>
                  <a:tcPr marL="9525" marR="9525" marT="9525" marB="0" anchor="b">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H</a:t>
                      </a:r>
                      <a:r>
                        <a:rPr lang="en-US" sz="800" u="none" strike="noStrike" dirty="0">
                          <a:solidFill>
                            <a:schemeClr val="bg1"/>
                          </a:solidFill>
                          <a:effectLst/>
                          <a:latin typeface="+mn-lt"/>
                        </a:rPr>
                        <a:t>2</a:t>
                      </a:r>
                      <a:r>
                        <a:rPr lang="en-US" sz="1000" u="none" strike="noStrike" dirty="0">
                          <a:solidFill>
                            <a:schemeClr val="bg1"/>
                          </a:solidFill>
                          <a:effectLst/>
                          <a:latin typeface="+mn-lt"/>
                        </a:rPr>
                        <a:t>O</a:t>
                      </a:r>
                      <a:endParaRPr lang="en-US" sz="1000" b="0" i="0" u="none" strike="noStrike" dirty="0">
                        <a:solidFill>
                          <a:schemeClr val="bg1"/>
                        </a:solidFill>
                        <a:effectLst/>
                        <a:latin typeface="+mn-lt"/>
                      </a:endParaRPr>
                    </a:p>
                  </a:txBody>
                  <a:tcPr marL="9525" marR="9525" marT="9525" marB="0" anchor="b">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CO</a:t>
                      </a:r>
                      <a:r>
                        <a:rPr lang="en-US" sz="800" u="none" strike="noStrike" dirty="0">
                          <a:solidFill>
                            <a:schemeClr val="bg1"/>
                          </a:solidFill>
                          <a:effectLst/>
                          <a:latin typeface="+mn-lt"/>
                        </a:rPr>
                        <a:t>2</a:t>
                      </a:r>
                      <a:endParaRPr lang="en-US" sz="800" b="0" i="0" u="none" strike="noStrike" dirty="0">
                        <a:solidFill>
                          <a:schemeClr val="bg1"/>
                        </a:solidFill>
                        <a:effectLst/>
                        <a:latin typeface="+mn-lt"/>
                      </a:endParaRPr>
                    </a:p>
                  </a:txBody>
                  <a:tcPr marL="9525" marR="9525" marT="9525" marB="0" anchor="b">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H</a:t>
                      </a:r>
                      <a:r>
                        <a:rPr lang="en-US" sz="800" u="none" strike="noStrike" dirty="0">
                          <a:solidFill>
                            <a:schemeClr val="bg1"/>
                          </a:solidFill>
                          <a:effectLst/>
                          <a:latin typeface="+mn-lt"/>
                        </a:rPr>
                        <a:t>2</a:t>
                      </a:r>
                      <a:endParaRPr lang="en-US" sz="800" b="0" i="0" u="none" strike="noStrike" dirty="0">
                        <a:solidFill>
                          <a:schemeClr val="bg1"/>
                        </a:solidFill>
                        <a:effectLst/>
                        <a:latin typeface="+mn-lt"/>
                      </a:endParaRPr>
                    </a:p>
                  </a:txBody>
                  <a:tcPr marL="9525" marR="9525" marT="9525" marB="0" anchor="b">
                    <a:lnL w="12700" cmpd="sng">
                      <a:noFill/>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u="none" strike="noStrike" dirty="0">
                          <a:solidFill>
                            <a:schemeClr val="bg1"/>
                          </a:solidFill>
                          <a:effectLst/>
                          <a:latin typeface="+mn-lt"/>
                        </a:rPr>
                        <a:t>LH</a:t>
                      </a:r>
                      <a:r>
                        <a:rPr lang="en-US" sz="800" u="none" strike="noStrike" dirty="0">
                          <a:solidFill>
                            <a:schemeClr val="bg1"/>
                          </a:solidFill>
                          <a:effectLst/>
                          <a:latin typeface="+mn-lt"/>
                        </a:rPr>
                        <a:t>2</a:t>
                      </a:r>
                      <a:endParaRPr lang="en-US" sz="800" b="0" i="0" u="none" strike="noStrike" dirty="0">
                        <a:solidFill>
                          <a:schemeClr val="bg1"/>
                        </a:solidFill>
                        <a:effectLst/>
                        <a:latin typeface="+mn-lt"/>
                      </a:endParaRPr>
                    </a:p>
                  </a:txBody>
                  <a:tcPr marL="9525" marR="9525" marT="9525" marB="0" anchor="b">
                    <a:lnL w="12700" cmpd="sng">
                      <a:noFill/>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257263026"/>
                  </a:ext>
                </a:extLst>
              </a:tr>
              <a:tr h="190500">
                <a:tc>
                  <a:txBody>
                    <a:bodyPr/>
                    <a:lstStyle/>
                    <a:p>
                      <a:pPr algn="l" fontAlgn="b"/>
                      <a:r>
                        <a:rPr lang="en-US" sz="1000" u="none" strike="noStrike" dirty="0">
                          <a:solidFill>
                            <a:schemeClr val="bg1"/>
                          </a:solidFill>
                          <a:effectLst/>
                          <a:latin typeface="+mn-lt"/>
                        </a:rPr>
                        <a:t>SMR + Water-Gas Shift</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43997096"/>
                  </a:ext>
                </a:extLst>
              </a:tr>
              <a:tr h="190500">
                <a:tc>
                  <a:txBody>
                    <a:bodyPr/>
                    <a:lstStyle/>
                    <a:p>
                      <a:pPr algn="l" fontAlgn="b"/>
                      <a:r>
                        <a:rPr lang="en-US" sz="1000" u="none" strike="noStrike" dirty="0">
                          <a:solidFill>
                            <a:schemeClr val="bg1"/>
                          </a:solidFill>
                          <a:effectLst/>
                          <a:latin typeface="+mn-lt"/>
                        </a:rPr>
                        <a:t>Hydrogen Liquefaction </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1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75270870"/>
                  </a:ext>
                </a:extLst>
              </a:tr>
              <a:tr h="190500">
                <a:tc>
                  <a:txBody>
                    <a:bodyPr/>
                    <a:lstStyle/>
                    <a:p>
                      <a:pPr algn="l" fontAlgn="b"/>
                      <a:r>
                        <a:rPr lang="en-US" sz="1000" u="none" strike="noStrike" dirty="0">
                          <a:solidFill>
                            <a:schemeClr val="bg1"/>
                          </a:solidFill>
                          <a:effectLst/>
                          <a:latin typeface="+mn-lt"/>
                        </a:rPr>
                        <a:t>Sequestration</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1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050855797"/>
                  </a:ext>
                </a:extLst>
              </a:tr>
              <a:tr h="190500">
                <a:tc>
                  <a:txBody>
                    <a:bodyPr/>
                    <a:lstStyle/>
                    <a:p>
                      <a:pPr algn="l" fontAlgn="b"/>
                      <a:r>
                        <a:rPr lang="en-US" sz="1000" u="none" strike="noStrike" dirty="0">
                          <a:solidFill>
                            <a:schemeClr val="bg1"/>
                          </a:solidFill>
                          <a:effectLst/>
                          <a:latin typeface="+mn-lt"/>
                        </a:rPr>
                        <a:t>Storage</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1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738928020"/>
                  </a:ext>
                </a:extLst>
              </a:tr>
              <a:tr h="190500">
                <a:tc>
                  <a:txBody>
                    <a:bodyPr/>
                    <a:lstStyle/>
                    <a:p>
                      <a:pPr algn="l" fontAlgn="b"/>
                      <a:r>
                        <a:rPr lang="en-US" sz="1000" u="none" strike="noStrike" dirty="0">
                          <a:solidFill>
                            <a:schemeClr val="bg1"/>
                          </a:solidFill>
                          <a:effectLst/>
                          <a:latin typeface="+mn-lt"/>
                        </a:rPr>
                        <a:t>Transport</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44349904"/>
                  </a:ext>
                </a:extLst>
              </a:tr>
              <a:tr h="190500">
                <a:tc>
                  <a:txBody>
                    <a:bodyPr/>
                    <a:lstStyle/>
                    <a:p>
                      <a:pPr algn="l" fontAlgn="b"/>
                      <a:r>
                        <a:rPr lang="en-US" sz="1000" u="none" strike="noStrike" dirty="0">
                          <a:solidFill>
                            <a:schemeClr val="bg1"/>
                          </a:solidFill>
                          <a:effectLst/>
                          <a:latin typeface="+mn-lt"/>
                        </a:rPr>
                        <a:t>Distribution</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p>
                  </a:txBody>
                  <a:tcPr marL="9525" marR="9525" marT="9525" marB="0" anchor="b">
                    <a:lnL w="12700" cmpd="sng">
                      <a:noFill/>
                    </a:lnL>
                    <a:lnR w="12700" cap="flat" cmpd="sng" algn="ctr">
                      <a:noFill/>
                      <a:prstDash val="solid"/>
                      <a:round/>
                      <a:headEnd type="none" w="med" len="med"/>
                      <a:tailEnd type="none" w="med" len="med"/>
                    </a:lnR>
                    <a:lnT w="12700" cmpd="sng">
                      <a:noFill/>
                    </a:lnT>
                    <a:lnB w="12700" cap="flat" cmpd="sng" algn="ctr">
                      <a:solidFill>
                        <a:schemeClr val="bg2">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774404770"/>
                  </a:ext>
                </a:extLst>
              </a:tr>
              <a:tr h="190500">
                <a:tc>
                  <a:txBody>
                    <a:bodyPr/>
                    <a:lstStyle/>
                    <a:p>
                      <a:pPr algn="r" fontAlgn="b"/>
                      <a:r>
                        <a:rPr lang="en-US" sz="1000" u="none" strike="noStrike" dirty="0">
                          <a:solidFill>
                            <a:schemeClr val="bg1"/>
                          </a:solidFill>
                          <a:effectLst/>
                          <a:latin typeface="+mn-lt"/>
                        </a:rPr>
                        <a:t>Totals: </a:t>
                      </a:r>
                      <a:endParaRPr lang="en-US" sz="1000" b="0" i="0" u="none" strike="noStrike" dirty="0">
                        <a:solidFill>
                          <a:schemeClr val="bg1"/>
                        </a:solidFill>
                        <a:effectLst/>
                        <a:latin typeface="+mn-lt"/>
                      </a:endParaRPr>
                    </a:p>
                  </a:txBody>
                  <a:tcPr marL="9525" marR="9525" marT="9525" marB="0" anchor="b">
                    <a:lnL w="12700" cap="flat" cmpd="sng" algn="ctr">
                      <a:noFill/>
                      <a:prstDash val="solid"/>
                      <a:round/>
                      <a:headEnd type="none" w="med" len="med"/>
                      <a:tailEnd type="none" w="med" len="med"/>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en-US" sz="1000" b="0" i="0" u="none" strike="noStrike" dirty="0">
                          <a:solidFill>
                            <a:schemeClr val="bg1"/>
                          </a:solidFill>
                          <a:effectLst/>
                          <a:latin typeface="+mn-lt"/>
                        </a:rPr>
                        <a:t>-</a:t>
                      </a:r>
                    </a:p>
                  </a:txBody>
                  <a:tcPr marL="9525" marR="9525" marT="9525" marB="0" anchor="b">
                    <a:lnL w="12700" cmpd="sng">
                      <a:noFill/>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10</a:t>
                      </a:r>
                    </a:p>
                  </a:txBody>
                  <a:tcPr marL="9525" marR="9525" marT="9525" marB="0" anchor="b">
                    <a:lnL w="12700" cmpd="sng">
                      <a:noFill/>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20</a:t>
                      </a:r>
                    </a:p>
                  </a:txBody>
                  <a:tcPr marL="9525" marR="9525" marT="9525" marB="0" anchor="b">
                    <a:lnL w="12700" cmpd="sng">
                      <a:noFill/>
                    </a:lnL>
                    <a:lnR w="12700" cmpd="sng">
                      <a:noFill/>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3486"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solidFill>
                          <a:effectLst/>
                          <a:uLnTx/>
                          <a:uFillTx/>
                          <a:latin typeface="+mn-lt"/>
                          <a:ea typeface="+mn-ea"/>
                          <a:cs typeface="+mn-cs"/>
                        </a:rPr>
                        <a:t>-</a:t>
                      </a:r>
                      <a:endParaRPr lang="en-US" sz="1000" b="0" i="0" u="none" strike="noStrike" dirty="0">
                        <a:solidFill>
                          <a:schemeClr val="bg1"/>
                        </a:solidFill>
                        <a:effectLst/>
                        <a:latin typeface="+mn-lt"/>
                      </a:endParaRPr>
                    </a:p>
                  </a:txBody>
                  <a:tcPr marL="9525" marR="9525" marT="9525" marB="0" anchor="b">
                    <a:lnL w="12700" cmpd="sng">
                      <a:noFill/>
                    </a:lnL>
                    <a:lnR w="12700" cap="flat" cmpd="sng" algn="ctr">
                      <a:noFill/>
                      <a:prstDash val="solid"/>
                      <a:round/>
                      <a:headEnd type="none" w="med" len="med"/>
                      <a:tailEnd type="none" w="med" len="med"/>
                    </a:lnR>
                    <a:lnT w="12700" cap="flat" cmpd="sng" algn="ctr">
                      <a:solidFill>
                        <a:schemeClr val="bg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97872866"/>
                  </a:ext>
                </a:extLst>
              </a:tr>
            </a:tbl>
          </a:graphicData>
        </a:graphic>
      </p:graphicFrame>
      <p:sp>
        <p:nvSpPr>
          <p:cNvPr id="39" name="Rectangle 38">
            <a:extLst>
              <a:ext uri="{FF2B5EF4-FFF2-40B4-BE49-F238E27FC236}">
                <a16:creationId xmlns:a16="http://schemas.microsoft.com/office/drawing/2014/main" id="{CCBF3F7E-D483-42DC-87FD-0CDF3685A7B4}"/>
              </a:ext>
            </a:extLst>
          </p:cNvPr>
          <p:cNvSpPr/>
          <p:nvPr/>
        </p:nvSpPr>
        <p:spPr>
          <a:xfrm>
            <a:off x="1949115" y="1812997"/>
            <a:ext cx="1349229" cy="734663"/>
          </a:xfrm>
          <a:prstGeom prst="rect">
            <a:avLst/>
          </a:prstGeom>
          <a:solidFill>
            <a:schemeClr val="bg1">
              <a:lumMod val="7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SMR + Water Gas Shift</a:t>
            </a:r>
          </a:p>
        </p:txBody>
      </p:sp>
      <p:cxnSp>
        <p:nvCxnSpPr>
          <p:cNvPr id="51" name="Straight Arrow Connector 50">
            <a:extLst>
              <a:ext uri="{FF2B5EF4-FFF2-40B4-BE49-F238E27FC236}">
                <a16:creationId xmlns:a16="http://schemas.microsoft.com/office/drawing/2014/main" id="{52B7255F-DE8C-4538-AF92-DAF4DD921D26}"/>
              </a:ext>
            </a:extLst>
          </p:cNvPr>
          <p:cNvCxnSpPr>
            <a:cxnSpLocks/>
          </p:cNvCxnSpPr>
          <p:nvPr/>
        </p:nvCxnSpPr>
        <p:spPr>
          <a:xfrm flipV="1">
            <a:off x="1268208" y="1970128"/>
            <a:ext cx="562063" cy="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B0B61442-833E-4F31-8D4F-20A4E5C02ADD}"/>
              </a:ext>
            </a:extLst>
          </p:cNvPr>
          <p:cNvCxnSpPr>
            <a:cxnSpLocks/>
          </p:cNvCxnSpPr>
          <p:nvPr/>
        </p:nvCxnSpPr>
        <p:spPr>
          <a:xfrm>
            <a:off x="1268208" y="2376199"/>
            <a:ext cx="562063" cy="0"/>
          </a:xfrm>
          <a:prstGeom prst="straightConnector1">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7EABE803-1C94-4424-8D53-2B2BF4CDCADF}"/>
              </a:ext>
            </a:extLst>
          </p:cNvPr>
          <p:cNvCxnSpPr/>
          <p:nvPr/>
        </p:nvCxnSpPr>
        <p:spPr>
          <a:xfrm flipV="1">
            <a:off x="3417188" y="1968445"/>
            <a:ext cx="562063" cy="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0AAA516D-9DBD-4F40-AFFF-F73ADD3CD1BE}"/>
              </a:ext>
            </a:extLst>
          </p:cNvPr>
          <p:cNvCxnSpPr>
            <a:cxnSpLocks/>
          </p:cNvCxnSpPr>
          <p:nvPr/>
        </p:nvCxnSpPr>
        <p:spPr>
          <a:xfrm>
            <a:off x="3417188" y="2374516"/>
            <a:ext cx="562063" cy="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CB13B2FE-DCD5-42A0-91E4-0CB99C5317CA}"/>
              </a:ext>
            </a:extLst>
          </p:cNvPr>
          <p:cNvSpPr/>
          <p:nvPr/>
        </p:nvSpPr>
        <p:spPr>
          <a:xfrm>
            <a:off x="9140257" y="1755693"/>
            <a:ext cx="1874939" cy="42783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Sequestration</a:t>
            </a:r>
          </a:p>
        </p:txBody>
      </p:sp>
      <p:sp>
        <p:nvSpPr>
          <p:cNvPr id="63" name="Rectangle 62">
            <a:extLst>
              <a:ext uri="{FF2B5EF4-FFF2-40B4-BE49-F238E27FC236}">
                <a16:creationId xmlns:a16="http://schemas.microsoft.com/office/drawing/2014/main" id="{7FB601D1-B7A8-4135-AE90-A366E7ADC3AD}"/>
              </a:ext>
            </a:extLst>
          </p:cNvPr>
          <p:cNvSpPr/>
          <p:nvPr/>
        </p:nvSpPr>
        <p:spPr>
          <a:xfrm>
            <a:off x="5076810" y="3310311"/>
            <a:ext cx="1517009" cy="427839"/>
          </a:xfrm>
          <a:prstGeom prst="rect">
            <a:avLst/>
          </a:prstGeom>
          <a:solidFill>
            <a:schemeClr val="bg1">
              <a:lumMod val="7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Hydrogen Liquefaction</a:t>
            </a:r>
          </a:p>
        </p:txBody>
      </p:sp>
      <p:cxnSp>
        <p:nvCxnSpPr>
          <p:cNvPr id="64" name="Connector: Elbow 63">
            <a:extLst>
              <a:ext uri="{FF2B5EF4-FFF2-40B4-BE49-F238E27FC236}">
                <a16:creationId xmlns:a16="http://schemas.microsoft.com/office/drawing/2014/main" id="{5CEB762E-8C3A-4E1C-9170-9576BF5A6ED3}"/>
              </a:ext>
            </a:extLst>
          </p:cNvPr>
          <p:cNvCxnSpPr>
            <a:cxnSpLocks/>
            <a:endCxn id="63" idx="1"/>
          </p:cNvCxnSpPr>
          <p:nvPr/>
        </p:nvCxnSpPr>
        <p:spPr>
          <a:xfrm>
            <a:off x="4601434" y="2374516"/>
            <a:ext cx="475376" cy="1149715"/>
          </a:xfrm>
          <a:prstGeom prst="bentConnector3">
            <a:avLst>
              <a:gd name="adj1" fmla="val 50000"/>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3F58A16F-007F-45E8-B5C2-C94604B4F077}"/>
              </a:ext>
            </a:extLst>
          </p:cNvPr>
          <p:cNvSpPr/>
          <p:nvPr/>
        </p:nvSpPr>
        <p:spPr>
          <a:xfrm>
            <a:off x="9140258" y="2533002"/>
            <a:ext cx="1874939" cy="427839"/>
          </a:xfrm>
          <a:prstGeom prst="rect">
            <a:avLst/>
          </a:prstGeom>
          <a:no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           Storage</a:t>
            </a:r>
          </a:p>
        </p:txBody>
      </p:sp>
      <p:cxnSp>
        <p:nvCxnSpPr>
          <p:cNvPr id="72" name="Connector: Elbow 71">
            <a:extLst>
              <a:ext uri="{FF2B5EF4-FFF2-40B4-BE49-F238E27FC236}">
                <a16:creationId xmlns:a16="http://schemas.microsoft.com/office/drawing/2014/main" id="{370F20BE-909A-426B-AA1E-FA0D051B7470}"/>
              </a:ext>
            </a:extLst>
          </p:cNvPr>
          <p:cNvCxnSpPr>
            <a:cxnSpLocks/>
            <a:endCxn id="71" idx="1"/>
          </p:cNvCxnSpPr>
          <p:nvPr/>
        </p:nvCxnSpPr>
        <p:spPr>
          <a:xfrm>
            <a:off x="4601434" y="2374516"/>
            <a:ext cx="4538824" cy="372406"/>
          </a:xfrm>
          <a:prstGeom prst="bentConnector3">
            <a:avLst>
              <a:gd name="adj1" fmla="val 50000"/>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F07A4C16-989C-40F4-9B05-A79BF96DDBCA}"/>
              </a:ext>
            </a:extLst>
          </p:cNvPr>
          <p:cNvCxnSpPr>
            <a:cxnSpLocks/>
            <a:endCxn id="62" idx="1"/>
          </p:cNvCxnSpPr>
          <p:nvPr/>
        </p:nvCxnSpPr>
        <p:spPr>
          <a:xfrm>
            <a:off x="4601434" y="1964764"/>
            <a:ext cx="4538823" cy="4849"/>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4" name="Rectangle 73">
            <a:extLst>
              <a:ext uri="{FF2B5EF4-FFF2-40B4-BE49-F238E27FC236}">
                <a16:creationId xmlns:a16="http://schemas.microsoft.com/office/drawing/2014/main" id="{4129F507-36B6-4ED8-867D-DAD02807F79D}"/>
              </a:ext>
            </a:extLst>
          </p:cNvPr>
          <p:cNvSpPr/>
          <p:nvPr/>
        </p:nvSpPr>
        <p:spPr>
          <a:xfrm>
            <a:off x="9140257" y="3310311"/>
            <a:ext cx="1874939" cy="427839"/>
          </a:xfrm>
          <a:prstGeom prst="rect">
            <a:avLst/>
          </a:prstGeom>
          <a:no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     Transport (Ship)</a:t>
            </a:r>
          </a:p>
        </p:txBody>
      </p:sp>
      <p:sp>
        <p:nvSpPr>
          <p:cNvPr id="75" name="Rectangle 74">
            <a:extLst>
              <a:ext uri="{FF2B5EF4-FFF2-40B4-BE49-F238E27FC236}">
                <a16:creationId xmlns:a16="http://schemas.microsoft.com/office/drawing/2014/main" id="{8F944B64-DB3B-4384-BA4F-EDD80F824073}"/>
              </a:ext>
            </a:extLst>
          </p:cNvPr>
          <p:cNvSpPr/>
          <p:nvPr/>
        </p:nvSpPr>
        <p:spPr>
          <a:xfrm>
            <a:off x="9140256" y="4087620"/>
            <a:ext cx="1874939" cy="427839"/>
          </a:xfrm>
          <a:prstGeom prst="rect">
            <a:avLst/>
          </a:prstGeom>
          <a:no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        Distribute (Pipeline)</a:t>
            </a:r>
          </a:p>
        </p:txBody>
      </p:sp>
      <p:cxnSp>
        <p:nvCxnSpPr>
          <p:cNvPr id="77" name="Connector: Elbow 76">
            <a:extLst>
              <a:ext uri="{FF2B5EF4-FFF2-40B4-BE49-F238E27FC236}">
                <a16:creationId xmlns:a16="http://schemas.microsoft.com/office/drawing/2014/main" id="{A253A5D1-2FD2-4F20-9EF2-AB88D1BC55D9}"/>
              </a:ext>
            </a:extLst>
          </p:cNvPr>
          <p:cNvCxnSpPr>
            <a:cxnSpLocks/>
            <a:stCxn id="63" idx="3"/>
            <a:endCxn id="75" idx="1"/>
          </p:cNvCxnSpPr>
          <p:nvPr/>
        </p:nvCxnSpPr>
        <p:spPr>
          <a:xfrm>
            <a:off x="6593819" y="3524231"/>
            <a:ext cx="2546437" cy="777309"/>
          </a:xfrm>
          <a:prstGeom prst="bentConnector3">
            <a:avLst>
              <a:gd name="adj1" fmla="val 50000"/>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24DE26D4-7990-49EB-8FC7-D2E284AF4137}"/>
              </a:ext>
            </a:extLst>
          </p:cNvPr>
          <p:cNvCxnSpPr>
            <a:cxnSpLocks/>
            <a:stCxn id="63" idx="3"/>
            <a:endCxn id="74" idx="1"/>
          </p:cNvCxnSpPr>
          <p:nvPr/>
        </p:nvCxnSpPr>
        <p:spPr>
          <a:xfrm>
            <a:off x="6593819" y="3524231"/>
            <a:ext cx="2546438" cy="0"/>
          </a:xfrm>
          <a:prstGeom prst="straightConnector1">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AA0C1597-88F3-4038-892A-AEA89B36747C}"/>
              </a:ext>
            </a:extLst>
          </p:cNvPr>
          <p:cNvCxnSpPr>
            <a:cxnSpLocks/>
            <a:stCxn id="63" idx="3"/>
            <a:endCxn id="71" idx="1"/>
          </p:cNvCxnSpPr>
          <p:nvPr/>
        </p:nvCxnSpPr>
        <p:spPr>
          <a:xfrm flipV="1">
            <a:off x="6593819" y="2746922"/>
            <a:ext cx="2546439" cy="777309"/>
          </a:xfrm>
          <a:prstGeom prst="bentConnector3">
            <a:avLst>
              <a:gd name="adj1" fmla="val 50000"/>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589060F3-304C-4500-B383-25E7AAA6A14E}"/>
              </a:ext>
            </a:extLst>
          </p:cNvPr>
          <p:cNvSpPr/>
          <p:nvPr/>
        </p:nvSpPr>
        <p:spPr>
          <a:xfrm>
            <a:off x="9197406" y="1815689"/>
            <a:ext cx="330701" cy="298148"/>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2E38"/>
                </a:solidFill>
                <a:effectLst/>
                <a:uLnTx/>
                <a:uFillTx/>
                <a:latin typeface="EYInterstate Light"/>
                <a:ea typeface="+mn-ea"/>
                <a:cs typeface="+mn-cs"/>
              </a:rPr>
              <a:t>CO</a:t>
            </a:r>
            <a:r>
              <a:rPr kumimoji="0" lang="en-US" sz="600" b="0" i="0" u="none" strike="noStrike" kern="1200" cap="none" spc="0" normalizeH="0" baseline="0" noProof="0" dirty="0">
                <a:ln>
                  <a:noFill/>
                </a:ln>
                <a:solidFill>
                  <a:srgbClr val="2E2E38"/>
                </a:solidFill>
                <a:effectLst/>
                <a:uLnTx/>
                <a:uFillTx/>
                <a:latin typeface="EYInterstate Light"/>
                <a:ea typeface="+mn-ea"/>
                <a:cs typeface="+mn-cs"/>
              </a:rPr>
              <a:t>2</a:t>
            </a:r>
          </a:p>
        </p:txBody>
      </p:sp>
      <p:sp>
        <p:nvSpPr>
          <p:cNvPr id="81" name="Oval 80">
            <a:extLst>
              <a:ext uri="{FF2B5EF4-FFF2-40B4-BE49-F238E27FC236}">
                <a16:creationId xmlns:a16="http://schemas.microsoft.com/office/drawing/2014/main" id="{4C444D8F-89F7-406F-861D-D52813706CB2}"/>
              </a:ext>
            </a:extLst>
          </p:cNvPr>
          <p:cNvSpPr/>
          <p:nvPr/>
        </p:nvSpPr>
        <p:spPr>
          <a:xfrm>
            <a:off x="9197405" y="2581395"/>
            <a:ext cx="330702" cy="298148"/>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H</a:t>
            </a:r>
            <a:r>
              <a:rPr kumimoji="0" lang="en-US" sz="600" b="0" i="0" u="none" strike="noStrike" kern="1200" cap="none" spc="0" normalizeH="0" baseline="0" noProof="0" dirty="0">
                <a:ln>
                  <a:noFill/>
                </a:ln>
                <a:solidFill>
                  <a:srgbClr val="2E2E38"/>
                </a:solidFill>
                <a:effectLst/>
                <a:uLnTx/>
                <a:uFillTx/>
                <a:latin typeface="EYInterstate Light"/>
                <a:ea typeface="+mn-ea"/>
                <a:cs typeface="+mn-cs"/>
              </a:rPr>
              <a:t>2</a:t>
            </a:r>
          </a:p>
        </p:txBody>
      </p:sp>
      <p:sp>
        <p:nvSpPr>
          <p:cNvPr id="83" name="Oval 82">
            <a:extLst>
              <a:ext uri="{FF2B5EF4-FFF2-40B4-BE49-F238E27FC236}">
                <a16:creationId xmlns:a16="http://schemas.microsoft.com/office/drawing/2014/main" id="{CAC8EFE7-4588-4696-8E85-4BFDCC6A9941}"/>
              </a:ext>
            </a:extLst>
          </p:cNvPr>
          <p:cNvSpPr/>
          <p:nvPr/>
        </p:nvSpPr>
        <p:spPr>
          <a:xfrm>
            <a:off x="9190657" y="4152464"/>
            <a:ext cx="330702" cy="298148"/>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H</a:t>
            </a:r>
            <a:r>
              <a:rPr kumimoji="0" lang="en-US" sz="600" b="0" i="0" u="none" strike="noStrike" kern="1200" cap="none" spc="0" normalizeH="0" baseline="0" noProof="0" dirty="0">
                <a:ln>
                  <a:noFill/>
                </a:ln>
                <a:solidFill>
                  <a:srgbClr val="2E2E38"/>
                </a:solidFill>
                <a:effectLst/>
                <a:uLnTx/>
                <a:uFillTx/>
                <a:latin typeface="EYInterstate Light"/>
                <a:ea typeface="+mn-ea"/>
                <a:cs typeface="+mn-cs"/>
              </a:rPr>
              <a:t>2</a:t>
            </a:r>
          </a:p>
        </p:txBody>
      </p:sp>
      <p:sp>
        <p:nvSpPr>
          <p:cNvPr id="84" name="Rectangle 83">
            <a:extLst>
              <a:ext uri="{FF2B5EF4-FFF2-40B4-BE49-F238E27FC236}">
                <a16:creationId xmlns:a16="http://schemas.microsoft.com/office/drawing/2014/main" id="{C5282D25-AA40-4CC8-ACEE-E299B5B2E74F}"/>
              </a:ext>
            </a:extLst>
          </p:cNvPr>
          <p:cNvSpPr/>
          <p:nvPr/>
        </p:nvSpPr>
        <p:spPr>
          <a:xfrm>
            <a:off x="10539092" y="352124"/>
            <a:ext cx="653290" cy="193899"/>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2E38"/>
                </a:solidFill>
                <a:effectLst/>
                <a:uLnTx/>
                <a:uFillTx/>
                <a:latin typeface="EYInterstate Light"/>
                <a:ea typeface="+mn-ea"/>
                <a:cs typeface="+mn-cs"/>
              </a:rPr>
              <a:t>Process</a:t>
            </a:r>
          </a:p>
        </p:txBody>
      </p:sp>
      <p:sp>
        <p:nvSpPr>
          <p:cNvPr id="85" name="Rectangle 84">
            <a:extLst>
              <a:ext uri="{FF2B5EF4-FFF2-40B4-BE49-F238E27FC236}">
                <a16:creationId xmlns:a16="http://schemas.microsoft.com/office/drawing/2014/main" id="{8C2517EE-CB4E-44D8-9F98-FF50AC71F46B}"/>
              </a:ext>
            </a:extLst>
          </p:cNvPr>
          <p:cNvSpPr/>
          <p:nvPr/>
        </p:nvSpPr>
        <p:spPr>
          <a:xfrm>
            <a:off x="11375199" y="353463"/>
            <a:ext cx="653290" cy="19389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EYInterstate Light"/>
                <a:ea typeface="+mn-ea"/>
                <a:cs typeface="+mn-cs"/>
              </a:rPr>
              <a:t>Storage</a:t>
            </a:r>
          </a:p>
        </p:txBody>
      </p:sp>
      <p:grpSp>
        <p:nvGrpSpPr>
          <p:cNvPr id="86" name="Group 85">
            <a:extLst>
              <a:ext uri="{FF2B5EF4-FFF2-40B4-BE49-F238E27FC236}">
                <a16:creationId xmlns:a16="http://schemas.microsoft.com/office/drawing/2014/main" id="{D97BF25F-3827-453A-90EB-C65984EB4BE7}"/>
              </a:ext>
            </a:extLst>
          </p:cNvPr>
          <p:cNvGrpSpPr/>
          <p:nvPr/>
        </p:nvGrpSpPr>
        <p:grpSpPr>
          <a:xfrm>
            <a:off x="8788347" y="351757"/>
            <a:ext cx="1023432" cy="154658"/>
            <a:chOff x="7559030" y="5965502"/>
            <a:chExt cx="1023432" cy="154658"/>
          </a:xfrm>
        </p:grpSpPr>
        <p:cxnSp>
          <p:nvCxnSpPr>
            <p:cNvPr id="87" name="Straight Arrow Connector 86">
              <a:extLst>
                <a:ext uri="{FF2B5EF4-FFF2-40B4-BE49-F238E27FC236}">
                  <a16:creationId xmlns:a16="http://schemas.microsoft.com/office/drawing/2014/main" id="{5C716D21-8E33-4A64-BFBF-D43994CEB96E}"/>
                </a:ext>
              </a:extLst>
            </p:cNvPr>
            <p:cNvCxnSpPr>
              <a:cxnSpLocks/>
            </p:cNvCxnSpPr>
            <p:nvPr/>
          </p:nvCxnSpPr>
          <p:spPr>
            <a:xfrm>
              <a:off x="7559030" y="6062451"/>
              <a:ext cx="274353" cy="3297"/>
            </a:xfrm>
            <a:prstGeom prst="straightConnector1">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D3C6A45D-525D-49E2-AB13-39A966627D00}"/>
                </a:ext>
              </a:extLst>
            </p:cNvPr>
            <p:cNvSpPr txBox="1"/>
            <p:nvPr/>
          </p:nvSpPr>
          <p:spPr>
            <a:xfrm>
              <a:off x="7929172" y="5965502"/>
              <a:ext cx="653290" cy="15465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900" b="0" i="0" u="none" strike="noStrike" kern="1200" cap="none" spc="0" normalizeH="0" baseline="0" noProof="0" dirty="0">
                  <a:ln>
                    <a:noFill/>
                  </a:ln>
                  <a:solidFill>
                    <a:prstClr val="white"/>
                  </a:solidFill>
                  <a:effectLst/>
                  <a:uLnTx/>
                  <a:uFillTx/>
                  <a:latin typeface="EYInterstate Light"/>
                  <a:ea typeface="+mn-ea"/>
                  <a:cs typeface="+mn-cs"/>
                </a:rPr>
                <a:t>Liquid</a:t>
              </a:r>
            </a:p>
          </p:txBody>
        </p:sp>
      </p:grpSp>
      <p:grpSp>
        <p:nvGrpSpPr>
          <p:cNvPr id="89" name="Group 88">
            <a:extLst>
              <a:ext uri="{FF2B5EF4-FFF2-40B4-BE49-F238E27FC236}">
                <a16:creationId xmlns:a16="http://schemas.microsoft.com/office/drawing/2014/main" id="{CA0F7F3E-32EF-4E1C-8F02-87B096E7CD34}"/>
              </a:ext>
            </a:extLst>
          </p:cNvPr>
          <p:cNvGrpSpPr/>
          <p:nvPr/>
        </p:nvGrpSpPr>
        <p:grpSpPr>
          <a:xfrm>
            <a:off x="9722472" y="351757"/>
            <a:ext cx="1020855" cy="154658"/>
            <a:chOff x="8500221" y="5972665"/>
            <a:chExt cx="1020855" cy="154658"/>
          </a:xfrm>
        </p:grpSpPr>
        <p:cxnSp>
          <p:nvCxnSpPr>
            <p:cNvPr id="90" name="Straight Arrow Connector 89">
              <a:extLst>
                <a:ext uri="{FF2B5EF4-FFF2-40B4-BE49-F238E27FC236}">
                  <a16:creationId xmlns:a16="http://schemas.microsoft.com/office/drawing/2014/main" id="{E91D03CE-4B19-448A-9E79-0A2193FE23D7}"/>
                </a:ext>
              </a:extLst>
            </p:cNvPr>
            <p:cNvCxnSpPr>
              <a:cxnSpLocks/>
            </p:cNvCxnSpPr>
            <p:nvPr/>
          </p:nvCxnSpPr>
          <p:spPr>
            <a:xfrm>
              <a:off x="8500221" y="6062452"/>
              <a:ext cx="274320" cy="7087"/>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51C27546-779A-4B50-B69F-9D19E3043FEC}"/>
                </a:ext>
              </a:extLst>
            </p:cNvPr>
            <p:cNvSpPr txBox="1"/>
            <p:nvPr/>
          </p:nvSpPr>
          <p:spPr>
            <a:xfrm>
              <a:off x="8867786" y="5972665"/>
              <a:ext cx="653290" cy="15465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900" b="0" i="0" u="none" strike="noStrike" kern="1200" cap="none" spc="0" normalizeH="0" baseline="0" noProof="0" dirty="0">
                  <a:ln>
                    <a:noFill/>
                  </a:ln>
                  <a:solidFill>
                    <a:prstClr val="white"/>
                  </a:solidFill>
                  <a:effectLst/>
                  <a:uLnTx/>
                  <a:uFillTx/>
                  <a:latin typeface="EYInterstate Light"/>
                  <a:ea typeface="+mn-ea"/>
                  <a:cs typeface="+mn-cs"/>
                </a:rPr>
                <a:t>Gas</a:t>
              </a:r>
            </a:p>
          </p:txBody>
        </p:sp>
      </p:grpSp>
      <p:sp>
        <p:nvSpPr>
          <p:cNvPr id="92" name="TextBox 91">
            <a:extLst>
              <a:ext uri="{FF2B5EF4-FFF2-40B4-BE49-F238E27FC236}">
                <a16:creationId xmlns:a16="http://schemas.microsoft.com/office/drawing/2014/main" id="{53AEEDC8-2726-46D2-A862-23B642306C47}"/>
              </a:ext>
            </a:extLst>
          </p:cNvPr>
          <p:cNvSpPr txBox="1"/>
          <p:nvPr/>
        </p:nvSpPr>
        <p:spPr>
          <a:xfrm>
            <a:off x="8788347" y="54064"/>
            <a:ext cx="36195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Key</a:t>
            </a:r>
          </a:p>
        </p:txBody>
      </p:sp>
      <p:cxnSp>
        <p:nvCxnSpPr>
          <p:cNvPr id="93" name="Straight Connector 92">
            <a:extLst>
              <a:ext uri="{FF2B5EF4-FFF2-40B4-BE49-F238E27FC236}">
                <a16:creationId xmlns:a16="http://schemas.microsoft.com/office/drawing/2014/main" id="{B47BE365-F89F-4415-807B-86A30C7A399F}"/>
              </a:ext>
            </a:extLst>
          </p:cNvPr>
          <p:cNvCxnSpPr>
            <a:cxnSpLocks/>
          </p:cNvCxnSpPr>
          <p:nvPr/>
        </p:nvCxnSpPr>
        <p:spPr>
          <a:xfrm flipH="1">
            <a:off x="8792772" y="232620"/>
            <a:ext cx="269928" cy="0"/>
          </a:xfrm>
          <a:prstGeom prst="line">
            <a:avLst/>
          </a:prstGeom>
          <a:ln w="9525">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A0698006-2B35-4FA8-B0E7-8813DDA6F3BE}"/>
              </a:ext>
            </a:extLst>
          </p:cNvPr>
          <p:cNvSpPr/>
          <p:nvPr/>
        </p:nvSpPr>
        <p:spPr>
          <a:xfrm>
            <a:off x="9197405" y="3362987"/>
            <a:ext cx="330702" cy="298148"/>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H</a:t>
            </a:r>
            <a:r>
              <a:rPr kumimoji="0" lang="en-US" sz="600" b="0" i="0" u="none" strike="noStrike" kern="1200" cap="none" spc="0" normalizeH="0" baseline="0" noProof="0" dirty="0">
                <a:ln>
                  <a:noFill/>
                </a:ln>
                <a:solidFill>
                  <a:srgbClr val="2E2E38"/>
                </a:solidFill>
                <a:effectLst/>
                <a:uLnTx/>
                <a:uFillTx/>
                <a:latin typeface="EYInterstate Light"/>
                <a:ea typeface="+mn-ea"/>
                <a:cs typeface="+mn-cs"/>
              </a:rPr>
              <a:t>2</a:t>
            </a:r>
          </a:p>
        </p:txBody>
      </p:sp>
      <p:sp>
        <p:nvSpPr>
          <p:cNvPr id="43" name="TextBox 42">
            <a:extLst>
              <a:ext uri="{FF2B5EF4-FFF2-40B4-BE49-F238E27FC236}">
                <a16:creationId xmlns:a16="http://schemas.microsoft.com/office/drawing/2014/main" id="{67C15723-BE46-42FE-B162-E47CEF668516}"/>
              </a:ext>
            </a:extLst>
          </p:cNvPr>
          <p:cNvSpPr txBox="1"/>
          <p:nvPr/>
        </p:nvSpPr>
        <p:spPr>
          <a:xfrm>
            <a:off x="4987636" y="3931039"/>
            <a:ext cx="2092613" cy="406265"/>
          </a:xfrm>
          <a:prstGeom prst="rect">
            <a:avLst/>
          </a:prstGeom>
          <a:noFill/>
          <a:ln>
            <a:solidFill>
              <a:schemeClr val="tx1">
                <a:lumMod val="20000"/>
                <a:lumOff val="80000"/>
              </a:schemeClr>
            </a:solidFill>
            <a:prstDash val="dash"/>
          </a:ln>
        </p:spPr>
        <p:txBody>
          <a:bodyPr wrap="square" lIns="45720" tIns="45720" rIns="45720" bIns="45720" rtlCol="0">
            <a:spAutoFit/>
          </a:bodyPr>
          <a:lstStyle/>
          <a:p>
            <a:pPr marL="9144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Energy expenditure =  </a:t>
            </a:r>
            <a:br>
              <a:rPr kumimoji="0" lang="en-US" sz="1200" b="0" i="0" u="none" strike="noStrike" kern="1200" cap="none" spc="0" normalizeH="0" baseline="0" noProof="0" dirty="0">
                <a:ln>
                  <a:noFill/>
                </a:ln>
                <a:solidFill>
                  <a:prstClr val="white"/>
                </a:solidFill>
                <a:effectLst/>
                <a:uLnTx/>
                <a:uFillTx/>
                <a:latin typeface="EYInterstate Light"/>
                <a:ea typeface="+mn-ea"/>
                <a:cs typeface="+mn-cs"/>
              </a:rPr>
            </a:b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12.5-15 kWh e/kg</a:t>
            </a:r>
          </a:p>
        </p:txBody>
      </p:sp>
      <p:sp>
        <p:nvSpPr>
          <p:cNvPr id="44" name="Rectangle 43">
            <a:extLst>
              <a:ext uri="{FF2B5EF4-FFF2-40B4-BE49-F238E27FC236}">
                <a16:creationId xmlns:a16="http://schemas.microsoft.com/office/drawing/2014/main" id="{A01C6AD7-14B3-411E-AC39-35586C617B3F}"/>
              </a:ext>
            </a:extLst>
          </p:cNvPr>
          <p:cNvSpPr/>
          <p:nvPr/>
        </p:nvSpPr>
        <p:spPr>
          <a:xfrm>
            <a:off x="5076810" y="4994190"/>
            <a:ext cx="1517009" cy="427839"/>
          </a:xfrm>
          <a:prstGeom prst="rect">
            <a:avLst/>
          </a:prstGeom>
          <a:solidFill>
            <a:schemeClr val="bg1">
              <a:lumMod val="7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Energy</a:t>
            </a:r>
          </a:p>
        </p:txBody>
      </p:sp>
      <p:cxnSp>
        <p:nvCxnSpPr>
          <p:cNvPr id="45" name="Straight Arrow Connector 44">
            <a:extLst>
              <a:ext uri="{FF2B5EF4-FFF2-40B4-BE49-F238E27FC236}">
                <a16:creationId xmlns:a16="http://schemas.microsoft.com/office/drawing/2014/main" id="{42DF7132-E01B-4C8F-BA00-6F2AE403B1A4}"/>
              </a:ext>
            </a:extLst>
          </p:cNvPr>
          <p:cNvCxnSpPr>
            <a:cxnSpLocks/>
          </p:cNvCxnSpPr>
          <p:nvPr/>
        </p:nvCxnSpPr>
        <p:spPr>
          <a:xfrm>
            <a:off x="6870845" y="4450612"/>
            <a:ext cx="0" cy="708128"/>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3FDBCBFB-C4C2-4796-B272-404987B61002}"/>
              </a:ext>
            </a:extLst>
          </p:cNvPr>
          <p:cNvCxnSpPr>
            <a:cxnSpLocks/>
            <a:stCxn id="44" idx="0"/>
          </p:cNvCxnSpPr>
          <p:nvPr/>
        </p:nvCxnSpPr>
        <p:spPr>
          <a:xfrm flipV="1">
            <a:off x="5835315" y="4450612"/>
            <a:ext cx="0" cy="543578"/>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937936E4-D6C2-4287-99FD-7AB444DB2DD8}"/>
              </a:ext>
            </a:extLst>
          </p:cNvPr>
          <p:cNvSpPr/>
          <p:nvPr/>
        </p:nvSpPr>
        <p:spPr>
          <a:xfrm>
            <a:off x="9201214" y="5049699"/>
            <a:ext cx="330701" cy="298148"/>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2E38"/>
                </a:solidFill>
                <a:effectLst/>
                <a:uLnTx/>
                <a:uFillTx/>
                <a:latin typeface="EYInterstate Light"/>
                <a:ea typeface="+mn-ea"/>
                <a:cs typeface="+mn-cs"/>
              </a:rPr>
              <a:t>CO</a:t>
            </a:r>
            <a:r>
              <a:rPr kumimoji="0" lang="en-US" sz="600" b="0" i="0" u="none" strike="noStrike" kern="1200" cap="none" spc="0" normalizeH="0" baseline="0" noProof="0" dirty="0">
                <a:ln>
                  <a:noFill/>
                </a:ln>
                <a:solidFill>
                  <a:srgbClr val="2E2E38"/>
                </a:solidFill>
                <a:effectLst/>
                <a:uLnTx/>
                <a:uFillTx/>
                <a:latin typeface="EYInterstate Light"/>
                <a:ea typeface="+mn-ea"/>
                <a:cs typeface="+mn-cs"/>
              </a:rPr>
              <a:t>2</a:t>
            </a:r>
          </a:p>
        </p:txBody>
      </p:sp>
      <p:sp>
        <p:nvSpPr>
          <p:cNvPr id="49" name="Rectangle 48">
            <a:extLst>
              <a:ext uri="{FF2B5EF4-FFF2-40B4-BE49-F238E27FC236}">
                <a16:creationId xmlns:a16="http://schemas.microsoft.com/office/drawing/2014/main" id="{C595C750-7ECA-4E85-A70A-D8878135266C}"/>
              </a:ext>
            </a:extLst>
          </p:cNvPr>
          <p:cNvSpPr/>
          <p:nvPr/>
        </p:nvSpPr>
        <p:spPr>
          <a:xfrm>
            <a:off x="9140256" y="4984854"/>
            <a:ext cx="1874939" cy="42783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Emissions</a:t>
            </a:r>
          </a:p>
        </p:txBody>
      </p:sp>
      <p:cxnSp>
        <p:nvCxnSpPr>
          <p:cNvPr id="50" name="Straight Arrow Connector 49">
            <a:extLst>
              <a:ext uri="{FF2B5EF4-FFF2-40B4-BE49-F238E27FC236}">
                <a16:creationId xmlns:a16="http://schemas.microsoft.com/office/drawing/2014/main" id="{F36D75A8-EB9D-4786-AC98-1878CDB2A600}"/>
              </a:ext>
            </a:extLst>
          </p:cNvPr>
          <p:cNvCxnSpPr>
            <a:cxnSpLocks/>
            <a:endCxn id="49" idx="1"/>
          </p:cNvCxnSpPr>
          <p:nvPr/>
        </p:nvCxnSpPr>
        <p:spPr>
          <a:xfrm>
            <a:off x="6870845" y="5198774"/>
            <a:ext cx="2269411" cy="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0A46B18A-F1D6-44DB-8BAE-2E99491C30C6}"/>
              </a:ext>
            </a:extLst>
          </p:cNvPr>
          <p:cNvSpPr txBox="1"/>
          <p:nvPr/>
        </p:nvSpPr>
        <p:spPr>
          <a:xfrm>
            <a:off x="9140256" y="5655143"/>
            <a:ext cx="1874939" cy="406265"/>
          </a:xfrm>
          <a:prstGeom prst="rect">
            <a:avLst/>
          </a:prstGeom>
          <a:noFill/>
          <a:ln>
            <a:solidFill>
              <a:schemeClr val="tx1">
                <a:lumMod val="20000"/>
                <a:lumOff val="80000"/>
              </a:schemeClr>
            </a:solidFill>
            <a:prstDash val="dash"/>
          </a:ln>
        </p:spPr>
        <p:txBody>
          <a:bodyPr wrap="square" lIns="45720" tIns="45720" rIns="45720" bIns="45720" rtlCol="0">
            <a:spAutoFit/>
          </a:bodyPr>
          <a:lstStyle/>
          <a:p>
            <a:pPr marL="9144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Carbon intensity=  </a:t>
            </a:r>
            <a:br>
              <a:rPr kumimoji="0" lang="en-US" sz="1200" b="0" i="0" u="none" strike="noStrike" kern="1200" cap="none" spc="0" normalizeH="0" baseline="0" noProof="0" dirty="0">
                <a:ln>
                  <a:noFill/>
                </a:ln>
                <a:solidFill>
                  <a:prstClr val="white"/>
                </a:solidFill>
                <a:effectLst/>
                <a:uLnTx/>
                <a:uFillTx/>
                <a:latin typeface="EYInterstate Light"/>
                <a:ea typeface="+mn-ea"/>
                <a:cs typeface="+mn-cs"/>
              </a:rPr>
            </a:b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14.0 kg CO2e/ GJ H2</a:t>
            </a:r>
          </a:p>
        </p:txBody>
      </p:sp>
      <p:sp>
        <p:nvSpPr>
          <p:cNvPr id="57" name="TextBox 56">
            <a:extLst>
              <a:ext uri="{FF2B5EF4-FFF2-40B4-BE49-F238E27FC236}">
                <a16:creationId xmlns:a16="http://schemas.microsoft.com/office/drawing/2014/main" id="{C6715337-F932-4688-851A-3A44538C0B50}"/>
              </a:ext>
            </a:extLst>
          </p:cNvPr>
          <p:cNvSpPr txBox="1"/>
          <p:nvPr/>
        </p:nvSpPr>
        <p:spPr>
          <a:xfrm>
            <a:off x="4098095" y="1867814"/>
            <a:ext cx="503339"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2 CO</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2</a:t>
            </a:r>
          </a:p>
        </p:txBody>
      </p:sp>
      <p:sp>
        <p:nvSpPr>
          <p:cNvPr id="58" name="TextBox 57">
            <a:extLst>
              <a:ext uri="{FF2B5EF4-FFF2-40B4-BE49-F238E27FC236}">
                <a16:creationId xmlns:a16="http://schemas.microsoft.com/office/drawing/2014/main" id="{018ECAEB-B3C9-4C8E-BEEA-CEFBD72CF259}"/>
              </a:ext>
            </a:extLst>
          </p:cNvPr>
          <p:cNvSpPr txBox="1"/>
          <p:nvPr/>
        </p:nvSpPr>
        <p:spPr>
          <a:xfrm>
            <a:off x="4098095" y="2277566"/>
            <a:ext cx="503339"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4 H</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2</a:t>
            </a:r>
          </a:p>
        </p:txBody>
      </p:sp>
      <p:sp>
        <p:nvSpPr>
          <p:cNvPr id="65" name="TextBox 64">
            <a:extLst>
              <a:ext uri="{FF2B5EF4-FFF2-40B4-BE49-F238E27FC236}">
                <a16:creationId xmlns:a16="http://schemas.microsoft.com/office/drawing/2014/main" id="{5CF53B95-26FA-42DA-AF64-AB21654DE502}"/>
              </a:ext>
            </a:extLst>
          </p:cNvPr>
          <p:cNvSpPr txBox="1"/>
          <p:nvPr/>
        </p:nvSpPr>
        <p:spPr>
          <a:xfrm>
            <a:off x="6781888" y="3296746"/>
            <a:ext cx="65329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2.4 LH</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2</a:t>
            </a:r>
          </a:p>
        </p:txBody>
      </p:sp>
      <p:sp>
        <p:nvSpPr>
          <p:cNvPr id="66" name="TextBox 65">
            <a:extLst>
              <a:ext uri="{FF2B5EF4-FFF2-40B4-BE49-F238E27FC236}">
                <a16:creationId xmlns:a16="http://schemas.microsoft.com/office/drawing/2014/main" id="{C424D5F3-465B-41BF-9598-30E30EF90876}"/>
              </a:ext>
            </a:extLst>
          </p:cNvPr>
          <p:cNvSpPr txBox="1"/>
          <p:nvPr/>
        </p:nvSpPr>
        <p:spPr>
          <a:xfrm>
            <a:off x="764869" y="1873179"/>
            <a:ext cx="503339"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CH</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4</a:t>
            </a:r>
          </a:p>
        </p:txBody>
      </p:sp>
      <p:sp>
        <p:nvSpPr>
          <p:cNvPr id="67" name="TextBox 66">
            <a:extLst>
              <a:ext uri="{FF2B5EF4-FFF2-40B4-BE49-F238E27FC236}">
                <a16:creationId xmlns:a16="http://schemas.microsoft.com/office/drawing/2014/main" id="{2B804F3E-2DF0-43FF-A666-C1E23C473DAF}"/>
              </a:ext>
            </a:extLst>
          </p:cNvPr>
          <p:cNvSpPr txBox="1"/>
          <p:nvPr/>
        </p:nvSpPr>
        <p:spPr>
          <a:xfrm>
            <a:off x="764869" y="2282931"/>
            <a:ext cx="503339"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2 H</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2</a:t>
            </a: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0</a:t>
            </a:r>
          </a:p>
        </p:txBody>
      </p:sp>
      <p:sp>
        <p:nvSpPr>
          <p:cNvPr id="60" name="Footer Placeholder 2">
            <a:extLst>
              <a:ext uri="{FF2B5EF4-FFF2-40B4-BE49-F238E27FC236}">
                <a16:creationId xmlns:a16="http://schemas.microsoft.com/office/drawing/2014/main" id="{CBE681D2-C37C-4452-B413-DD4C5C857979}"/>
              </a:ext>
            </a:extLst>
          </p:cNvPr>
          <p:cNvSpPr txBox="1">
            <a:spLocks/>
          </p:cNvSpPr>
          <p:nvPr/>
        </p:nvSpPr>
        <p:spPr>
          <a:xfrm>
            <a:off x="4553753" y="6471244"/>
            <a:ext cx="3367734" cy="180000"/>
          </a:xfrm>
          <a:prstGeom prst="rect">
            <a:avLst/>
          </a:prstGeom>
        </p:spPr>
        <p:txBody>
          <a:bodyPr/>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Page </a:t>
            </a:r>
            <a:fld id="{F1BC30E3-FFE5-4B91-AA19-87A149EBB9EE}" type="slidenum">
              <a:rPr smtClean="0"/>
              <a:pPr/>
              <a:t>14</a:t>
            </a:fld>
            <a:r>
              <a:rPr lang="en-US" dirty="0"/>
              <a:t> | Draft</a:t>
            </a:r>
          </a:p>
        </p:txBody>
      </p:sp>
    </p:spTree>
    <p:extLst>
      <p:ext uri="{BB962C8B-B14F-4D97-AF65-F5344CB8AC3E}">
        <p14:creationId xmlns:p14="http://schemas.microsoft.com/office/powerpoint/2010/main" val="339288049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a:extLst>
              <a:ext uri="{FF2B5EF4-FFF2-40B4-BE49-F238E27FC236}">
                <a16:creationId xmlns:a16="http://schemas.microsoft.com/office/drawing/2014/main" id="{C14A58FB-9C05-47B2-B33B-81190AE7985E}"/>
              </a:ext>
            </a:extLst>
          </p:cNvPr>
          <p:cNvSpPr txBox="1">
            <a:spLocks/>
          </p:cNvSpPr>
          <p:nvPr/>
        </p:nvSpPr>
        <p:spPr>
          <a:xfrm>
            <a:off x="616900" y="526249"/>
            <a:ext cx="10972800" cy="590550"/>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399" b="1" i="0" u="none" strike="noStrike" kern="1200" cap="none" spc="0" normalizeH="0" baseline="0" noProof="0" dirty="0">
                <a:ln>
                  <a:noFill/>
                </a:ln>
                <a:solidFill>
                  <a:srgbClr val="FFE600"/>
                </a:solidFill>
                <a:effectLst/>
                <a:uLnTx/>
                <a:uFillTx/>
                <a:latin typeface="EYInterstate Light" panose="02000506000000020004" pitchFamily="2" charset="0"/>
                <a:ea typeface="+mj-ea"/>
                <a:cs typeface="Arial" pitchFamily="34" charset="0"/>
              </a:rPr>
              <a:t>Core Demo Personas </a:t>
            </a:r>
          </a:p>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399"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 </a:t>
            </a:r>
          </a:p>
        </p:txBody>
      </p:sp>
      <p:grpSp>
        <p:nvGrpSpPr>
          <p:cNvPr id="14" name="Group 13">
            <a:extLst>
              <a:ext uri="{FF2B5EF4-FFF2-40B4-BE49-F238E27FC236}">
                <a16:creationId xmlns:a16="http://schemas.microsoft.com/office/drawing/2014/main" id="{DF8D86CF-DBC0-4110-8B43-11A64A8ED47D}"/>
              </a:ext>
            </a:extLst>
          </p:cNvPr>
          <p:cNvGrpSpPr/>
          <p:nvPr/>
        </p:nvGrpSpPr>
        <p:grpSpPr>
          <a:xfrm>
            <a:off x="1786218" y="1592598"/>
            <a:ext cx="1963517" cy="2256524"/>
            <a:chOff x="1393677" y="1105800"/>
            <a:chExt cx="1963517" cy="2256524"/>
          </a:xfrm>
        </p:grpSpPr>
        <p:sp>
          <p:nvSpPr>
            <p:cNvPr id="12" name="Title 1">
              <a:extLst>
                <a:ext uri="{FF2B5EF4-FFF2-40B4-BE49-F238E27FC236}">
                  <a16:creationId xmlns:a16="http://schemas.microsoft.com/office/drawing/2014/main" id="{35933E85-2561-4E8B-BE81-5E2A09619F5D}"/>
                </a:ext>
              </a:extLst>
            </p:cNvPr>
            <p:cNvSpPr txBox="1">
              <a:spLocks/>
            </p:cNvSpPr>
            <p:nvPr/>
          </p:nvSpPr>
          <p:spPr>
            <a:xfrm>
              <a:off x="1393677" y="2536929"/>
              <a:ext cx="1963517" cy="825395"/>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ctr" defTabSz="913943"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Executive </a:t>
              </a:r>
              <a:br>
                <a:rPr kumimoji="0" lang="en-US" sz="1800" b="1"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br>
              <a:r>
                <a:rPr kumimoji="0" lang="en-US" sz="1800" b="1" i="0" u="none" strike="noStrike" kern="1200" cap="none" spc="0" normalizeH="0" baseline="0" noProof="0" dirty="0">
                  <a:ln>
                    <a:noFill/>
                  </a:ln>
                  <a:solidFill>
                    <a:srgbClr val="FFE600"/>
                  </a:solidFill>
                  <a:effectLst/>
                  <a:uLnTx/>
                  <a:uFillTx/>
                  <a:latin typeface="EYInterstate Light" panose="02000506000000020004" pitchFamily="2" charset="0"/>
                  <a:ea typeface="+mj-ea"/>
                  <a:cs typeface="Arial" pitchFamily="34" charset="0"/>
                </a:rPr>
                <a:t>Darnell Tyson</a:t>
              </a:r>
            </a:p>
            <a:p>
              <a:pPr marL="0" marR="0" lvl="0" indent="0" algn="ctr" defTabSz="913943"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CEO </a:t>
              </a:r>
            </a:p>
          </p:txBody>
        </p:sp>
        <p:pic>
          <p:nvPicPr>
            <p:cNvPr id="29" name="Picture 28" descr="A person sitting at a table with a computer&#10;&#10;Description automatically generated with medium confidence">
              <a:extLst>
                <a:ext uri="{FF2B5EF4-FFF2-40B4-BE49-F238E27FC236}">
                  <a16:creationId xmlns:a16="http://schemas.microsoft.com/office/drawing/2014/main" id="{B3262EAA-D8EC-4C2C-874B-D8EFA91A9A9D}"/>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523900" y="1105800"/>
              <a:ext cx="1720098" cy="135941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grpSp>
        <p:nvGrpSpPr>
          <p:cNvPr id="35" name="Group 34">
            <a:extLst>
              <a:ext uri="{FF2B5EF4-FFF2-40B4-BE49-F238E27FC236}">
                <a16:creationId xmlns:a16="http://schemas.microsoft.com/office/drawing/2014/main" id="{08B549AD-F9D7-435C-8F72-604914BCA3F7}"/>
              </a:ext>
            </a:extLst>
          </p:cNvPr>
          <p:cNvGrpSpPr/>
          <p:nvPr/>
        </p:nvGrpSpPr>
        <p:grpSpPr>
          <a:xfrm>
            <a:off x="5023015" y="1592598"/>
            <a:ext cx="2127100" cy="2245525"/>
            <a:chOff x="4912496" y="1116799"/>
            <a:chExt cx="2127100" cy="2245525"/>
          </a:xfrm>
        </p:grpSpPr>
        <p:sp>
          <p:nvSpPr>
            <p:cNvPr id="16" name="Title 1">
              <a:extLst>
                <a:ext uri="{FF2B5EF4-FFF2-40B4-BE49-F238E27FC236}">
                  <a16:creationId xmlns:a16="http://schemas.microsoft.com/office/drawing/2014/main" id="{561403EA-4C6D-47FD-B49E-4D0411B6E51F}"/>
                </a:ext>
              </a:extLst>
            </p:cNvPr>
            <p:cNvSpPr txBox="1">
              <a:spLocks/>
            </p:cNvSpPr>
            <p:nvPr/>
          </p:nvSpPr>
          <p:spPr>
            <a:xfrm>
              <a:off x="4912496" y="2536929"/>
              <a:ext cx="2127100" cy="825395"/>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ctr" defTabSz="913943"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Modeler</a:t>
              </a:r>
            </a:p>
            <a:p>
              <a:pPr marL="0" marR="0" lvl="0" indent="0" algn="ctr" defTabSz="913943"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FFE600"/>
                  </a:solidFill>
                  <a:effectLst/>
                  <a:uLnTx/>
                  <a:uFillTx/>
                  <a:latin typeface="EYInterstate Light" panose="02000506000000020004" pitchFamily="2" charset="0"/>
                  <a:ea typeface="+mj-ea"/>
                  <a:cs typeface="Arial" pitchFamily="34" charset="0"/>
                </a:rPr>
                <a:t>Jazmine Hernandez </a:t>
              </a:r>
            </a:p>
            <a:p>
              <a:pPr marL="0" marR="0" lvl="0" indent="0" algn="ctr" defTabSz="913943"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Chemical Engineer</a:t>
              </a:r>
            </a:p>
          </p:txBody>
        </p:sp>
        <p:pic>
          <p:nvPicPr>
            <p:cNvPr id="30" name="Picture 29" descr="A picture containing person&#10;&#10;Description automatically generated">
              <a:extLst>
                <a:ext uri="{FF2B5EF4-FFF2-40B4-BE49-F238E27FC236}">
                  <a16:creationId xmlns:a16="http://schemas.microsoft.com/office/drawing/2014/main" id="{F0067DD3-A924-46CD-863A-C9EFE0093E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53086" y="1116799"/>
              <a:ext cx="1645920" cy="136441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grpSp>
        <p:nvGrpSpPr>
          <p:cNvPr id="23" name="Group 22">
            <a:extLst>
              <a:ext uri="{FF2B5EF4-FFF2-40B4-BE49-F238E27FC236}">
                <a16:creationId xmlns:a16="http://schemas.microsoft.com/office/drawing/2014/main" id="{DDD9B350-BB4C-438E-B340-9715B9FAEE90}"/>
              </a:ext>
            </a:extLst>
          </p:cNvPr>
          <p:cNvGrpSpPr/>
          <p:nvPr/>
        </p:nvGrpSpPr>
        <p:grpSpPr>
          <a:xfrm>
            <a:off x="8424036" y="1592598"/>
            <a:ext cx="2071677" cy="2245525"/>
            <a:chOff x="8404655" y="1116799"/>
            <a:chExt cx="2071677" cy="2245525"/>
          </a:xfrm>
        </p:grpSpPr>
        <p:sp>
          <p:nvSpPr>
            <p:cNvPr id="17" name="Title 1">
              <a:extLst>
                <a:ext uri="{FF2B5EF4-FFF2-40B4-BE49-F238E27FC236}">
                  <a16:creationId xmlns:a16="http://schemas.microsoft.com/office/drawing/2014/main" id="{778D8415-3D17-497B-AD03-3D3E0A9C6311}"/>
                </a:ext>
              </a:extLst>
            </p:cNvPr>
            <p:cNvSpPr txBox="1">
              <a:spLocks/>
            </p:cNvSpPr>
            <p:nvPr/>
          </p:nvSpPr>
          <p:spPr>
            <a:xfrm>
              <a:off x="8404655" y="2536929"/>
              <a:ext cx="2071677" cy="825395"/>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ctr" defTabSz="913943"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Operations</a:t>
              </a:r>
              <a:br>
                <a:rPr kumimoji="0" lang="en-US" sz="1800" b="1"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br>
              <a:r>
                <a:rPr kumimoji="0" lang="en-US" sz="1800" b="1" i="0" u="none" strike="noStrike" kern="1200" cap="none" spc="0" normalizeH="0" baseline="0" noProof="0" dirty="0">
                  <a:ln>
                    <a:noFill/>
                  </a:ln>
                  <a:solidFill>
                    <a:srgbClr val="FFE600"/>
                  </a:solidFill>
                  <a:effectLst/>
                  <a:uLnTx/>
                  <a:uFillTx/>
                  <a:latin typeface="EYInterstate Light" panose="02000506000000020004" pitchFamily="2" charset="0"/>
                  <a:ea typeface="+mj-ea"/>
                  <a:cs typeface="Arial" pitchFamily="34" charset="0"/>
                </a:rPr>
                <a:t>Han Tao </a:t>
              </a:r>
            </a:p>
            <a:p>
              <a:pPr marL="0" marR="0" lvl="0" indent="0" algn="ctr" defTabSz="913943"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Plant Manager</a:t>
              </a:r>
            </a:p>
          </p:txBody>
        </p:sp>
        <p:pic>
          <p:nvPicPr>
            <p:cNvPr id="31" name="Picture 30">
              <a:extLst>
                <a:ext uri="{FF2B5EF4-FFF2-40B4-BE49-F238E27FC236}">
                  <a16:creationId xmlns:a16="http://schemas.microsoft.com/office/drawing/2014/main" id="{C8EA953F-97AE-4E07-BD88-F42D2D01DF8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8617533" y="1116799"/>
              <a:ext cx="1645920" cy="131447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pic>
        <p:nvPicPr>
          <p:cNvPr id="42" name="Picture 41">
            <a:extLst>
              <a:ext uri="{FF2B5EF4-FFF2-40B4-BE49-F238E27FC236}">
                <a16:creationId xmlns:a16="http://schemas.microsoft.com/office/drawing/2014/main" id="{DCB3B6D3-7716-4B8C-961C-744F0F0EFB0C}"/>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0476332" y="50450"/>
            <a:ext cx="1676366" cy="1045059"/>
          </a:xfrm>
          <a:prstGeom prst="rect">
            <a:avLst/>
          </a:prstGeom>
        </p:spPr>
      </p:pic>
      <p:grpSp>
        <p:nvGrpSpPr>
          <p:cNvPr id="55" name="Group 54">
            <a:extLst>
              <a:ext uri="{FF2B5EF4-FFF2-40B4-BE49-F238E27FC236}">
                <a16:creationId xmlns:a16="http://schemas.microsoft.com/office/drawing/2014/main" id="{1C2EAE84-8E9D-4864-8D96-D6BFBC611C55}"/>
              </a:ext>
            </a:extLst>
          </p:cNvPr>
          <p:cNvGrpSpPr/>
          <p:nvPr/>
        </p:nvGrpSpPr>
        <p:grpSpPr>
          <a:xfrm>
            <a:off x="330736" y="4370838"/>
            <a:ext cx="11182764" cy="1675508"/>
            <a:chOff x="330736" y="4370838"/>
            <a:chExt cx="11182764" cy="1675508"/>
          </a:xfrm>
        </p:grpSpPr>
        <p:pic>
          <p:nvPicPr>
            <p:cNvPr id="10" name="Graphic 9" descr="Ecommerce with solid fill">
              <a:extLst>
                <a:ext uri="{FF2B5EF4-FFF2-40B4-BE49-F238E27FC236}">
                  <a16:creationId xmlns:a16="http://schemas.microsoft.com/office/drawing/2014/main" id="{5521804A-03F2-41CA-86FF-2477AD605EE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057894" y="4528344"/>
              <a:ext cx="418438" cy="418438"/>
            </a:xfrm>
            <a:prstGeom prst="rect">
              <a:avLst/>
            </a:prstGeom>
          </p:spPr>
        </p:pic>
        <p:grpSp>
          <p:nvGrpSpPr>
            <p:cNvPr id="51" name="Group 50">
              <a:extLst>
                <a:ext uri="{FF2B5EF4-FFF2-40B4-BE49-F238E27FC236}">
                  <a16:creationId xmlns:a16="http://schemas.microsoft.com/office/drawing/2014/main" id="{A87F36EB-04C0-4E24-8881-7CC26A875A38}"/>
                </a:ext>
              </a:extLst>
            </p:cNvPr>
            <p:cNvGrpSpPr/>
            <p:nvPr/>
          </p:nvGrpSpPr>
          <p:grpSpPr>
            <a:xfrm>
              <a:off x="3833943" y="4370838"/>
              <a:ext cx="1373023" cy="1675508"/>
              <a:chOff x="3833943" y="4370838"/>
              <a:chExt cx="1373023" cy="1675508"/>
            </a:xfrm>
          </p:grpSpPr>
          <p:sp>
            <p:nvSpPr>
              <p:cNvPr id="19" name="Title 1">
                <a:extLst>
                  <a:ext uri="{FF2B5EF4-FFF2-40B4-BE49-F238E27FC236}">
                    <a16:creationId xmlns:a16="http://schemas.microsoft.com/office/drawing/2014/main" id="{0FC08840-ED41-46B0-B09F-0B547758C7FA}"/>
                  </a:ext>
                </a:extLst>
              </p:cNvPr>
              <p:cNvSpPr txBox="1">
                <a:spLocks/>
              </p:cNvSpPr>
              <p:nvPr/>
            </p:nvSpPr>
            <p:spPr>
              <a:xfrm>
                <a:off x="3833943" y="5455796"/>
                <a:ext cx="1373023" cy="590550"/>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Tax persona</a:t>
                </a:r>
              </a:p>
            </p:txBody>
          </p:sp>
          <p:pic>
            <p:nvPicPr>
              <p:cNvPr id="28" name="Graphic 27" descr="Judge female outline">
                <a:extLst>
                  <a:ext uri="{FF2B5EF4-FFF2-40B4-BE49-F238E27FC236}">
                    <a16:creationId xmlns:a16="http://schemas.microsoft.com/office/drawing/2014/main" id="{3D6B2F74-7600-47EB-B7A6-26F7EF87B1C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63254" y="4370838"/>
                <a:ext cx="914400" cy="914400"/>
              </a:xfrm>
              <a:prstGeom prst="rect">
                <a:avLst/>
              </a:prstGeom>
            </p:spPr>
          </p:pic>
        </p:grpSp>
        <p:sp>
          <p:nvSpPr>
            <p:cNvPr id="18" name="Title 1">
              <a:extLst>
                <a:ext uri="{FF2B5EF4-FFF2-40B4-BE49-F238E27FC236}">
                  <a16:creationId xmlns:a16="http://schemas.microsoft.com/office/drawing/2014/main" id="{26024371-9F46-4CF2-94C0-3FA209ABC7D6}"/>
                </a:ext>
              </a:extLst>
            </p:cNvPr>
            <p:cNvSpPr txBox="1">
              <a:spLocks/>
            </p:cNvSpPr>
            <p:nvPr/>
          </p:nvSpPr>
          <p:spPr>
            <a:xfrm>
              <a:off x="330736" y="5455796"/>
              <a:ext cx="2260064" cy="590550"/>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ctr" defTabSz="913943" rtl="0" eaLnBrk="1" fontAlgn="auto" latinLnBrk="0" hangingPunct="1">
                <a:lnSpc>
                  <a:spcPct val="85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Business intelligence</a:t>
              </a:r>
            </a:p>
          </p:txBody>
        </p:sp>
        <p:pic>
          <p:nvPicPr>
            <p:cNvPr id="7" name="Graphic 6" descr="Classroom outline">
              <a:extLst>
                <a:ext uri="{FF2B5EF4-FFF2-40B4-BE49-F238E27FC236}">
                  <a16:creationId xmlns:a16="http://schemas.microsoft.com/office/drawing/2014/main" id="{BE5CC7AA-366E-456C-AAAF-B7846C20AFB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03568" y="4370838"/>
              <a:ext cx="914400" cy="914400"/>
            </a:xfrm>
            <a:prstGeom prst="rect">
              <a:avLst/>
            </a:prstGeom>
          </p:spPr>
        </p:pic>
        <p:pic>
          <p:nvPicPr>
            <p:cNvPr id="46" name="Graphic 45" descr="Supply And Demand outline">
              <a:extLst>
                <a:ext uri="{FF2B5EF4-FFF2-40B4-BE49-F238E27FC236}">
                  <a16:creationId xmlns:a16="http://schemas.microsoft.com/office/drawing/2014/main" id="{31A2C3E7-B66C-4DC8-B70E-89D3C3B503D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55726" y="4474022"/>
              <a:ext cx="293540" cy="293540"/>
            </a:xfrm>
            <a:prstGeom prst="rect">
              <a:avLst/>
            </a:prstGeom>
          </p:spPr>
        </p:pic>
        <p:grpSp>
          <p:nvGrpSpPr>
            <p:cNvPr id="50" name="Group 49">
              <a:extLst>
                <a:ext uri="{FF2B5EF4-FFF2-40B4-BE49-F238E27FC236}">
                  <a16:creationId xmlns:a16="http://schemas.microsoft.com/office/drawing/2014/main" id="{9A9E4E6C-10CC-4656-99FA-D7C80B73BD27}"/>
                </a:ext>
              </a:extLst>
            </p:cNvPr>
            <p:cNvGrpSpPr/>
            <p:nvPr/>
          </p:nvGrpSpPr>
          <p:grpSpPr>
            <a:xfrm>
              <a:off x="6450109" y="4370838"/>
              <a:ext cx="1800431" cy="1675508"/>
              <a:chOff x="6450109" y="4370838"/>
              <a:chExt cx="1800431" cy="1675508"/>
            </a:xfrm>
          </p:grpSpPr>
          <p:sp>
            <p:nvSpPr>
              <p:cNvPr id="20" name="Title 1">
                <a:extLst>
                  <a:ext uri="{FF2B5EF4-FFF2-40B4-BE49-F238E27FC236}">
                    <a16:creationId xmlns:a16="http://schemas.microsoft.com/office/drawing/2014/main" id="{DAFBA0B6-6B98-45B3-8E8D-085C63B99427}"/>
                  </a:ext>
                </a:extLst>
              </p:cNvPr>
              <p:cNvSpPr txBox="1">
                <a:spLocks/>
              </p:cNvSpPr>
              <p:nvPr/>
            </p:nvSpPr>
            <p:spPr>
              <a:xfrm>
                <a:off x="6450109" y="5455796"/>
                <a:ext cx="1800431" cy="590550"/>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Finance persona</a:t>
                </a:r>
              </a:p>
            </p:txBody>
          </p:sp>
          <p:grpSp>
            <p:nvGrpSpPr>
              <p:cNvPr id="45" name="Group 44">
                <a:extLst>
                  <a:ext uri="{FF2B5EF4-FFF2-40B4-BE49-F238E27FC236}">
                    <a16:creationId xmlns:a16="http://schemas.microsoft.com/office/drawing/2014/main" id="{7874C6FF-7B0F-461C-B66D-5F7EB379D607}"/>
                  </a:ext>
                </a:extLst>
              </p:cNvPr>
              <p:cNvGrpSpPr/>
              <p:nvPr/>
            </p:nvGrpSpPr>
            <p:grpSpPr>
              <a:xfrm>
                <a:off x="6788433" y="4370838"/>
                <a:ext cx="1123782" cy="914400"/>
                <a:chOff x="6485323" y="4439926"/>
                <a:chExt cx="1123782" cy="914400"/>
              </a:xfrm>
            </p:grpSpPr>
            <p:pic>
              <p:nvPicPr>
                <p:cNvPr id="32" name="Graphic 31" descr="Office worker female outline">
                  <a:extLst>
                    <a:ext uri="{FF2B5EF4-FFF2-40B4-BE49-F238E27FC236}">
                      <a16:creationId xmlns:a16="http://schemas.microsoft.com/office/drawing/2014/main" id="{0389D18C-BA7B-4AA1-9CE6-CEF341CE63D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694705" y="4439926"/>
                  <a:ext cx="914400" cy="914400"/>
                </a:xfrm>
                <a:prstGeom prst="rect">
                  <a:avLst/>
                </a:prstGeom>
              </p:spPr>
            </p:pic>
            <p:pic>
              <p:nvPicPr>
                <p:cNvPr id="48" name="Graphic 47" descr="Calculator outline">
                  <a:extLst>
                    <a:ext uri="{FF2B5EF4-FFF2-40B4-BE49-F238E27FC236}">
                      <a16:creationId xmlns:a16="http://schemas.microsoft.com/office/drawing/2014/main" id="{9F2FB2A2-4A7A-4200-8531-5C84A033F4D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485323" y="4793147"/>
                  <a:ext cx="459709" cy="459709"/>
                </a:xfrm>
                <a:prstGeom prst="rect">
                  <a:avLst/>
                </a:prstGeom>
              </p:spPr>
            </p:pic>
          </p:grpSp>
        </p:grpSp>
        <p:sp>
          <p:nvSpPr>
            <p:cNvPr id="24" name="Title 1">
              <a:extLst>
                <a:ext uri="{FF2B5EF4-FFF2-40B4-BE49-F238E27FC236}">
                  <a16:creationId xmlns:a16="http://schemas.microsoft.com/office/drawing/2014/main" id="{37981A7F-1915-4C1D-92E4-877D927F6F71}"/>
                </a:ext>
              </a:extLst>
            </p:cNvPr>
            <p:cNvSpPr txBox="1">
              <a:spLocks/>
            </p:cNvSpPr>
            <p:nvPr/>
          </p:nvSpPr>
          <p:spPr>
            <a:xfrm>
              <a:off x="9493683" y="5455796"/>
              <a:ext cx="2019817" cy="590550"/>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Customer persona</a:t>
              </a:r>
            </a:p>
          </p:txBody>
        </p:sp>
        <p:pic>
          <p:nvPicPr>
            <p:cNvPr id="54" name="Graphic 53" descr="Office worker female outline">
              <a:extLst>
                <a:ext uri="{FF2B5EF4-FFF2-40B4-BE49-F238E27FC236}">
                  <a16:creationId xmlns:a16="http://schemas.microsoft.com/office/drawing/2014/main" id="{FD754AD7-6F78-499B-9043-A7F7FEE346A2}"/>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046391" y="4370838"/>
              <a:ext cx="914400" cy="914400"/>
            </a:xfrm>
            <a:prstGeom prst="rect">
              <a:avLst/>
            </a:prstGeom>
          </p:spPr>
        </p:pic>
      </p:grpSp>
      <p:sp>
        <p:nvSpPr>
          <p:cNvPr id="33" name="Footer Placeholder 2">
            <a:extLst>
              <a:ext uri="{FF2B5EF4-FFF2-40B4-BE49-F238E27FC236}">
                <a16:creationId xmlns:a16="http://schemas.microsoft.com/office/drawing/2014/main" id="{A04C0831-74AE-465D-9DBB-2D13E54CC164}"/>
              </a:ext>
            </a:extLst>
          </p:cNvPr>
          <p:cNvSpPr txBox="1">
            <a:spLocks/>
          </p:cNvSpPr>
          <p:nvPr/>
        </p:nvSpPr>
        <p:spPr>
          <a:xfrm>
            <a:off x="4553753" y="6471244"/>
            <a:ext cx="3367734" cy="180000"/>
          </a:xfrm>
          <a:prstGeom prst="rect">
            <a:avLst/>
          </a:prstGeom>
        </p:spPr>
        <p:txBody>
          <a:bodyPr/>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Page </a:t>
            </a:r>
            <a:fld id="{F1BC30E3-FFE5-4B91-AA19-87A149EBB9EE}" type="slidenum">
              <a:rPr smtClean="0"/>
              <a:pPr/>
              <a:t>15</a:t>
            </a:fld>
            <a:r>
              <a:rPr lang="en-US" dirty="0"/>
              <a:t> | Draft</a:t>
            </a:r>
          </a:p>
        </p:txBody>
      </p:sp>
    </p:spTree>
    <p:extLst>
      <p:ext uri="{BB962C8B-B14F-4D97-AF65-F5344CB8AC3E}">
        <p14:creationId xmlns:p14="http://schemas.microsoft.com/office/powerpoint/2010/main" val="3536415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wipe(left)">
                                      <p:cBhvr>
                                        <p:cTn id="7" dur="10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Office worker male outline">
            <a:extLst>
              <a:ext uri="{FF2B5EF4-FFF2-40B4-BE49-F238E27FC236}">
                <a16:creationId xmlns:a16="http://schemas.microsoft.com/office/drawing/2014/main" id="{88EF2814-52F8-4F7E-835C-1C994073AD5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8480" y="261002"/>
            <a:ext cx="590550" cy="590550"/>
          </a:xfrm>
          <a:prstGeom prst="rect">
            <a:avLst/>
          </a:prstGeom>
        </p:spPr>
      </p:pic>
      <p:sp>
        <p:nvSpPr>
          <p:cNvPr id="12" name="Title 1">
            <a:extLst>
              <a:ext uri="{FF2B5EF4-FFF2-40B4-BE49-F238E27FC236}">
                <a16:creationId xmlns:a16="http://schemas.microsoft.com/office/drawing/2014/main" id="{35933E85-2561-4E8B-BE81-5E2A09619F5D}"/>
              </a:ext>
            </a:extLst>
          </p:cNvPr>
          <p:cNvSpPr txBox="1">
            <a:spLocks/>
          </p:cNvSpPr>
          <p:nvPr/>
        </p:nvSpPr>
        <p:spPr>
          <a:xfrm>
            <a:off x="1635174" y="525116"/>
            <a:ext cx="9954525" cy="590550"/>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399" b="1" i="0" u="none" strike="noStrike" kern="1200" cap="none" spc="0" normalizeH="0" baseline="0" noProof="0" dirty="0">
                <a:ln>
                  <a:noFill/>
                </a:ln>
                <a:solidFill>
                  <a:srgbClr val="FFE600"/>
                </a:solidFill>
                <a:effectLst/>
                <a:uLnTx/>
                <a:uFillTx/>
                <a:latin typeface="EYInterstate Light" panose="02000506000000020004" pitchFamily="2" charset="0"/>
                <a:ea typeface="+mj-ea"/>
                <a:cs typeface="Arial" pitchFamily="34" charset="0"/>
              </a:rPr>
              <a:t>    Darnell Tyson</a:t>
            </a:r>
          </a:p>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399" b="1"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    </a:t>
            </a:r>
            <a:r>
              <a:rPr kumimoji="0" lang="en-US" sz="1800" b="1"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CEO of Dublin Energy </a:t>
            </a:r>
            <a:endParaRPr kumimoji="0" lang="en-US" sz="2399" b="1"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14" name="TextBox 13">
            <a:extLst>
              <a:ext uri="{FF2B5EF4-FFF2-40B4-BE49-F238E27FC236}">
                <a16:creationId xmlns:a16="http://schemas.microsoft.com/office/drawing/2014/main" id="{0EE1B608-9443-4340-8714-1ED99886DEAD}"/>
              </a:ext>
            </a:extLst>
          </p:cNvPr>
          <p:cNvSpPr txBox="1"/>
          <p:nvPr/>
        </p:nvSpPr>
        <p:spPr>
          <a:xfrm>
            <a:off x="521584" y="1680531"/>
            <a:ext cx="5318391" cy="473975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e role of an executive is to establish periodic sustainability and performance goals, analyze how operations compare to goals and provide direction for future initiativ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rPr>
              <a:t>Key concerns:</a:t>
            </a:r>
            <a:endParaRPr kumimoji="0" lang="en-US" sz="1400" b="0"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endParaRPr>
          </a:p>
          <a:p>
            <a:pPr marL="457200" marR="0" lvl="1" indent="-356438" algn="l" defTabSz="914400" rtl="0" eaLnBrk="1" fontAlgn="auto" latinLnBrk="0" hangingPunct="1">
              <a:lnSpc>
                <a:spcPct val="100000"/>
              </a:lnSpc>
              <a:spcBef>
                <a:spcPts val="0"/>
              </a:spcBef>
              <a:spcAft>
                <a:spcPts val="1200"/>
              </a:spcAft>
              <a:buClr>
                <a:srgbClr val="FFE600"/>
              </a:buClr>
              <a:buSzPct val="110000"/>
              <a:buFont typeface="EYInterstate Light" panose="02000506000000020004" pitchFamily="2"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Provide a high-level review of progress towards goals. </a:t>
            </a:r>
          </a:p>
          <a:p>
            <a:pPr marL="457200" marR="0" lvl="1" indent="-356438" algn="l" defTabSz="914400" rtl="0" eaLnBrk="1" fontAlgn="auto" latinLnBrk="0" hangingPunct="1">
              <a:lnSpc>
                <a:spcPct val="100000"/>
              </a:lnSpc>
              <a:spcBef>
                <a:spcPts val="0"/>
              </a:spcBef>
              <a:spcAft>
                <a:spcPts val="1200"/>
              </a:spcAft>
              <a:buClr>
                <a:srgbClr val="FFE600"/>
              </a:buClr>
              <a:buSzPct val="110000"/>
              <a:buFont typeface="EYInterstate Light" panose="02000506000000020004" pitchFamily="2"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Where are we today? Are we on track? What do we need to change in order to reach our goals for this month/year? </a:t>
            </a:r>
          </a:p>
          <a:p>
            <a:pPr marL="457200" marR="0" lvl="1" indent="-356438" algn="l" defTabSz="914400" rtl="0" eaLnBrk="1" fontAlgn="auto" latinLnBrk="0" hangingPunct="1">
              <a:lnSpc>
                <a:spcPct val="100000"/>
              </a:lnSpc>
              <a:spcBef>
                <a:spcPts val="0"/>
              </a:spcBef>
              <a:spcAft>
                <a:spcPts val="1200"/>
              </a:spcAft>
              <a:buClr>
                <a:srgbClr val="FFE600"/>
              </a:buClr>
              <a:buSzPct val="110000"/>
              <a:buFont typeface="EYInterstate Light" panose="02000506000000020004" pitchFamily="2"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Where can we invest more capital to produce cleaner energy and capture carbon?</a:t>
            </a:r>
          </a:p>
          <a:p>
            <a:pPr marL="457200" marR="0" lvl="1" indent="-356438" algn="l" defTabSz="914400" rtl="0" eaLnBrk="1" fontAlgn="auto" latinLnBrk="0" hangingPunct="1">
              <a:lnSpc>
                <a:spcPct val="100000"/>
              </a:lnSpc>
              <a:spcBef>
                <a:spcPts val="0"/>
              </a:spcBef>
              <a:spcAft>
                <a:spcPts val="1200"/>
              </a:spcAft>
              <a:buClr>
                <a:srgbClr val="FFE600"/>
              </a:buClr>
              <a:buSzPct val="110000"/>
              <a:buFont typeface="EYInterstate Light" panose="02000506000000020004" pitchFamily="2"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In reviewing key sustainability metrics, where should we prioritize our capital and attention to increase revenue?</a:t>
            </a:r>
            <a:b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br>
            <a:endPar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FFE600"/>
                </a:solidFill>
                <a:effectLst/>
                <a:uLnTx/>
                <a:uFillTx/>
                <a:latin typeface="EYInterstate Light"/>
                <a:ea typeface="+mn-ea"/>
                <a:cs typeface="+mn-cs"/>
              </a:rPr>
              <a:t>Key activities includ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Monitoring goal progress across all value chains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Approving modeler requests to update value chains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Providing details reports to other executives </a:t>
            </a:r>
          </a:p>
        </p:txBody>
      </p:sp>
      <p:pic>
        <p:nvPicPr>
          <p:cNvPr id="4" name="Picture 3">
            <a:extLst>
              <a:ext uri="{FF2B5EF4-FFF2-40B4-BE49-F238E27FC236}">
                <a16:creationId xmlns:a16="http://schemas.microsoft.com/office/drawing/2014/main" id="{5C5C0DBD-ECA9-4F6C-8237-B983BB93CA2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590248" y="1967222"/>
            <a:ext cx="5394783" cy="3508264"/>
          </a:xfrm>
          <a:prstGeom prst="rect">
            <a:avLst/>
          </a:prstGeom>
        </p:spPr>
      </p:pic>
      <p:sp>
        <p:nvSpPr>
          <p:cNvPr id="13" name="TextBox 12">
            <a:extLst>
              <a:ext uri="{FF2B5EF4-FFF2-40B4-BE49-F238E27FC236}">
                <a16:creationId xmlns:a16="http://schemas.microsoft.com/office/drawing/2014/main" id="{E4D9D473-469C-488C-BDC2-A68C39E5CA45}"/>
              </a:ext>
            </a:extLst>
          </p:cNvPr>
          <p:cNvSpPr txBox="1"/>
          <p:nvPr/>
        </p:nvSpPr>
        <p:spPr>
          <a:xfrm>
            <a:off x="9940706" y="-9038"/>
            <a:ext cx="2252802" cy="3693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lumMod val="50000"/>
                    <a:lumOff val="50000"/>
                  </a:srgbClr>
                </a:solidFill>
                <a:effectLst/>
                <a:uLnTx/>
                <a:uFillTx/>
                <a:latin typeface="EYInterstate Light"/>
                <a:ea typeface="+mn-ea"/>
                <a:cs typeface="+mn-cs"/>
              </a:rPr>
              <a:t>Executive Persona </a:t>
            </a:r>
          </a:p>
        </p:txBody>
      </p:sp>
      <p:pic>
        <p:nvPicPr>
          <p:cNvPr id="16" name="Picture 15" descr="A person sitting at a table with a computer&#10;&#10;Description automatically generated with medium confidence">
            <a:extLst>
              <a:ext uri="{FF2B5EF4-FFF2-40B4-BE49-F238E27FC236}">
                <a16:creationId xmlns:a16="http://schemas.microsoft.com/office/drawing/2014/main" id="{15580D7B-7886-450B-ABFA-04245330DD0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99663" y="175628"/>
            <a:ext cx="1571987" cy="124235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9" name="Footer Placeholder 2">
            <a:extLst>
              <a:ext uri="{FF2B5EF4-FFF2-40B4-BE49-F238E27FC236}">
                <a16:creationId xmlns:a16="http://schemas.microsoft.com/office/drawing/2014/main" id="{0D518B39-29AC-4412-B657-43224E46E9A3}"/>
              </a:ext>
            </a:extLst>
          </p:cNvPr>
          <p:cNvSpPr txBox="1">
            <a:spLocks/>
          </p:cNvSpPr>
          <p:nvPr/>
        </p:nvSpPr>
        <p:spPr>
          <a:xfrm>
            <a:off x="4553753" y="6471244"/>
            <a:ext cx="3367734" cy="180000"/>
          </a:xfrm>
          <a:prstGeom prst="rect">
            <a:avLst/>
          </a:prstGeom>
        </p:spPr>
        <p:txBody>
          <a:bodyPr/>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Page </a:t>
            </a:r>
            <a:fld id="{F1BC30E3-FFE5-4B91-AA19-87A149EBB9EE}" type="slidenum">
              <a:rPr smtClean="0"/>
              <a:pPr/>
              <a:t>16</a:t>
            </a:fld>
            <a:r>
              <a:rPr lang="en-US" dirty="0"/>
              <a:t> | Draft</a:t>
            </a:r>
          </a:p>
        </p:txBody>
      </p:sp>
    </p:spTree>
    <p:extLst>
      <p:ext uri="{BB962C8B-B14F-4D97-AF65-F5344CB8AC3E}">
        <p14:creationId xmlns:p14="http://schemas.microsoft.com/office/powerpoint/2010/main" val="290455699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C876C195-666F-4E3C-9ADA-C7A6741E2F72}"/>
              </a:ext>
            </a:extLst>
          </p:cNvPr>
          <p:cNvSpPr txBox="1"/>
          <p:nvPr/>
        </p:nvSpPr>
        <p:spPr>
          <a:xfrm>
            <a:off x="530271" y="1692404"/>
            <a:ext cx="5337129" cy="46012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e role of a modeler is to identify and create models around new value chain opportunities to capture energy and drive additional revenue</a:t>
            </a:r>
            <a:endParaRPr kumimoji="0" lang="en-US" sz="1400" b="1"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FFE600"/>
                </a:solidFill>
                <a:effectLst/>
                <a:uLnTx/>
                <a:uFillTx/>
                <a:latin typeface="EYInterstate Light"/>
                <a:ea typeface="+mn-ea"/>
                <a:cs typeface="+mn-cs"/>
              </a:rPr>
              <a:t>Key concerns:</a:t>
            </a:r>
          </a:p>
          <a:p>
            <a:pPr marL="457200" marR="0" lvl="1" indent="-356438" algn="l" defTabSz="914400" rtl="0" eaLnBrk="1" fontAlgn="auto" latinLnBrk="0" hangingPunct="1">
              <a:lnSpc>
                <a:spcPct val="100000"/>
              </a:lnSpc>
              <a:spcBef>
                <a:spcPts val="0"/>
              </a:spcBef>
              <a:spcAft>
                <a:spcPts val="1800"/>
              </a:spcAft>
              <a:buClr>
                <a:srgbClr val="FFE600"/>
              </a:buClr>
              <a:buSzPct val="110000"/>
              <a:buFont typeface="EYInterstate Light" panose="02000506000000020004" pitchFamily="2"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Where can I find opportunities in the value chain to generate additional revenue for the company?</a:t>
            </a:r>
          </a:p>
          <a:p>
            <a:pPr marL="457200" marR="0" lvl="1" indent="-356438" algn="l" defTabSz="914400" rtl="0" eaLnBrk="1" fontAlgn="auto" latinLnBrk="0" hangingPunct="1">
              <a:lnSpc>
                <a:spcPct val="100000"/>
              </a:lnSpc>
              <a:spcBef>
                <a:spcPts val="0"/>
              </a:spcBef>
              <a:spcAft>
                <a:spcPts val="1800"/>
              </a:spcAft>
              <a:buClr>
                <a:srgbClr val="FFE600"/>
              </a:buClr>
              <a:buSzPct val="110000"/>
              <a:buFont typeface="EYInterstate Light" panose="02000506000000020004" pitchFamily="2"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How can I work to continuously improve the sustainability of the value chain across related operations?</a:t>
            </a:r>
          </a:p>
          <a:p>
            <a:pPr marL="457200" marR="0" lvl="1" indent="-356438" algn="l" defTabSz="914400" rtl="0" eaLnBrk="1" fontAlgn="auto" latinLnBrk="0" hangingPunct="1">
              <a:lnSpc>
                <a:spcPct val="100000"/>
              </a:lnSpc>
              <a:spcBef>
                <a:spcPts val="0"/>
              </a:spcBef>
              <a:spcAft>
                <a:spcPts val="1800"/>
              </a:spcAft>
              <a:buClr>
                <a:srgbClr val="FFE600"/>
              </a:buClr>
              <a:buSzPct val="110000"/>
              <a:buFont typeface="EYInterstate Light" panose="02000506000000020004" pitchFamily="2"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How can I easily edit models as opportunities are identified and transition model additions to operations for scheduling?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FFE600"/>
                </a:solidFill>
                <a:effectLst/>
                <a:uLnTx/>
                <a:uFillTx/>
                <a:latin typeface="EYInterstate Light"/>
                <a:ea typeface="+mn-ea"/>
                <a:cs typeface="+mn-cs"/>
              </a:rPr>
              <a:t>Key activities includ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Building the model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Model maintenance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Advising on new projects </a:t>
            </a:r>
          </a:p>
        </p:txBody>
      </p:sp>
      <p:sp>
        <p:nvSpPr>
          <p:cNvPr id="14" name="Title 1">
            <a:extLst>
              <a:ext uri="{FF2B5EF4-FFF2-40B4-BE49-F238E27FC236}">
                <a16:creationId xmlns:a16="http://schemas.microsoft.com/office/drawing/2014/main" id="{181C999C-73A6-4661-94D2-8FB9A0293C7A}"/>
              </a:ext>
            </a:extLst>
          </p:cNvPr>
          <p:cNvSpPr txBox="1">
            <a:spLocks/>
          </p:cNvSpPr>
          <p:nvPr/>
        </p:nvSpPr>
        <p:spPr>
          <a:xfrm>
            <a:off x="1527018" y="525116"/>
            <a:ext cx="10062681" cy="590550"/>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399" b="1" i="0" u="none" strike="noStrike" kern="1200" cap="none" spc="0" normalizeH="0" baseline="0" noProof="0" dirty="0">
                <a:ln>
                  <a:noFill/>
                </a:ln>
                <a:solidFill>
                  <a:srgbClr val="FFE600"/>
                </a:solidFill>
                <a:effectLst/>
                <a:uLnTx/>
                <a:uFillTx/>
                <a:latin typeface="EYInterstate Light" panose="02000506000000020004" pitchFamily="2" charset="0"/>
                <a:ea typeface="+mj-ea"/>
                <a:cs typeface="Arial" pitchFamily="34" charset="0"/>
              </a:rPr>
              <a:t>     Jasmin Hernandez</a:t>
            </a:r>
          </a:p>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399" b="1" i="0" u="none" strike="noStrike" kern="1200" cap="none" spc="0" normalizeH="0" baseline="0" noProof="0" dirty="0">
                <a:ln>
                  <a:noFill/>
                </a:ln>
                <a:solidFill>
                  <a:srgbClr val="FFE600"/>
                </a:solidFill>
                <a:effectLst/>
                <a:uLnTx/>
                <a:uFillTx/>
                <a:latin typeface="EYInterstate Light" panose="02000506000000020004" pitchFamily="2" charset="0"/>
                <a:ea typeface="+mj-ea"/>
                <a:cs typeface="Arial" pitchFamily="34" charset="0"/>
              </a:rPr>
              <a:t> </a:t>
            </a:r>
            <a:r>
              <a:rPr kumimoji="0" lang="en-US" sz="2399" b="1"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    </a:t>
            </a:r>
            <a:r>
              <a:rPr kumimoji="0" lang="en-US" sz="1800" b="1"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Chemical Engineer at Dublin Energy</a:t>
            </a:r>
            <a:endParaRPr kumimoji="0" lang="en-US" sz="2399" b="1"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pic>
        <p:nvPicPr>
          <p:cNvPr id="4" name="Graphic 3" descr="Programmer male outline">
            <a:extLst>
              <a:ext uri="{FF2B5EF4-FFF2-40B4-BE49-F238E27FC236}">
                <a16:creationId xmlns:a16="http://schemas.microsoft.com/office/drawing/2014/main" id="{BA56FA25-249D-4463-A179-3ACFE21796E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0272" y="229841"/>
            <a:ext cx="590550" cy="590550"/>
          </a:xfrm>
          <a:prstGeom prst="rect">
            <a:avLst/>
          </a:prstGeom>
        </p:spPr>
      </p:pic>
      <p:pic>
        <p:nvPicPr>
          <p:cNvPr id="7" name="Picture 6">
            <a:extLst>
              <a:ext uri="{FF2B5EF4-FFF2-40B4-BE49-F238E27FC236}">
                <a16:creationId xmlns:a16="http://schemas.microsoft.com/office/drawing/2014/main" id="{69B09D20-8F67-4AA5-BE0D-304AE532DB7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978011" y="443996"/>
            <a:ext cx="4173398" cy="2677637"/>
          </a:xfrm>
          <a:prstGeom prst="rect">
            <a:avLst/>
          </a:prstGeom>
        </p:spPr>
      </p:pic>
      <p:pic>
        <p:nvPicPr>
          <p:cNvPr id="15" name="Picture 14">
            <a:extLst>
              <a:ext uri="{FF2B5EF4-FFF2-40B4-BE49-F238E27FC236}">
                <a16:creationId xmlns:a16="http://schemas.microsoft.com/office/drawing/2014/main" id="{29437A11-BA43-44F9-BE76-57DB7856641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978010" y="3385469"/>
            <a:ext cx="4199906" cy="2624615"/>
          </a:xfrm>
          <a:prstGeom prst="rect">
            <a:avLst/>
          </a:prstGeom>
        </p:spPr>
      </p:pic>
      <p:sp>
        <p:nvSpPr>
          <p:cNvPr id="16" name="TextBox 15">
            <a:extLst>
              <a:ext uri="{FF2B5EF4-FFF2-40B4-BE49-F238E27FC236}">
                <a16:creationId xmlns:a16="http://schemas.microsoft.com/office/drawing/2014/main" id="{07D3528F-48EE-4867-B76B-09A38F685A27}"/>
              </a:ext>
            </a:extLst>
          </p:cNvPr>
          <p:cNvSpPr txBox="1"/>
          <p:nvPr/>
        </p:nvSpPr>
        <p:spPr>
          <a:xfrm>
            <a:off x="10148934" y="-9038"/>
            <a:ext cx="2044573" cy="3693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lumMod val="50000"/>
                    <a:lumOff val="50000"/>
                  </a:srgbClr>
                </a:solidFill>
                <a:effectLst/>
                <a:uLnTx/>
                <a:uFillTx/>
                <a:latin typeface="EYInterstate Light"/>
                <a:ea typeface="+mn-ea"/>
                <a:cs typeface="+mn-cs"/>
              </a:rPr>
              <a:t>Modeler</a:t>
            </a:r>
            <a:r>
              <a:rPr kumimoji="0" lang="en-US" sz="1800" b="1" i="0" u="none" strike="noStrike" kern="1200" cap="none" spc="0" normalizeH="0" baseline="0" noProof="0" dirty="0">
                <a:ln>
                  <a:noFill/>
                </a:ln>
                <a:solidFill>
                  <a:srgbClr val="FFE600"/>
                </a:solidFill>
                <a:effectLst/>
                <a:uLnTx/>
                <a:uFillTx/>
                <a:latin typeface="EYInterstate Light"/>
                <a:ea typeface="+mn-ea"/>
                <a:cs typeface="+mn-cs"/>
              </a:rPr>
              <a:t> </a:t>
            </a:r>
            <a:r>
              <a:rPr kumimoji="0" lang="en-US" sz="1800" b="1" i="0" u="none" strike="noStrike" kern="1200" cap="none" spc="0" normalizeH="0" baseline="0" noProof="0" dirty="0">
                <a:ln>
                  <a:noFill/>
                </a:ln>
                <a:solidFill>
                  <a:srgbClr val="000000">
                    <a:lumMod val="50000"/>
                    <a:lumOff val="50000"/>
                  </a:srgbClr>
                </a:solidFill>
                <a:effectLst/>
                <a:uLnTx/>
                <a:uFillTx/>
                <a:latin typeface="EYInterstate Light"/>
                <a:ea typeface="+mn-ea"/>
                <a:cs typeface="+mn-cs"/>
              </a:rPr>
              <a:t>Persona</a:t>
            </a:r>
            <a:r>
              <a:rPr kumimoji="0" lang="en-US" sz="1800" b="1" i="0" u="none" strike="noStrike" kern="1200" cap="none" spc="0" normalizeH="0" baseline="0" noProof="0" dirty="0">
                <a:ln>
                  <a:noFill/>
                </a:ln>
                <a:solidFill>
                  <a:srgbClr val="FFE600"/>
                </a:solidFill>
                <a:effectLst/>
                <a:uLnTx/>
                <a:uFillTx/>
                <a:latin typeface="EYInterstate Light"/>
                <a:ea typeface="+mn-ea"/>
                <a:cs typeface="+mn-cs"/>
              </a:rPr>
              <a:t> </a:t>
            </a:r>
          </a:p>
        </p:txBody>
      </p:sp>
      <p:pic>
        <p:nvPicPr>
          <p:cNvPr id="10" name="Picture 9" descr="A picture containing person&#10;&#10;Description automatically generated">
            <a:extLst>
              <a:ext uri="{FF2B5EF4-FFF2-40B4-BE49-F238E27FC236}">
                <a16:creationId xmlns:a16="http://schemas.microsoft.com/office/drawing/2014/main" id="{0E9F75EE-F5A1-4765-8BD7-141A6722540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3823" y="143235"/>
            <a:ext cx="1539251" cy="127599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2" name="Footer Placeholder 2">
            <a:extLst>
              <a:ext uri="{FF2B5EF4-FFF2-40B4-BE49-F238E27FC236}">
                <a16:creationId xmlns:a16="http://schemas.microsoft.com/office/drawing/2014/main" id="{704403D0-1253-4E39-9868-19FE5FA49A8A}"/>
              </a:ext>
            </a:extLst>
          </p:cNvPr>
          <p:cNvSpPr txBox="1">
            <a:spLocks/>
          </p:cNvSpPr>
          <p:nvPr/>
        </p:nvSpPr>
        <p:spPr>
          <a:xfrm>
            <a:off x="4553753" y="6471244"/>
            <a:ext cx="3367734" cy="180000"/>
          </a:xfrm>
          <a:prstGeom prst="rect">
            <a:avLst/>
          </a:prstGeom>
        </p:spPr>
        <p:txBody>
          <a:bodyPr/>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Page </a:t>
            </a:r>
            <a:fld id="{F1BC30E3-FFE5-4B91-AA19-87A149EBB9EE}" type="slidenum">
              <a:rPr smtClean="0"/>
              <a:pPr/>
              <a:t>17</a:t>
            </a:fld>
            <a:r>
              <a:rPr lang="en-US" dirty="0"/>
              <a:t> | Draft</a:t>
            </a:r>
          </a:p>
        </p:txBody>
      </p:sp>
    </p:spTree>
    <p:extLst>
      <p:ext uri="{BB962C8B-B14F-4D97-AF65-F5344CB8AC3E}">
        <p14:creationId xmlns:p14="http://schemas.microsoft.com/office/powerpoint/2010/main" val="31644572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D17D9309-0999-4DAF-A506-22FC9C9407ED}"/>
              </a:ext>
            </a:extLst>
          </p:cNvPr>
          <p:cNvSpPr txBox="1">
            <a:spLocks/>
          </p:cNvSpPr>
          <p:nvPr/>
        </p:nvSpPr>
        <p:spPr>
          <a:xfrm>
            <a:off x="1647824" y="501403"/>
            <a:ext cx="9941875" cy="590550"/>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399" b="1" i="0" u="none" strike="noStrike" kern="1200" cap="none" spc="0" normalizeH="0" baseline="0" noProof="0" dirty="0">
                <a:ln>
                  <a:noFill/>
                </a:ln>
                <a:solidFill>
                  <a:srgbClr val="FFE600"/>
                </a:solidFill>
                <a:effectLst/>
                <a:uLnTx/>
                <a:uFillTx/>
                <a:latin typeface="EYInterstate Light" panose="02000506000000020004" pitchFamily="2" charset="0"/>
                <a:ea typeface="+mj-ea"/>
                <a:cs typeface="Arial" pitchFamily="34" charset="0"/>
              </a:rPr>
              <a:t>    Han Tao</a:t>
            </a:r>
          </a:p>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      Plant Manager at Dublin Energy </a:t>
            </a:r>
            <a:r>
              <a:rPr kumimoji="0" lang="en-US" sz="2399" b="1"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 </a:t>
            </a:r>
          </a:p>
          <a:p>
            <a:pPr marL="0" marR="0" lvl="0" indent="0" algn="l" defTabSz="913943" rtl="0" eaLnBrk="1" fontAlgn="auto" latinLnBrk="0" hangingPunct="1">
              <a:lnSpc>
                <a:spcPct val="85000"/>
              </a:lnSpc>
              <a:spcBef>
                <a:spcPct val="0"/>
              </a:spcBef>
              <a:spcAft>
                <a:spcPts val="0"/>
              </a:spcAft>
              <a:buClrTx/>
              <a:buSzTx/>
              <a:buFontTx/>
              <a:buNone/>
              <a:tabLst/>
              <a:defRPr/>
            </a:pPr>
            <a:endParaRPr kumimoji="0" lang="en-US" sz="2399" b="1" i="0" u="none" strike="noStrike" kern="1200" cap="none" spc="0" normalizeH="0" baseline="0" noProof="0" dirty="0">
              <a:ln>
                <a:noFill/>
              </a:ln>
              <a:solidFill>
                <a:srgbClr val="FFE600"/>
              </a:solidFill>
              <a:effectLst/>
              <a:uLnTx/>
              <a:uFillTx/>
              <a:latin typeface="EYInterstate Light" panose="02000506000000020004" pitchFamily="2" charset="0"/>
              <a:ea typeface="+mj-ea"/>
              <a:cs typeface="Arial" pitchFamily="34" charset="0"/>
            </a:endParaRPr>
          </a:p>
        </p:txBody>
      </p:sp>
      <p:sp>
        <p:nvSpPr>
          <p:cNvPr id="18" name="TextBox 17">
            <a:extLst>
              <a:ext uri="{FF2B5EF4-FFF2-40B4-BE49-F238E27FC236}">
                <a16:creationId xmlns:a16="http://schemas.microsoft.com/office/drawing/2014/main" id="{29941C61-FC49-4DC8-9407-1F45150D53FE}"/>
              </a:ext>
            </a:extLst>
          </p:cNvPr>
          <p:cNvSpPr txBox="1"/>
          <p:nvPr/>
        </p:nvSpPr>
        <p:spPr>
          <a:xfrm>
            <a:off x="530106" y="1692891"/>
            <a:ext cx="5362059" cy="501675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e role of operations is to have oversight over the asset(s),  identifying potential issues, promoting resource efficiency, as well as inputting &amp; tracking operational 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FFE600"/>
                </a:solidFill>
                <a:effectLst/>
                <a:uLnTx/>
                <a:uFillTx/>
                <a:latin typeface="EYInterstate Light"/>
                <a:ea typeface="+mn-ea"/>
                <a:cs typeface="+mn-cs"/>
              </a:rPr>
              <a:t>Key concerns:</a:t>
            </a:r>
            <a:endParaRPr kumimoji="0" lang="en-US" sz="1400" b="0"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endParaRPr>
          </a:p>
          <a:p>
            <a:pPr marL="457200" marR="0" lvl="1" indent="-356438" algn="l" defTabSz="914400" rtl="0" eaLnBrk="1" fontAlgn="auto" latinLnBrk="0" hangingPunct="1">
              <a:lnSpc>
                <a:spcPct val="100000"/>
              </a:lnSpc>
              <a:spcBef>
                <a:spcPts val="0"/>
              </a:spcBef>
              <a:spcAft>
                <a:spcPts val="1200"/>
              </a:spcAft>
              <a:buClr>
                <a:srgbClr val="FFE600"/>
              </a:buClr>
              <a:buSzPct val="110000"/>
              <a:buFont typeface="EYInterstate Light" panose="02000506000000020004" pitchFamily="2"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How can I easily update schedules to promote resource efficiency across the value chains?</a:t>
            </a:r>
          </a:p>
          <a:p>
            <a:pPr marL="457200" marR="0" lvl="1" indent="-356438" algn="l" defTabSz="914400" rtl="0" eaLnBrk="1" fontAlgn="auto" latinLnBrk="0" hangingPunct="1">
              <a:lnSpc>
                <a:spcPct val="100000"/>
              </a:lnSpc>
              <a:spcBef>
                <a:spcPts val="0"/>
              </a:spcBef>
              <a:spcAft>
                <a:spcPts val="1200"/>
              </a:spcAft>
              <a:buClr>
                <a:srgbClr val="FFE600"/>
              </a:buClr>
              <a:buSzPct val="110000"/>
              <a:buFont typeface="EYInterstate Light" panose="02000506000000020004" pitchFamily="2"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How might I review existing models then add or update the operational data to ensure proper forecasting for executive decision making? </a:t>
            </a:r>
          </a:p>
          <a:p>
            <a:pPr marL="457200" marR="0" lvl="1" indent="-356438" algn="l" defTabSz="914400" rtl="0" eaLnBrk="1" fontAlgn="auto" latinLnBrk="0" hangingPunct="1">
              <a:lnSpc>
                <a:spcPct val="100000"/>
              </a:lnSpc>
              <a:spcBef>
                <a:spcPts val="0"/>
              </a:spcBef>
              <a:spcAft>
                <a:spcPts val="1200"/>
              </a:spcAft>
              <a:buClr>
                <a:srgbClr val="FFE600"/>
              </a:buClr>
              <a:buSzPct val="110000"/>
              <a:buFont typeface="EYInterstate Light" panose="02000506000000020004" pitchFamily="2"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How can I understand, at a molecular level, that we have what we need to satisfy the assets where our sustainable value chain processes have been implemented?  </a:t>
            </a:r>
            <a:b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br>
            <a:endPar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FFE600"/>
                </a:solidFill>
                <a:effectLst/>
                <a:uLnTx/>
                <a:uFillTx/>
                <a:latin typeface="EYInterstate Light"/>
                <a:ea typeface="+mn-ea"/>
                <a:cs typeface="+mn-cs"/>
              </a:rPr>
              <a:t>Key activities include:</a:t>
            </a:r>
          </a:p>
          <a:p>
            <a:pPr marL="342900" marR="0" lvl="0" indent="-342900" algn="l" defTabSz="914400" rtl="0" eaLnBrk="1" fontAlgn="ctr"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Monitoring schedules and activities</a:t>
            </a:r>
          </a:p>
          <a:p>
            <a:pPr marL="342900" marR="0" lvl="0" indent="-342900" algn="l" defTabSz="914400" rtl="0" eaLnBrk="1" fontAlgn="ctr"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rack and update operational data points - update forecasts </a:t>
            </a:r>
          </a:p>
          <a:p>
            <a:pPr marL="342900" marR="0" lvl="0" indent="-342900" algn="l" defTabSz="914400" rtl="0" eaLnBrk="1" fontAlgn="ctr"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Improve revenue within current value chains </a:t>
            </a:r>
            <a:b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b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or suggest new projects for additional revenue</a:t>
            </a:r>
          </a:p>
        </p:txBody>
      </p:sp>
      <p:pic>
        <p:nvPicPr>
          <p:cNvPr id="4" name="Picture 3">
            <a:extLst>
              <a:ext uri="{FF2B5EF4-FFF2-40B4-BE49-F238E27FC236}">
                <a16:creationId xmlns:a16="http://schemas.microsoft.com/office/drawing/2014/main" id="{3BF95B1A-E68C-4B46-A464-9C1AE1A0FFD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862300" y="701013"/>
            <a:ext cx="4452130" cy="3056789"/>
          </a:xfrm>
          <a:prstGeom prst="rect">
            <a:avLst/>
          </a:prstGeom>
        </p:spPr>
      </p:pic>
      <p:pic>
        <p:nvPicPr>
          <p:cNvPr id="5" name="Picture 4">
            <a:extLst>
              <a:ext uri="{FF2B5EF4-FFF2-40B4-BE49-F238E27FC236}">
                <a16:creationId xmlns:a16="http://schemas.microsoft.com/office/drawing/2014/main" id="{692DE700-6F9F-4C0D-B5D7-082FDB16B50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862302" y="4021086"/>
            <a:ext cx="4452130" cy="2110258"/>
          </a:xfrm>
          <a:prstGeom prst="rect">
            <a:avLst/>
          </a:prstGeom>
        </p:spPr>
      </p:pic>
      <p:sp>
        <p:nvSpPr>
          <p:cNvPr id="10" name="TextBox 9">
            <a:extLst>
              <a:ext uri="{FF2B5EF4-FFF2-40B4-BE49-F238E27FC236}">
                <a16:creationId xmlns:a16="http://schemas.microsoft.com/office/drawing/2014/main" id="{275555B2-986D-4A91-AA3B-90A5ABF35DAD}"/>
              </a:ext>
            </a:extLst>
          </p:cNvPr>
          <p:cNvSpPr txBox="1"/>
          <p:nvPr/>
        </p:nvSpPr>
        <p:spPr>
          <a:xfrm>
            <a:off x="9750582" y="-9038"/>
            <a:ext cx="2442925" cy="3693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lumMod val="50000"/>
                    <a:lumOff val="50000"/>
                  </a:srgbClr>
                </a:solidFill>
                <a:effectLst/>
                <a:uLnTx/>
                <a:uFillTx/>
                <a:latin typeface="EYInterstate Light"/>
                <a:ea typeface="+mn-ea"/>
                <a:cs typeface="+mn-cs"/>
              </a:rPr>
              <a:t>Operations Persona </a:t>
            </a:r>
          </a:p>
        </p:txBody>
      </p:sp>
      <p:pic>
        <p:nvPicPr>
          <p:cNvPr id="31" name="Picture 30">
            <a:extLst>
              <a:ext uri="{FF2B5EF4-FFF2-40B4-BE49-F238E27FC236}">
                <a16:creationId xmlns:a16="http://schemas.microsoft.com/office/drawing/2014/main" id="{CAD55927-50E9-4DAB-B957-200E1676E12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222094" y="160684"/>
            <a:ext cx="1524366" cy="12174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9" name="Footer Placeholder 2">
            <a:extLst>
              <a:ext uri="{FF2B5EF4-FFF2-40B4-BE49-F238E27FC236}">
                <a16:creationId xmlns:a16="http://schemas.microsoft.com/office/drawing/2014/main" id="{F7E1669A-59EF-4050-BDAF-26D6916F8152}"/>
              </a:ext>
            </a:extLst>
          </p:cNvPr>
          <p:cNvSpPr txBox="1">
            <a:spLocks/>
          </p:cNvSpPr>
          <p:nvPr/>
        </p:nvSpPr>
        <p:spPr>
          <a:xfrm>
            <a:off x="4553753" y="6471244"/>
            <a:ext cx="3367734" cy="180000"/>
          </a:xfrm>
          <a:prstGeom prst="rect">
            <a:avLst/>
          </a:prstGeom>
        </p:spPr>
        <p:txBody>
          <a:bodyPr/>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Page </a:t>
            </a:r>
            <a:fld id="{F1BC30E3-FFE5-4B91-AA19-87A149EBB9EE}" type="slidenum">
              <a:rPr smtClean="0"/>
              <a:pPr/>
              <a:t>18</a:t>
            </a:fld>
            <a:r>
              <a:rPr lang="en-US" dirty="0"/>
              <a:t> | Draft</a:t>
            </a:r>
          </a:p>
        </p:txBody>
      </p:sp>
    </p:spTree>
    <p:extLst>
      <p:ext uri="{BB962C8B-B14F-4D97-AF65-F5344CB8AC3E}">
        <p14:creationId xmlns:p14="http://schemas.microsoft.com/office/powerpoint/2010/main" val="130389407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32837-C628-4C9E-AFEC-24B2ECB5C412}"/>
              </a:ext>
            </a:extLst>
          </p:cNvPr>
          <p:cNvSpPr>
            <a:spLocks noGrp="1"/>
          </p:cNvSpPr>
          <p:nvPr>
            <p:ph type="title"/>
          </p:nvPr>
        </p:nvSpPr>
        <p:spPr>
          <a:xfrm>
            <a:off x="5456234" y="3133800"/>
            <a:ext cx="1279532" cy="590400"/>
          </a:xfrm>
        </p:spPr>
        <p:txBody>
          <a:bodyPr/>
          <a:lstStyle/>
          <a:p>
            <a:r>
              <a:rPr lang="en-US" sz="4000" b="1" dirty="0">
                <a:solidFill>
                  <a:schemeClr val="tx2"/>
                </a:solidFill>
              </a:rPr>
              <a:t>Q&amp;A</a:t>
            </a:r>
          </a:p>
        </p:txBody>
      </p:sp>
      <p:sp>
        <p:nvSpPr>
          <p:cNvPr id="4" name="Footer Placeholder 2">
            <a:extLst>
              <a:ext uri="{FF2B5EF4-FFF2-40B4-BE49-F238E27FC236}">
                <a16:creationId xmlns:a16="http://schemas.microsoft.com/office/drawing/2014/main" id="{A71FB741-33AB-4273-AF05-E35BF21728A1}"/>
              </a:ext>
            </a:extLst>
          </p:cNvPr>
          <p:cNvSpPr txBox="1">
            <a:spLocks/>
          </p:cNvSpPr>
          <p:nvPr/>
        </p:nvSpPr>
        <p:spPr>
          <a:xfrm>
            <a:off x="4553753" y="6471244"/>
            <a:ext cx="3367734" cy="180000"/>
          </a:xfrm>
          <a:prstGeom prst="rect">
            <a:avLst/>
          </a:prstGeom>
        </p:spPr>
        <p:txBody>
          <a:bodyPr/>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Page </a:t>
            </a:r>
            <a:fld id="{F1BC30E3-FFE5-4B91-AA19-87A149EBB9EE}" type="slidenum">
              <a:rPr smtClean="0"/>
              <a:pPr/>
              <a:t>19</a:t>
            </a:fld>
            <a:r>
              <a:rPr lang="en-US" dirty="0"/>
              <a:t> | Draft</a:t>
            </a:r>
          </a:p>
        </p:txBody>
      </p:sp>
    </p:spTree>
    <p:extLst>
      <p:ext uri="{BB962C8B-B14F-4D97-AF65-F5344CB8AC3E}">
        <p14:creationId xmlns:p14="http://schemas.microsoft.com/office/powerpoint/2010/main" val="21732828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43B78D0C-EF91-4D2B-B7F5-81FC46B116BC}"/>
              </a:ext>
            </a:extLst>
          </p:cNvPr>
          <p:cNvCxnSpPr>
            <a:cxnSpLocks/>
          </p:cNvCxnSpPr>
          <p:nvPr/>
        </p:nvCxnSpPr>
        <p:spPr>
          <a:xfrm>
            <a:off x="616900" y="900062"/>
            <a:ext cx="2072302" cy="0"/>
          </a:xfrm>
          <a:prstGeom prst="line">
            <a:avLst/>
          </a:prstGeom>
          <a:ln w="9525">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34" name="Content Placeholder 5">
            <a:extLst>
              <a:ext uri="{FF2B5EF4-FFF2-40B4-BE49-F238E27FC236}">
                <a16:creationId xmlns:a16="http://schemas.microsoft.com/office/drawing/2014/main" id="{3859A571-4024-4F6B-861E-89448CD5021A}"/>
              </a:ext>
            </a:extLst>
          </p:cNvPr>
          <p:cNvSpPr txBox="1">
            <a:spLocks/>
          </p:cNvSpPr>
          <p:nvPr/>
        </p:nvSpPr>
        <p:spPr>
          <a:xfrm>
            <a:off x="483827" y="1374897"/>
            <a:ext cx="5117937" cy="4742976"/>
          </a:xfrm>
          <a:prstGeom prst="rect">
            <a:avLst/>
          </a:prstGeom>
        </p:spPr>
        <p:txBody>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Hydrogen is viewed as a </a:t>
            </a:r>
            <a:r>
              <a:rPr kumimoji="0" lang="en-US" sz="1600" b="0"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rPr>
              <a:t>key</a:t>
            </a: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 energy carrier in the world’s </a:t>
            </a:r>
            <a:r>
              <a:rPr kumimoji="0" lang="en-US" sz="1600" b="0"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rPr>
              <a:t>decarbonization efforts </a:t>
            </a:r>
          </a:p>
          <a:p>
            <a:pPr marL="0" marR="0" lvl="0" indent="0" algn="l" defTabSz="913943"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endParaRPr kumimoji="0" lang="en-US" sz="2000" b="0"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endParaRPr>
          </a:p>
          <a:p>
            <a:pPr marL="0" marR="0" lvl="0" indent="0" algn="l" defTabSz="913943"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en-US" sz="1600" b="0"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rPr>
              <a:t>H</a:t>
            </a:r>
            <a:r>
              <a:rPr kumimoji="0" lang="en-US" sz="1600" b="0" i="0" u="none" strike="noStrike" kern="1200" cap="none" spc="0" normalizeH="0" baseline="-25000" noProof="0" dirty="0">
                <a:ln>
                  <a:noFill/>
                </a:ln>
                <a:solidFill>
                  <a:srgbClr val="FFE600"/>
                </a:solidFill>
                <a:effectLst/>
                <a:uLnTx/>
                <a:uFillTx/>
                <a:latin typeface="EYInterstate Light" panose="02000506000000020004" pitchFamily="2" charset="0"/>
                <a:ea typeface="+mn-ea"/>
                <a:cs typeface="+mn-cs"/>
              </a:rPr>
              <a:t>2</a:t>
            </a: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 differentiates itself from other types of energy carriers as it does not produce CO</a:t>
            </a:r>
            <a:r>
              <a:rPr kumimoji="0" lang="en-US" sz="12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2</a:t>
            </a: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 particulates or sulfur emissions upon combustion. Rather, hydrogen’s </a:t>
            </a:r>
            <a:r>
              <a:rPr kumimoji="0" lang="en-US" sz="1600" b="0"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rPr>
              <a:t>emissions</a:t>
            </a: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 upon combusted is limited to </a:t>
            </a:r>
            <a:r>
              <a:rPr kumimoji="0" lang="en-US" sz="1600" b="0"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rPr>
              <a:t>water</a:t>
            </a:r>
          </a:p>
          <a:p>
            <a:pPr marL="0" marR="0" lvl="0" indent="0" algn="l" defTabSz="913943"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endParaRPr kumimoji="0" lang="en-US" sz="2000" b="0"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endParaRPr>
          </a:p>
          <a:p>
            <a:pPr marL="0" marR="0" lvl="0" indent="0" algn="l" defTabSz="913943"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e challenge faced today is that pure hydrogen is </a:t>
            </a:r>
            <a:r>
              <a:rPr kumimoji="0" lang="en-US" sz="1600" b="0"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rPr>
              <a:t>not commercially available </a:t>
            </a: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at a </a:t>
            </a:r>
            <a:r>
              <a:rPr kumimoji="0" lang="en-US" sz="1600" b="0"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rPr>
              <a:t>sufficient scale</a:t>
            </a:r>
          </a:p>
          <a:p>
            <a:pPr marL="0" marR="0" lvl="0" indent="0" algn="l" defTabSz="913943"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endParaRPr kumimoji="0" lang="en-US" sz="2000" b="0"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endParaRPr>
          </a:p>
          <a:p>
            <a:pPr marL="0" marR="0" lvl="0" indent="0" algn="l" defTabSz="913943"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en-US" sz="1600" b="0" i="0" u="none" strike="noStrike" kern="1200" cap="none" spc="0" normalizeH="0" baseline="0" noProof="0" dirty="0">
                <a:ln>
                  <a:noFill/>
                </a:ln>
                <a:solidFill>
                  <a:prstClr val="white"/>
                </a:solidFill>
                <a:effectLst/>
                <a:uLnTx/>
                <a:uFillTx/>
                <a:latin typeface="EYInterstate Light"/>
                <a:ea typeface="+mn-ea"/>
                <a:cs typeface="+mn-cs"/>
              </a:rPr>
              <a:t>Experts around the world have been tasked with </a:t>
            </a:r>
            <a:r>
              <a:rPr kumimoji="0" lang="en-US" sz="1600" b="0" i="0" u="none" strike="noStrike" kern="1200" cap="none" spc="0" normalizeH="0" baseline="0" noProof="0" dirty="0">
                <a:ln>
                  <a:noFill/>
                </a:ln>
                <a:solidFill>
                  <a:srgbClr val="FFE600"/>
                </a:solidFill>
                <a:effectLst/>
                <a:uLnTx/>
                <a:uFillTx/>
                <a:latin typeface="EYInterstate Light"/>
                <a:ea typeface="+mn-ea"/>
                <a:cs typeface="+mn-cs"/>
              </a:rPr>
              <a:t>developing</a:t>
            </a:r>
            <a:r>
              <a:rPr kumimoji="0" lang="en-US" sz="1600" b="0" i="0" u="none" strike="noStrike" kern="1200" cap="none" spc="0" normalizeH="0" baseline="0" noProof="0" dirty="0">
                <a:ln>
                  <a:noFill/>
                </a:ln>
                <a:solidFill>
                  <a:prstClr val="white"/>
                </a:solidFill>
                <a:effectLst/>
                <a:uLnTx/>
                <a:uFillTx/>
                <a:latin typeface="EYInterstate Light"/>
                <a:ea typeface="+mn-ea"/>
                <a:cs typeface="+mn-cs"/>
              </a:rPr>
              <a:t> alternate ways of </a:t>
            </a:r>
            <a:r>
              <a:rPr kumimoji="0" lang="en-US" sz="1600" b="0" i="0" u="none" strike="noStrike" kern="1200" cap="none" spc="0" normalizeH="0" baseline="0" noProof="0" dirty="0">
                <a:ln>
                  <a:noFill/>
                </a:ln>
                <a:solidFill>
                  <a:srgbClr val="FFE600"/>
                </a:solidFill>
                <a:effectLst/>
                <a:uLnTx/>
                <a:uFillTx/>
                <a:latin typeface="EYInterstate Light"/>
                <a:ea typeface="+mn-ea"/>
                <a:cs typeface="+mn-cs"/>
              </a:rPr>
              <a:t>producing hydrogen </a:t>
            </a:r>
            <a:endParaRPr kumimoji="0" lang="en-US" sz="2000" b="0"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endParaRPr>
          </a:p>
          <a:p>
            <a:pPr marL="0" marR="0" lvl="0" indent="0" algn="l" defTabSz="913943"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endPar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p:txBody>
      </p:sp>
      <p:sp>
        <p:nvSpPr>
          <p:cNvPr id="35" name="TextBox 34">
            <a:extLst>
              <a:ext uri="{FF2B5EF4-FFF2-40B4-BE49-F238E27FC236}">
                <a16:creationId xmlns:a16="http://schemas.microsoft.com/office/drawing/2014/main" id="{1DA81EA9-178B-4547-ABDF-DA7A8764B30C}"/>
              </a:ext>
            </a:extLst>
          </p:cNvPr>
          <p:cNvSpPr txBox="1"/>
          <p:nvPr/>
        </p:nvSpPr>
        <p:spPr>
          <a:xfrm>
            <a:off x="6475075" y="2497155"/>
            <a:ext cx="5312733" cy="523220"/>
          </a:xfrm>
          <a:prstGeom prst="rect">
            <a:avLst/>
          </a:prstGeom>
          <a:noFill/>
        </p:spPr>
        <p:txBody>
          <a:bodyPr wrap="square">
            <a:spAutoFit/>
          </a:bodyPr>
          <a:lstStyle/>
          <a:p>
            <a:pPr marL="0" marR="0" lvl="0" indent="0" algn="l" defTabSz="913943" rtl="0" eaLnBrk="1" fontAlgn="auto" latinLnBrk="0" hangingPunct="1">
              <a:lnSpc>
                <a:spcPct val="100000"/>
              </a:lnSpc>
              <a:spcBef>
                <a:spcPct val="20000"/>
              </a:spcBef>
              <a:spcAft>
                <a:spcPts val="0"/>
              </a:spcAft>
              <a:buClr>
                <a:srgbClr val="FFE600"/>
              </a:buClr>
              <a:buSzPct val="110000"/>
              <a:buFontTx/>
              <a:buNone/>
              <a:tabLst/>
              <a:defRPr/>
            </a:pPr>
            <a:r>
              <a:rPr kumimoji="0" lang="en-US" sz="1400" b="1"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Rise in U.S. legislation promoting hydrogen as an alternative energy source</a:t>
            </a:r>
          </a:p>
        </p:txBody>
      </p:sp>
      <p:grpSp>
        <p:nvGrpSpPr>
          <p:cNvPr id="4" name="Group 3">
            <a:extLst>
              <a:ext uri="{FF2B5EF4-FFF2-40B4-BE49-F238E27FC236}">
                <a16:creationId xmlns:a16="http://schemas.microsoft.com/office/drawing/2014/main" id="{FF534E37-BBEC-4177-A716-F695D5ADA783}"/>
              </a:ext>
            </a:extLst>
          </p:cNvPr>
          <p:cNvGrpSpPr/>
          <p:nvPr/>
        </p:nvGrpSpPr>
        <p:grpSpPr>
          <a:xfrm>
            <a:off x="6566789" y="427682"/>
            <a:ext cx="4717160" cy="1674062"/>
            <a:chOff x="6566789" y="427682"/>
            <a:chExt cx="4717160" cy="1674062"/>
          </a:xfrm>
        </p:grpSpPr>
        <p:sp>
          <p:nvSpPr>
            <p:cNvPr id="36" name="TextBox 35">
              <a:extLst>
                <a:ext uri="{FF2B5EF4-FFF2-40B4-BE49-F238E27FC236}">
                  <a16:creationId xmlns:a16="http://schemas.microsoft.com/office/drawing/2014/main" id="{ED122FB3-94F0-4106-9BC7-B295D19D5EE3}"/>
                </a:ext>
              </a:extLst>
            </p:cNvPr>
            <p:cNvSpPr txBox="1"/>
            <p:nvPr/>
          </p:nvSpPr>
          <p:spPr>
            <a:xfrm>
              <a:off x="6566789" y="758725"/>
              <a:ext cx="1773019" cy="1211101"/>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400" b="0" i="0" u="none" strike="noStrike" kern="1200" cap="none" spc="0" normalizeH="0" baseline="0" noProof="0" dirty="0">
                  <a:ln>
                    <a:noFill/>
                  </a:ln>
                  <a:solidFill>
                    <a:prstClr val="white"/>
                  </a:solidFill>
                  <a:effectLst/>
                  <a:uLnTx/>
                  <a:uFillTx/>
                  <a:latin typeface="EYInterstate Light"/>
                  <a:ea typeface="+mn-ea"/>
                  <a:cs typeface="+mn-cs"/>
                </a:rPr>
                <a:t>By 2030, U.S. annual demand for hydrogen is expected to reach </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endParaRPr kumimoji="0" lang="en-US" sz="800" b="0"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2800" b="0" i="0" u="none" strike="noStrike" kern="1200" cap="none" spc="0" normalizeH="0" baseline="0" noProof="0" dirty="0">
                  <a:ln>
                    <a:noFill/>
                  </a:ln>
                  <a:solidFill>
                    <a:prstClr val="white"/>
                  </a:solidFill>
                  <a:effectLst/>
                  <a:uLnTx/>
                  <a:uFillTx/>
                  <a:latin typeface="EYInterstate Light"/>
                  <a:ea typeface="+mn-ea"/>
                  <a:cs typeface="+mn-cs"/>
                </a:rPr>
                <a:t>14 MMT</a:t>
              </a:r>
            </a:p>
          </p:txBody>
        </p:sp>
        <p:pic>
          <p:nvPicPr>
            <p:cNvPr id="51" name="Picture 8" descr="SVG &gt; us map united outline - Free SVG Image &amp; Icon. | SVG Silh">
              <a:extLst>
                <a:ext uri="{FF2B5EF4-FFF2-40B4-BE49-F238E27FC236}">
                  <a16:creationId xmlns:a16="http://schemas.microsoft.com/office/drawing/2014/main" id="{FB66CE60-72E6-4302-ACFA-F28A621E1409}"/>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8448597" y="427682"/>
              <a:ext cx="2835352" cy="1674062"/>
            </a:xfrm>
            <a:prstGeom prst="rect">
              <a:avLst/>
            </a:prstGeom>
            <a:noFill/>
            <a:ln>
              <a:noFill/>
            </a:ln>
          </p:spPr>
        </p:pic>
        <p:grpSp>
          <p:nvGrpSpPr>
            <p:cNvPr id="52" name="4. Distribution - Storage">
              <a:extLst>
                <a:ext uri="{FF2B5EF4-FFF2-40B4-BE49-F238E27FC236}">
                  <a16:creationId xmlns:a16="http://schemas.microsoft.com/office/drawing/2014/main" id="{3B9955FC-811C-48EE-BE2E-6B9DF17D81AF}"/>
                </a:ext>
              </a:extLst>
            </p:cNvPr>
            <p:cNvGrpSpPr/>
            <p:nvPr/>
          </p:nvGrpSpPr>
          <p:grpSpPr>
            <a:xfrm>
              <a:off x="9124188" y="1071379"/>
              <a:ext cx="650250" cy="314019"/>
              <a:chOff x="7466452" y="1781477"/>
              <a:chExt cx="561768" cy="297838"/>
            </a:xfrm>
            <a:solidFill>
              <a:schemeClr val="tx2"/>
            </a:solidFill>
          </p:grpSpPr>
          <p:sp>
            <p:nvSpPr>
              <p:cNvPr id="53" name="Freeform 1308">
                <a:extLst>
                  <a:ext uri="{FF2B5EF4-FFF2-40B4-BE49-F238E27FC236}">
                    <a16:creationId xmlns:a16="http://schemas.microsoft.com/office/drawing/2014/main" id="{853AA452-B584-4DAD-9B28-2A2470E67F30}"/>
                  </a:ext>
                </a:extLst>
              </p:cNvPr>
              <p:cNvSpPr/>
              <p:nvPr/>
            </p:nvSpPr>
            <p:spPr>
              <a:xfrm>
                <a:off x="7466452" y="1840179"/>
                <a:ext cx="561768" cy="239136"/>
              </a:xfrm>
              <a:prstGeom prst="flowChartMagneticDrum">
                <a:avLst/>
              </a:prstGeom>
              <a:grp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54" name="Freeform 1309">
                <a:extLst>
                  <a:ext uri="{FF2B5EF4-FFF2-40B4-BE49-F238E27FC236}">
                    <a16:creationId xmlns:a16="http://schemas.microsoft.com/office/drawing/2014/main" id="{E298DECF-B8EE-4621-9649-58118F75B561}"/>
                  </a:ext>
                </a:extLst>
              </p:cNvPr>
              <p:cNvSpPr/>
              <p:nvPr/>
            </p:nvSpPr>
            <p:spPr>
              <a:xfrm>
                <a:off x="7512534" y="1872280"/>
                <a:ext cx="477118" cy="177567"/>
              </a:xfrm>
              <a:custGeom>
                <a:avLst/>
                <a:gdLst/>
                <a:ahLst/>
                <a:cxnLst/>
                <a:rect l="0" t="0" r="0" b="0"/>
                <a:pathLst>
                  <a:path w="170688" h="329183">
                    <a:moveTo>
                      <a:pt x="152655" y="329183"/>
                    </a:moveTo>
                    <a:lnTo>
                      <a:pt x="19050" y="329183"/>
                    </a:lnTo>
                    <a:lnTo>
                      <a:pt x="14860" y="328168"/>
                    </a:lnTo>
                    <a:lnTo>
                      <a:pt x="11685" y="327151"/>
                    </a:lnTo>
                    <a:lnTo>
                      <a:pt x="8510" y="326136"/>
                    </a:lnTo>
                    <a:lnTo>
                      <a:pt x="6350" y="324103"/>
                    </a:lnTo>
                    <a:lnTo>
                      <a:pt x="3175" y="320928"/>
                    </a:lnTo>
                    <a:lnTo>
                      <a:pt x="2160" y="317881"/>
                    </a:lnTo>
                    <a:lnTo>
                      <a:pt x="1017" y="314832"/>
                    </a:lnTo>
                    <a:lnTo>
                      <a:pt x="0" y="311784"/>
                    </a:lnTo>
                    <a:lnTo>
                      <a:pt x="0" y="17399"/>
                    </a:lnTo>
                    <a:lnTo>
                      <a:pt x="1017" y="14351"/>
                    </a:lnTo>
                    <a:lnTo>
                      <a:pt x="2160" y="11302"/>
                    </a:lnTo>
                    <a:lnTo>
                      <a:pt x="3175" y="8255"/>
                    </a:lnTo>
                    <a:lnTo>
                      <a:pt x="6350" y="5080"/>
                    </a:lnTo>
                    <a:lnTo>
                      <a:pt x="8510" y="3047"/>
                    </a:lnTo>
                    <a:lnTo>
                      <a:pt x="11685" y="1015"/>
                    </a:lnTo>
                    <a:lnTo>
                      <a:pt x="14860" y="0"/>
                    </a:lnTo>
                    <a:lnTo>
                      <a:pt x="19050" y="0"/>
                    </a:lnTo>
                    <a:lnTo>
                      <a:pt x="152655" y="0"/>
                    </a:lnTo>
                    <a:lnTo>
                      <a:pt x="156846" y="0"/>
                    </a:lnTo>
                    <a:lnTo>
                      <a:pt x="160148" y="1015"/>
                    </a:lnTo>
                    <a:lnTo>
                      <a:pt x="163323" y="3047"/>
                    </a:lnTo>
                    <a:lnTo>
                      <a:pt x="165355" y="5080"/>
                    </a:lnTo>
                    <a:lnTo>
                      <a:pt x="168530" y="8255"/>
                    </a:lnTo>
                    <a:lnTo>
                      <a:pt x="169673" y="11302"/>
                    </a:lnTo>
                    <a:lnTo>
                      <a:pt x="170688" y="14351"/>
                    </a:lnTo>
                    <a:lnTo>
                      <a:pt x="170688" y="17399"/>
                    </a:lnTo>
                    <a:lnTo>
                      <a:pt x="170688" y="311784"/>
                    </a:lnTo>
                    <a:lnTo>
                      <a:pt x="170688" y="314832"/>
                    </a:lnTo>
                    <a:lnTo>
                      <a:pt x="169673" y="317881"/>
                    </a:lnTo>
                    <a:lnTo>
                      <a:pt x="168530" y="320928"/>
                    </a:lnTo>
                    <a:lnTo>
                      <a:pt x="165355" y="324103"/>
                    </a:lnTo>
                    <a:lnTo>
                      <a:pt x="163323" y="326136"/>
                    </a:lnTo>
                    <a:lnTo>
                      <a:pt x="160148" y="327151"/>
                    </a:lnTo>
                    <a:lnTo>
                      <a:pt x="156846" y="328168"/>
                    </a:lnTo>
                    <a:lnTo>
                      <a:pt x="152655" y="329183"/>
                    </a:lnTo>
                    <a:close/>
                    <a:moveTo>
                      <a:pt x="-2636519" y="5108447"/>
                    </a:moveTo>
                    <a:moveTo>
                      <a:pt x="19050" y="9270"/>
                    </a:moveTo>
                    <a:lnTo>
                      <a:pt x="19050" y="9270"/>
                    </a:lnTo>
                    <a:lnTo>
                      <a:pt x="14860" y="10287"/>
                    </a:lnTo>
                    <a:lnTo>
                      <a:pt x="12700" y="11302"/>
                    </a:lnTo>
                    <a:lnTo>
                      <a:pt x="10542" y="14351"/>
                    </a:lnTo>
                    <a:lnTo>
                      <a:pt x="9525" y="17399"/>
                    </a:lnTo>
                    <a:lnTo>
                      <a:pt x="9525" y="311784"/>
                    </a:lnTo>
                    <a:lnTo>
                      <a:pt x="10542" y="314832"/>
                    </a:lnTo>
                    <a:lnTo>
                      <a:pt x="12700" y="316864"/>
                    </a:lnTo>
                    <a:lnTo>
                      <a:pt x="14860" y="318896"/>
                    </a:lnTo>
                    <a:lnTo>
                      <a:pt x="19050" y="319913"/>
                    </a:lnTo>
                    <a:lnTo>
                      <a:pt x="152655" y="319913"/>
                    </a:lnTo>
                    <a:lnTo>
                      <a:pt x="155830" y="318896"/>
                    </a:lnTo>
                    <a:lnTo>
                      <a:pt x="159005" y="316864"/>
                    </a:lnTo>
                    <a:lnTo>
                      <a:pt x="161163" y="314832"/>
                    </a:lnTo>
                    <a:lnTo>
                      <a:pt x="161163" y="311784"/>
                    </a:lnTo>
                    <a:lnTo>
                      <a:pt x="161163" y="17399"/>
                    </a:lnTo>
                    <a:lnTo>
                      <a:pt x="161163" y="14351"/>
                    </a:lnTo>
                    <a:lnTo>
                      <a:pt x="159005" y="11302"/>
                    </a:lnTo>
                    <a:lnTo>
                      <a:pt x="155830" y="10287"/>
                    </a:lnTo>
                    <a:lnTo>
                      <a:pt x="152655" y="9270"/>
                    </a:lnTo>
                    <a:lnTo>
                      <a:pt x="19050" y="9270"/>
                    </a:lnTo>
                    <a:close/>
                    <a:moveTo>
                      <a:pt x="-2316606" y="5108447"/>
                    </a:moveTo>
                  </a:path>
                </a:pathLst>
              </a:custGeom>
              <a:grp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55" name="Freeform 1310">
                <a:extLst>
                  <a:ext uri="{FF2B5EF4-FFF2-40B4-BE49-F238E27FC236}">
                    <a16:creationId xmlns:a16="http://schemas.microsoft.com/office/drawing/2014/main" id="{2B9695B5-5ACA-4947-BC81-BBF205623208}"/>
                  </a:ext>
                </a:extLst>
              </p:cNvPr>
              <p:cNvSpPr/>
              <p:nvPr/>
            </p:nvSpPr>
            <p:spPr>
              <a:xfrm>
                <a:off x="7681206" y="1781477"/>
                <a:ext cx="140776" cy="55448"/>
              </a:xfrm>
              <a:custGeom>
                <a:avLst/>
                <a:gdLst/>
                <a:ahLst/>
                <a:cxnLst/>
                <a:rect l="0" t="0" r="0" b="0"/>
                <a:pathLst>
                  <a:path w="60960" h="27431">
                    <a:moveTo>
                      <a:pt x="60960" y="27431"/>
                    </a:moveTo>
                    <a:lnTo>
                      <a:pt x="0" y="27431"/>
                    </a:lnTo>
                    <a:lnTo>
                      <a:pt x="0" y="10160"/>
                    </a:lnTo>
                    <a:lnTo>
                      <a:pt x="0" y="6095"/>
                    </a:lnTo>
                    <a:lnTo>
                      <a:pt x="2159" y="3048"/>
                    </a:lnTo>
                    <a:lnTo>
                      <a:pt x="5461" y="1016"/>
                    </a:lnTo>
                    <a:lnTo>
                      <a:pt x="9780" y="0"/>
                    </a:lnTo>
                    <a:lnTo>
                      <a:pt x="51182" y="0"/>
                    </a:lnTo>
                    <a:lnTo>
                      <a:pt x="55499" y="1016"/>
                    </a:lnTo>
                    <a:lnTo>
                      <a:pt x="58801" y="3048"/>
                    </a:lnTo>
                    <a:lnTo>
                      <a:pt x="60960" y="6095"/>
                    </a:lnTo>
                    <a:lnTo>
                      <a:pt x="60960" y="10160"/>
                    </a:lnTo>
                    <a:lnTo>
                      <a:pt x="60960" y="27431"/>
                    </a:lnTo>
                    <a:close/>
                    <a:moveTo>
                      <a:pt x="-2350007" y="5148071"/>
                    </a:moveTo>
                    <a:moveTo>
                      <a:pt x="9780" y="18287"/>
                    </a:moveTo>
                    <a:lnTo>
                      <a:pt x="51182" y="18287"/>
                    </a:lnTo>
                    <a:lnTo>
                      <a:pt x="51182" y="10160"/>
                    </a:lnTo>
                    <a:lnTo>
                      <a:pt x="9780" y="9143"/>
                    </a:lnTo>
                    <a:lnTo>
                      <a:pt x="9780" y="18287"/>
                    </a:lnTo>
                    <a:close/>
                    <a:moveTo>
                      <a:pt x="-2340863" y="5148071"/>
                    </a:moveTo>
                  </a:path>
                </a:pathLst>
              </a:custGeom>
              <a:grpFill/>
              <a:ln w="6350">
                <a:noFill/>
              </a:ln>
            </p:spPr>
            <p:style>
              <a:lnRef idx="2">
                <a:schemeClr val="accent1">
                  <a:shade val="50000"/>
                </a:schemeClr>
              </a:lnRef>
              <a:fillRef idx="1">
                <a:schemeClr val="accent1"/>
              </a:fillRef>
              <a:effectRef idx="0">
                <a:schemeClr val="accent1"/>
              </a:effectRef>
              <a:fontRef idx="minor">
                <a:schemeClr val="lt1"/>
              </a:fontRef>
            </p:style>
          </p:sp>
          <p:sp>
            <p:nvSpPr>
              <p:cNvPr id="57" name="Rectangle 1551">
                <a:extLst>
                  <a:ext uri="{FF2B5EF4-FFF2-40B4-BE49-F238E27FC236}">
                    <a16:creationId xmlns:a16="http://schemas.microsoft.com/office/drawing/2014/main" id="{3D2BBDB0-4708-4CCC-B438-67A1D29444ED}"/>
                  </a:ext>
                </a:extLst>
              </p:cNvPr>
              <p:cNvSpPr/>
              <p:nvPr/>
            </p:nvSpPr>
            <p:spPr>
              <a:xfrm>
                <a:off x="7688189" y="1877494"/>
                <a:ext cx="150251" cy="133840"/>
              </a:xfrm>
              <a:prstGeom prst="rect">
                <a:avLst/>
              </a:prstGeom>
              <a:grp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340528" algn="l"/>
                  </a:tabLst>
                  <a:defRPr/>
                </a:pPr>
                <a:r>
                  <a:rPr kumimoji="0" lang="en-US" sz="1005" b="1" i="0" u="none" strike="noStrike" kern="1200" cap="none" spc="0" normalizeH="0" baseline="0" noProof="0" dirty="0">
                    <a:ln>
                      <a:noFill/>
                    </a:ln>
                    <a:solidFill>
                      <a:srgbClr val="2E2E38"/>
                    </a:solidFill>
                    <a:effectLst/>
                    <a:uLnTx/>
                    <a:uFillTx/>
                    <a:latin typeface="EYInterstate-LightBold"/>
                    <a:ea typeface="+mn-ea"/>
                    <a:cs typeface="+mn-cs"/>
                  </a:rPr>
                  <a:t>H</a:t>
                </a:r>
                <a:r>
                  <a:rPr kumimoji="0" lang="en-US" sz="1014" b="1" i="0" u="none" strike="noStrike" kern="1200" cap="none" spc="0" normalizeH="0" baseline="-32142" noProof="0" dirty="0">
                    <a:ln>
                      <a:noFill/>
                    </a:ln>
                    <a:solidFill>
                      <a:srgbClr val="2E2E38"/>
                    </a:solidFill>
                    <a:effectLst/>
                    <a:uLnTx/>
                    <a:uFillTx/>
                    <a:latin typeface="EYInterstate-LightBold"/>
                    <a:ea typeface="+mn-ea"/>
                    <a:cs typeface="+mn-cs"/>
                  </a:rPr>
                  <a:t>2</a:t>
                </a:r>
                <a:endParaRPr kumimoji="0" lang="en-US" sz="1014" b="1" i="0" u="none" strike="noStrike" kern="1200" cap="none" spc="0" normalizeH="0" baseline="-149999" noProof="0" dirty="0">
                  <a:ln>
                    <a:noFill/>
                  </a:ln>
                  <a:solidFill>
                    <a:srgbClr val="2E2E38"/>
                  </a:solidFill>
                  <a:effectLst/>
                  <a:uLnTx/>
                  <a:uFillTx/>
                  <a:latin typeface="EYInterstate-LightBold"/>
                  <a:ea typeface="+mn-ea"/>
                  <a:cs typeface="+mn-cs"/>
                </a:endParaRPr>
              </a:p>
            </p:txBody>
          </p:sp>
        </p:grpSp>
        <p:grpSp>
          <p:nvGrpSpPr>
            <p:cNvPr id="58" name="4. Distribution - Storage">
              <a:extLst>
                <a:ext uri="{FF2B5EF4-FFF2-40B4-BE49-F238E27FC236}">
                  <a16:creationId xmlns:a16="http://schemas.microsoft.com/office/drawing/2014/main" id="{25C4E78F-7806-4115-97DC-5B3D00B95321}"/>
                </a:ext>
              </a:extLst>
            </p:cNvPr>
            <p:cNvGrpSpPr/>
            <p:nvPr/>
          </p:nvGrpSpPr>
          <p:grpSpPr>
            <a:xfrm>
              <a:off x="8654775" y="1121302"/>
              <a:ext cx="432406" cy="214159"/>
              <a:chOff x="7466452" y="1781477"/>
              <a:chExt cx="561768" cy="297838"/>
            </a:xfrm>
            <a:solidFill>
              <a:schemeClr val="tx2"/>
            </a:solidFill>
          </p:grpSpPr>
          <p:sp>
            <p:nvSpPr>
              <p:cNvPr id="59" name="Freeform 1308">
                <a:extLst>
                  <a:ext uri="{FF2B5EF4-FFF2-40B4-BE49-F238E27FC236}">
                    <a16:creationId xmlns:a16="http://schemas.microsoft.com/office/drawing/2014/main" id="{2A5CFB06-9D10-44A1-A72F-9CEB61B9B322}"/>
                  </a:ext>
                </a:extLst>
              </p:cNvPr>
              <p:cNvSpPr/>
              <p:nvPr/>
            </p:nvSpPr>
            <p:spPr>
              <a:xfrm>
                <a:off x="7466452" y="1840179"/>
                <a:ext cx="561768" cy="239136"/>
              </a:xfrm>
              <a:prstGeom prst="flowChartMagneticDrum">
                <a:avLst/>
              </a:prstGeom>
              <a:grp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0" name="Freeform 1309">
                <a:extLst>
                  <a:ext uri="{FF2B5EF4-FFF2-40B4-BE49-F238E27FC236}">
                    <a16:creationId xmlns:a16="http://schemas.microsoft.com/office/drawing/2014/main" id="{0C61AB8E-3AE9-40FE-95C5-A41BC22098DB}"/>
                  </a:ext>
                </a:extLst>
              </p:cNvPr>
              <p:cNvSpPr/>
              <p:nvPr/>
            </p:nvSpPr>
            <p:spPr>
              <a:xfrm>
                <a:off x="7512534" y="1872280"/>
                <a:ext cx="477118" cy="177567"/>
              </a:xfrm>
              <a:custGeom>
                <a:avLst/>
                <a:gdLst/>
                <a:ahLst/>
                <a:cxnLst/>
                <a:rect l="0" t="0" r="0" b="0"/>
                <a:pathLst>
                  <a:path w="170688" h="329183">
                    <a:moveTo>
                      <a:pt x="152655" y="329183"/>
                    </a:moveTo>
                    <a:lnTo>
                      <a:pt x="19050" y="329183"/>
                    </a:lnTo>
                    <a:lnTo>
                      <a:pt x="14860" y="328168"/>
                    </a:lnTo>
                    <a:lnTo>
                      <a:pt x="11685" y="327151"/>
                    </a:lnTo>
                    <a:lnTo>
                      <a:pt x="8510" y="326136"/>
                    </a:lnTo>
                    <a:lnTo>
                      <a:pt x="6350" y="324103"/>
                    </a:lnTo>
                    <a:lnTo>
                      <a:pt x="3175" y="320928"/>
                    </a:lnTo>
                    <a:lnTo>
                      <a:pt x="2160" y="317881"/>
                    </a:lnTo>
                    <a:lnTo>
                      <a:pt x="1017" y="314832"/>
                    </a:lnTo>
                    <a:lnTo>
                      <a:pt x="0" y="311784"/>
                    </a:lnTo>
                    <a:lnTo>
                      <a:pt x="0" y="17399"/>
                    </a:lnTo>
                    <a:lnTo>
                      <a:pt x="1017" y="14351"/>
                    </a:lnTo>
                    <a:lnTo>
                      <a:pt x="2160" y="11302"/>
                    </a:lnTo>
                    <a:lnTo>
                      <a:pt x="3175" y="8255"/>
                    </a:lnTo>
                    <a:lnTo>
                      <a:pt x="6350" y="5080"/>
                    </a:lnTo>
                    <a:lnTo>
                      <a:pt x="8510" y="3047"/>
                    </a:lnTo>
                    <a:lnTo>
                      <a:pt x="11685" y="1015"/>
                    </a:lnTo>
                    <a:lnTo>
                      <a:pt x="14860" y="0"/>
                    </a:lnTo>
                    <a:lnTo>
                      <a:pt x="19050" y="0"/>
                    </a:lnTo>
                    <a:lnTo>
                      <a:pt x="152655" y="0"/>
                    </a:lnTo>
                    <a:lnTo>
                      <a:pt x="156846" y="0"/>
                    </a:lnTo>
                    <a:lnTo>
                      <a:pt x="160148" y="1015"/>
                    </a:lnTo>
                    <a:lnTo>
                      <a:pt x="163323" y="3047"/>
                    </a:lnTo>
                    <a:lnTo>
                      <a:pt x="165355" y="5080"/>
                    </a:lnTo>
                    <a:lnTo>
                      <a:pt x="168530" y="8255"/>
                    </a:lnTo>
                    <a:lnTo>
                      <a:pt x="169673" y="11302"/>
                    </a:lnTo>
                    <a:lnTo>
                      <a:pt x="170688" y="14351"/>
                    </a:lnTo>
                    <a:lnTo>
                      <a:pt x="170688" y="17399"/>
                    </a:lnTo>
                    <a:lnTo>
                      <a:pt x="170688" y="311784"/>
                    </a:lnTo>
                    <a:lnTo>
                      <a:pt x="170688" y="314832"/>
                    </a:lnTo>
                    <a:lnTo>
                      <a:pt x="169673" y="317881"/>
                    </a:lnTo>
                    <a:lnTo>
                      <a:pt x="168530" y="320928"/>
                    </a:lnTo>
                    <a:lnTo>
                      <a:pt x="165355" y="324103"/>
                    </a:lnTo>
                    <a:lnTo>
                      <a:pt x="163323" y="326136"/>
                    </a:lnTo>
                    <a:lnTo>
                      <a:pt x="160148" y="327151"/>
                    </a:lnTo>
                    <a:lnTo>
                      <a:pt x="156846" y="328168"/>
                    </a:lnTo>
                    <a:lnTo>
                      <a:pt x="152655" y="329183"/>
                    </a:lnTo>
                    <a:close/>
                    <a:moveTo>
                      <a:pt x="-2636519" y="5108447"/>
                    </a:moveTo>
                    <a:moveTo>
                      <a:pt x="19050" y="9270"/>
                    </a:moveTo>
                    <a:lnTo>
                      <a:pt x="19050" y="9270"/>
                    </a:lnTo>
                    <a:lnTo>
                      <a:pt x="14860" y="10287"/>
                    </a:lnTo>
                    <a:lnTo>
                      <a:pt x="12700" y="11302"/>
                    </a:lnTo>
                    <a:lnTo>
                      <a:pt x="10542" y="14351"/>
                    </a:lnTo>
                    <a:lnTo>
                      <a:pt x="9525" y="17399"/>
                    </a:lnTo>
                    <a:lnTo>
                      <a:pt x="9525" y="311784"/>
                    </a:lnTo>
                    <a:lnTo>
                      <a:pt x="10542" y="314832"/>
                    </a:lnTo>
                    <a:lnTo>
                      <a:pt x="12700" y="316864"/>
                    </a:lnTo>
                    <a:lnTo>
                      <a:pt x="14860" y="318896"/>
                    </a:lnTo>
                    <a:lnTo>
                      <a:pt x="19050" y="319913"/>
                    </a:lnTo>
                    <a:lnTo>
                      <a:pt x="152655" y="319913"/>
                    </a:lnTo>
                    <a:lnTo>
                      <a:pt x="155830" y="318896"/>
                    </a:lnTo>
                    <a:lnTo>
                      <a:pt x="159005" y="316864"/>
                    </a:lnTo>
                    <a:lnTo>
                      <a:pt x="161163" y="314832"/>
                    </a:lnTo>
                    <a:lnTo>
                      <a:pt x="161163" y="311784"/>
                    </a:lnTo>
                    <a:lnTo>
                      <a:pt x="161163" y="17399"/>
                    </a:lnTo>
                    <a:lnTo>
                      <a:pt x="161163" y="14351"/>
                    </a:lnTo>
                    <a:lnTo>
                      <a:pt x="159005" y="11302"/>
                    </a:lnTo>
                    <a:lnTo>
                      <a:pt x="155830" y="10287"/>
                    </a:lnTo>
                    <a:lnTo>
                      <a:pt x="152655" y="9270"/>
                    </a:lnTo>
                    <a:lnTo>
                      <a:pt x="19050" y="9270"/>
                    </a:lnTo>
                    <a:close/>
                    <a:moveTo>
                      <a:pt x="-2316606" y="5108447"/>
                    </a:moveTo>
                  </a:path>
                </a:pathLst>
              </a:custGeom>
              <a:grp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1" name="Freeform 1310">
                <a:extLst>
                  <a:ext uri="{FF2B5EF4-FFF2-40B4-BE49-F238E27FC236}">
                    <a16:creationId xmlns:a16="http://schemas.microsoft.com/office/drawing/2014/main" id="{946B29B6-76D2-4482-A889-E12E0ACF47BE}"/>
                  </a:ext>
                </a:extLst>
              </p:cNvPr>
              <p:cNvSpPr/>
              <p:nvPr/>
            </p:nvSpPr>
            <p:spPr>
              <a:xfrm>
                <a:off x="7681206" y="1781477"/>
                <a:ext cx="140776" cy="55448"/>
              </a:xfrm>
              <a:custGeom>
                <a:avLst/>
                <a:gdLst/>
                <a:ahLst/>
                <a:cxnLst/>
                <a:rect l="0" t="0" r="0" b="0"/>
                <a:pathLst>
                  <a:path w="60960" h="27431">
                    <a:moveTo>
                      <a:pt x="60960" y="27431"/>
                    </a:moveTo>
                    <a:lnTo>
                      <a:pt x="0" y="27431"/>
                    </a:lnTo>
                    <a:lnTo>
                      <a:pt x="0" y="10160"/>
                    </a:lnTo>
                    <a:lnTo>
                      <a:pt x="0" y="6095"/>
                    </a:lnTo>
                    <a:lnTo>
                      <a:pt x="2159" y="3048"/>
                    </a:lnTo>
                    <a:lnTo>
                      <a:pt x="5461" y="1016"/>
                    </a:lnTo>
                    <a:lnTo>
                      <a:pt x="9780" y="0"/>
                    </a:lnTo>
                    <a:lnTo>
                      <a:pt x="51182" y="0"/>
                    </a:lnTo>
                    <a:lnTo>
                      <a:pt x="55499" y="1016"/>
                    </a:lnTo>
                    <a:lnTo>
                      <a:pt x="58801" y="3048"/>
                    </a:lnTo>
                    <a:lnTo>
                      <a:pt x="60960" y="6095"/>
                    </a:lnTo>
                    <a:lnTo>
                      <a:pt x="60960" y="10160"/>
                    </a:lnTo>
                    <a:lnTo>
                      <a:pt x="60960" y="27431"/>
                    </a:lnTo>
                    <a:close/>
                    <a:moveTo>
                      <a:pt x="-2350007" y="5148071"/>
                    </a:moveTo>
                    <a:moveTo>
                      <a:pt x="9780" y="18287"/>
                    </a:moveTo>
                    <a:lnTo>
                      <a:pt x="51182" y="18287"/>
                    </a:lnTo>
                    <a:lnTo>
                      <a:pt x="51182" y="10160"/>
                    </a:lnTo>
                    <a:lnTo>
                      <a:pt x="9780" y="9143"/>
                    </a:lnTo>
                    <a:lnTo>
                      <a:pt x="9780" y="18287"/>
                    </a:lnTo>
                    <a:close/>
                    <a:moveTo>
                      <a:pt x="-2340863" y="5148071"/>
                    </a:moveTo>
                  </a:path>
                </a:pathLst>
              </a:custGeom>
              <a:grpFill/>
              <a:ln w="6350">
                <a:noFill/>
              </a:ln>
            </p:spPr>
            <p:style>
              <a:lnRef idx="2">
                <a:schemeClr val="accent1">
                  <a:shade val="50000"/>
                </a:schemeClr>
              </a:lnRef>
              <a:fillRef idx="1">
                <a:schemeClr val="accent1"/>
              </a:fillRef>
              <a:effectRef idx="0">
                <a:schemeClr val="accent1"/>
              </a:effectRef>
              <a:fontRef idx="minor">
                <a:schemeClr val="lt1"/>
              </a:fontRef>
            </p:style>
          </p:sp>
          <p:sp>
            <p:nvSpPr>
              <p:cNvPr id="63" name="Rectangle 1551">
                <a:extLst>
                  <a:ext uri="{FF2B5EF4-FFF2-40B4-BE49-F238E27FC236}">
                    <a16:creationId xmlns:a16="http://schemas.microsoft.com/office/drawing/2014/main" id="{108E6F98-40ED-4E11-9BBC-7E3D77473685}"/>
                  </a:ext>
                </a:extLst>
              </p:cNvPr>
              <p:cNvSpPr/>
              <p:nvPr/>
            </p:nvSpPr>
            <p:spPr>
              <a:xfrm>
                <a:off x="7660092" y="1837205"/>
                <a:ext cx="274896" cy="215087"/>
              </a:xfrm>
              <a:prstGeom prst="rect">
                <a:avLst/>
              </a:prstGeom>
              <a:grp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340528" algn="l"/>
                  </a:tabLst>
                  <a:defRPr/>
                </a:pPr>
                <a:r>
                  <a:rPr kumimoji="0" lang="en-US" sz="1005" b="1" i="0" u="none" strike="noStrike" kern="1200" cap="none" spc="0" normalizeH="0" baseline="0" noProof="0" dirty="0">
                    <a:ln>
                      <a:noFill/>
                    </a:ln>
                    <a:solidFill>
                      <a:srgbClr val="2E2E38"/>
                    </a:solidFill>
                    <a:effectLst/>
                    <a:uLnTx/>
                    <a:uFillTx/>
                    <a:latin typeface="EYInterstate-LightBold"/>
                    <a:ea typeface="+mn-ea"/>
                    <a:cs typeface="+mn-cs"/>
                  </a:rPr>
                  <a:t>H</a:t>
                </a:r>
                <a:r>
                  <a:rPr kumimoji="0" lang="en-US" sz="1014" b="1" i="0" u="none" strike="noStrike" kern="1200" cap="none" spc="0" normalizeH="0" baseline="-32142" noProof="0" dirty="0">
                    <a:ln>
                      <a:noFill/>
                    </a:ln>
                    <a:solidFill>
                      <a:srgbClr val="2E2E38"/>
                    </a:solidFill>
                    <a:effectLst/>
                    <a:uLnTx/>
                    <a:uFillTx/>
                    <a:latin typeface="EYInterstate-LightBold"/>
                    <a:ea typeface="+mn-ea"/>
                    <a:cs typeface="+mn-cs"/>
                  </a:rPr>
                  <a:t>2</a:t>
                </a:r>
                <a:endParaRPr kumimoji="0" lang="en-US" sz="1014" b="1" i="0" u="none" strike="noStrike" kern="1200" cap="none" spc="0" normalizeH="0" baseline="-149999" noProof="0" dirty="0">
                  <a:ln>
                    <a:noFill/>
                  </a:ln>
                  <a:solidFill>
                    <a:srgbClr val="2E2E38"/>
                  </a:solidFill>
                  <a:effectLst/>
                  <a:uLnTx/>
                  <a:uFillTx/>
                  <a:latin typeface="EYInterstate-LightBold"/>
                  <a:ea typeface="+mn-ea"/>
                  <a:cs typeface="+mn-cs"/>
                </a:endParaRPr>
              </a:p>
            </p:txBody>
          </p:sp>
        </p:grpSp>
        <p:grpSp>
          <p:nvGrpSpPr>
            <p:cNvPr id="64" name="4. Distribution - Storage">
              <a:extLst>
                <a:ext uri="{FF2B5EF4-FFF2-40B4-BE49-F238E27FC236}">
                  <a16:creationId xmlns:a16="http://schemas.microsoft.com/office/drawing/2014/main" id="{74058643-8E0C-4D4A-980A-F4204EA20D8B}"/>
                </a:ext>
              </a:extLst>
            </p:cNvPr>
            <p:cNvGrpSpPr/>
            <p:nvPr/>
          </p:nvGrpSpPr>
          <p:grpSpPr>
            <a:xfrm>
              <a:off x="9811951" y="1010442"/>
              <a:ext cx="1044155" cy="435893"/>
              <a:chOff x="7466452" y="1781477"/>
              <a:chExt cx="561768" cy="297838"/>
            </a:xfrm>
            <a:solidFill>
              <a:schemeClr val="tx2"/>
            </a:solidFill>
          </p:grpSpPr>
          <p:sp>
            <p:nvSpPr>
              <p:cNvPr id="65" name="Freeform 1308">
                <a:extLst>
                  <a:ext uri="{FF2B5EF4-FFF2-40B4-BE49-F238E27FC236}">
                    <a16:creationId xmlns:a16="http://schemas.microsoft.com/office/drawing/2014/main" id="{3DB5BF92-BA21-428A-A524-94585646A0E7}"/>
                  </a:ext>
                </a:extLst>
              </p:cNvPr>
              <p:cNvSpPr/>
              <p:nvPr/>
            </p:nvSpPr>
            <p:spPr>
              <a:xfrm>
                <a:off x="7466452" y="1840179"/>
                <a:ext cx="561768" cy="239136"/>
              </a:xfrm>
              <a:prstGeom prst="flowChartMagneticDrum">
                <a:avLst/>
              </a:prstGeom>
              <a:grp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6" name="Freeform 1309">
                <a:extLst>
                  <a:ext uri="{FF2B5EF4-FFF2-40B4-BE49-F238E27FC236}">
                    <a16:creationId xmlns:a16="http://schemas.microsoft.com/office/drawing/2014/main" id="{9BF04F08-0DB6-4404-B10E-054EE46FC5F9}"/>
                  </a:ext>
                </a:extLst>
              </p:cNvPr>
              <p:cNvSpPr/>
              <p:nvPr/>
            </p:nvSpPr>
            <p:spPr>
              <a:xfrm>
                <a:off x="7512534" y="1872280"/>
                <a:ext cx="477118" cy="177567"/>
              </a:xfrm>
              <a:custGeom>
                <a:avLst/>
                <a:gdLst/>
                <a:ahLst/>
                <a:cxnLst/>
                <a:rect l="0" t="0" r="0" b="0"/>
                <a:pathLst>
                  <a:path w="170688" h="329183">
                    <a:moveTo>
                      <a:pt x="152655" y="329183"/>
                    </a:moveTo>
                    <a:lnTo>
                      <a:pt x="19050" y="329183"/>
                    </a:lnTo>
                    <a:lnTo>
                      <a:pt x="14860" y="328168"/>
                    </a:lnTo>
                    <a:lnTo>
                      <a:pt x="11685" y="327151"/>
                    </a:lnTo>
                    <a:lnTo>
                      <a:pt x="8510" y="326136"/>
                    </a:lnTo>
                    <a:lnTo>
                      <a:pt x="6350" y="324103"/>
                    </a:lnTo>
                    <a:lnTo>
                      <a:pt x="3175" y="320928"/>
                    </a:lnTo>
                    <a:lnTo>
                      <a:pt x="2160" y="317881"/>
                    </a:lnTo>
                    <a:lnTo>
                      <a:pt x="1017" y="314832"/>
                    </a:lnTo>
                    <a:lnTo>
                      <a:pt x="0" y="311784"/>
                    </a:lnTo>
                    <a:lnTo>
                      <a:pt x="0" y="17399"/>
                    </a:lnTo>
                    <a:lnTo>
                      <a:pt x="1017" y="14351"/>
                    </a:lnTo>
                    <a:lnTo>
                      <a:pt x="2160" y="11302"/>
                    </a:lnTo>
                    <a:lnTo>
                      <a:pt x="3175" y="8255"/>
                    </a:lnTo>
                    <a:lnTo>
                      <a:pt x="6350" y="5080"/>
                    </a:lnTo>
                    <a:lnTo>
                      <a:pt x="8510" y="3047"/>
                    </a:lnTo>
                    <a:lnTo>
                      <a:pt x="11685" y="1015"/>
                    </a:lnTo>
                    <a:lnTo>
                      <a:pt x="14860" y="0"/>
                    </a:lnTo>
                    <a:lnTo>
                      <a:pt x="19050" y="0"/>
                    </a:lnTo>
                    <a:lnTo>
                      <a:pt x="152655" y="0"/>
                    </a:lnTo>
                    <a:lnTo>
                      <a:pt x="156846" y="0"/>
                    </a:lnTo>
                    <a:lnTo>
                      <a:pt x="160148" y="1015"/>
                    </a:lnTo>
                    <a:lnTo>
                      <a:pt x="163323" y="3047"/>
                    </a:lnTo>
                    <a:lnTo>
                      <a:pt x="165355" y="5080"/>
                    </a:lnTo>
                    <a:lnTo>
                      <a:pt x="168530" y="8255"/>
                    </a:lnTo>
                    <a:lnTo>
                      <a:pt x="169673" y="11302"/>
                    </a:lnTo>
                    <a:lnTo>
                      <a:pt x="170688" y="14351"/>
                    </a:lnTo>
                    <a:lnTo>
                      <a:pt x="170688" y="17399"/>
                    </a:lnTo>
                    <a:lnTo>
                      <a:pt x="170688" y="311784"/>
                    </a:lnTo>
                    <a:lnTo>
                      <a:pt x="170688" y="314832"/>
                    </a:lnTo>
                    <a:lnTo>
                      <a:pt x="169673" y="317881"/>
                    </a:lnTo>
                    <a:lnTo>
                      <a:pt x="168530" y="320928"/>
                    </a:lnTo>
                    <a:lnTo>
                      <a:pt x="165355" y="324103"/>
                    </a:lnTo>
                    <a:lnTo>
                      <a:pt x="163323" y="326136"/>
                    </a:lnTo>
                    <a:lnTo>
                      <a:pt x="160148" y="327151"/>
                    </a:lnTo>
                    <a:lnTo>
                      <a:pt x="156846" y="328168"/>
                    </a:lnTo>
                    <a:lnTo>
                      <a:pt x="152655" y="329183"/>
                    </a:lnTo>
                    <a:close/>
                    <a:moveTo>
                      <a:pt x="-2636519" y="5108447"/>
                    </a:moveTo>
                    <a:moveTo>
                      <a:pt x="19050" y="9270"/>
                    </a:moveTo>
                    <a:lnTo>
                      <a:pt x="19050" y="9270"/>
                    </a:lnTo>
                    <a:lnTo>
                      <a:pt x="14860" y="10287"/>
                    </a:lnTo>
                    <a:lnTo>
                      <a:pt x="12700" y="11302"/>
                    </a:lnTo>
                    <a:lnTo>
                      <a:pt x="10542" y="14351"/>
                    </a:lnTo>
                    <a:lnTo>
                      <a:pt x="9525" y="17399"/>
                    </a:lnTo>
                    <a:lnTo>
                      <a:pt x="9525" y="311784"/>
                    </a:lnTo>
                    <a:lnTo>
                      <a:pt x="10542" y="314832"/>
                    </a:lnTo>
                    <a:lnTo>
                      <a:pt x="12700" y="316864"/>
                    </a:lnTo>
                    <a:lnTo>
                      <a:pt x="14860" y="318896"/>
                    </a:lnTo>
                    <a:lnTo>
                      <a:pt x="19050" y="319913"/>
                    </a:lnTo>
                    <a:lnTo>
                      <a:pt x="152655" y="319913"/>
                    </a:lnTo>
                    <a:lnTo>
                      <a:pt x="155830" y="318896"/>
                    </a:lnTo>
                    <a:lnTo>
                      <a:pt x="159005" y="316864"/>
                    </a:lnTo>
                    <a:lnTo>
                      <a:pt x="161163" y="314832"/>
                    </a:lnTo>
                    <a:lnTo>
                      <a:pt x="161163" y="311784"/>
                    </a:lnTo>
                    <a:lnTo>
                      <a:pt x="161163" y="17399"/>
                    </a:lnTo>
                    <a:lnTo>
                      <a:pt x="161163" y="14351"/>
                    </a:lnTo>
                    <a:lnTo>
                      <a:pt x="159005" y="11302"/>
                    </a:lnTo>
                    <a:lnTo>
                      <a:pt x="155830" y="10287"/>
                    </a:lnTo>
                    <a:lnTo>
                      <a:pt x="152655" y="9270"/>
                    </a:lnTo>
                    <a:lnTo>
                      <a:pt x="19050" y="9270"/>
                    </a:lnTo>
                    <a:close/>
                    <a:moveTo>
                      <a:pt x="-2316606" y="5108447"/>
                    </a:moveTo>
                  </a:path>
                </a:pathLst>
              </a:custGeom>
              <a:grp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7" name="Freeform 1310">
                <a:extLst>
                  <a:ext uri="{FF2B5EF4-FFF2-40B4-BE49-F238E27FC236}">
                    <a16:creationId xmlns:a16="http://schemas.microsoft.com/office/drawing/2014/main" id="{2EBA8240-5AFD-4C4D-A806-02AA3CDFE376}"/>
                  </a:ext>
                </a:extLst>
              </p:cNvPr>
              <p:cNvSpPr/>
              <p:nvPr/>
            </p:nvSpPr>
            <p:spPr>
              <a:xfrm>
                <a:off x="7681206" y="1781477"/>
                <a:ext cx="140776" cy="55448"/>
              </a:xfrm>
              <a:custGeom>
                <a:avLst/>
                <a:gdLst/>
                <a:ahLst/>
                <a:cxnLst/>
                <a:rect l="0" t="0" r="0" b="0"/>
                <a:pathLst>
                  <a:path w="60960" h="27431">
                    <a:moveTo>
                      <a:pt x="60960" y="27431"/>
                    </a:moveTo>
                    <a:lnTo>
                      <a:pt x="0" y="27431"/>
                    </a:lnTo>
                    <a:lnTo>
                      <a:pt x="0" y="10160"/>
                    </a:lnTo>
                    <a:lnTo>
                      <a:pt x="0" y="6095"/>
                    </a:lnTo>
                    <a:lnTo>
                      <a:pt x="2159" y="3048"/>
                    </a:lnTo>
                    <a:lnTo>
                      <a:pt x="5461" y="1016"/>
                    </a:lnTo>
                    <a:lnTo>
                      <a:pt x="9780" y="0"/>
                    </a:lnTo>
                    <a:lnTo>
                      <a:pt x="51182" y="0"/>
                    </a:lnTo>
                    <a:lnTo>
                      <a:pt x="55499" y="1016"/>
                    </a:lnTo>
                    <a:lnTo>
                      <a:pt x="58801" y="3048"/>
                    </a:lnTo>
                    <a:lnTo>
                      <a:pt x="60960" y="6095"/>
                    </a:lnTo>
                    <a:lnTo>
                      <a:pt x="60960" y="10160"/>
                    </a:lnTo>
                    <a:lnTo>
                      <a:pt x="60960" y="27431"/>
                    </a:lnTo>
                    <a:close/>
                    <a:moveTo>
                      <a:pt x="-2350007" y="5148071"/>
                    </a:moveTo>
                    <a:moveTo>
                      <a:pt x="9780" y="18287"/>
                    </a:moveTo>
                    <a:lnTo>
                      <a:pt x="51182" y="18287"/>
                    </a:lnTo>
                    <a:lnTo>
                      <a:pt x="51182" y="10160"/>
                    </a:lnTo>
                    <a:lnTo>
                      <a:pt x="9780" y="9143"/>
                    </a:lnTo>
                    <a:lnTo>
                      <a:pt x="9780" y="18287"/>
                    </a:lnTo>
                    <a:close/>
                    <a:moveTo>
                      <a:pt x="-2340863" y="5148071"/>
                    </a:moveTo>
                  </a:path>
                </a:pathLst>
              </a:custGeom>
              <a:grpFill/>
              <a:ln w="6350">
                <a:noFill/>
              </a:ln>
            </p:spPr>
            <p:style>
              <a:lnRef idx="2">
                <a:schemeClr val="accent1">
                  <a:shade val="50000"/>
                </a:schemeClr>
              </a:lnRef>
              <a:fillRef idx="1">
                <a:schemeClr val="accent1"/>
              </a:fillRef>
              <a:effectRef idx="0">
                <a:schemeClr val="accent1"/>
              </a:effectRef>
              <a:fontRef idx="minor">
                <a:schemeClr val="lt1"/>
              </a:fontRef>
            </p:style>
          </p:sp>
          <p:sp>
            <p:nvSpPr>
              <p:cNvPr id="69" name="Rectangle 1551">
                <a:extLst>
                  <a:ext uri="{FF2B5EF4-FFF2-40B4-BE49-F238E27FC236}">
                    <a16:creationId xmlns:a16="http://schemas.microsoft.com/office/drawing/2014/main" id="{8F616CCD-3308-4091-AB3D-C47643841F50}"/>
                  </a:ext>
                </a:extLst>
              </p:cNvPr>
              <p:cNvSpPr/>
              <p:nvPr/>
            </p:nvSpPr>
            <p:spPr>
              <a:xfrm>
                <a:off x="7705202" y="1895107"/>
                <a:ext cx="107208" cy="89534"/>
              </a:xfrm>
              <a:prstGeom prst="rect">
                <a:avLst/>
              </a:prstGeom>
              <a:grp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340528" algn="l"/>
                  </a:tabLst>
                  <a:defRPr/>
                </a:pPr>
                <a:r>
                  <a:rPr kumimoji="0" lang="en-US" sz="1005" b="1" i="0" u="none" strike="noStrike" kern="1200" cap="none" spc="0" normalizeH="0" baseline="0" noProof="0" dirty="0">
                    <a:ln>
                      <a:noFill/>
                    </a:ln>
                    <a:solidFill>
                      <a:srgbClr val="2E2E38"/>
                    </a:solidFill>
                    <a:effectLst/>
                    <a:uLnTx/>
                    <a:uFillTx/>
                    <a:latin typeface="EYInterstate-LightBold"/>
                    <a:ea typeface="+mn-ea"/>
                    <a:cs typeface="+mn-cs"/>
                  </a:rPr>
                  <a:t>H</a:t>
                </a:r>
                <a:r>
                  <a:rPr kumimoji="0" lang="en-US" sz="1014" b="1" i="0" u="none" strike="noStrike" kern="1200" cap="none" spc="0" normalizeH="0" baseline="-32142" noProof="0" dirty="0">
                    <a:ln>
                      <a:noFill/>
                    </a:ln>
                    <a:solidFill>
                      <a:srgbClr val="2E2E38"/>
                    </a:solidFill>
                    <a:effectLst/>
                    <a:uLnTx/>
                    <a:uFillTx/>
                    <a:latin typeface="EYInterstate-LightBold"/>
                    <a:ea typeface="+mn-ea"/>
                    <a:cs typeface="+mn-cs"/>
                  </a:rPr>
                  <a:t>2</a:t>
                </a:r>
                <a:endParaRPr kumimoji="0" lang="en-US" sz="1014" b="1" i="0" u="none" strike="noStrike" kern="1200" cap="none" spc="0" normalizeH="0" baseline="-149999" noProof="0" dirty="0">
                  <a:ln>
                    <a:noFill/>
                  </a:ln>
                  <a:solidFill>
                    <a:srgbClr val="2E2E38"/>
                  </a:solidFill>
                  <a:effectLst/>
                  <a:uLnTx/>
                  <a:uFillTx/>
                  <a:latin typeface="EYInterstate-LightBold"/>
                  <a:ea typeface="+mn-ea"/>
                  <a:cs typeface="+mn-cs"/>
                </a:endParaRPr>
              </a:p>
            </p:txBody>
          </p:sp>
        </p:grpSp>
      </p:grpSp>
      <p:cxnSp>
        <p:nvCxnSpPr>
          <p:cNvPr id="70" name="Straight Connector 69">
            <a:extLst>
              <a:ext uri="{FF2B5EF4-FFF2-40B4-BE49-F238E27FC236}">
                <a16:creationId xmlns:a16="http://schemas.microsoft.com/office/drawing/2014/main" id="{16FEFEC4-D352-4E7E-8AC6-8FD5A2D83784}"/>
              </a:ext>
            </a:extLst>
          </p:cNvPr>
          <p:cNvCxnSpPr>
            <a:cxnSpLocks/>
          </p:cNvCxnSpPr>
          <p:nvPr/>
        </p:nvCxnSpPr>
        <p:spPr>
          <a:xfrm>
            <a:off x="5890722" y="758725"/>
            <a:ext cx="0" cy="5421833"/>
          </a:xfrm>
          <a:prstGeom prst="line">
            <a:avLst/>
          </a:prstGeom>
          <a:ln w="12700" cap="flat" cmpd="sng" algn="ctr">
            <a:no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E09BFDAD-60AA-4712-AD57-46DDF9C12E3F}"/>
              </a:ext>
              <a:ext uri="{C183D7F6-B498-43B3-948B-1728B52AA6E4}">
                <adec:decorative xmlns:adec="http://schemas.microsoft.com/office/drawing/2017/decorative" val="1"/>
              </a:ext>
            </a:extLst>
          </p:cNvPr>
          <p:cNvCxnSpPr>
            <a:cxnSpLocks/>
          </p:cNvCxnSpPr>
          <p:nvPr/>
        </p:nvCxnSpPr>
        <p:spPr>
          <a:xfrm>
            <a:off x="6405847" y="2351926"/>
            <a:ext cx="5017273" cy="0"/>
          </a:xfrm>
          <a:prstGeom prst="line">
            <a:avLst/>
          </a:prstGeom>
          <a:ln w="12700" cap="flat" cmpd="sng" algn="ctr">
            <a:solidFill>
              <a:srgbClr val="747480"/>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25673C35-069D-43AA-9754-8A8B6939DE80}"/>
              </a:ext>
            </a:extLst>
          </p:cNvPr>
          <p:cNvGrpSpPr/>
          <p:nvPr/>
        </p:nvGrpSpPr>
        <p:grpSpPr>
          <a:xfrm>
            <a:off x="6566789" y="4616884"/>
            <a:ext cx="5141383" cy="1471172"/>
            <a:chOff x="6566789" y="4616884"/>
            <a:chExt cx="5141383" cy="1471172"/>
          </a:xfrm>
        </p:grpSpPr>
        <p:grpSp>
          <p:nvGrpSpPr>
            <p:cNvPr id="7" name="Group 6">
              <a:extLst>
                <a:ext uri="{FF2B5EF4-FFF2-40B4-BE49-F238E27FC236}">
                  <a16:creationId xmlns:a16="http://schemas.microsoft.com/office/drawing/2014/main" id="{3C0821C5-0906-4A0D-8387-65CD1629C4D0}"/>
                </a:ext>
              </a:extLst>
            </p:cNvPr>
            <p:cNvGrpSpPr/>
            <p:nvPr/>
          </p:nvGrpSpPr>
          <p:grpSpPr>
            <a:xfrm>
              <a:off x="6566789" y="4616884"/>
              <a:ext cx="5141383" cy="1471172"/>
              <a:chOff x="6566789" y="4616884"/>
              <a:chExt cx="5141383" cy="1471172"/>
            </a:xfrm>
          </p:grpSpPr>
          <p:sp>
            <p:nvSpPr>
              <p:cNvPr id="30" name="TextBox 29">
                <a:extLst>
                  <a:ext uri="{FF2B5EF4-FFF2-40B4-BE49-F238E27FC236}">
                    <a16:creationId xmlns:a16="http://schemas.microsoft.com/office/drawing/2014/main" id="{5C8B1102-1168-4CCF-922E-D080DA4C35A6}"/>
                  </a:ext>
                </a:extLst>
              </p:cNvPr>
              <p:cNvSpPr txBox="1"/>
              <p:nvPr/>
            </p:nvSpPr>
            <p:spPr>
              <a:xfrm>
                <a:off x="8448597" y="4616884"/>
                <a:ext cx="3259575" cy="1471172"/>
              </a:xfrm>
              <a:prstGeom prst="rect">
                <a:avLst/>
              </a:prstGeom>
              <a:noFill/>
            </p:spPr>
            <p:txBody>
              <a:bodyPr wrap="square">
                <a:spAutoFit/>
              </a:bodyPr>
              <a:lstStyle/>
              <a:p>
                <a:pPr marL="0" marR="0" lvl="0" indent="0" algn="l" defTabSz="913943" rtl="0" eaLnBrk="1" fontAlgn="auto" latinLnBrk="0" hangingPunct="1">
                  <a:lnSpc>
                    <a:spcPct val="100000"/>
                  </a:lnSpc>
                  <a:spcBef>
                    <a:spcPct val="20000"/>
                  </a:spcBef>
                  <a:spcAft>
                    <a:spcPts val="0"/>
                  </a:spcAft>
                  <a:buClr>
                    <a:srgbClr val="FFE600"/>
                  </a:buClr>
                  <a:buSzPct val="110000"/>
                  <a:buFontTx/>
                  <a:buNone/>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Incentivizes the production of clean hydrogen via tax credits ranging from </a:t>
                </a:r>
              </a:p>
              <a:p>
                <a:pPr marL="0" marR="0" lvl="0" indent="0" algn="l" defTabSz="913943" rtl="0" eaLnBrk="1" fontAlgn="auto" latinLnBrk="0" hangingPunct="1">
                  <a:lnSpc>
                    <a:spcPct val="100000"/>
                  </a:lnSpc>
                  <a:spcBef>
                    <a:spcPct val="20000"/>
                  </a:spcBef>
                  <a:spcAft>
                    <a:spcPts val="0"/>
                  </a:spcAft>
                  <a:buClr>
                    <a:srgbClr val="FFE600"/>
                  </a:buClr>
                  <a:buSzPct val="110000"/>
                  <a:buFontTx/>
                  <a:buNone/>
                  <a:tabLst/>
                  <a:defRPr/>
                </a:pPr>
                <a:r>
                  <a:rPr kumimoji="0" lang="en-US" sz="2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       </a:t>
                </a:r>
                <a:r>
                  <a:rPr kumimoji="0" lang="en-US" sz="2800" b="1"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rPr>
                  <a:t>$0.60-$3.00 </a:t>
                </a:r>
                <a:br>
                  <a:rPr kumimoji="0" lang="en-US" sz="2800" b="0"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rPr>
                </a:b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per kilogram of hydrogen produced </a:t>
                </a:r>
                <a:r>
                  <a:rPr kumimoji="0" lang="en-US" sz="1400" b="0" i="1"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depending on associated emissions)</a:t>
                </a:r>
              </a:p>
            </p:txBody>
          </p:sp>
          <p:sp>
            <p:nvSpPr>
              <p:cNvPr id="37" name="TextBox 36">
                <a:extLst>
                  <a:ext uri="{FF2B5EF4-FFF2-40B4-BE49-F238E27FC236}">
                    <a16:creationId xmlns:a16="http://schemas.microsoft.com/office/drawing/2014/main" id="{D68E292C-7980-474E-97F6-80D696B0733A}"/>
                  </a:ext>
                </a:extLst>
              </p:cNvPr>
              <p:cNvSpPr txBox="1"/>
              <p:nvPr/>
            </p:nvSpPr>
            <p:spPr>
              <a:xfrm>
                <a:off x="6566789" y="4616886"/>
                <a:ext cx="1773017" cy="954107"/>
              </a:xfrm>
              <a:prstGeom prst="rect">
                <a:avLst/>
              </a:prstGeom>
              <a:noFill/>
            </p:spPr>
            <p:txBody>
              <a:bodyPr wrap="square">
                <a:spAutoFit/>
              </a:bodyPr>
              <a:lstStyle/>
              <a:p>
                <a:pPr marL="0" marR="0" lvl="0" indent="0" algn="l" defTabSz="913943" rtl="0" eaLnBrk="1" fontAlgn="auto" latinLnBrk="0" hangingPunct="1">
                  <a:lnSpc>
                    <a:spcPct val="100000"/>
                  </a:lnSpc>
                  <a:spcBef>
                    <a:spcPct val="20000"/>
                  </a:spcBef>
                  <a:spcAft>
                    <a:spcPts val="0"/>
                  </a:spcAft>
                  <a:buClr>
                    <a:srgbClr val="FFE600"/>
                  </a:buClr>
                  <a:buSzPct val="110000"/>
                  <a:buFontTx/>
                  <a:buNone/>
                  <a:tabLst/>
                  <a:defRPr/>
                </a:pPr>
                <a:r>
                  <a:rPr kumimoji="0" lang="en-US" sz="1400" b="0"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rPr>
                  <a:t>Inflation Reduction Act </a:t>
                </a: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IRA) introduced in August 2022</a:t>
                </a:r>
              </a:p>
            </p:txBody>
          </p:sp>
        </p:grpSp>
        <p:pic>
          <p:nvPicPr>
            <p:cNvPr id="11" name="Graphic 10" descr="Philanthropy outline">
              <a:extLst>
                <a:ext uri="{FF2B5EF4-FFF2-40B4-BE49-F238E27FC236}">
                  <a16:creationId xmlns:a16="http://schemas.microsoft.com/office/drawing/2014/main" id="{82D4CEC2-B57C-4F33-8280-569DD66E1E3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09667" y="5121071"/>
              <a:ext cx="486364" cy="486364"/>
            </a:xfrm>
            <a:prstGeom prst="rect">
              <a:avLst/>
            </a:prstGeom>
          </p:spPr>
        </p:pic>
      </p:grpSp>
      <p:sp>
        <p:nvSpPr>
          <p:cNvPr id="38" name="TextBox 37">
            <a:extLst>
              <a:ext uri="{FF2B5EF4-FFF2-40B4-BE49-F238E27FC236}">
                <a16:creationId xmlns:a16="http://schemas.microsoft.com/office/drawing/2014/main" id="{F18F3256-FD70-4310-838F-EA42A260D206}"/>
              </a:ext>
            </a:extLst>
          </p:cNvPr>
          <p:cNvSpPr txBox="1"/>
          <p:nvPr/>
        </p:nvSpPr>
        <p:spPr>
          <a:xfrm>
            <a:off x="553495" y="6159248"/>
            <a:ext cx="3684156"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EYInterstate" panose="02000503020000020004"/>
                <a:ea typeface="+mn-ea"/>
                <a:cs typeface="+mn-cs"/>
              </a:rPr>
              <a:t>1. “Road Map to a US Hydrogen Economy,” Fuel Cell and Hydrogen Energy Association, </a:t>
            </a:r>
            <a:r>
              <a:rPr kumimoji="0" lang="en-US" sz="800" b="1" i="0" u="none" strike="noStrike" kern="1200" cap="none" spc="0" normalizeH="0" baseline="0" noProof="0" dirty="0">
                <a:ln>
                  <a:noFill/>
                </a:ln>
                <a:solidFill>
                  <a:prstClr val="white"/>
                </a:solidFill>
                <a:effectLst/>
                <a:uLnTx/>
                <a:uFillTx/>
                <a:latin typeface="EYInterstate" panose="02000503020000020004"/>
                <a:ea typeface="+mn-ea"/>
                <a:cs typeface="+mn-cs"/>
                <a:hlinkClick r:id="rId6">
                  <a:extLst>
                    <a:ext uri="{A12FA001-AC4F-418D-AE19-62706E023703}">
                      <ahyp:hlinkClr xmlns:ahyp="http://schemas.microsoft.com/office/drawing/2018/hyperlinkcolor" val="tx"/>
                    </a:ext>
                  </a:extLst>
                </a:hlinkClick>
              </a:rPr>
              <a:t>https://carboncaptureready.betterenergy.org/analysis/</a:t>
            </a:r>
            <a:r>
              <a:rPr kumimoji="0" lang="en-US" sz="800" b="0" i="0" u="none" strike="noStrike" kern="1200" cap="none" spc="0" normalizeH="0" baseline="0" noProof="0" dirty="0">
                <a:ln>
                  <a:noFill/>
                </a:ln>
                <a:solidFill>
                  <a:prstClr val="white"/>
                </a:solidFill>
                <a:effectLst/>
                <a:uLnTx/>
                <a:uFillTx/>
                <a:latin typeface="EYInterstate" panose="02000503020000020004"/>
                <a:ea typeface="+mn-ea"/>
                <a:cs typeface="+mn-cs"/>
              </a:rPr>
              <a:t>, accessed 10 January 2023.</a:t>
            </a:r>
            <a:endParaRPr kumimoji="0" lang="en-US" sz="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62" name="Title 1">
            <a:extLst>
              <a:ext uri="{FF2B5EF4-FFF2-40B4-BE49-F238E27FC236}">
                <a16:creationId xmlns:a16="http://schemas.microsoft.com/office/drawing/2014/main" id="{71F3C660-D34F-46D9-AAA9-F1C5161158F1}"/>
              </a:ext>
            </a:extLst>
          </p:cNvPr>
          <p:cNvSpPr txBox="1">
            <a:spLocks/>
          </p:cNvSpPr>
          <p:nvPr/>
        </p:nvSpPr>
        <p:spPr>
          <a:xfrm>
            <a:off x="616900" y="525116"/>
            <a:ext cx="5151586" cy="590550"/>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399" b="1" i="0" u="none" strike="noStrike" kern="1200" cap="none" spc="0" normalizeH="0" baseline="0" noProof="0" dirty="0">
                <a:ln>
                  <a:noFill/>
                </a:ln>
                <a:solidFill>
                  <a:srgbClr val="FFE600"/>
                </a:solidFill>
                <a:effectLst/>
                <a:uLnTx/>
                <a:uFillTx/>
                <a:latin typeface="EYInterstate Light" panose="02000506000000020004" pitchFamily="2" charset="0"/>
                <a:ea typeface="+mj-ea"/>
                <a:cs typeface="Arial" pitchFamily="34" charset="0"/>
              </a:rPr>
              <a:t>Why hydrogen?</a:t>
            </a:r>
          </a:p>
        </p:txBody>
      </p:sp>
      <p:grpSp>
        <p:nvGrpSpPr>
          <p:cNvPr id="5" name="Group 4">
            <a:extLst>
              <a:ext uri="{FF2B5EF4-FFF2-40B4-BE49-F238E27FC236}">
                <a16:creationId xmlns:a16="http://schemas.microsoft.com/office/drawing/2014/main" id="{00B4E8DB-3C6E-4518-96B3-5BEA45502E52}"/>
              </a:ext>
            </a:extLst>
          </p:cNvPr>
          <p:cNvGrpSpPr/>
          <p:nvPr/>
        </p:nvGrpSpPr>
        <p:grpSpPr>
          <a:xfrm>
            <a:off x="6574052" y="3226544"/>
            <a:ext cx="4813121" cy="1169551"/>
            <a:chOff x="6574052" y="3226544"/>
            <a:chExt cx="4813121" cy="1169551"/>
          </a:xfrm>
        </p:grpSpPr>
        <p:sp>
          <p:nvSpPr>
            <p:cNvPr id="28" name="TextBox 27">
              <a:extLst>
                <a:ext uri="{FF2B5EF4-FFF2-40B4-BE49-F238E27FC236}">
                  <a16:creationId xmlns:a16="http://schemas.microsoft.com/office/drawing/2014/main" id="{ACB9E6EA-FCE2-418A-B695-295F4AB6388D}"/>
                </a:ext>
              </a:extLst>
            </p:cNvPr>
            <p:cNvSpPr txBox="1"/>
            <p:nvPr/>
          </p:nvSpPr>
          <p:spPr>
            <a:xfrm>
              <a:off x="8567038" y="3226544"/>
              <a:ext cx="1760027" cy="997196"/>
            </a:xfrm>
            <a:prstGeom prst="rect">
              <a:avLst/>
            </a:prstGeom>
            <a:noFill/>
          </p:spPr>
          <p:txBody>
            <a:bodyPr wrap="square">
              <a:spAutoFit/>
            </a:bodyPr>
            <a:lstStyle/>
            <a:p>
              <a:pPr marL="0" marR="0" lvl="0" indent="0" algn="l" defTabSz="913943" rtl="0" eaLnBrk="1" fontAlgn="auto" latinLnBrk="0" hangingPunct="1">
                <a:lnSpc>
                  <a:spcPct val="100000"/>
                </a:lnSpc>
                <a:spcBef>
                  <a:spcPct val="20000"/>
                </a:spcBef>
                <a:spcAft>
                  <a:spcPts val="0"/>
                </a:spcAft>
                <a:buClr>
                  <a:srgbClr val="FFE600"/>
                </a:buClr>
                <a:buSzPct val="110000"/>
                <a:buFontTx/>
                <a:buNone/>
                <a:tabLst/>
                <a:defRPr/>
              </a:pPr>
              <a:r>
                <a:rPr kumimoji="0" lang="en-US" sz="2800" b="1"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8 billion </a:t>
              </a:r>
            </a:p>
            <a:p>
              <a:pPr marL="0" marR="0" lvl="0" indent="0" algn="l" defTabSz="913943" rtl="0" eaLnBrk="1" fontAlgn="auto" latinLnBrk="0" hangingPunct="1">
                <a:lnSpc>
                  <a:spcPct val="100000"/>
                </a:lnSpc>
                <a:spcBef>
                  <a:spcPct val="20000"/>
                </a:spcBef>
                <a:spcAft>
                  <a:spcPts val="0"/>
                </a:spcAft>
                <a:buClr>
                  <a:srgbClr val="FFE600"/>
                </a:buClr>
                <a:buSzPct val="110000"/>
                <a:buFontTx/>
                <a:buNone/>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     to establish </a:t>
              </a:r>
              <a:b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b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     hydrogen hubs</a:t>
              </a:r>
            </a:p>
          </p:txBody>
        </p:sp>
        <p:sp>
          <p:nvSpPr>
            <p:cNvPr id="32" name="TextBox 31">
              <a:extLst>
                <a:ext uri="{FF2B5EF4-FFF2-40B4-BE49-F238E27FC236}">
                  <a16:creationId xmlns:a16="http://schemas.microsoft.com/office/drawing/2014/main" id="{4A357E43-F1BD-4807-94FB-06099F690F36}"/>
                </a:ext>
              </a:extLst>
            </p:cNvPr>
            <p:cNvSpPr txBox="1"/>
            <p:nvPr/>
          </p:nvSpPr>
          <p:spPr>
            <a:xfrm>
              <a:off x="6574052" y="3226544"/>
              <a:ext cx="1606863" cy="1169551"/>
            </a:xfrm>
            <a:prstGeom prst="rect">
              <a:avLst/>
            </a:prstGeom>
            <a:noFill/>
          </p:spPr>
          <p:txBody>
            <a:bodyPr wrap="square">
              <a:spAutoFit/>
            </a:bodyPr>
            <a:lstStyle/>
            <a:p>
              <a:pPr marL="0" marR="0" lvl="0" indent="0" algn="l" defTabSz="913943" rtl="0" eaLnBrk="1" fontAlgn="auto" latinLnBrk="0" hangingPunct="1">
                <a:lnSpc>
                  <a:spcPct val="100000"/>
                </a:lnSpc>
                <a:spcBef>
                  <a:spcPct val="20000"/>
                </a:spcBef>
                <a:spcAft>
                  <a:spcPts val="0"/>
                </a:spcAft>
                <a:buClr>
                  <a:srgbClr val="FFE600"/>
                </a:buClr>
                <a:buSzPct val="110000"/>
                <a:buFontTx/>
                <a:buNone/>
                <a:tabLst/>
                <a:defRPr/>
              </a:pPr>
              <a:r>
                <a:rPr kumimoji="0" lang="en-US" sz="1400" b="0"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rPr>
                <a:t>Infrastructure Investment and Jobs Act </a:t>
              </a: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IIJA)</a:t>
              </a:r>
              <a:b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b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Introduced in November 2021 </a:t>
              </a:r>
            </a:p>
          </p:txBody>
        </p:sp>
        <p:grpSp>
          <p:nvGrpSpPr>
            <p:cNvPr id="3" name="Group 2">
              <a:extLst>
                <a:ext uri="{FF2B5EF4-FFF2-40B4-BE49-F238E27FC236}">
                  <a16:creationId xmlns:a16="http://schemas.microsoft.com/office/drawing/2014/main" id="{F2E8BBA7-3CF2-4E9C-9F9C-4808F7E1DA61}"/>
                </a:ext>
              </a:extLst>
            </p:cNvPr>
            <p:cNvGrpSpPr/>
            <p:nvPr/>
          </p:nvGrpSpPr>
          <p:grpSpPr>
            <a:xfrm>
              <a:off x="10472773" y="3287165"/>
              <a:ext cx="914400" cy="914400"/>
              <a:chOff x="10398906" y="3268382"/>
              <a:chExt cx="914400" cy="914400"/>
            </a:xfrm>
          </p:grpSpPr>
          <p:pic>
            <p:nvPicPr>
              <p:cNvPr id="9" name="Graphic 8" descr="Network outline">
                <a:extLst>
                  <a:ext uri="{FF2B5EF4-FFF2-40B4-BE49-F238E27FC236}">
                    <a16:creationId xmlns:a16="http://schemas.microsoft.com/office/drawing/2014/main" id="{7E98D806-E33F-48EC-B517-29A532386C6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398906" y="3268382"/>
                <a:ext cx="914400" cy="914400"/>
              </a:xfrm>
              <a:prstGeom prst="rect">
                <a:avLst/>
              </a:prstGeom>
            </p:spPr>
          </p:pic>
          <p:sp>
            <p:nvSpPr>
              <p:cNvPr id="39" name="Rectangle 1551">
                <a:extLst>
                  <a:ext uri="{FF2B5EF4-FFF2-40B4-BE49-F238E27FC236}">
                    <a16:creationId xmlns:a16="http://schemas.microsoft.com/office/drawing/2014/main" id="{CE26F97E-41D3-4BE3-BA70-D292E3B22E56}"/>
                  </a:ext>
                </a:extLst>
              </p:cNvPr>
              <p:cNvSpPr/>
              <p:nvPr/>
            </p:nvSpPr>
            <p:spPr>
              <a:xfrm>
                <a:off x="10716565" y="3617291"/>
                <a:ext cx="274320" cy="274320"/>
              </a:xfrm>
              <a:prstGeom prst="ellipse">
                <a:avLst/>
              </a:prstGeom>
              <a:solidFill>
                <a:schemeClr val="tx2"/>
              </a:solid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340528" algn="l"/>
                  </a:tabLst>
                  <a:defRPr/>
                </a:pPr>
                <a:r>
                  <a:rPr kumimoji="0" lang="en-US" sz="500" b="1" i="0" u="none" strike="noStrike" kern="1200" cap="none" spc="0" normalizeH="0" baseline="0" noProof="0" dirty="0">
                    <a:ln>
                      <a:noFill/>
                    </a:ln>
                    <a:solidFill>
                      <a:srgbClr val="2E2E38"/>
                    </a:solidFill>
                    <a:effectLst/>
                    <a:uLnTx/>
                    <a:uFillTx/>
                    <a:latin typeface="EYInterstate-LightBold"/>
                    <a:ea typeface="+mn-ea"/>
                    <a:cs typeface="+mn-cs"/>
                  </a:rPr>
                  <a:t> </a:t>
                </a:r>
                <a:r>
                  <a:rPr kumimoji="0" lang="en-US" sz="1005" b="1" i="0" u="none" strike="noStrike" kern="1200" cap="none" spc="0" normalizeH="0" baseline="0" noProof="0" dirty="0">
                    <a:ln>
                      <a:noFill/>
                    </a:ln>
                    <a:solidFill>
                      <a:srgbClr val="2E2E38"/>
                    </a:solidFill>
                    <a:effectLst/>
                    <a:uLnTx/>
                    <a:uFillTx/>
                    <a:latin typeface="EYInterstate-LightBold"/>
                    <a:ea typeface="+mn-ea"/>
                    <a:cs typeface="+mn-cs"/>
                  </a:rPr>
                  <a:t>H</a:t>
                </a:r>
                <a:r>
                  <a:rPr kumimoji="0" lang="en-US" sz="1014" b="1" i="0" u="none" strike="noStrike" kern="1200" cap="none" spc="0" normalizeH="0" baseline="-32142" noProof="0" dirty="0">
                    <a:ln>
                      <a:noFill/>
                    </a:ln>
                    <a:solidFill>
                      <a:srgbClr val="2E2E38"/>
                    </a:solidFill>
                    <a:effectLst/>
                    <a:uLnTx/>
                    <a:uFillTx/>
                    <a:latin typeface="EYInterstate-LightBold"/>
                    <a:ea typeface="+mn-ea"/>
                    <a:cs typeface="+mn-cs"/>
                  </a:rPr>
                  <a:t>2</a:t>
                </a:r>
                <a:endParaRPr kumimoji="0" lang="en-US" sz="1014" b="1" i="0" u="none" strike="noStrike" kern="1200" cap="none" spc="0" normalizeH="0" baseline="-149999" noProof="0" dirty="0">
                  <a:ln>
                    <a:noFill/>
                  </a:ln>
                  <a:solidFill>
                    <a:srgbClr val="2E2E38"/>
                  </a:solidFill>
                  <a:effectLst/>
                  <a:uLnTx/>
                  <a:uFillTx/>
                  <a:latin typeface="EYInterstate-LightBold"/>
                  <a:ea typeface="+mn-ea"/>
                  <a:cs typeface="+mn-cs"/>
                </a:endParaRPr>
              </a:p>
            </p:txBody>
          </p:sp>
        </p:grpSp>
      </p:grpSp>
      <p:sp>
        <p:nvSpPr>
          <p:cNvPr id="41" name="TextBox 40">
            <a:extLst>
              <a:ext uri="{FF2B5EF4-FFF2-40B4-BE49-F238E27FC236}">
                <a16:creationId xmlns:a16="http://schemas.microsoft.com/office/drawing/2014/main" id="{5E277A8E-15D9-4CBE-B8EA-23F31D6E6595}"/>
              </a:ext>
            </a:extLst>
          </p:cNvPr>
          <p:cNvSpPr txBox="1"/>
          <p:nvPr/>
        </p:nvSpPr>
        <p:spPr>
          <a:xfrm>
            <a:off x="7986730" y="1531419"/>
            <a:ext cx="64120" cy="141577"/>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800" b="0" i="0" u="none" strike="noStrike" kern="1200" cap="none" spc="0" normalizeH="0" baseline="0" noProof="0" dirty="0">
                <a:ln>
                  <a:noFill/>
                </a:ln>
                <a:solidFill>
                  <a:prstClr val="white"/>
                </a:solidFill>
                <a:effectLst/>
                <a:uLnTx/>
                <a:uFillTx/>
                <a:latin typeface="EYInterstate Light"/>
                <a:ea typeface="+mn-ea"/>
                <a:cs typeface="+mn-cs"/>
              </a:rPr>
              <a:t>1</a:t>
            </a:r>
          </a:p>
        </p:txBody>
      </p:sp>
      <p:sp>
        <p:nvSpPr>
          <p:cNvPr id="40" name="Footer Placeholder 2">
            <a:extLst>
              <a:ext uri="{FF2B5EF4-FFF2-40B4-BE49-F238E27FC236}">
                <a16:creationId xmlns:a16="http://schemas.microsoft.com/office/drawing/2014/main" id="{121D35FC-F19B-4480-ACE8-8DCDA7F2782E}"/>
              </a:ext>
            </a:extLst>
          </p:cNvPr>
          <p:cNvSpPr txBox="1">
            <a:spLocks/>
          </p:cNvSpPr>
          <p:nvPr/>
        </p:nvSpPr>
        <p:spPr>
          <a:xfrm>
            <a:off x="4553753" y="6471244"/>
            <a:ext cx="3367734" cy="180000"/>
          </a:xfrm>
          <a:prstGeom prst="rect">
            <a:avLst/>
          </a:prstGeom>
        </p:spPr>
        <p:txBody>
          <a:bodyPr/>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Page </a:t>
            </a:r>
            <a:fld id="{F1BC30E3-FFE5-4B91-AA19-87A149EBB9EE}" type="slidenum">
              <a:rPr smtClean="0"/>
              <a:pPr/>
              <a:t>2</a:t>
            </a:fld>
            <a:r>
              <a:rPr lang="en-US" dirty="0"/>
              <a:t> | Draft</a:t>
            </a:r>
          </a:p>
        </p:txBody>
      </p:sp>
    </p:spTree>
    <p:extLst>
      <p:ext uri="{BB962C8B-B14F-4D97-AF65-F5344CB8AC3E}">
        <p14:creationId xmlns:p14="http://schemas.microsoft.com/office/powerpoint/2010/main" val="33180296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wipe(up)">
                                      <p:cBhvr>
                                        <p:cTn id="7" dur="500"/>
                                        <p:tgtEl>
                                          <p:spTgt spid="7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1"/>
                                        </p:tgtEl>
                                        <p:attrNameLst>
                                          <p:attrName>style.visibility</p:attrName>
                                        </p:attrNameLst>
                                      </p:cBhvr>
                                      <p:to>
                                        <p:strVal val="visible"/>
                                      </p:to>
                                    </p:set>
                                    <p:animEffect transition="in" filter="fade">
                                      <p:cBhvr>
                                        <p:cTn id="14" dur="500"/>
                                        <p:tgtEl>
                                          <p:spTgt spid="41"/>
                                        </p:tgtEl>
                                      </p:cBhvr>
                                    </p:animEffect>
                                  </p:childTnLst>
                                </p:cTn>
                              </p:par>
                            </p:childTnLst>
                          </p:cTn>
                        </p:par>
                      </p:childTnLst>
                    </p:cTn>
                  </p:par>
                  <p:par>
                    <p:cTn id="15" fill="hold">
                      <p:stCondLst>
                        <p:cond delay="indefinite"/>
                      </p:stCondLst>
                      <p:childTnLst>
                        <p:par>
                          <p:cTn id="16" fill="hold">
                            <p:stCondLst>
                              <p:cond delay="0"/>
                            </p:stCondLst>
                            <p:childTnLst>
                              <p:par>
                                <p:cTn id="17" presetID="16" presetClass="entr" presetSubtype="37" fill="hold" nodeType="clickEffect">
                                  <p:stCondLst>
                                    <p:cond delay="0"/>
                                  </p:stCondLst>
                                  <p:childTnLst>
                                    <p:set>
                                      <p:cBhvr>
                                        <p:cTn id="18" dur="1" fill="hold">
                                          <p:stCondLst>
                                            <p:cond delay="0"/>
                                          </p:stCondLst>
                                        </p:cTn>
                                        <p:tgtEl>
                                          <p:spTgt spid="73"/>
                                        </p:tgtEl>
                                        <p:attrNameLst>
                                          <p:attrName>style.visibility</p:attrName>
                                        </p:attrNameLst>
                                      </p:cBhvr>
                                      <p:to>
                                        <p:strVal val="visible"/>
                                      </p:to>
                                    </p:set>
                                    <p:animEffect transition="in" filter="barn(outVertical)">
                                      <p:cBhvr>
                                        <p:cTn id="19" dur="500"/>
                                        <p:tgtEl>
                                          <p:spTgt spid="73"/>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35"/>
                                        </p:tgtEl>
                                        <p:attrNameLst>
                                          <p:attrName>style.visibility</p:attrName>
                                        </p:attrNameLst>
                                      </p:cBhvr>
                                      <p:to>
                                        <p:strVal val="visible"/>
                                      </p:to>
                                    </p:set>
                                    <p:animEffect transition="in" filter="fade">
                                      <p:cBhvr>
                                        <p:cTn id="23" dur="500"/>
                                        <p:tgtEl>
                                          <p:spTgt spid="35"/>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wipe(up)">
                                      <p:cBhvr>
                                        <p:cTn id="28" dur="500"/>
                                        <p:tgtEl>
                                          <p:spTgt spid="5"/>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nodeType="clickEffect">
                                  <p:stCondLst>
                                    <p:cond delay="0"/>
                                  </p:stCondLst>
                                  <p:childTnLst>
                                    <p:set>
                                      <p:cBhvr>
                                        <p:cTn id="32" dur="1" fill="hold">
                                          <p:stCondLst>
                                            <p:cond delay="0"/>
                                          </p:stCondLst>
                                        </p:cTn>
                                        <p:tgtEl>
                                          <p:spTgt spid="2"/>
                                        </p:tgtEl>
                                        <p:attrNameLst>
                                          <p:attrName>style.visibility</p:attrName>
                                        </p:attrNameLst>
                                      </p:cBhvr>
                                      <p:to>
                                        <p:strVal val="visible"/>
                                      </p:to>
                                    </p:set>
                                    <p:animEffect transition="in" filter="wipe(up)">
                                      <p:cBhvr>
                                        <p:cTn id="3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41"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Oval 30">
            <a:extLst>
              <a:ext uri="{FF2B5EF4-FFF2-40B4-BE49-F238E27FC236}">
                <a16:creationId xmlns:a16="http://schemas.microsoft.com/office/drawing/2014/main" id="{1177A7E4-070A-4063-83B0-D744172ABA57}"/>
              </a:ext>
            </a:extLst>
          </p:cNvPr>
          <p:cNvSpPr/>
          <p:nvPr/>
        </p:nvSpPr>
        <p:spPr>
          <a:xfrm>
            <a:off x="4259784" y="1810157"/>
            <a:ext cx="3512616" cy="3491551"/>
          </a:xfrm>
          <a:prstGeom prst="ellipse">
            <a:avLst/>
          </a:pr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EYInterstate Light"/>
                <a:ea typeface="+mn-ea"/>
                <a:cs typeface="+mn-cs"/>
              </a:rPr>
              <a:t>Governance</a:t>
            </a:r>
          </a:p>
        </p:txBody>
      </p:sp>
      <p:sp>
        <p:nvSpPr>
          <p:cNvPr id="17" name="Title 1">
            <a:extLst>
              <a:ext uri="{FF2B5EF4-FFF2-40B4-BE49-F238E27FC236}">
                <a16:creationId xmlns:a16="http://schemas.microsoft.com/office/drawing/2014/main" id="{4DC7B111-C441-4066-9CE6-69F1B916D2D1}"/>
              </a:ext>
            </a:extLst>
          </p:cNvPr>
          <p:cNvSpPr txBox="1">
            <a:spLocks/>
          </p:cNvSpPr>
          <p:nvPr/>
        </p:nvSpPr>
        <p:spPr>
          <a:xfrm>
            <a:off x="465702" y="273861"/>
            <a:ext cx="10972800" cy="590550"/>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399" b="1" i="0" u="none" strike="noStrike" kern="1200" cap="none" spc="0" normalizeH="0" baseline="0" noProof="0" dirty="0">
                <a:ln>
                  <a:noFill/>
                </a:ln>
                <a:solidFill>
                  <a:srgbClr val="FFE600"/>
                </a:solidFill>
                <a:effectLst/>
                <a:uLnTx/>
                <a:uFillTx/>
                <a:latin typeface="EYInterstate Light" panose="02000506000000020004" pitchFamily="2" charset="0"/>
                <a:ea typeface="+mj-ea"/>
                <a:cs typeface="Arial" pitchFamily="34" charset="0"/>
              </a:rPr>
              <a:t>Security and control considerations</a:t>
            </a:r>
            <a:endParaRPr kumimoji="0" lang="en-US" sz="2399"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32" name="TextBox 31">
            <a:extLst>
              <a:ext uri="{FF2B5EF4-FFF2-40B4-BE49-F238E27FC236}">
                <a16:creationId xmlns:a16="http://schemas.microsoft.com/office/drawing/2014/main" id="{07D3625A-C54F-4183-93A7-E42F5E4AB51B}"/>
              </a:ext>
            </a:extLst>
          </p:cNvPr>
          <p:cNvSpPr txBox="1"/>
          <p:nvPr/>
        </p:nvSpPr>
        <p:spPr>
          <a:xfrm>
            <a:off x="2162295" y="1793685"/>
            <a:ext cx="1791948" cy="27699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28" name="TextBox 27">
            <a:extLst>
              <a:ext uri="{FF2B5EF4-FFF2-40B4-BE49-F238E27FC236}">
                <a16:creationId xmlns:a16="http://schemas.microsoft.com/office/drawing/2014/main" id="{47C00931-5BAC-458E-BD55-F26201E3C32B}"/>
              </a:ext>
            </a:extLst>
          </p:cNvPr>
          <p:cNvSpPr txBox="1"/>
          <p:nvPr/>
        </p:nvSpPr>
        <p:spPr>
          <a:xfrm>
            <a:off x="4501878" y="5636105"/>
            <a:ext cx="2658578" cy="27699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33" name="TextBox 32">
            <a:extLst>
              <a:ext uri="{FF2B5EF4-FFF2-40B4-BE49-F238E27FC236}">
                <a16:creationId xmlns:a16="http://schemas.microsoft.com/office/drawing/2014/main" id="{5127D22E-5AAE-47C1-BA60-24AE2AF09CE8}"/>
              </a:ext>
            </a:extLst>
          </p:cNvPr>
          <p:cNvSpPr txBox="1"/>
          <p:nvPr/>
        </p:nvSpPr>
        <p:spPr>
          <a:xfrm>
            <a:off x="465701" y="809524"/>
            <a:ext cx="10972799" cy="646331"/>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0" i="0" u="none" strike="noStrike" kern="1200" cap="none" spc="0" normalizeH="0" baseline="0" noProof="0" dirty="0">
                <a:ln>
                  <a:noFill/>
                </a:ln>
                <a:solidFill>
                  <a:prstClr val="white"/>
                </a:solidFill>
                <a:effectLst/>
                <a:uLnTx/>
                <a:uFillTx/>
                <a:latin typeface="EYInterstate Light"/>
                <a:ea typeface="+mn-ea"/>
                <a:cs typeface="+mn-cs"/>
              </a:rPr>
              <a:t>This molecular accounting solution is designed to overcome the challenges surrounding governance, process, and data with the same fidelity and rigor of a financial reporting and disclosure framework</a:t>
            </a:r>
            <a:endParaRPr kumimoji="0" lang="en-IN" sz="1800" b="0" i="0" u="none" strike="noStrike" kern="1200" cap="none" spc="0" normalizeH="0" baseline="0" noProof="0" dirty="0">
              <a:ln>
                <a:noFill/>
              </a:ln>
              <a:solidFill>
                <a:srgbClr val="FF0000"/>
              </a:solidFill>
              <a:effectLst/>
              <a:uLnTx/>
              <a:uFillTx/>
              <a:latin typeface="EYInterstate Light"/>
              <a:ea typeface="+mn-ea"/>
              <a:cs typeface="+mn-cs"/>
            </a:endParaRPr>
          </a:p>
        </p:txBody>
      </p:sp>
      <p:grpSp>
        <p:nvGrpSpPr>
          <p:cNvPr id="19" name="Group 18">
            <a:extLst>
              <a:ext uri="{FF2B5EF4-FFF2-40B4-BE49-F238E27FC236}">
                <a16:creationId xmlns:a16="http://schemas.microsoft.com/office/drawing/2014/main" id="{DFBB808F-7C98-4D9A-A4A7-02DCE729C4CF}"/>
              </a:ext>
            </a:extLst>
          </p:cNvPr>
          <p:cNvGrpSpPr/>
          <p:nvPr/>
        </p:nvGrpSpPr>
        <p:grpSpPr>
          <a:xfrm>
            <a:off x="7982513" y="2942101"/>
            <a:ext cx="3815619" cy="1692772"/>
            <a:chOff x="7572868" y="1623259"/>
            <a:chExt cx="3197913" cy="1692772"/>
          </a:xfrm>
        </p:grpSpPr>
        <p:sp>
          <p:nvSpPr>
            <p:cNvPr id="20" name="TextBox 19">
              <a:extLst>
                <a:ext uri="{FF2B5EF4-FFF2-40B4-BE49-F238E27FC236}">
                  <a16:creationId xmlns:a16="http://schemas.microsoft.com/office/drawing/2014/main" id="{B67B75AF-8DD8-4853-A6BA-F7B9551368E2}"/>
                </a:ext>
              </a:extLst>
            </p:cNvPr>
            <p:cNvSpPr txBox="1"/>
            <p:nvPr/>
          </p:nvSpPr>
          <p:spPr>
            <a:xfrm>
              <a:off x="7641093" y="1623259"/>
              <a:ext cx="919220"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trol</a:t>
              </a:r>
              <a:endPar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21" name="Straight Connector 20">
              <a:extLst>
                <a:ext uri="{FF2B5EF4-FFF2-40B4-BE49-F238E27FC236}">
                  <a16:creationId xmlns:a16="http://schemas.microsoft.com/office/drawing/2014/main" id="{4E5E0221-AF6A-4366-9B12-71E878AA8254}"/>
                </a:ext>
              </a:extLst>
            </p:cNvPr>
            <p:cNvCxnSpPr>
              <a:cxnSpLocks/>
            </p:cNvCxnSpPr>
            <p:nvPr/>
          </p:nvCxnSpPr>
          <p:spPr>
            <a:xfrm>
              <a:off x="7577130" y="2017251"/>
              <a:ext cx="3108591" cy="0"/>
            </a:xfrm>
            <a:prstGeom prst="line">
              <a:avLst/>
            </a:prstGeom>
            <a:ln w="38100">
              <a:solidFill>
                <a:srgbClr val="FFE600"/>
              </a:solidFill>
            </a:ln>
          </p:spPr>
          <p:style>
            <a:lnRef idx="1">
              <a:schemeClr val="dk1"/>
            </a:lnRef>
            <a:fillRef idx="0">
              <a:schemeClr val="dk1"/>
            </a:fillRef>
            <a:effectRef idx="0">
              <a:schemeClr val="dk1"/>
            </a:effectRef>
            <a:fontRef idx="minor">
              <a:schemeClr val="tx1"/>
            </a:fontRef>
          </p:style>
        </p:cxnSp>
        <p:sp>
          <p:nvSpPr>
            <p:cNvPr id="34" name="TextBox 33">
              <a:extLst>
                <a:ext uri="{FF2B5EF4-FFF2-40B4-BE49-F238E27FC236}">
                  <a16:creationId xmlns:a16="http://schemas.microsoft.com/office/drawing/2014/main" id="{2682C5D3-E5EF-4DA9-B8D4-63B71899FBD8}"/>
                </a:ext>
              </a:extLst>
            </p:cNvPr>
            <p:cNvSpPr txBox="1"/>
            <p:nvPr/>
          </p:nvSpPr>
          <p:spPr>
            <a:xfrm>
              <a:off x="7572868" y="2023369"/>
              <a:ext cx="3197913" cy="1292662"/>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kumimoji="0" lang="en-US" sz="1300" b="0" i="0" u="none" strike="noStrike" kern="0" cap="none" spc="0" normalizeH="0" baseline="0" noProof="0" dirty="0">
                  <a:ln>
                    <a:noFill/>
                  </a:ln>
                  <a:solidFill>
                    <a:prstClr val="white"/>
                  </a:solidFill>
                  <a:effectLst/>
                  <a:uLnTx/>
                  <a:uFillTx/>
                  <a:latin typeface="EYInterstate Light"/>
                  <a:ea typeface="+mn-ea"/>
                  <a:cs typeface="+mn-cs"/>
                </a:rPr>
                <a:t>Designed to give you control over data integrity</a:t>
              </a:r>
            </a:p>
            <a:p>
              <a:pPr marL="171450" marR="0" lvl="0" indent="-171450" algn="l" defTabSz="914400" rtl="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kumimoji="0" lang="en-US" sz="1300" b="0" i="0" u="none" strike="noStrike" kern="0" cap="none" spc="0" normalizeH="0" baseline="0" noProof="0" dirty="0">
                  <a:ln>
                    <a:noFill/>
                  </a:ln>
                  <a:solidFill>
                    <a:prstClr val="white"/>
                  </a:solidFill>
                  <a:effectLst/>
                  <a:uLnTx/>
                  <a:uFillTx/>
                  <a:latin typeface="EYInterstate Light"/>
                  <a:ea typeface="+mn-ea"/>
                  <a:cs typeface="+mn-cs"/>
                </a:rPr>
                <a:t>Automated approval workflow and notification</a:t>
              </a:r>
            </a:p>
            <a:p>
              <a:pPr marL="171450" marR="0" lvl="0" indent="-171450" algn="l" defTabSz="914400" rtl="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kumimoji="0" lang="en-US" sz="1300" b="0" i="0" u="none" strike="noStrike" kern="0" cap="none" spc="0" normalizeH="0" baseline="0" noProof="0" dirty="0">
                  <a:ln>
                    <a:noFill/>
                  </a:ln>
                  <a:solidFill>
                    <a:prstClr val="white"/>
                  </a:solidFill>
                  <a:effectLst/>
                  <a:uLnTx/>
                  <a:uFillTx/>
                  <a:latin typeface="EYInterstate Light"/>
                  <a:ea typeface="+mn-ea"/>
                  <a:cs typeface="+mn-cs"/>
                </a:rPr>
                <a:t>Reduced manual intervention and enable rapid response to data modifications</a:t>
              </a:r>
            </a:p>
            <a:p>
              <a:pPr marL="171450" marR="0" lvl="0" indent="-171450" algn="l" defTabSz="914400" rtl="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kumimoji="0" lang="en-US" sz="1300" b="0" i="0" u="none" strike="noStrike" kern="0" cap="none" spc="0" normalizeH="0" baseline="0" noProof="0" dirty="0">
                  <a:ln>
                    <a:noFill/>
                  </a:ln>
                  <a:solidFill>
                    <a:prstClr val="white"/>
                  </a:solidFill>
                  <a:effectLst/>
                  <a:uLnTx/>
                  <a:uFillTx/>
                  <a:latin typeface="EYInterstate Light"/>
                  <a:ea typeface="+mn-ea"/>
                  <a:cs typeface="+mn-cs"/>
                </a:rPr>
                <a:t>Improved transparence through audit logs</a:t>
              </a:r>
            </a:p>
          </p:txBody>
        </p:sp>
      </p:grpSp>
      <p:grpSp>
        <p:nvGrpSpPr>
          <p:cNvPr id="35" name="Group 34">
            <a:extLst>
              <a:ext uri="{FF2B5EF4-FFF2-40B4-BE49-F238E27FC236}">
                <a16:creationId xmlns:a16="http://schemas.microsoft.com/office/drawing/2014/main" id="{D9B70419-129E-4A01-B8EC-2B77AC3449FA}"/>
              </a:ext>
            </a:extLst>
          </p:cNvPr>
          <p:cNvGrpSpPr/>
          <p:nvPr/>
        </p:nvGrpSpPr>
        <p:grpSpPr>
          <a:xfrm>
            <a:off x="2951645" y="5417393"/>
            <a:ext cx="5316055" cy="1349917"/>
            <a:chOff x="5291006" y="5446732"/>
            <a:chExt cx="4324761" cy="1344376"/>
          </a:xfrm>
        </p:grpSpPr>
        <p:sp>
          <p:nvSpPr>
            <p:cNvPr id="36" name="TextBox 35">
              <a:extLst>
                <a:ext uri="{FF2B5EF4-FFF2-40B4-BE49-F238E27FC236}">
                  <a16:creationId xmlns:a16="http://schemas.microsoft.com/office/drawing/2014/main" id="{2CA4AAC6-2169-4106-8B5C-4CDE22CA58E8}"/>
                </a:ext>
              </a:extLst>
            </p:cNvPr>
            <p:cNvSpPr txBox="1"/>
            <p:nvPr/>
          </p:nvSpPr>
          <p:spPr>
            <a:xfrm>
              <a:off x="5314845" y="5902219"/>
              <a:ext cx="4300922" cy="88888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kumimoji="0" lang="en-US" sz="1300" b="0" i="0" u="none" strike="noStrike" kern="0" cap="none" spc="0" normalizeH="0" baseline="0" noProof="0" dirty="0">
                  <a:ln>
                    <a:noFill/>
                  </a:ln>
                  <a:solidFill>
                    <a:prstClr val="white"/>
                  </a:solidFill>
                  <a:effectLst/>
                  <a:uLnTx/>
                  <a:uFillTx/>
                  <a:latin typeface="EYInterstate Light"/>
                  <a:ea typeface="+mn-ea"/>
                  <a:cs typeface="+mn-cs"/>
                </a:rPr>
                <a:t>Improved adherence to compliance and quality reporting requirements</a:t>
              </a:r>
            </a:p>
            <a:p>
              <a:pPr marL="171450" marR="0" lvl="0" indent="-171450" algn="l" defTabSz="914400" rtl="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kumimoji="0" lang="en-US" sz="1300" b="0" i="0" u="none" strike="noStrike" kern="0" cap="none" spc="0" normalizeH="0" baseline="0" noProof="0" dirty="0">
                  <a:ln>
                    <a:noFill/>
                  </a:ln>
                  <a:solidFill>
                    <a:prstClr val="white"/>
                  </a:solidFill>
                  <a:effectLst/>
                  <a:uLnTx/>
                  <a:uFillTx/>
                  <a:latin typeface="EYInterstate Light"/>
                  <a:ea typeface="+mn-ea"/>
                  <a:cs typeface="+mn-cs"/>
                </a:rPr>
                <a:t>Minimal unforeseen issue related to data integrity, completeness and accuracy</a:t>
              </a:r>
            </a:p>
          </p:txBody>
        </p:sp>
        <p:sp>
          <p:nvSpPr>
            <p:cNvPr id="37" name="TextBox 36">
              <a:extLst>
                <a:ext uri="{FF2B5EF4-FFF2-40B4-BE49-F238E27FC236}">
                  <a16:creationId xmlns:a16="http://schemas.microsoft.com/office/drawing/2014/main" id="{1ACB5ABB-2AE1-434E-99AD-C87F7295B489}"/>
                </a:ext>
              </a:extLst>
            </p:cNvPr>
            <p:cNvSpPr txBox="1"/>
            <p:nvPr/>
          </p:nvSpPr>
          <p:spPr>
            <a:xfrm>
              <a:off x="5291006" y="5446732"/>
              <a:ext cx="1391620" cy="39846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mpliance</a:t>
              </a:r>
            </a:p>
          </p:txBody>
        </p:sp>
        <p:cxnSp>
          <p:nvCxnSpPr>
            <p:cNvPr id="38" name="Straight Connector 37">
              <a:extLst>
                <a:ext uri="{FF2B5EF4-FFF2-40B4-BE49-F238E27FC236}">
                  <a16:creationId xmlns:a16="http://schemas.microsoft.com/office/drawing/2014/main" id="{6B63AD70-ECB1-4422-B833-EEBD7673C72A}"/>
                </a:ext>
              </a:extLst>
            </p:cNvPr>
            <p:cNvCxnSpPr>
              <a:cxnSpLocks/>
            </p:cNvCxnSpPr>
            <p:nvPr/>
          </p:nvCxnSpPr>
          <p:spPr>
            <a:xfrm>
              <a:off x="5291006" y="5891018"/>
              <a:ext cx="4190644" cy="2"/>
            </a:xfrm>
            <a:prstGeom prst="line">
              <a:avLst/>
            </a:prstGeom>
            <a:ln w="38100">
              <a:solidFill>
                <a:srgbClr val="FFE600"/>
              </a:solidFill>
            </a:ln>
          </p:spPr>
          <p:style>
            <a:lnRef idx="1">
              <a:schemeClr val="dk1"/>
            </a:lnRef>
            <a:fillRef idx="0">
              <a:schemeClr val="dk1"/>
            </a:fillRef>
            <a:effectRef idx="0">
              <a:schemeClr val="dk1"/>
            </a:effectRef>
            <a:fontRef idx="minor">
              <a:schemeClr val="tx1"/>
            </a:fontRef>
          </p:style>
        </p:cxnSp>
      </p:grpSp>
      <p:grpSp>
        <p:nvGrpSpPr>
          <p:cNvPr id="39" name="Group 38">
            <a:extLst>
              <a:ext uri="{FF2B5EF4-FFF2-40B4-BE49-F238E27FC236}">
                <a16:creationId xmlns:a16="http://schemas.microsoft.com/office/drawing/2014/main" id="{9AB86988-11F1-4431-A1C6-E6CA19ED526A}"/>
              </a:ext>
            </a:extLst>
          </p:cNvPr>
          <p:cNvGrpSpPr/>
          <p:nvPr/>
        </p:nvGrpSpPr>
        <p:grpSpPr>
          <a:xfrm>
            <a:off x="393870" y="2413573"/>
            <a:ext cx="3296806" cy="1888834"/>
            <a:chOff x="360794" y="1182389"/>
            <a:chExt cx="3296806" cy="1888834"/>
          </a:xfrm>
        </p:grpSpPr>
        <p:sp>
          <p:nvSpPr>
            <p:cNvPr id="40" name="TextBox 39">
              <a:extLst>
                <a:ext uri="{FF2B5EF4-FFF2-40B4-BE49-F238E27FC236}">
                  <a16:creationId xmlns:a16="http://schemas.microsoft.com/office/drawing/2014/main" id="{F7AB4E65-FAF8-45AC-ADCF-83C439717E36}"/>
                </a:ext>
              </a:extLst>
            </p:cNvPr>
            <p:cNvSpPr txBox="1"/>
            <p:nvPr/>
          </p:nvSpPr>
          <p:spPr>
            <a:xfrm>
              <a:off x="413073" y="1182389"/>
              <a:ext cx="1196161"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ecurity</a:t>
              </a:r>
              <a:endPar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41" name="Straight Connector 40">
              <a:extLst>
                <a:ext uri="{FF2B5EF4-FFF2-40B4-BE49-F238E27FC236}">
                  <a16:creationId xmlns:a16="http://schemas.microsoft.com/office/drawing/2014/main" id="{8395B9F1-6BF2-4ABB-8AC5-88CE9F8FB781}"/>
                </a:ext>
              </a:extLst>
            </p:cNvPr>
            <p:cNvCxnSpPr>
              <a:cxnSpLocks/>
            </p:cNvCxnSpPr>
            <p:nvPr/>
          </p:nvCxnSpPr>
          <p:spPr>
            <a:xfrm>
              <a:off x="392317" y="1578652"/>
              <a:ext cx="3265283" cy="0"/>
            </a:xfrm>
            <a:prstGeom prst="line">
              <a:avLst/>
            </a:prstGeom>
            <a:ln w="38100">
              <a:solidFill>
                <a:srgbClr val="FFE600"/>
              </a:solidFill>
            </a:ln>
          </p:spPr>
          <p:style>
            <a:lnRef idx="1">
              <a:schemeClr val="dk1"/>
            </a:lnRef>
            <a:fillRef idx="0">
              <a:schemeClr val="dk1"/>
            </a:fillRef>
            <a:effectRef idx="0">
              <a:schemeClr val="dk1"/>
            </a:effectRef>
            <a:fontRef idx="minor">
              <a:schemeClr val="tx1"/>
            </a:fontRef>
          </p:style>
        </p:cxnSp>
        <p:sp>
          <p:nvSpPr>
            <p:cNvPr id="42" name="TextBox 41">
              <a:extLst>
                <a:ext uri="{FF2B5EF4-FFF2-40B4-BE49-F238E27FC236}">
                  <a16:creationId xmlns:a16="http://schemas.microsoft.com/office/drawing/2014/main" id="{DA91FF07-B3D1-45D5-9726-0321A744AEDD}"/>
                </a:ext>
              </a:extLst>
            </p:cNvPr>
            <p:cNvSpPr txBox="1"/>
            <p:nvPr/>
          </p:nvSpPr>
          <p:spPr>
            <a:xfrm>
              <a:off x="360794" y="1578507"/>
              <a:ext cx="3239592" cy="149271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kumimoji="0" lang="en-US" sz="1300" b="0" i="0" u="none" strike="noStrike" kern="0" cap="none" spc="0" normalizeH="0" baseline="0" noProof="0" dirty="0">
                  <a:ln>
                    <a:noFill/>
                  </a:ln>
                  <a:solidFill>
                    <a:prstClr val="white"/>
                  </a:solidFill>
                  <a:effectLst/>
                  <a:uLnTx/>
                  <a:uFillTx/>
                  <a:latin typeface="EYInterstate Light"/>
                  <a:ea typeface="+mn-ea"/>
                  <a:cs typeface="+mn-cs"/>
                </a:rPr>
                <a:t>Protect against unauthorized intrusion and modification</a:t>
              </a:r>
            </a:p>
            <a:p>
              <a:pPr marL="171450" marR="0" lvl="0" indent="-171450" algn="l" defTabSz="914400" rtl="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kumimoji="0" lang="en-US" sz="1300" b="0" i="0" u="none" strike="noStrike" kern="0" cap="none" spc="0" normalizeH="0" baseline="0" noProof="0" dirty="0">
                  <a:ln>
                    <a:noFill/>
                  </a:ln>
                  <a:solidFill>
                    <a:prstClr val="white"/>
                  </a:solidFill>
                  <a:effectLst/>
                  <a:uLnTx/>
                  <a:uFillTx/>
                  <a:latin typeface="EYInterstate Light"/>
                  <a:ea typeface="+mn-ea"/>
                  <a:cs typeface="+mn-cs"/>
                </a:rPr>
                <a:t>Flexible and granular security design</a:t>
              </a:r>
            </a:p>
            <a:p>
              <a:pPr marL="171450" marR="0" lvl="0" indent="-171450" algn="l" defTabSz="914400" rtl="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kumimoji="0" lang="en-US" sz="1300" b="0" i="0" u="none" strike="noStrike" kern="0" cap="none" spc="0" normalizeH="0" baseline="0" noProof="0" dirty="0">
                  <a:ln>
                    <a:noFill/>
                  </a:ln>
                  <a:solidFill>
                    <a:prstClr val="white"/>
                  </a:solidFill>
                  <a:effectLst/>
                  <a:uLnTx/>
                  <a:uFillTx/>
                  <a:latin typeface="EYInterstate Light"/>
                  <a:ea typeface="+mn-ea"/>
                  <a:cs typeface="+mn-cs"/>
                </a:rPr>
                <a:t>Customizable security based on value chain, process and activity</a:t>
              </a:r>
            </a:p>
            <a:p>
              <a:pPr marL="171450" marR="0" lvl="0" indent="-171450" algn="l" defTabSz="914400" rtl="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kumimoji="0" lang="en-US" sz="1300" b="0" i="0" u="none" strike="noStrike" kern="0" cap="none" spc="0" normalizeH="0" baseline="0" noProof="0" dirty="0">
                  <a:ln>
                    <a:noFill/>
                  </a:ln>
                  <a:solidFill>
                    <a:prstClr val="white"/>
                  </a:solidFill>
                  <a:effectLst/>
                  <a:uLnTx/>
                  <a:uFillTx/>
                  <a:latin typeface="EYInterstate Light"/>
                  <a:ea typeface="+mn-ea"/>
                  <a:cs typeface="+mn-cs"/>
                </a:rPr>
                <a:t>Enforced segregation of duties and least privilege principle</a:t>
              </a:r>
            </a:p>
          </p:txBody>
        </p:sp>
      </p:grpSp>
      <p:grpSp>
        <p:nvGrpSpPr>
          <p:cNvPr id="3" name="Group 2">
            <a:extLst>
              <a:ext uri="{FF2B5EF4-FFF2-40B4-BE49-F238E27FC236}">
                <a16:creationId xmlns:a16="http://schemas.microsoft.com/office/drawing/2014/main" id="{741C1092-1112-4518-B590-95D2F4AFC9FA}"/>
              </a:ext>
            </a:extLst>
          </p:cNvPr>
          <p:cNvGrpSpPr/>
          <p:nvPr/>
        </p:nvGrpSpPr>
        <p:grpSpPr>
          <a:xfrm>
            <a:off x="3857708" y="1207789"/>
            <a:ext cx="4486135" cy="4620916"/>
            <a:chOff x="3857708" y="1207789"/>
            <a:chExt cx="4486135" cy="4620916"/>
          </a:xfrm>
        </p:grpSpPr>
        <p:sp>
          <p:nvSpPr>
            <p:cNvPr id="57" name="Arrow: Circular 56">
              <a:extLst>
                <a:ext uri="{FF2B5EF4-FFF2-40B4-BE49-F238E27FC236}">
                  <a16:creationId xmlns:a16="http://schemas.microsoft.com/office/drawing/2014/main" id="{E7A59CF6-DB91-4B8B-8EA8-AAFD2914E740}"/>
                </a:ext>
              </a:extLst>
            </p:cNvPr>
            <p:cNvSpPr/>
            <p:nvPr/>
          </p:nvSpPr>
          <p:spPr>
            <a:xfrm rot="14400000">
              <a:off x="3728207" y="1337290"/>
              <a:ext cx="4414500" cy="4155497"/>
            </a:xfrm>
            <a:prstGeom prst="circularArrow">
              <a:avLst>
                <a:gd name="adj1" fmla="val 5085"/>
                <a:gd name="adj2" fmla="val 407449"/>
                <a:gd name="adj3" fmla="val 15873039"/>
                <a:gd name="adj4" fmla="val 9081442"/>
                <a:gd name="adj5" fmla="val 5655"/>
              </a:avLst>
            </a:prstGeom>
            <a:solidFill>
              <a:schemeClr val="bg1">
                <a:lumMod val="50000"/>
              </a:schemeClr>
            </a:solidFill>
            <a:ln>
              <a:noFill/>
            </a:ln>
            <a:effectLst/>
          </p:spPr>
          <p:style>
            <a:lnRef idx="0">
              <a:scrgbClr r="0" g="0" b="0"/>
            </a:lnRef>
            <a:fillRef idx="1">
              <a:scrgbClr r="0" g="0" b="0"/>
            </a:fillRef>
            <a:effectRef idx="0">
              <a:scrgbClr r="0" g="0" b="0"/>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58" name="Arrow: Circular 57">
              <a:extLst>
                <a:ext uri="{FF2B5EF4-FFF2-40B4-BE49-F238E27FC236}">
                  <a16:creationId xmlns:a16="http://schemas.microsoft.com/office/drawing/2014/main" id="{9F3022E6-8E64-449C-96D4-CB84A233E10B}"/>
                </a:ext>
              </a:extLst>
            </p:cNvPr>
            <p:cNvSpPr/>
            <p:nvPr/>
          </p:nvSpPr>
          <p:spPr>
            <a:xfrm rot="7200000">
              <a:off x="3758192" y="1610800"/>
              <a:ext cx="4361892" cy="4073918"/>
            </a:xfrm>
            <a:prstGeom prst="circularArrow">
              <a:avLst>
                <a:gd name="adj1" fmla="val 5085"/>
                <a:gd name="adj2" fmla="val 327528"/>
                <a:gd name="adj3" fmla="val 15873039"/>
                <a:gd name="adj4" fmla="val 9069542"/>
                <a:gd name="adj5" fmla="val 5932"/>
              </a:avLst>
            </a:prstGeom>
            <a:solidFill>
              <a:schemeClr val="bg1">
                <a:lumMod val="85000"/>
              </a:schemeClr>
            </a:solidFill>
            <a:ln>
              <a:noFill/>
            </a:ln>
            <a:effectLst/>
          </p:spPr>
          <p:style>
            <a:lnRef idx="0">
              <a:scrgbClr r="0" g="0" b="0"/>
            </a:lnRef>
            <a:fillRef idx="1">
              <a:scrgbClr r="0" g="0" b="0"/>
            </a:fillRef>
            <a:effectRef idx="0">
              <a:scrgbClr r="0" g="0" b="0"/>
            </a:effectRef>
            <a:fontRef idx="minor">
              <a:schemeClr val="lt1"/>
            </a:fontRef>
          </p:style>
        </p:sp>
        <p:sp>
          <p:nvSpPr>
            <p:cNvPr id="56" name="Arrow: Circular 55">
              <a:extLst>
                <a:ext uri="{FF2B5EF4-FFF2-40B4-BE49-F238E27FC236}">
                  <a16:creationId xmlns:a16="http://schemas.microsoft.com/office/drawing/2014/main" id="{86509C69-ADA2-409A-BE5B-D5834AFF7AF1}"/>
                </a:ext>
              </a:extLst>
            </p:cNvPr>
            <p:cNvSpPr/>
            <p:nvPr/>
          </p:nvSpPr>
          <p:spPr>
            <a:xfrm>
              <a:off x="3929343" y="1505402"/>
              <a:ext cx="4414500" cy="4155497"/>
            </a:xfrm>
            <a:prstGeom prst="circularArrow">
              <a:avLst>
                <a:gd name="adj1" fmla="val 5085"/>
                <a:gd name="adj2" fmla="val 327528"/>
                <a:gd name="adj3" fmla="val 15873039"/>
                <a:gd name="adj4" fmla="val 9000000"/>
                <a:gd name="adj5" fmla="val 5956"/>
              </a:avLst>
            </a:prstGeom>
            <a:solidFill>
              <a:schemeClr val="bg1">
                <a:lumMod val="95000"/>
              </a:schemeClr>
            </a:solidFill>
            <a:ln>
              <a:noFill/>
            </a:ln>
            <a:effectLst/>
          </p:spPr>
          <p:style>
            <a:lnRef idx="0">
              <a:scrgbClr r="0" g="0" b="0"/>
            </a:lnRef>
            <a:fillRef idx="1">
              <a:scrgbClr r="0" g="0" b="0"/>
            </a:fillRef>
            <a:effectRef idx="0">
              <a:scrgbClr r="0" g="0" b="0"/>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62" name="Arrow: Circular 61">
              <a:extLst>
                <a:ext uri="{FF2B5EF4-FFF2-40B4-BE49-F238E27FC236}">
                  <a16:creationId xmlns:a16="http://schemas.microsoft.com/office/drawing/2014/main" id="{9C83DEFC-10A3-41EE-A512-3239203D9442}"/>
                </a:ext>
              </a:extLst>
            </p:cNvPr>
            <p:cNvSpPr/>
            <p:nvPr/>
          </p:nvSpPr>
          <p:spPr>
            <a:xfrm rot="14400000">
              <a:off x="4804583" y="3288594"/>
              <a:ext cx="1994940" cy="2706442"/>
            </a:xfrm>
            <a:custGeom>
              <a:avLst/>
              <a:gdLst>
                <a:gd name="connsiteX0" fmla="*/ 390926 w 4179670"/>
                <a:gd name="connsiteY0" fmla="*/ 3103160 h 4244588"/>
                <a:gd name="connsiteX1" fmla="*/ 352104 w 4179670"/>
                <a:gd name="connsiteY1" fmla="*/ 1214433 h 4244588"/>
                <a:gd name="connsiteX2" fmla="*/ 1922574 w 4179670"/>
                <a:gd name="connsiteY2" fmla="*/ 143361 h 4244588"/>
                <a:gd name="connsiteX3" fmla="*/ 1923262 w 4179670"/>
                <a:gd name="connsiteY3" fmla="*/ 7850 h 4244588"/>
                <a:gd name="connsiteX4" fmla="*/ 2099312 w 4179670"/>
                <a:gd name="connsiteY4" fmla="*/ 258078 h 4244588"/>
                <a:gd name="connsiteX5" fmla="*/ 1920639 w 4179670"/>
                <a:gd name="connsiteY5" fmla="*/ 523949 h 4244588"/>
                <a:gd name="connsiteX6" fmla="*/ 1921327 w 4179670"/>
                <a:gd name="connsiteY6" fmla="*/ 388518 h 4244588"/>
                <a:gd name="connsiteX7" fmla="*/ 563537 w 4179670"/>
                <a:gd name="connsiteY7" fmla="*/ 1337062 h 4244588"/>
                <a:gd name="connsiteX8" fmla="*/ 602225 w 4179670"/>
                <a:gd name="connsiteY8" fmla="*/ 2981166 h 4244588"/>
                <a:gd name="connsiteX9" fmla="*/ 390926 w 4179670"/>
                <a:gd name="connsiteY9" fmla="*/ 3103160 h 4244588"/>
                <a:gd name="connsiteX0" fmla="*/ 292514 w 2000900"/>
                <a:gd name="connsiteY0" fmla="*/ 3095310 h 3095310"/>
                <a:gd name="connsiteX1" fmla="*/ 187701 w 2000900"/>
                <a:gd name="connsiteY1" fmla="*/ 1168483 h 3095310"/>
                <a:gd name="connsiteX2" fmla="*/ 1824162 w 2000900"/>
                <a:gd name="connsiteY2" fmla="*/ 135511 h 3095310"/>
                <a:gd name="connsiteX3" fmla="*/ 1824850 w 2000900"/>
                <a:gd name="connsiteY3" fmla="*/ 0 h 3095310"/>
                <a:gd name="connsiteX4" fmla="*/ 2000900 w 2000900"/>
                <a:gd name="connsiteY4" fmla="*/ 250228 h 3095310"/>
                <a:gd name="connsiteX5" fmla="*/ 1822227 w 2000900"/>
                <a:gd name="connsiteY5" fmla="*/ 516099 h 3095310"/>
                <a:gd name="connsiteX6" fmla="*/ 1822915 w 2000900"/>
                <a:gd name="connsiteY6" fmla="*/ 380668 h 3095310"/>
                <a:gd name="connsiteX7" fmla="*/ 465125 w 2000900"/>
                <a:gd name="connsiteY7" fmla="*/ 1329212 h 3095310"/>
                <a:gd name="connsiteX8" fmla="*/ 503813 w 2000900"/>
                <a:gd name="connsiteY8" fmla="*/ 2973316 h 3095310"/>
                <a:gd name="connsiteX9" fmla="*/ 292514 w 2000900"/>
                <a:gd name="connsiteY9" fmla="*/ 3095310 h 3095310"/>
                <a:gd name="connsiteX0" fmla="*/ 292514 w 2000900"/>
                <a:gd name="connsiteY0" fmla="*/ 3095310 h 3095310"/>
                <a:gd name="connsiteX1" fmla="*/ 187701 w 2000900"/>
                <a:gd name="connsiteY1" fmla="*/ 1168483 h 3095310"/>
                <a:gd name="connsiteX2" fmla="*/ 1824162 w 2000900"/>
                <a:gd name="connsiteY2" fmla="*/ 135511 h 3095310"/>
                <a:gd name="connsiteX3" fmla="*/ 1824850 w 2000900"/>
                <a:gd name="connsiteY3" fmla="*/ 0 h 3095310"/>
                <a:gd name="connsiteX4" fmla="*/ 2000900 w 2000900"/>
                <a:gd name="connsiteY4" fmla="*/ 250228 h 3095310"/>
                <a:gd name="connsiteX5" fmla="*/ 1822227 w 2000900"/>
                <a:gd name="connsiteY5" fmla="*/ 516099 h 3095310"/>
                <a:gd name="connsiteX6" fmla="*/ 1822915 w 2000900"/>
                <a:gd name="connsiteY6" fmla="*/ 380668 h 3095310"/>
                <a:gd name="connsiteX7" fmla="*/ 408659 w 2000900"/>
                <a:gd name="connsiteY7" fmla="*/ 1274615 h 3095310"/>
                <a:gd name="connsiteX8" fmla="*/ 503813 w 2000900"/>
                <a:gd name="connsiteY8" fmla="*/ 2973316 h 3095310"/>
                <a:gd name="connsiteX9" fmla="*/ 292514 w 2000900"/>
                <a:gd name="connsiteY9" fmla="*/ 3095310 h 3095310"/>
                <a:gd name="connsiteX0" fmla="*/ 292514 w 2000900"/>
                <a:gd name="connsiteY0" fmla="*/ 3095310 h 3095310"/>
                <a:gd name="connsiteX1" fmla="*/ 187701 w 2000900"/>
                <a:gd name="connsiteY1" fmla="*/ 1168483 h 3095310"/>
                <a:gd name="connsiteX2" fmla="*/ 1824162 w 2000900"/>
                <a:gd name="connsiteY2" fmla="*/ 135511 h 3095310"/>
                <a:gd name="connsiteX3" fmla="*/ 1824850 w 2000900"/>
                <a:gd name="connsiteY3" fmla="*/ 0 h 3095310"/>
                <a:gd name="connsiteX4" fmla="*/ 2000900 w 2000900"/>
                <a:gd name="connsiteY4" fmla="*/ 250228 h 3095310"/>
                <a:gd name="connsiteX5" fmla="*/ 1822227 w 2000900"/>
                <a:gd name="connsiteY5" fmla="*/ 516099 h 3095310"/>
                <a:gd name="connsiteX6" fmla="*/ 1822915 w 2000900"/>
                <a:gd name="connsiteY6" fmla="*/ 380668 h 3095310"/>
                <a:gd name="connsiteX7" fmla="*/ 408659 w 2000900"/>
                <a:gd name="connsiteY7" fmla="*/ 1274615 h 3095310"/>
                <a:gd name="connsiteX8" fmla="*/ 150053 w 2000900"/>
                <a:gd name="connsiteY8" fmla="*/ 2468446 h 3095310"/>
                <a:gd name="connsiteX9" fmla="*/ 292514 w 2000900"/>
                <a:gd name="connsiteY9" fmla="*/ 3095310 h 3095310"/>
                <a:gd name="connsiteX0" fmla="*/ 215802 w 2051628"/>
                <a:gd name="connsiteY0" fmla="*/ 2706442 h 2706442"/>
                <a:gd name="connsiteX1" fmla="*/ 238429 w 2051628"/>
                <a:gd name="connsiteY1" fmla="*/ 1168483 h 2706442"/>
                <a:gd name="connsiteX2" fmla="*/ 1874890 w 2051628"/>
                <a:gd name="connsiteY2" fmla="*/ 135511 h 2706442"/>
                <a:gd name="connsiteX3" fmla="*/ 1875578 w 2051628"/>
                <a:gd name="connsiteY3" fmla="*/ 0 h 2706442"/>
                <a:gd name="connsiteX4" fmla="*/ 2051628 w 2051628"/>
                <a:gd name="connsiteY4" fmla="*/ 250228 h 2706442"/>
                <a:gd name="connsiteX5" fmla="*/ 1872955 w 2051628"/>
                <a:gd name="connsiteY5" fmla="*/ 516099 h 2706442"/>
                <a:gd name="connsiteX6" fmla="*/ 1873643 w 2051628"/>
                <a:gd name="connsiteY6" fmla="*/ 380668 h 2706442"/>
                <a:gd name="connsiteX7" fmla="*/ 459387 w 2051628"/>
                <a:gd name="connsiteY7" fmla="*/ 1274615 h 2706442"/>
                <a:gd name="connsiteX8" fmla="*/ 200781 w 2051628"/>
                <a:gd name="connsiteY8" fmla="*/ 2468446 h 2706442"/>
                <a:gd name="connsiteX9" fmla="*/ 215802 w 2051628"/>
                <a:gd name="connsiteY9" fmla="*/ 2706442 h 2706442"/>
                <a:gd name="connsiteX0" fmla="*/ 159114 w 1994940"/>
                <a:gd name="connsiteY0" fmla="*/ 2706442 h 2706442"/>
                <a:gd name="connsiteX1" fmla="*/ 181741 w 1994940"/>
                <a:gd name="connsiteY1" fmla="*/ 1168483 h 2706442"/>
                <a:gd name="connsiteX2" fmla="*/ 1818202 w 1994940"/>
                <a:gd name="connsiteY2" fmla="*/ 135511 h 2706442"/>
                <a:gd name="connsiteX3" fmla="*/ 1818890 w 1994940"/>
                <a:gd name="connsiteY3" fmla="*/ 0 h 2706442"/>
                <a:gd name="connsiteX4" fmla="*/ 1994940 w 1994940"/>
                <a:gd name="connsiteY4" fmla="*/ 250228 h 2706442"/>
                <a:gd name="connsiteX5" fmla="*/ 1816267 w 1994940"/>
                <a:gd name="connsiteY5" fmla="*/ 516099 h 2706442"/>
                <a:gd name="connsiteX6" fmla="*/ 1816955 w 1994940"/>
                <a:gd name="connsiteY6" fmla="*/ 380668 h 2706442"/>
                <a:gd name="connsiteX7" fmla="*/ 402699 w 1994940"/>
                <a:gd name="connsiteY7" fmla="*/ 1274615 h 2706442"/>
                <a:gd name="connsiteX8" fmla="*/ 144093 w 1994940"/>
                <a:gd name="connsiteY8" fmla="*/ 2468446 h 2706442"/>
                <a:gd name="connsiteX9" fmla="*/ 159114 w 1994940"/>
                <a:gd name="connsiteY9" fmla="*/ 2706442 h 2706442"/>
                <a:gd name="connsiteX0" fmla="*/ 159114 w 1994940"/>
                <a:gd name="connsiteY0" fmla="*/ 2706442 h 2706442"/>
                <a:gd name="connsiteX1" fmla="*/ 181741 w 1994940"/>
                <a:gd name="connsiteY1" fmla="*/ 1168483 h 2706442"/>
                <a:gd name="connsiteX2" fmla="*/ 1818202 w 1994940"/>
                <a:gd name="connsiteY2" fmla="*/ 135511 h 2706442"/>
                <a:gd name="connsiteX3" fmla="*/ 1818890 w 1994940"/>
                <a:gd name="connsiteY3" fmla="*/ 0 h 2706442"/>
                <a:gd name="connsiteX4" fmla="*/ 1994940 w 1994940"/>
                <a:gd name="connsiteY4" fmla="*/ 250228 h 2706442"/>
                <a:gd name="connsiteX5" fmla="*/ 1816267 w 1994940"/>
                <a:gd name="connsiteY5" fmla="*/ 516099 h 2706442"/>
                <a:gd name="connsiteX6" fmla="*/ 1816955 w 1994940"/>
                <a:gd name="connsiteY6" fmla="*/ 380668 h 2706442"/>
                <a:gd name="connsiteX7" fmla="*/ 345382 w 1994940"/>
                <a:gd name="connsiteY7" fmla="*/ 1234191 h 2706442"/>
                <a:gd name="connsiteX8" fmla="*/ 144093 w 1994940"/>
                <a:gd name="connsiteY8" fmla="*/ 2468446 h 2706442"/>
                <a:gd name="connsiteX9" fmla="*/ 159114 w 1994940"/>
                <a:gd name="connsiteY9" fmla="*/ 2706442 h 2706442"/>
                <a:gd name="connsiteX0" fmla="*/ 159114 w 1994940"/>
                <a:gd name="connsiteY0" fmla="*/ 2706442 h 2706442"/>
                <a:gd name="connsiteX1" fmla="*/ 181741 w 1994940"/>
                <a:gd name="connsiteY1" fmla="*/ 1168483 h 2706442"/>
                <a:gd name="connsiteX2" fmla="*/ 1818202 w 1994940"/>
                <a:gd name="connsiteY2" fmla="*/ 135511 h 2706442"/>
                <a:gd name="connsiteX3" fmla="*/ 1818890 w 1994940"/>
                <a:gd name="connsiteY3" fmla="*/ 0 h 2706442"/>
                <a:gd name="connsiteX4" fmla="*/ 1994940 w 1994940"/>
                <a:gd name="connsiteY4" fmla="*/ 250228 h 2706442"/>
                <a:gd name="connsiteX5" fmla="*/ 1816267 w 1994940"/>
                <a:gd name="connsiteY5" fmla="*/ 516099 h 2706442"/>
                <a:gd name="connsiteX6" fmla="*/ 1816955 w 1994940"/>
                <a:gd name="connsiteY6" fmla="*/ 380668 h 2706442"/>
                <a:gd name="connsiteX7" fmla="*/ 329735 w 1994940"/>
                <a:gd name="connsiteY7" fmla="*/ 1210492 h 2706442"/>
                <a:gd name="connsiteX8" fmla="*/ 144093 w 1994940"/>
                <a:gd name="connsiteY8" fmla="*/ 2468446 h 2706442"/>
                <a:gd name="connsiteX9" fmla="*/ 159114 w 1994940"/>
                <a:gd name="connsiteY9" fmla="*/ 2706442 h 270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94940" h="2706442">
                  <a:moveTo>
                    <a:pt x="159114" y="2706442"/>
                  </a:moveTo>
                  <a:cubicBezTo>
                    <a:pt x="-17194" y="2055963"/>
                    <a:pt x="-94774" y="1596971"/>
                    <a:pt x="181741" y="1168483"/>
                  </a:cubicBezTo>
                  <a:cubicBezTo>
                    <a:pt x="458256" y="739995"/>
                    <a:pt x="1148298" y="194029"/>
                    <a:pt x="1818202" y="135511"/>
                  </a:cubicBezTo>
                  <a:cubicBezTo>
                    <a:pt x="1818431" y="90341"/>
                    <a:pt x="1818661" y="45170"/>
                    <a:pt x="1818890" y="0"/>
                  </a:cubicBezTo>
                  <a:lnTo>
                    <a:pt x="1994940" y="250228"/>
                  </a:lnTo>
                  <a:lnTo>
                    <a:pt x="1816267" y="516099"/>
                  </a:lnTo>
                  <a:cubicBezTo>
                    <a:pt x="1816496" y="470955"/>
                    <a:pt x="1816726" y="425812"/>
                    <a:pt x="1816955" y="380668"/>
                  </a:cubicBezTo>
                  <a:cubicBezTo>
                    <a:pt x="1234937" y="439403"/>
                    <a:pt x="593333" y="678485"/>
                    <a:pt x="329735" y="1210492"/>
                  </a:cubicBezTo>
                  <a:cubicBezTo>
                    <a:pt x="72014" y="1730639"/>
                    <a:pt x="-137797" y="1961484"/>
                    <a:pt x="144093" y="2468446"/>
                  </a:cubicBezTo>
                  <a:lnTo>
                    <a:pt x="159114" y="2706442"/>
                  </a:lnTo>
                  <a:close/>
                </a:path>
              </a:pathLst>
            </a:custGeom>
            <a:solidFill>
              <a:schemeClr val="bg1">
                <a:lumMod val="50000"/>
              </a:schemeClr>
            </a:solidFill>
            <a:ln>
              <a:noFill/>
            </a:ln>
            <a:effectLst/>
          </p:spPr>
          <p:style>
            <a:lnRef idx="0">
              <a:scrgbClr r="0" g="0" b="0"/>
            </a:lnRef>
            <a:fillRef idx="1">
              <a:scrgbClr r="0" g="0" b="0"/>
            </a:fillRef>
            <a:effectRef idx="0">
              <a:scrgbClr r="0" g="0" b="0"/>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grpSp>
      <p:sp>
        <p:nvSpPr>
          <p:cNvPr id="15" name="Freeform 8">
            <a:extLst>
              <a:ext uri="{FF2B5EF4-FFF2-40B4-BE49-F238E27FC236}">
                <a16:creationId xmlns:a16="http://schemas.microsoft.com/office/drawing/2014/main" id="{E17D6E05-AEC7-49A9-99AF-1612BB4820D7}"/>
              </a:ext>
            </a:extLst>
          </p:cNvPr>
          <p:cNvSpPr/>
          <p:nvPr/>
        </p:nvSpPr>
        <p:spPr bwMode="gray">
          <a:xfrm rot="10800000" flipV="1">
            <a:off x="3039810" y="5347715"/>
            <a:ext cx="2903789" cy="51579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6350" algn="ctr">
            <a:solidFill>
              <a:schemeClr val="bg1"/>
            </a:solidFill>
            <a:miter lim="800000"/>
            <a:headEnd type="none" w="med" len="med"/>
            <a:tailEnd type="oval" w="med" len="me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96" b="0" i="0" u="none" strike="noStrike" kern="0" cap="none" spc="0" normalizeH="0" baseline="0" noProof="0" dirty="0">
              <a:ln>
                <a:noFill/>
              </a:ln>
              <a:solidFill>
                <a:srgbClr val="000000"/>
              </a:solidFill>
              <a:effectLst/>
              <a:uLnTx/>
              <a:uFillTx/>
              <a:latin typeface="EYInterstate Light"/>
              <a:ea typeface="+mn-ea"/>
              <a:cs typeface="+mn-cs"/>
            </a:endParaRPr>
          </a:p>
        </p:txBody>
      </p:sp>
      <p:sp>
        <p:nvSpPr>
          <p:cNvPr id="16" name="Freeform 8">
            <a:extLst>
              <a:ext uri="{FF2B5EF4-FFF2-40B4-BE49-F238E27FC236}">
                <a16:creationId xmlns:a16="http://schemas.microsoft.com/office/drawing/2014/main" id="{A7C2FD6D-6251-4AED-A345-D98622BC1BAE}"/>
              </a:ext>
            </a:extLst>
          </p:cNvPr>
          <p:cNvSpPr/>
          <p:nvPr/>
        </p:nvSpPr>
        <p:spPr bwMode="gray">
          <a:xfrm rot="10800000" flipH="1" flipV="1">
            <a:off x="7650480" y="2771772"/>
            <a:ext cx="452361" cy="51244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6350" algn="ctr">
            <a:solidFill>
              <a:schemeClr val="bg1"/>
            </a:solidFill>
            <a:miter lim="800000"/>
            <a:headEnd type="none" w="med" len="med"/>
            <a:tailEnd type="oval" w="med" len="me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96" b="0" i="0" u="none" strike="noStrike" kern="0" cap="none" spc="0" normalizeH="0" baseline="0" noProof="0" dirty="0">
              <a:ln>
                <a:noFill/>
              </a:ln>
              <a:solidFill>
                <a:srgbClr val="000000"/>
              </a:solidFill>
              <a:effectLst/>
              <a:uLnTx/>
              <a:uFillTx/>
              <a:latin typeface="EYInterstate Light"/>
              <a:ea typeface="+mn-ea"/>
              <a:cs typeface="+mn-cs"/>
            </a:endParaRPr>
          </a:p>
        </p:txBody>
      </p:sp>
      <p:sp>
        <p:nvSpPr>
          <p:cNvPr id="18" name="Freeform 8">
            <a:extLst>
              <a:ext uri="{FF2B5EF4-FFF2-40B4-BE49-F238E27FC236}">
                <a16:creationId xmlns:a16="http://schemas.microsoft.com/office/drawing/2014/main" id="{7CA94D22-2B88-4C41-88A5-6C845B7E6882}"/>
              </a:ext>
            </a:extLst>
          </p:cNvPr>
          <p:cNvSpPr/>
          <p:nvPr/>
        </p:nvSpPr>
        <p:spPr bwMode="gray">
          <a:xfrm flipH="1">
            <a:off x="3200400" y="2438400"/>
            <a:ext cx="1447800" cy="346957"/>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6350" algn="ctr">
            <a:solidFill>
              <a:schemeClr val="bg1"/>
            </a:solidFill>
            <a:miter lim="800000"/>
            <a:headEnd type="none" w="med" len="med"/>
            <a:tailEnd type="oval" w="med" len="med"/>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96" b="0" i="0" u="none" strike="noStrike" kern="0" cap="none" spc="0" normalizeH="0" baseline="0" noProof="0" dirty="0">
              <a:ln>
                <a:noFill/>
              </a:ln>
              <a:solidFill>
                <a:srgbClr val="000000"/>
              </a:solidFill>
              <a:effectLst/>
              <a:uLnTx/>
              <a:uFillTx/>
              <a:latin typeface="EYInterstate Light"/>
              <a:ea typeface="+mn-ea"/>
              <a:cs typeface="+mn-cs"/>
            </a:endParaRPr>
          </a:p>
        </p:txBody>
      </p:sp>
      <p:sp>
        <p:nvSpPr>
          <p:cNvPr id="29" name="Footer Placeholder 2">
            <a:extLst>
              <a:ext uri="{FF2B5EF4-FFF2-40B4-BE49-F238E27FC236}">
                <a16:creationId xmlns:a16="http://schemas.microsoft.com/office/drawing/2014/main" id="{9BC7CA4D-F7E0-43B4-9304-5FAF81EB738F}"/>
              </a:ext>
            </a:extLst>
          </p:cNvPr>
          <p:cNvSpPr txBox="1">
            <a:spLocks/>
          </p:cNvSpPr>
          <p:nvPr/>
        </p:nvSpPr>
        <p:spPr>
          <a:xfrm>
            <a:off x="4553753" y="6471244"/>
            <a:ext cx="3367734" cy="180000"/>
          </a:xfrm>
          <a:prstGeom prst="rect">
            <a:avLst/>
          </a:prstGeom>
        </p:spPr>
        <p:txBody>
          <a:bodyPr/>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Page </a:t>
            </a:r>
            <a:fld id="{F1BC30E3-FFE5-4B91-AA19-87A149EBB9EE}" type="slidenum">
              <a:rPr smtClean="0"/>
              <a:pPr/>
              <a:t>20</a:t>
            </a:fld>
            <a:r>
              <a:rPr lang="en-US" dirty="0"/>
              <a:t> | Draft</a:t>
            </a:r>
          </a:p>
        </p:txBody>
      </p:sp>
    </p:spTree>
    <p:extLst>
      <p:ext uri="{BB962C8B-B14F-4D97-AF65-F5344CB8AC3E}">
        <p14:creationId xmlns:p14="http://schemas.microsoft.com/office/powerpoint/2010/main" val="39341624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wipe(right)">
                                      <p:cBhvr>
                                        <p:cTn id="10" dur="500"/>
                                        <p:tgtEl>
                                          <p:spTgt spid="1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35"/>
                                        </p:tgtEl>
                                        <p:attrNameLst>
                                          <p:attrName>style.visibility</p:attrName>
                                        </p:attrNameLst>
                                      </p:cBhvr>
                                      <p:to>
                                        <p:strVal val="visible"/>
                                      </p:to>
                                    </p:set>
                                    <p:animEffect transition="in" filter="fade">
                                      <p:cBhvr>
                                        <p:cTn id="14" dur="500"/>
                                        <p:tgtEl>
                                          <p:spTgt spid="35"/>
                                        </p:tgtEl>
                                      </p:cBhvr>
                                    </p:animEffect>
                                  </p:childTnLst>
                                </p:cTn>
                              </p:par>
                              <p:par>
                                <p:cTn id="15" presetID="22" presetClass="entr" presetSubtype="4"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down)">
                                      <p:cBhvr>
                                        <p:cTn id="17" dur="500"/>
                                        <p:tgtEl>
                                          <p:spTgt spid="15"/>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39"/>
                                        </p:tgtEl>
                                        <p:attrNameLst>
                                          <p:attrName>style.visibility</p:attrName>
                                        </p:attrNameLst>
                                      </p:cBhvr>
                                      <p:to>
                                        <p:strVal val="visible"/>
                                      </p:to>
                                    </p:set>
                                    <p:animEffect transition="in" filter="fade">
                                      <p:cBhvr>
                                        <p:cTn id="21" dur="500"/>
                                        <p:tgtEl>
                                          <p:spTgt spid="39"/>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wipe(left)">
                                      <p:cBhvr>
                                        <p:cTn id="2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1A1FB5AF-72FE-44E8-ABD8-438921E116C0}"/>
              </a:ext>
            </a:extLst>
          </p:cNvPr>
          <p:cNvSpPr txBox="1">
            <a:spLocks/>
          </p:cNvSpPr>
          <p:nvPr/>
        </p:nvSpPr>
        <p:spPr>
          <a:xfrm>
            <a:off x="8402205" y="565444"/>
            <a:ext cx="3308087" cy="3099163"/>
          </a:xfrm>
          <a:prstGeom prst="rect">
            <a:avLst/>
          </a:prstGeom>
          <a:noFill/>
        </p:spPr>
        <p:txBody>
          <a:bodyPr wrap="square" lIns="0" tIns="36557" rIns="0" bIns="0" rtlCol="0" anchor="t">
            <a:spAutoFit/>
          </a:bodyPr>
          <a:lstStyle/>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EYInterstate Light"/>
                <a:ea typeface="+mn-ea"/>
                <a:cs typeface="+mn-cs"/>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IN" sz="8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EYInterstate Light"/>
                <a:ea typeface="+mn-ea"/>
                <a:cs typeface="+mn-cs"/>
              </a:rPr>
              <a:t>© 2023 Ernst &amp; Young LLP.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EYInterstate Light"/>
                <a:ea typeface="+mn-ea"/>
                <a:cs typeface="+mn-cs"/>
              </a:rPr>
              <a:t>All Rights Reserved.</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IN" sz="8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EYInterstate Light"/>
                <a:ea typeface="+mn-ea"/>
                <a:cs typeface="+mn-cs"/>
              </a:rPr>
              <a:t>XXXXX-XXXGbl</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EYInterstate Light"/>
                <a:ea typeface="+mn-ea"/>
                <a:cs typeface="+mn-cs"/>
              </a:rPr>
              <a:t>ED MMYY</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IN" sz="8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EYInterstate Light"/>
                <a:ea typeface="+mn-ea"/>
                <a:cs typeface="+mn-cs"/>
              </a:rPr>
              <a:t>[Optional environmental statement — refer to The Branding Zone]</a:t>
            </a: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IN" sz="8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EYInterstate-Light"/>
                <a:ea typeface="+mn-ea"/>
                <a:cs typeface="+mn-cs"/>
              </a:rPr>
              <a:t>T</a:t>
            </a:r>
            <a:r>
              <a:rPr kumimoji="0" lang="en-US" sz="800" b="0" i="0" u="none" strike="noStrike" kern="1200" cap="none" spc="-12" normalizeH="0" baseline="0" noProof="0" dirty="0">
                <a:ln>
                  <a:noFill/>
                </a:ln>
                <a:solidFill>
                  <a:srgbClr val="FFFFFF"/>
                </a:solidFill>
                <a:effectLst/>
                <a:uLnTx/>
                <a:uFillTx/>
                <a:latin typeface="EYInterstate-Light"/>
                <a:ea typeface="+mn-ea"/>
                <a:cs typeface="+mn-cs"/>
              </a:rPr>
              <a:t>h</a:t>
            </a:r>
            <a:r>
              <a:rPr kumimoji="0" lang="en-US" sz="800" b="0" i="0" u="none" strike="noStrike" kern="1200" cap="none" spc="0" normalizeH="0" baseline="0" noProof="0" dirty="0">
                <a:ln>
                  <a:noFill/>
                </a:ln>
                <a:solidFill>
                  <a:srgbClr val="FFFFFF"/>
                </a:solidFill>
                <a:effectLst/>
                <a:uLnTx/>
                <a:uFillTx/>
                <a:latin typeface="EYInterstate-Light"/>
                <a:ea typeface="+mn-ea"/>
                <a:cs typeface="+mn-cs"/>
              </a:rPr>
              <a:t>is material</a:t>
            </a:r>
            <a:r>
              <a:rPr kumimoji="0" lang="en-US" sz="800" b="0" i="0" u="none" strike="noStrike" kern="1200" cap="none" spc="-37" normalizeH="0" baseline="0" noProof="0" dirty="0">
                <a:ln>
                  <a:noFill/>
                </a:ln>
                <a:solidFill>
                  <a:srgbClr val="FFFFFF"/>
                </a:solidFill>
                <a:effectLst/>
                <a:uLnTx/>
                <a:uFillTx/>
                <a:latin typeface="EYInterstate-Light"/>
                <a:ea typeface="+mn-ea"/>
                <a:cs typeface="+mn-cs"/>
              </a:rPr>
              <a:t> </a:t>
            </a:r>
            <a:r>
              <a:rPr kumimoji="0" lang="en-US" sz="800" b="0" i="0" u="none" strike="noStrike" kern="1200" cap="none" spc="-11" normalizeH="0" baseline="0" noProof="0" dirty="0">
                <a:ln>
                  <a:noFill/>
                </a:ln>
                <a:solidFill>
                  <a:srgbClr val="FFFFFF"/>
                </a:solidFill>
                <a:effectLst/>
                <a:uLnTx/>
                <a:uFillTx/>
                <a:latin typeface="EYInterstate-Light"/>
                <a:ea typeface="+mn-ea"/>
                <a:cs typeface="+mn-cs"/>
              </a:rPr>
              <a:t>h</a:t>
            </a:r>
            <a:r>
              <a:rPr kumimoji="0" lang="en-US" sz="800" b="0" i="0" u="none" strike="noStrike" kern="1200" cap="none" spc="0" normalizeH="0" baseline="0" noProof="0" dirty="0">
                <a:ln>
                  <a:noFill/>
                </a:ln>
                <a:solidFill>
                  <a:srgbClr val="FFFFFF"/>
                </a:solidFill>
                <a:effectLst/>
                <a:uLnTx/>
                <a:uFillTx/>
                <a:latin typeface="EYInterstate-Light"/>
                <a:ea typeface="+mn-ea"/>
                <a:cs typeface="+mn-cs"/>
              </a:rPr>
              <a:t>as been</a:t>
            </a:r>
            <a:r>
              <a:rPr kumimoji="0" lang="en-US" sz="800" b="0" i="0" u="none" strike="noStrike" kern="1200" cap="none" spc="-14" normalizeH="0" baseline="0" noProof="0" dirty="0">
                <a:ln>
                  <a:noFill/>
                </a:ln>
                <a:solidFill>
                  <a:srgbClr val="FFFFFF"/>
                </a:solidFill>
                <a:effectLst/>
                <a:uLnTx/>
                <a:uFillTx/>
                <a:latin typeface="EYInterstate-Light"/>
                <a:ea typeface="+mn-ea"/>
                <a:cs typeface="+mn-cs"/>
              </a:rPr>
              <a:t> </a:t>
            </a:r>
            <a:r>
              <a:rPr kumimoji="0" lang="en-US" sz="800" b="0" i="0" u="none" strike="noStrike" kern="1200" cap="none" spc="0" normalizeH="0" baseline="0" noProof="0" dirty="0">
                <a:ln>
                  <a:noFill/>
                </a:ln>
                <a:solidFill>
                  <a:srgbClr val="FFFFFF"/>
                </a:solidFill>
                <a:effectLst/>
                <a:uLnTx/>
                <a:uFillTx/>
                <a:latin typeface="EYInterstate-Light"/>
                <a:ea typeface="+mn-ea"/>
                <a:cs typeface="+mn-cs"/>
              </a:rPr>
              <a:t>prepared</a:t>
            </a:r>
            <a:r>
              <a:rPr kumimoji="0" lang="en-US" sz="800" b="0" i="0" u="none" strike="noStrike" kern="1200" cap="none" spc="-14" normalizeH="0" baseline="0" noProof="0" dirty="0">
                <a:ln>
                  <a:noFill/>
                </a:ln>
                <a:solidFill>
                  <a:srgbClr val="FFFFFF"/>
                </a:solidFill>
                <a:effectLst/>
                <a:uLnTx/>
                <a:uFillTx/>
                <a:latin typeface="EYInterstate-Light"/>
                <a:ea typeface="+mn-ea"/>
                <a:cs typeface="+mn-cs"/>
              </a:rPr>
              <a:t> </a:t>
            </a:r>
            <a:r>
              <a:rPr kumimoji="0" lang="en-US" sz="800" b="0" i="0" u="none" strike="noStrike" kern="1200" cap="none" spc="0" normalizeH="0" baseline="0" noProof="0" dirty="0">
                <a:ln>
                  <a:noFill/>
                </a:ln>
                <a:solidFill>
                  <a:srgbClr val="FFFFFF"/>
                </a:solidFill>
                <a:effectLst/>
                <a:uLnTx/>
                <a:uFillTx/>
                <a:latin typeface="EYInterstate-Light"/>
                <a:ea typeface="+mn-ea"/>
                <a:cs typeface="+mn-cs"/>
              </a:rPr>
              <a:t>for general</a:t>
            </a:r>
            <a:r>
              <a:rPr kumimoji="0" lang="en-US" sz="800" b="0" i="0" u="none" strike="noStrike" kern="1200" cap="none" spc="-37" normalizeH="0" baseline="0" noProof="0" dirty="0">
                <a:ln>
                  <a:noFill/>
                </a:ln>
                <a:solidFill>
                  <a:srgbClr val="FFFFFF"/>
                </a:solidFill>
                <a:effectLst/>
                <a:uLnTx/>
                <a:uFillTx/>
                <a:latin typeface="EYInterstate-Light"/>
                <a:ea typeface="+mn-ea"/>
                <a:cs typeface="+mn-cs"/>
              </a:rPr>
              <a:t> </a:t>
            </a:r>
            <a:r>
              <a:rPr kumimoji="0" lang="en-US" sz="800" b="0" i="0" u="none" strike="noStrike" kern="1200" cap="none" spc="0" normalizeH="0" baseline="0" noProof="0" dirty="0">
                <a:ln>
                  <a:noFill/>
                </a:ln>
                <a:solidFill>
                  <a:srgbClr val="FFFFFF"/>
                </a:solidFill>
                <a:effectLst/>
                <a:uLnTx/>
                <a:uFillTx/>
                <a:latin typeface="EYInterstate-Light"/>
                <a:ea typeface="+mn-ea"/>
                <a:cs typeface="+mn-cs"/>
              </a:rPr>
              <a:t>informational p</a:t>
            </a:r>
            <a:r>
              <a:rPr kumimoji="0" lang="en-US" sz="800" b="0" i="0" u="none" strike="noStrike" kern="1200" cap="none" spc="-11" normalizeH="0" baseline="0" noProof="0" dirty="0">
                <a:ln>
                  <a:noFill/>
                </a:ln>
                <a:solidFill>
                  <a:srgbClr val="FFFFFF"/>
                </a:solidFill>
                <a:effectLst/>
                <a:uLnTx/>
                <a:uFillTx/>
                <a:latin typeface="EYInterstate-Light"/>
                <a:ea typeface="+mn-ea"/>
                <a:cs typeface="+mn-cs"/>
              </a:rPr>
              <a:t>u</a:t>
            </a:r>
            <a:r>
              <a:rPr kumimoji="0" lang="en-US" sz="800" b="0" i="0" u="none" strike="noStrike" kern="1200" cap="none" spc="0" normalizeH="0" baseline="0" noProof="0" dirty="0">
                <a:ln>
                  <a:noFill/>
                </a:ln>
                <a:solidFill>
                  <a:srgbClr val="FFFFFF"/>
                </a:solidFill>
                <a:effectLst/>
                <a:uLnTx/>
                <a:uFillTx/>
                <a:latin typeface="EYInterstate-Light"/>
                <a:ea typeface="+mn-ea"/>
                <a:cs typeface="+mn-cs"/>
              </a:rPr>
              <a:t>rposes only and</a:t>
            </a:r>
            <a:r>
              <a:rPr kumimoji="0" lang="en-US" sz="800" b="0" i="0" u="none" strike="noStrike" kern="1200" cap="none" spc="-14" normalizeH="0" baseline="0" noProof="0" dirty="0">
                <a:ln>
                  <a:noFill/>
                </a:ln>
                <a:solidFill>
                  <a:srgbClr val="FFFFFF"/>
                </a:solidFill>
                <a:effectLst/>
                <a:uLnTx/>
                <a:uFillTx/>
                <a:latin typeface="EYInterstate-Light"/>
                <a:ea typeface="+mn-ea"/>
                <a:cs typeface="+mn-cs"/>
              </a:rPr>
              <a:t> </a:t>
            </a:r>
            <a:r>
              <a:rPr kumimoji="0" lang="en-US" sz="800" b="0" i="0" u="none" strike="noStrike" kern="1200" cap="none" spc="0" normalizeH="0" baseline="0" noProof="0" dirty="0">
                <a:ln>
                  <a:noFill/>
                </a:ln>
                <a:solidFill>
                  <a:srgbClr val="FFFFFF"/>
                </a:solidFill>
                <a:effectLst/>
                <a:uLnTx/>
                <a:uFillTx/>
                <a:latin typeface="EYInterstate-Light"/>
                <a:ea typeface="+mn-ea"/>
                <a:cs typeface="+mn-cs"/>
              </a:rPr>
              <a:t>is not intended</a:t>
            </a:r>
            <a:r>
              <a:rPr kumimoji="0" lang="en-US" sz="800" b="0" i="0" u="none" strike="noStrike" kern="1200" cap="none" spc="-14" normalizeH="0" baseline="0" noProof="0" dirty="0">
                <a:ln>
                  <a:noFill/>
                </a:ln>
                <a:solidFill>
                  <a:srgbClr val="FFFFFF"/>
                </a:solidFill>
                <a:effectLst/>
                <a:uLnTx/>
                <a:uFillTx/>
                <a:latin typeface="EYInterstate-Light"/>
                <a:ea typeface="+mn-ea"/>
                <a:cs typeface="+mn-cs"/>
              </a:rPr>
              <a:t> </a:t>
            </a:r>
            <a:r>
              <a:rPr kumimoji="0" lang="en-US" sz="800" b="0" i="0" u="none" strike="noStrike" kern="1200" cap="none" spc="0" normalizeH="0" baseline="0" noProof="0" dirty="0">
                <a:ln>
                  <a:noFill/>
                </a:ln>
                <a:solidFill>
                  <a:srgbClr val="FFFFFF"/>
                </a:solidFill>
                <a:effectLst/>
                <a:uLnTx/>
                <a:uFillTx/>
                <a:latin typeface="EYInterstate-Light"/>
                <a:ea typeface="+mn-ea"/>
                <a:cs typeface="+mn-cs"/>
              </a:rPr>
              <a:t>to be relied </a:t>
            </a:r>
            <a:r>
              <a:rPr kumimoji="0" lang="en-US" sz="800" b="0" i="0" u="none" strike="noStrike" kern="1200" cap="none" spc="-11" normalizeH="0" baseline="0" noProof="0" dirty="0">
                <a:ln>
                  <a:noFill/>
                </a:ln>
                <a:solidFill>
                  <a:srgbClr val="FFFFFF"/>
                </a:solidFill>
                <a:effectLst/>
                <a:uLnTx/>
                <a:uFillTx/>
                <a:latin typeface="EYInterstate-Light"/>
                <a:ea typeface="+mn-ea"/>
                <a:cs typeface="+mn-cs"/>
              </a:rPr>
              <a:t>u</a:t>
            </a:r>
            <a:r>
              <a:rPr kumimoji="0" lang="en-US" sz="800" b="0" i="0" u="none" strike="noStrike" kern="1200" cap="none" spc="0" normalizeH="0" baseline="0" noProof="0" dirty="0">
                <a:ln>
                  <a:noFill/>
                </a:ln>
                <a:solidFill>
                  <a:srgbClr val="FFFFFF"/>
                </a:solidFill>
                <a:effectLst/>
                <a:uLnTx/>
                <a:uFillTx/>
                <a:latin typeface="EYInterstate-Light"/>
                <a:ea typeface="+mn-ea"/>
                <a:cs typeface="+mn-cs"/>
              </a:rPr>
              <a:t>pon as</a:t>
            </a:r>
            <a:r>
              <a:rPr kumimoji="0" lang="en-US" sz="800" b="0" i="0" u="none" strike="noStrike" kern="1200" cap="none" spc="-14" normalizeH="0" baseline="0" noProof="0" dirty="0">
                <a:ln>
                  <a:noFill/>
                </a:ln>
                <a:solidFill>
                  <a:srgbClr val="FFFFFF"/>
                </a:solidFill>
                <a:effectLst/>
                <a:uLnTx/>
                <a:uFillTx/>
                <a:latin typeface="EYInterstate-Light"/>
                <a:ea typeface="+mn-ea"/>
                <a:cs typeface="+mn-cs"/>
              </a:rPr>
              <a:t> </a:t>
            </a:r>
            <a:r>
              <a:rPr kumimoji="0" lang="en-US" sz="800" b="0" i="0" u="none" strike="noStrike" kern="1200" cap="none" spc="0" normalizeH="0" baseline="0" noProof="0" dirty="0">
                <a:ln>
                  <a:noFill/>
                </a:ln>
                <a:solidFill>
                  <a:srgbClr val="FFFFFF"/>
                </a:solidFill>
                <a:effectLst/>
                <a:uLnTx/>
                <a:uFillTx/>
                <a:latin typeface="EYInterstate-Light"/>
                <a:ea typeface="+mn-ea"/>
                <a:cs typeface="+mn-cs"/>
              </a:rPr>
              <a:t>acco</a:t>
            </a:r>
            <a:r>
              <a:rPr kumimoji="0" lang="en-US" sz="800" b="0" i="0" u="none" strike="noStrike" kern="1200" cap="none" spc="-11" normalizeH="0" baseline="0" noProof="0" dirty="0">
                <a:ln>
                  <a:noFill/>
                </a:ln>
                <a:solidFill>
                  <a:srgbClr val="FFFFFF"/>
                </a:solidFill>
                <a:effectLst/>
                <a:uLnTx/>
                <a:uFillTx/>
                <a:latin typeface="EYInterstate-Light"/>
                <a:ea typeface="+mn-ea"/>
                <a:cs typeface="+mn-cs"/>
              </a:rPr>
              <a:t>u</a:t>
            </a:r>
            <a:r>
              <a:rPr kumimoji="0" lang="en-US" sz="800" b="0" i="0" u="none" strike="noStrike" kern="1200" cap="none" spc="0" normalizeH="0" baseline="0" noProof="0" dirty="0">
                <a:ln>
                  <a:noFill/>
                </a:ln>
                <a:solidFill>
                  <a:srgbClr val="FFFFFF"/>
                </a:solidFill>
                <a:effectLst/>
                <a:uLnTx/>
                <a:uFillTx/>
                <a:latin typeface="EYInterstate-Light"/>
                <a:ea typeface="+mn-ea"/>
                <a:cs typeface="+mn-cs"/>
              </a:rPr>
              <a:t>nting, tax,</a:t>
            </a:r>
            <a:r>
              <a:rPr kumimoji="0" lang="en-US" sz="800" b="0" i="0" u="none" strike="noStrike" kern="1200" cap="none" spc="-13" normalizeH="0" baseline="0" noProof="0" dirty="0">
                <a:ln>
                  <a:noFill/>
                </a:ln>
                <a:solidFill>
                  <a:srgbClr val="FFFFFF"/>
                </a:solidFill>
                <a:effectLst/>
                <a:uLnTx/>
                <a:uFillTx/>
                <a:latin typeface="EYInterstate-Light"/>
                <a:ea typeface="+mn-ea"/>
                <a:cs typeface="+mn-cs"/>
              </a:rPr>
              <a:t> </a:t>
            </a:r>
            <a:r>
              <a:rPr kumimoji="0" lang="en-US" sz="800" b="0" i="0" u="none" strike="noStrike" kern="1200" cap="none" spc="0" normalizeH="0" baseline="0" noProof="0" dirty="0">
                <a:ln>
                  <a:noFill/>
                </a:ln>
                <a:solidFill>
                  <a:srgbClr val="FFFFFF"/>
                </a:solidFill>
                <a:effectLst/>
                <a:uLnTx/>
                <a:uFillTx/>
                <a:latin typeface="EYInterstate-Light"/>
                <a:ea typeface="+mn-ea"/>
                <a:cs typeface="+mn-cs"/>
              </a:rPr>
              <a:t>legal or ot</a:t>
            </a:r>
            <a:r>
              <a:rPr kumimoji="0" lang="en-US" sz="800" b="0" i="0" u="none" strike="noStrike" kern="1200" cap="none" spc="-11" normalizeH="0" baseline="0" noProof="0" dirty="0">
                <a:ln>
                  <a:noFill/>
                </a:ln>
                <a:solidFill>
                  <a:srgbClr val="FFFFFF"/>
                </a:solidFill>
                <a:effectLst/>
                <a:uLnTx/>
                <a:uFillTx/>
                <a:latin typeface="EYInterstate-Light"/>
                <a:ea typeface="+mn-ea"/>
                <a:cs typeface="+mn-cs"/>
              </a:rPr>
              <a:t>h</a:t>
            </a:r>
            <a:r>
              <a:rPr kumimoji="0" lang="en-US" sz="800" b="0" i="0" u="none" strike="noStrike" kern="1200" cap="none" spc="0" normalizeH="0" baseline="0" noProof="0" dirty="0">
                <a:ln>
                  <a:noFill/>
                </a:ln>
                <a:solidFill>
                  <a:srgbClr val="FFFFFF"/>
                </a:solidFill>
                <a:effectLst/>
                <a:uLnTx/>
                <a:uFillTx/>
                <a:latin typeface="EYInterstate-Light"/>
                <a:ea typeface="+mn-ea"/>
                <a:cs typeface="+mn-cs"/>
              </a:rPr>
              <a:t>er professional advice. Please</a:t>
            </a:r>
            <a:r>
              <a:rPr kumimoji="0" lang="en-US" sz="800" b="0" i="0" u="none" strike="noStrike" kern="1200" cap="none" spc="-14" normalizeH="0" baseline="0" noProof="0" dirty="0">
                <a:ln>
                  <a:noFill/>
                </a:ln>
                <a:solidFill>
                  <a:srgbClr val="FFFFFF"/>
                </a:solidFill>
                <a:effectLst/>
                <a:uLnTx/>
                <a:uFillTx/>
                <a:latin typeface="EYInterstate-Light"/>
                <a:ea typeface="+mn-ea"/>
                <a:cs typeface="+mn-cs"/>
              </a:rPr>
              <a:t> </a:t>
            </a:r>
            <a:r>
              <a:rPr kumimoji="0" lang="en-US" sz="800" b="0" i="0" u="none" strike="noStrike" kern="1200" cap="none" spc="0" normalizeH="0" baseline="0" noProof="0" dirty="0">
                <a:ln>
                  <a:noFill/>
                </a:ln>
                <a:solidFill>
                  <a:srgbClr val="FFFFFF"/>
                </a:solidFill>
                <a:effectLst/>
                <a:uLnTx/>
                <a:uFillTx/>
                <a:latin typeface="EYInterstate-Light"/>
                <a:ea typeface="+mn-ea"/>
                <a:cs typeface="+mn-cs"/>
              </a:rPr>
              <a:t>refer</a:t>
            </a:r>
            <a:r>
              <a:rPr kumimoji="0" lang="en-US" sz="800" b="0" i="0" u="none" strike="noStrike" kern="1200" cap="none" spc="-14" normalizeH="0" baseline="0" noProof="0" dirty="0">
                <a:ln>
                  <a:noFill/>
                </a:ln>
                <a:solidFill>
                  <a:srgbClr val="FFFFFF"/>
                </a:solidFill>
                <a:effectLst/>
                <a:uLnTx/>
                <a:uFillTx/>
                <a:latin typeface="EYInterstate-Light"/>
                <a:ea typeface="+mn-ea"/>
                <a:cs typeface="+mn-cs"/>
              </a:rPr>
              <a:t> </a:t>
            </a:r>
            <a:r>
              <a:rPr kumimoji="0" lang="en-US" sz="800" b="0" i="0" u="none" strike="noStrike" kern="1200" cap="none" spc="0" normalizeH="0" baseline="0" noProof="0" dirty="0">
                <a:ln>
                  <a:noFill/>
                </a:ln>
                <a:solidFill>
                  <a:srgbClr val="FFFFFF"/>
                </a:solidFill>
                <a:effectLst/>
                <a:uLnTx/>
                <a:uFillTx/>
                <a:latin typeface="EYInterstate-Light"/>
                <a:ea typeface="+mn-ea"/>
                <a:cs typeface="+mn-cs"/>
              </a:rPr>
              <a:t>to yo</a:t>
            </a:r>
            <a:r>
              <a:rPr kumimoji="0" lang="en-US" sz="800" b="0" i="0" u="none" strike="noStrike" kern="1200" cap="none" spc="-11" normalizeH="0" baseline="0" noProof="0" dirty="0">
                <a:ln>
                  <a:noFill/>
                </a:ln>
                <a:solidFill>
                  <a:srgbClr val="FFFFFF"/>
                </a:solidFill>
                <a:effectLst/>
                <a:uLnTx/>
                <a:uFillTx/>
                <a:latin typeface="EYInterstate-Light"/>
                <a:ea typeface="+mn-ea"/>
                <a:cs typeface="+mn-cs"/>
              </a:rPr>
              <a:t>u</a:t>
            </a:r>
            <a:r>
              <a:rPr kumimoji="0" lang="en-US" sz="800" b="0" i="0" u="none" strike="noStrike" kern="1200" cap="none" spc="0" normalizeH="0" baseline="0" noProof="0" dirty="0">
                <a:ln>
                  <a:noFill/>
                </a:ln>
                <a:solidFill>
                  <a:srgbClr val="FFFFFF"/>
                </a:solidFill>
                <a:effectLst/>
                <a:uLnTx/>
                <a:uFillTx/>
                <a:latin typeface="EYInterstate-Light"/>
                <a:ea typeface="+mn-ea"/>
                <a:cs typeface="+mn-cs"/>
              </a:rPr>
              <a:t>r advisors for specific advice.</a:t>
            </a:r>
          </a:p>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endParaRPr kumimoji="0" lang="en-IN" sz="7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IN" sz="1099"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y.com</a:t>
            </a:r>
          </a:p>
        </p:txBody>
      </p:sp>
      <p:sp>
        <p:nvSpPr>
          <p:cNvPr id="8" name="TextBox 7">
            <a:extLst>
              <a:ext uri="{FF2B5EF4-FFF2-40B4-BE49-F238E27FC236}">
                <a16:creationId xmlns:a16="http://schemas.microsoft.com/office/drawing/2014/main" id="{1844E81A-39DE-435F-B0D4-D0C0428AA4AD}"/>
              </a:ext>
            </a:extLst>
          </p:cNvPr>
          <p:cNvSpPr txBox="1">
            <a:spLocks/>
          </p:cNvSpPr>
          <p:nvPr/>
        </p:nvSpPr>
        <p:spPr>
          <a:xfrm>
            <a:off x="481708" y="565443"/>
            <a:ext cx="3203470" cy="2659343"/>
          </a:xfrm>
          <a:prstGeom prst="rect">
            <a:avLst/>
          </a:prstGeom>
          <a:noFill/>
        </p:spPr>
        <p:txBody>
          <a:bodyPr wrap="square" lIns="0" tIns="36557" rIns="0" bIns="0" rtlCol="0" anchor="t">
            <a:spAutoFit/>
          </a:bodyPr>
          <a:lstStyle/>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US" sz="1199" b="1" i="0" u="none" strike="noStrike" kern="0" cap="none" spc="0" normalizeH="0" baseline="0" noProof="0" dirty="0">
                <a:ln>
                  <a:noFill/>
                </a:ln>
                <a:solidFill>
                  <a:srgbClr val="FFE600"/>
                </a:solidFill>
                <a:effectLst/>
                <a:uLnTx/>
                <a:uFillTx/>
                <a:latin typeface="EYInterstate" panose="02000503020000020004" pitchFamily="2" charset="0"/>
                <a:ea typeface="+mn-ea"/>
                <a:cs typeface="+mn-cs"/>
              </a:rPr>
              <a:t>EY  </a:t>
            </a:r>
            <a:r>
              <a:rPr kumimoji="0" lang="en-US" sz="1199" b="0" i="0" u="none" strike="noStrike" kern="0" cap="none" spc="0" normalizeH="0" baseline="0" noProof="0" dirty="0">
                <a:ln>
                  <a:noFill/>
                </a:ln>
                <a:solidFill>
                  <a:srgbClr val="FFE600"/>
                </a:solidFill>
                <a:effectLst/>
                <a:uLnTx/>
                <a:uFillTx/>
                <a:latin typeface="EYInterstate" panose="02000503020000020004" pitchFamily="2" charset="0"/>
                <a:ea typeface="+mn-ea"/>
                <a:cs typeface="Arial"/>
              </a:rPr>
              <a:t>|  </a:t>
            </a:r>
            <a:r>
              <a:rPr kumimoji="0" lang="en-IN" sz="1199" b="0" i="0" u="none" strike="noStrike" kern="0" cap="none" spc="0" normalizeH="0" baseline="0" noProof="0" dirty="0">
                <a:ln>
                  <a:noFill/>
                </a:ln>
                <a:solidFill>
                  <a:srgbClr val="FFE600"/>
                </a:solidFill>
                <a:effectLst/>
                <a:uLnTx/>
                <a:uFillTx/>
                <a:latin typeface="EYInterstate" panose="02000503020000020004" pitchFamily="2" charset="0"/>
                <a:ea typeface="+mn-ea"/>
                <a:cs typeface="Arial"/>
              </a:rPr>
              <a:t>Building a better working world</a:t>
            </a:r>
            <a:endParaRPr kumimoji="0" lang="en-US" sz="1199" b="0" i="0" u="none" strike="noStrike" kern="0" cap="none" spc="0" normalizeH="0" baseline="0" noProof="0" dirty="0">
              <a:ln>
                <a:noFill/>
              </a:ln>
              <a:solidFill>
                <a:srgbClr val="FFE600"/>
              </a:solidFill>
              <a:effectLst/>
              <a:uLnTx/>
              <a:uFillTx/>
              <a:latin typeface="EYInterstate" panose="02000503020000020004" pitchFamily="2" charset="0"/>
              <a:ea typeface="+mn-ea"/>
              <a:cs typeface="Arial"/>
            </a:endParaRPr>
          </a:p>
          <a:p>
            <a:pPr marL="0" marR="0" lvl="0" indent="0" algn="l" defTabSz="913943" rtl="0" eaLnBrk="1" fontAlgn="auto" latinLnBrk="0" hangingPunct="1">
              <a:lnSpc>
                <a:spcPct val="100000"/>
              </a:lnSpc>
              <a:spcBef>
                <a:spcPts val="0"/>
              </a:spcBef>
              <a:spcAft>
                <a:spcPts val="0"/>
              </a:spcAft>
              <a:buClr>
                <a:srgbClr val="FFD200"/>
              </a:buClr>
              <a:buSzPct val="70000"/>
              <a:buFontTx/>
              <a:buNone/>
              <a:tabLst/>
              <a:defRPr/>
            </a:pPr>
            <a:endParaRPr kumimoji="0" lang="en-US" sz="1099" b="0" i="0" u="none" strike="noStrike" kern="0" cap="none" spc="0" normalizeH="0" baseline="0" noProof="0" dirty="0">
              <a:ln>
                <a:noFill/>
              </a:ln>
              <a:solidFill>
                <a:srgbClr val="FFFFFF"/>
              </a:solidFill>
              <a:effectLst/>
              <a:uLnTx/>
              <a:uFillTx/>
              <a:latin typeface="EYInterstate" panose="02000503020000020004" pitchFamily="2" charset="0"/>
              <a:ea typeface="+mn-ea"/>
              <a:cs typeface="Arial"/>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IN" sz="1099"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Y exists to build a better working world, helping to create long-term value for clients, people and society and build trust in the capital markets.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IN" sz="1099"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IN" sz="1099"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Enabled by data and technology, diverse EY teams in over 150 countries provide trust through assurance and help clients grow, transform and operate.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IN" sz="1099"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IN" sz="1099" b="0" i="0" u="none" strike="noStrike" kern="0" cap="none" spc="0" normalizeH="0" baseline="0" noProof="0" dirty="0">
                <a:ln>
                  <a:noFill/>
                </a:ln>
                <a:solidFill>
                  <a:srgbClr val="FFFFFF"/>
                </a:solidFill>
                <a:effectLst/>
                <a:uLnTx/>
                <a:uFillTx/>
                <a:latin typeface="EYInterstate" panose="02000503020000020004" pitchFamily="2" charset="0"/>
                <a:ea typeface="+mn-ea"/>
                <a:cs typeface="+mn-cs"/>
              </a:rPr>
              <a:t>Working across assurance, consulting, law, strategy, tax and transactions, EY teams ask better questions to find new answers for the complex issues facing our world today.</a:t>
            </a:r>
          </a:p>
        </p:txBody>
      </p:sp>
    </p:spTree>
    <p:extLst>
      <p:ext uri="{BB962C8B-B14F-4D97-AF65-F5344CB8AC3E}">
        <p14:creationId xmlns:p14="http://schemas.microsoft.com/office/powerpoint/2010/main" val="21508322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C7773-BAD0-49ED-A506-FFF311EB4462}"/>
              </a:ext>
            </a:extLst>
          </p:cNvPr>
          <p:cNvSpPr>
            <a:spLocks noGrp="1"/>
          </p:cNvSpPr>
          <p:nvPr>
            <p:ph type="ctrTitle"/>
          </p:nvPr>
        </p:nvSpPr>
        <p:spPr>
          <a:xfrm>
            <a:off x="952626" y="2568600"/>
            <a:ext cx="4781392" cy="860400"/>
          </a:xfrm>
        </p:spPr>
        <p:txBody>
          <a:bodyPr/>
          <a:lstStyle/>
          <a:p>
            <a:r>
              <a:rPr lang="en-US" dirty="0"/>
              <a:t>Appendix</a:t>
            </a:r>
          </a:p>
        </p:txBody>
      </p:sp>
    </p:spTree>
    <p:extLst>
      <p:ext uri="{BB962C8B-B14F-4D97-AF65-F5344CB8AC3E}">
        <p14:creationId xmlns:p14="http://schemas.microsoft.com/office/powerpoint/2010/main" val="39535891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12">
            <a:extLst>
              <a:ext uri="{FF2B5EF4-FFF2-40B4-BE49-F238E27FC236}">
                <a16:creationId xmlns:a16="http://schemas.microsoft.com/office/drawing/2014/main" id="{8DFDF2C3-DBD1-4F4F-A427-1F1104306FAB}"/>
              </a:ext>
            </a:extLst>
          </p:cNvPr>
          <p:cNvGraphicFramePr>
            <a:graphicFrameLocks noGrp="1"/>
          </p:cNvGraphicFramePr>
          <p:nvPr/>
        </p:nvGraphicFramePr>
        <p:xfrm>
          <a:off x="355071" y="273861"/>
          <a:ext cx="10561960" cy="731328"/>
        </p:xfrm>
        <a:graphic>
          <a:graphicData uri="http://schemas.openxmlformats.org/drawingml/2006/table">
            <a:tbl>
              <a:tblPr firstRow="1" bandRow="1">
                <a:tableStyleId>{5C22544A-7EE6-4342-B048-85BDC9FD1C3A}</a:tableStyleId>
              </a:tblPr>
              <a:tblGrid>
                <a:gridCol w="10561960">
                  <a:extLst>
                    <a:ext uri="{9D8B030D-6E8A-4147-A177-3AD203B41FA5}">
                      <a16:colId xmlns:a16="http://schemas.microsoft.com/office/drawing/2014/main" val="1779272244"/>
                    </a:ext>
                  </a:extLst>
                </a:gridCol>
              </a:tblGrid>
              <a:tr h="730995">
                <a:tc>
                  <a:txBody>
                    <a:bodyPr/>
                    <a:lstStyle/>
                    <a:p>
                      <a:pPr>
                        <a:lnSpc>
                          <a:spcPct val="100000"/>
                        </a:lnSpc>
                      </a:pPr>
                      <a:r>
                        <a:rPr lang="en-US" sz="2400" dirty="0"/>
                        <a:t>Appendix 1: Personalizing the UI based on end-user personas</a:t>
                      </a:r>
                    </a:p>
                    <a:p>
                      <a:pPr>
                        <a:lnSpc>
                          <a:spcPct val="100000"/>
                        </a:lnSpc>
                      </a:pPr>
                      <a:endParaRPr lang="en-IN" sz="1800" b="0" dirty="0">
                        <a:solidFill>
                          <a:schemeClr val="bg1"/>
                        </a:solidFill>
                        <a:latin typeface="EYInterstate" panose="02000503020000020004" pitchFamily="2" charset="0"/>
                      </a:endParaRPr>
                    </a:p>
                  </a:txBody>
                  <a:tcPr marL="91248" marR="91248" marT="45624" marB="45624">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371952"/>
                  </a:ext>
                </a:extLst>
              </a:tr>
            </a:tbl>
          </a:graphicData>
        </a:graphic>
      </p:graphicFrame>
      <p:graphicFrame>
        <p:nvGraphicFramePr>
          <p:cNvPr id="2" name="Table 1">
            <a:extLst>
              <a:ext uri="{FF2B5EF4-FFF2-40B4-BE49-F238E27FC236}">
                <a16:creationId xmlns:a16="http://schemas.microsoft.com/office/drawing/2014/main" id="{DC2C8A4B-D82F-4D16-91E0-5B1B24153FD8}"/>
              </a:ext>
            </a:extLst>
          </p:cNvPr>
          <p:cNvGraphicFramePr>
            <a:graphicFrameLocks noGrp="1"/>
          </p:cNvGraphicFramePr>
          <p:nvPr/>
        </p:nvGraphicFramePr>
        <p:xfrm>
          <a:off x="465702" y="864505"/>
          <a:ext cx="11103924" cy="5631161"/>
        </p:xfrm>
        <a:graphic>
          <a:graphicData uri="http://schemas.openxmlformats.org/drawingml/2006/table">
            <a:tbl>
              <a:tblPr firstRow="1" bandRow="1">
                <a:tableStyleId>{5C22544A-7EE6-4342-B048-85BDC9FD1C3A}</a:tableStyleId>
              </a:tblPr>
              <a:tblGrid>
                <a:gridCol w="827733">
                  <a:extLst>
                    <a:ext uri="{9D8B030D-6E8A-4147-A177-3AD203B41FA5}">
                      <a16:colId xmlns:a16="http://schemas.microsoft.com/office/drawing/2014/main" val="4092347990"/>
                    </a:ext>
                  </a:extLst>
                </a:gridCol>
                <a:gridCol w="1635801">
                  <a:extLst>
                    <a:ext uri="{9D8B030D-6E8A-4147-A177-3AD203B41FA5}">
                      <a16:colId xmlns:a16="http://schemas.microsoft.com/office/drawing/2014/main" val="4079005697"/>
                    </a:ext>
                  </a:extLst>
                </a:gridCol>
                <a:gridCol w="1728078">
                  <a:extLst>
                    <a:ext uri="{9D8B030D-6E8A-4147-A177-3AD203B41FA5}">
                      <a16:colId xmlns:a16="http://schemas.microsoft.com/office/drawing/2014/main" val="2448049849"/>
                    </a:ext>
                  </a:extLst>
                </a:gridCol>
                <a:gridCol w="1728078">
                  <a:extLst>
                    <a:ext uri="{9D8B030D-6E8A-4147-A177-3AD203B41FA5}">
                      <a16:colId xmlns:a16="http://schemas.microsoft.com/office/drawing/2014/main" val="1638447692"/>
                    </a:ext>
                  </a:extLst>
                </a:gridCol>
                <a:gridCol w="1728078">
                  <a:extLst>
                    <a:ext uri="{9D8B030D-6E8A-4147-A177-3AD203B41FA5}">
                      <a16:colId xmlns:a16="http://schemas.microsoft.com/office/drawing/2014/main" val="1995937554"/>
                    </a:ext>
                  </a:extLst>
                </a:gridCol>
                <a:gridCol w="1728078">
                  <a:extLst>
                    <a:ext uri="{9D8B030D-6E8A-4147-A177-3AD203B41FA5}">
                      <a16:colId xmlns:a16="http://schemas.microsoft.com/office/drawing/2014/main" val="3032508582"/>
                    </a:ext>
                  </a:extLst>
                </a:gridCol>
                <a:gridCol w="1728078">
                  <a:extLst>
                    <a:ext uri="{9D8B030D-6E8A-4147-A177-3AD203B41FA5}">
                      <a16:colId xmlns:a16="http://schemas.microsoft.com/office/drawing/2014/main" val="400355513"/>
                    </a:ext>
                  </a:extLst>
                </a:gridCol>
              </a:tblGrid>
              <a:tr h="280084">
                <a:tc>
                  <a:txBody>
                    <a:bodyPr/>
                    <a:lstStyle/>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1000" kern="0" dirty="0">
                          <a:solidFill>
                            <a:schemeClr val="bg1"/>
                          </a:solidFill>
                          <a:latin typeface="+mn-lt"/>
                          <a:ea typeface="+mn-ea"/>
                          <a:cs typeface="+mn-cs"/>
                        </a:rPr>
                        <a:t>Personas</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1100" kern="0" dirty="0">
                          <a:solidFill>
                            <a:schemeClr val="bg1"/>
                          </a:solidFill>
                          <a:latin typeface="+mn-lt"/>
                          <a:ea typeface="+mn-ea"/>
                          <a:cs typeface="+mn-cs"/>
                        </a:rPr>
                        <a:t>Executive leadership</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1100" kern="0" dirty="0">
                          <a:solidFill>
                            <a:schemeClr val="bg1"/>
                          </a:solidFill>
                          <a:latin typeface="+mn-lt"/>
                          <a:ea typeface="+mn-ea"/>
                          <a:cs typeface="+mn-cs"/>
                        </a:rPr>
                        <a:t>Business intelligence</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1100" kern="0" dirty="0">
                          <a:solidFill>
                            <a:schemeClr val="bg1"/>
                          </a:solidFill>
                          <a:latin typeface="+mn-lt"/>
                          <a:ea typeface="+mn-ea"/>
                          <a:cs typeface="+mn-cs"/>
                        </a:rPr>
                        <a:t>Operations</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r>
                        <a:rPr lang="en-US" sz="1100" kern="1200" dirty="0">
                          <a:solidFill>
                            <a:schemeClr val="bg1"/>
                          </a:solidFill>
                          <a:effectLst/>
                          <a:latin typeface="+mn-lt"/>
                          <a:ea typeface="+mn-ea"/>
                          <a:cs typeface="+mn-cs"/>
                        </a:rPr>
                        <a:t>Compliance- tax</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r>
                        <a:rPr lang="en-US" sz="1100" kern="1200" dirty="0">
                          <a:solidFill>
                            <a:schemeClr val="bg1"/>
                          </a:solidFill>
                          <a:effectLst/>
                          <a:latin typeface="+mn-lt"/>
                          <a:ea typeface="+mn-ea"/>
                          <a:cs typeface="+mn-cs"/>
                        </a:rPr>
                        <a:t>Business modelers</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1100" kern="0" dirty="0">
                          <a:solidFill>
                            <a:schemeClr val="bg1"/>
                          </a:solidFill>
                          <a:latin typeface="+mn-lt"/>
                          <a:ea typeface="+mn-ea"/>
                          <a:cs typeface="+mn-cs"/>
                        </a:rPr>
                        <a:t>Finance</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4150149"/>
                  </a:ext>
                </a:extLst>
              </a:tr>
              <a:tr h="888348">
                <a:tc>
                  <a:txBody>
                    <a:bodyPr/>
                    <a:lstStyle/>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1000" kern="0" dirty="0">
                          <a:solidFill>
                            <a:schemeClr val="bg1"/>
                          </a:solidFill>
                          <a:latin typeface="+mn-lt"/>
                          <a:ea typeface="+mn-ea"/>
                          <a:cs typeface="+mn-cs"/>
                        </a:rPr>
                        <a:t>Role</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900" kern="0" dirty="0">
                          <a:solidFill>
                            <a:schemeClr val="bg1"/>
                          </a:solidFill>
                          <a:latin typeface="+mn-lt"/>
                          <a:ea typeface="+mn-ea"/>
                          <a:cs typeface="+mn-cs"/>
                        </a:rPr>
                        <a:t>The role of an executive is to establish periodic sustainability and performance goals, analyze how operations compare to goals and provide direction for future initiatives</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900" kern="0" dirty="0">
                          <a:solidFill>
                            <a:schemeClr val="bg1"/>
                          </a:solidFill>
                          <a:latin typeface="+mn-lt"/>
                          <a:ea typeface="+mn-ea"/>
                          <a:cs typeface="+mn-cs"/>
                        </a:rPr>
                        <a:t>The role of business intelligence is to leverage data from finance to propose solutions to increase efficiency and profit.</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900" kern="0" dirty="0">
                          <a:solidFill>
                            <a:schemeClr val="bg1"/>
                          </a:solidFill>
                          <a:latin typeface="+mn-lt"/>
                          <a:ea typeface="+mn-ea"/>
                          <a:cs typeface="+mn-cs"/>
                        </a:rPr>
                        <a:t>The role of operations is to have oversight over the asset(s) in identifying potential issues, promoting resource efficiency and inputting / tracking operational data</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r>
                        <a:rPr lang="en-US" sz="900" kern="1200" dirty="0">
                          <a:solidFill>
                            <a:schemeClr val="bg1"/>
                          </a:solidFill>
                          <a:effectLst/>
                          <a:latin typeface="+mn-lt"/>
                          <a:ea typeface="+mn-ea"/>
                          <a:cs typeface="+mn-cs"/>
                        </a:rPr>
                        <a:t>The role of tax is to ensure the necessary criteria is met for successfully receiving tax credits </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94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dirty="0">
                          <a:solidFill>
                            <a:schemeClr val="bg1"/>
                          </a:solidFill>
                          <a:effectLst/>
                          <a:latin typeface="EYInterstate Light" panose="02000506000000020004" pitchFamily="2" charset="0"/>
                        </a:rPr>
                        <a:t>The role of a modeler is to identify and create models around new value chain opportunities to capture energy and drive additional revenue</a:t>
                      </a:r>
                    </a:p>
                    <a:p>
                      <a:pPr marL="0" indent="0">
                        <a:buFont typeface="Arial" panose="020B0604020202020204" pitchFamily="34" charset="0"/>
                        <a:buNone/>
                      </a:pPr>
                      <a:endParaRPr lang="en-US" sz="900" kern="1200" dirty="0">
                        <a:solidFill>
                          <a:schemeClr val="bg1"/>
                        </a:solidFill>
                        <a:effectLst/>
                        <a:latin typeface="+mn-lt"/>
                        <a:ea typeface="+mn-ea"/>
                        <a:cs typeface="+mn-cs"/>
                      </a:endParaRP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900" kern="0" dirty="0">
                          <a:solidFill>
                            <a:schemeClr val="bg1"/>
                          </a:solidFill>
                          <a:latin typeface="+mn-lt"/>
                          <a:ea typeface="+mn-ea"/>
                          <a:cs typeface="+mn-cs"/>
                        </a:rPr>
                        <a:t>The role of finance is to calculate and verify performance metrics, such as revenue and incentives, on a periodic basis, and create forecasting financial models. </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7877163"/>
                  </a:ext>
                </a:extLst>
              </a:tr>
              <a:tr h="1602421">
                <a:tc>
                  <a:txBody>
                    <a:bodyPr/>
                    <a:lstStyle/>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1000" kern="0" dirty="0">
                          <a:solidFill>
                            <a:schemeClr val="bg1"/>
                          </a:solidFill>
                          <a:latin typeface="+mn-lt"/>
                          <a:ea typeface="+mn-ea"/>
                          <a:cs typeface="+mn-cs"/>
                        </a:rPr>
                        <a:t>Uses</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Assess the volume of the balance inventory, amount carbon sequestered, and amount of hydrogen produced</a:t>
                      </a:r>
                    </a:p>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Check progress towards quarterly/yearly goals</a:t>
                      </a:r>
                    </a:p>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Oversee sustainability and climate-related disclosures/reporting</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Assess impact of our annual climate plan</a:t>
                      </a:r>
                    </a:p>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Report on financials</a:t>
                      </a:r>
                    </a:p>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Rank facilities based on carbon intensity use</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Identify any potential issues at facilities, process, or supply chain</a:t>
                      </a:r>
                    </a:p>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Promote resource efficiency in facilities</a:t>
                      </a:r>
                    </a:p>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Track and input operation data</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Verify tax related liabilities and benefits related to circularity</a:t>
                      </a:r>
                    </a:p>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Identify and assess potential areas of non-compliance and applicable penalties</a:t>
                      </a:r>
                    </a:p>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Assess the balance values for material compliance targets</a:t>
                      </a:r>
                    </a:p>
                    <a:p>
                      <a:pPr marL="0" indent="0">
                        <a:buFont typeface="Arial" panose="020B0604020202020204" pitchFamily="34" charset="0"/>
                        <a:buNone/>
                      </a:pPr>
                      <a:endParaRPr lang="en-US" sz="900" kern="1200" dirty="0">
                        <a:solidFill>
                          <a:schemeClr val="bg1"/>
                        </a:solidFill>
                        <a:effectLst/>
                        <a:latin typeface="+mn-lt"/>
                        <a:ea typeface="+mn-ea"/>
                        <a:cs typeface="+mn-cs"/>
                      </a:endParaRP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Create value chains, processes and operations</a:t>
                      </a:r>
                    </a:p>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Create and maintain data to model: materials, assets, asset types, operations, operation types</a:t>
                      </a:r>
                    </a:p>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Monitor the model</a:t>
                      </a:r>
                    </a:p>
                    <a:p>
                      <a:pPr marL="0" indent="0">
                        <a:buFont typeface="Arial" panose="020B0604020202020204" pitchFamily="34" charset="0"/>
                        <a:buNone/>
                      </a:pPr>
                      <a:endParaRPr lang="en-US" sz="900" kern="1200" dirty="0">
                        <a:solidFill>
                          <a:schemeClr val="bg1"/>
                        </a:solidFill>
                        <a:effectLst/>
                        <a:latin typeface="+mn-lt"/>
                        <a:ea typeface="+mn-ea"/>
                        <a:cs typeface="+mn-cs"/>
                      </a:endParaRP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Calculate the net benefit of our circular initiatives and create trend analyses</a:t>
                      </a:r>
                    </a:p>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Tracking KPIs against clean hydrogen investment tax incentives </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7932730"/>
                  </a:ext>
                </a:extLst>
              </a:tr>
              <a:tr h="2376058">
                <a:tc>
                  <a:txBody>
                    <a:bodyPr/>
                    <a:lstStyle/>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1000" kern="0" dirty="0">
                          <a:solidFill>
                            <a:schemeClr val="bg1"/>
                          </a:solidFill>
                          <a:latin typeface="+mn-lt"/>
                          <a:ea typeface="+mn-ea"/>
                          <a:cs typeface="+mn-cs"/>
                        </a:rPr>
                        <a:t>UI screens </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The overview page will be the most important for executive leadership, but they should also have access to the rest of the slides if want to dig deeper</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Business intelligence will rely on the data present in the overview page, specifically the carbon intensity visual with the goals vs performance and the total revenue</a:t>
                      </a:r>
                    </a:p>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A new visualization will be added where it ranks facilities based on carbon intensity use</a:t>
                      </a:r>
                    </a:p>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endParaRPr lang="en-US" sz="900" kern="0" dirty="0">
                        <a:solidFill>
                          <a:schemeClr val="bg1"/>
                        </a:solidFill>
                        <a:latin typeface="+mn-lt"/>
                        <a:ea typeface="+mn-ea"/>
                        <a:cs typeface="+mn-cs"/>
                      </a:endParaRP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Operations view is customized depending on level of clearance/oversight. E.g., a facility manager in charge of a singular facility will only have access to that specific facility's data (operation and inventory), whereas regional managers will have visibility into all the facilities they oversee</a:t>
                      </a:r>
                    </a:p>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Will schedule activities and monitor progress </a:t>
                      </a:r>
                    </a:p>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Looking at potential for energy usage optimization</a:t>
                      </a:r>
                    </a:p>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Inventory pages will be built</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Compliance will use the hydrogen balances visualization in the overview slide, as well as the hydrogen produced, and carbon sequestered metrics</a:t>
                      </a:r>
                    </a:p>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Compliance should have access to all the pages in the case they need to perform verifications of data</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Business modelers will need access to the entire app, as they will use the operation pages to update and create processes and will need to verify that processes and edits are being correctly reflected throughout the app</a:t>
                      </a:r>
                    </a:p>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Process definition update</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Char char="•"/>
                        <a:tabLst/>
                        <a:defRPr/>
                      </a:pPr>
                      <a:r>
                        <a:rPr lang="en-US" sz="900" kern="0" dirty="0">
                          <a:solidFill>
                            <a:schemeClr val="bg1"/>
                          </a:solidFill>
                          <a:latin typeface="+mn-lt"/>
                          <a:ea typeface="+mn-ea"/>
                          <a:cs typeface="+mn-cs"/>
                        </a:rPr>
                        <a:t>Finance will leverage the information provided in the overview page such as total revenue with incentives </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1524873"/>
                  </a:ext>
                </a:extLst>
              </a:tr>
            </a:tbl>
          </a:graphicData>
        </a:graphic>
      </p:graphicFrame>
    </p:spTree>
    <p:extLst>
      <p:ext uri="{BB962C8B-B14F-4D97-AF65-F5344CB8AC3E}">
        <p14:creationId xmlns:p14="http://schemas.microsoft.com/office/powerpoint/2010/main" val="40094324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DC2C8A4B-D82F-4D16-91E0-5B1B24153FD8}"/>
              </a:ext>
            </a:extLst>
          </p:cNvPr>
          <p:cNvGraphicFramePr>
            <a:graphicFrameLocks noGrp="1"/>
          </p:cNvGraphicFramePr>
          <p:nvPr/>
        </p:nvGraphicFramePr>
        <p:xfrm>
          <a:off x="584200" y="864411"/>
          <a:ext cx="11023600" cy="5233787"/>
        </p:xfrm>
        <a:graphic>
          <a:graphicData uri="http://schemas.openxmlformats.org/drawingml/2006/table">
            <a:tbl>
              <a:tblPr firstRow="1" bandRow="1">
                <a:tableStyleId>{5C22544A-7EE6-4342-B048-85BDC9FD1C3A}</a:tableStyleId>
              </a:tblPr>
              <a:tblGrid>
                <a:gridCol w="2644036">
                  <a:extLst>
                    <a:ext uri="{9D8B030D-6E8A-4147-A177-3AD203B41FA5}">
                      <a16:colId xmlns:a16="http://schemas.microsoft.com/office/drawing/2014/main" val="4079005697"/>
                    </a:ext>
                  </a:extLst>
                </a:gridCol>
                <a:gridCol w="2793188">
                  <a:extLst>
                    <a:ext uri="{9D8B030D-6E8A-4147-A177-3AD203B41FA5}">
                      <a16:colId xmlns:a16="http://schemas.microsoft.com/office/drawing/2014/main" val="2448049849"/>
                    </a:ext>
                  </a:extLst>
                </a:gridCol>
                <a:gridCol w="2793188">
                  <a:extLst>
                    <a:ext uri="{9D8B030D-6E8A-4147-A177-3AD203B41FA5}">
                      <a16:colId xmlns:a16="http://schemas.microsoft.com/office/drawing/2014/main" val="1638447692"/>
                    </a:ext>
                  </a:extLst>
                </a:gridCol>
                <a:gridCol w="2793188">
                  <a:extLst>
                    <a:ext uri="{9D8B030D-6E8A-4147-A177-3AD203B41FA5}">
                      <a16:colId xmlns:a16="http://schemas.microsoft.com/office/drawing/2014/main" val="740751182"/>
                    </a:ext>
                  </a:extLst>
                </a:gridCol>
              </a:tblGrid>
              <a:tr h="464435">
                <a:tc>
                  <a:txBody>
                    <a:bodyPr/>
                    <a:lstStyle/>
                    <a:p>
                      <a:pPr marL="0" marR="0" lvl="0" indent="0" algn="ctr"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endParaRPr lang="en-US" sz="2000" kern="0" dirty="0">
                        <a:solidFill>
                          <a:schemeClr val="bg1"/>
                        </a:solidFill>
                        <a:latin typeface="+mn-lt"/>
                        <a:ea typeface="+mn-ea"/>
                        <a:cs typeface="+mn-cs"/>
                      </a:endParaRPr>
                    </a:p>
                    <a:p>
                      <a:pPr marL="0" marR="0" lvl="0" indent="0" algn="ctr"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endParaRPr lang="en-US" sz="2000" kern="0" dirty="0">
                        <a:solidFill>
                          <a:schemeClr val="bg1"/>
                        </a:solidFill>
                        <a:latin typeface="+mn-lt"/>
                        <a:ea typeface="+mn-ea"/>
                        <a:cs typeface="+mn-cs"/>
                      </a:endParaRPr>
                    </a:p>
                    <a:p>
                      <a:pPr marL="0" marR="0" lvl="0" indent="0" algn="ctr"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endParaRPr lang="en-US" sz="2000" kern="0" dirty="0">
                        <a:solidFill>
                          <a:schemeClr val="bg1"/>
                        </a:solidFill>
                        <a:latin typeface="+mn-lt"/>
                        <a:ea typeface="+mn-ea"/>
                        <a:cs typeface="+mn-cs"/>
                      </a:endParaRPr>
                    </a:p>
                    <a:p>
                      <a:pPr marL="0" marR="0" lvl="0" indent="0" algn="ctr"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endParaRPr lang="en-US" sz="2000" kern="0" dirty="0">
                        <a:solidFill>
                          <a:schemeClr val="bg1"/>
                        </a:solidFill>
                        <a:latin typeface="+mn-lt"/>
                        <a:ea typeface="+mn-ea"/>
                        <a:cs typeface="+mn-cs"/>
                      </a:endParaRP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endParaRPr lang="en-US" sz="1800" kern="0" dirty="0">
                        <a:solidFill>
                          <a:schemeClr val="bg1"/>
                        </a:solidFill>
                        <a:latin typeface="+mn-lt"/>
                        <a:ea typeface="+mn-ea"/>
                        <a:cs typeface="+mn-cs"/>
                      </a:endParaRPr>
                    </a:p>
                    <a:p>
                      <a:pPr marL="0" marR="0" lvl="0" indent="0" algn="ctr"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endParaRPr lang="en-US" sz="1800" kern="0" dirty="0">
                        <a:solidFill>
                          <a:schemeClr val="bg1"/>
                        </a:solidFill>
                        <a:latin typeface="+mn-lt"/>
                        <a:ea typeface="+mn-ea"/>
                        <a:cs typeface="+mn-cs"/>
                      </a:endParaRPr>
                    </a:p>
                    <a:p>
                      <a:pPr marL="0" marR="0" lvl="0" indent="0" algn="ctr"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endParaRPr lang="en-US" sz="1800" kern="0" dirty="0">
                        <a:solidFill>
                          <a:schemeClr val="bg1"/>
                        </a:solidFill>
                        <a:latin typeface="+mn-lt"/>
                        <a:ea typeface="+mn-ea"/>
                        <a:cs typeface="+mn-cs"/>
                      </a:endParaRPr>
                    </a:p>
                    <a:p>
                      <a:pPr marL="0" marR="0" lvl="0" indent="0" algn="ctr"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endParaRPr lang="en-US" sz="1800" kern="0" dirty="0">
                        <a:solidFill>
                          <a:schemeClr val="bg1"/>
                        </a:solidFill>
                        <a:latin typeface="+mn-lt"/>
                        <a:ea typeface="+mn-ea"/>
                        <a:cs typeface="+mn-cs"/>
                      </a:endParaRPr>
                    </a:p>
                    <a:p>
                      <a:pPr marL="0" marR="0" lvl="0" indent="0" algn="ctr"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endParaRPr lang="en-US" sz="1800" kern="0" dirty="0">
                        <a:solidFill>
                          <a:schemeClr val="bg1"/>
                        </a:solidFill>
                        <a:latin typeface="+mn-lt"/>
                        <a:ea typeface="+mn-ea"/>
                        <a:cs typeface="+mn-cs"/>
                      </a:endParaRP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endParaRPr lang="en-US" sz="2000" kern="0" dirty="0">
                        <a:solidFill>
                          <a:schemeClr val="bg1"/>
                        </a:solidFill>
                        <a:latin typeface="+mn-lt"/>
                        <a:ea typeface="+mn-ea"/>
                        <a:cs typeface="+mn-cs"/>
                      </a:endParaRP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endParaRPr lang="en-US" sz="2000" kern="0" dirty="0">
                        <a:solidFill>
                          <a:schemeClr val="bg1"/>
                        </a:solidFill>
                        <a:latin typeface="+mn-lt"/>
                        <a:ea typeface="+mn-ea"/>
                        <a:cs typeface="+mn-cs"/>
                      </a:endParaRP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5146798"/>
                  </a:ext>
                </a:extLst>
              </a:tr>
              <a:tr h="464435">
                <a:tc>
                  <a:txBody>
                    <a:bodyPr/>
                    <a:lstStyle/>
                    <a:p>
                      <a:pPr marL="0" marR="0" lvl="0" indent="0" algn="ctr"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2000" kern="0" dirty="0">
                          <a:solidFill>
                            <a:schemeClr val="bg1"/>
                          </a:solidFill>
                          <a:latin typeface="+mn-lt"/>
                          <a:ea typeface="+mn-ea"/>
                          <a:cs typeface="+mn-cs"/>
                        </a:rPr>
                        <a:t>IRA &amp; IIJA</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2000" kern="0" dirty="0">
                          <a:solidFill>
                            <a:schemeClr val="bg1"/>
                          </a:solidFill>
                          <a:latin typeface="+mn-lt"/>
                          <a:ea typeface="+mn-ea"/>
                          <a:cs typeface="+mn-cs"/>
                        </a:rPr>
                        <a:t>SEC</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2000" kern="0" dirty="0">
                          <a:solidFill>
                            <a:schemeClr val="bg1"/>
                          </a:solidFill>
                          <a:latin typeface="+mn-lt"/>
                          <a:ea typeface="+mn-ea"/>
                          <a:cs typeface="+mn-cs"/>
                        </a:rPr>
                        <a:t>CSRD</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2000" kern="0" dirty="0">
                          <a:solidFill>
                            <a:schemeClr val="bg1"/>
                          </a:solidFill>
                          <a:latin typeface="+mn-lt"/>
                          <a:ea typeface="+mn-ea"/>
                          <a:cs typeface="+mn-cs"/>
                        </a:rPr>
                        <a:t>ISCC</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4150149"/>
                  </a:ext>
                </a:extLst>
              </a:tr>
              <a:tr h="902430">
                <a:tc>
                  <a:txBody>
                    <a:bodyPr/>
                    <a:lstStyle/>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1100" kern="0" dirty="0">
                          <a:solidFill>
                            <a:schemeClr val="bg1"/>
                          </a:solidFill>
                          <a:latin typeface="+mn-lt"/>
                          <a:ea typeface="+mn-ea"/>
                          <a:cs typeface="+mn-cs"/>
                        </a:rPr>
                        <a:t>The </a:t>
                      </a:r>
                      <a:r>
                        <a:rPr lang="en-US" sz="1100" kern="0" dirty="0">
                          <a:solidFill>
                            <a:schemeClr val="tx2"/>
                          </a:solidFill>
                          <a:latin typeface="+mn-lt"/>
                          <a:ea typeface="+mn-ea"/>
                          <a:cs typeface="+mn-cs"/>
                        </a:rPr>
                        <a:t>Inflation Reduction Act</a:t>
                      </a:r>
                      <a:r>
                        <a:rPr lang="en-US" sz="1100" kern="0" dirty="0">
                          <a:solidFill>
                            <a:schemeClr val="bg1"/>
                          </a:solidFill>
                          <a:latin typeface="+mn-lt"/>
                          <a:ea typeface="+mn-ea"/>
                          <a:cs typeface="+mn-cs"/>
                        </a:rPr>
                        <a:t> was introduced in August of 2022. The legislation incentivizes clean hydrogen production through tax credits ranging from  $0.60 to $3 per kilogram of hydrogen produced (depending on associated emissions).</a:t>
                      </a:r>
                      <a:br>
                        <a:rPr lang="en-US" sz="1100" kern="0" dirty="0">
                          <a:solidFill>
                            <a:schemeClr val="bg1"/>
                          </a:solidFill>
                          <a:latin typeface="+mn-lt"/>
                          <a:ea typeface="+mn-ea"/>
                          <a:cs typeface="+mn-cs"/>
                        </a:rPr>
                      </a:br>
                      <a:br>
                        <a:rPr lang="en-US" sz="1100" kern="0" dirty="0">
                          <a:solidFill>
                            <a:schemeClr val="bg1"/>
                          </a:solidFill>
                          <a:latin typeface="+mn-lt"/>
                          <a:ea typeface="+mn-ea"/>
                          <a:cs typeface="+mn-cs"/>
                        </a:rPr>
                      </a:br>
                      <a:r>
                        <a:rPr lang="en-US" sz="1100" kern="0" dirty="0">
                          <a:solidFill>
                            <a:schemeClr val="bg1"/>
                          </a:solidFill>
                          <a:latin typeface="+mn-lt"/>
                          <a:ea typeface="+mn-ea"/>
                          <a:cs typeface="+mn-cs"/>
                        </a:rPr>
                        <a:t>The </a:t>
                      </a:r>
                      <a:r>
                        <a:rPr lang="en-US" sz="1100" kern="0" dirty="0">
                          <a:solidFill>
                            <a:schemeClr val="tx2"/>
                          </a:solidFill>
                          <a:latin typeface="+mn-lt"/>
                          <a:ea typeface="+mn-ea"/>
                          <a:cs typeface="+mn-cs"/>
                        </a:rPr>
                        <a:t>Infrastructure Investment and Jobs Act (IIJA)</a:t>
                      </a:r>
                      <a:r>
                        <a:rPr lang="en-US" sz="1100" kern="0" dirty="0">
                          <a:solidFill>
                            <a:schemeClr val="bg1"/>
                          </a:solidFill>
                          <a:latin typeface="+mn-lt"/>
                          <a:ea typeface="+mn-ea"/>
                          <a:cs typeface="+mn-cs"/>
                        </a:rPr>
                        <a:t> was introduced in November 2021.</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1100" kern="0" dirty="0">
                          <a:solidFill>
                            <a:schemeClr val="bg1"/>
                          </a:solidFill>
                          <a:latin typeface="+mn-lt"/>
                          <a:ea typeface="+mn-ea"/>
                          <a:cs typeface="+mn-cs"/>
                        </a:rPr>
                        <a:t>The </a:t>
                      </a:r>
                      <a:r>
                        <a:rPr lang="en-US" sz="1100" kern="0" dirty="0">
                          <a:solidFill>
                            <a:schemeClr val="tx2"/>
                          </a:solidFill>
                          <a:latin typeface="+mn-lt"/>
                          <a:ea typeface="+mn-ea"/>
                          <a:cs typeface="+mn-cs"/>
                        </a:rPr>
                        <a:t>Securities and Exchange Commission</a:t>
                      </a:r>
                      <a:r>
                        <a:rPr lang="en-US" sz="1100" kern="0" dirty="0">
                          <a:solidFill>
                            <a:schemeClr val="bg1"/>
                          </a:solidFill>
                          <a:latin typeface="+mn-lt"/>
                          <a:ea typeface="+mn-ea"/>
                          <a:cs typeface="+mn-cs"/>
                        </a:rPr>
                        <a:t> has a climate-related disclosures plan that aims to increase transparency and accountability for publicly traded companies in relation to their environmental impact. </a:t>
                      </a:r>
                    </a:p>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endParaRPr lang="en-US" sz="1100" kern="0" dirty="0">
                        <a:solidFill>
                          <a:schemeClr val="bg1"/>
                        </a:solidFill>
                        <a:latin typeface="+mn-lt"/>
                        <a:ea typeface="+mn-ea"/>
                        <a:cs typeface="+mn-cs"/>
                      </a:endParaRPr>
                    </a:p>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1100" kern="0" dirty="0">
                          <a:solidFill>
                            <a:schemeClr val="bg1"/>
                          </a:solidFill>
                          <a:latin typeface="+mn-lt"/>
                          <a:ea typeface="+mn-ea"/>
                          <a:cs typeface="+mn-cs"/>
                        </a:rPr>
                        <a:t>Low carbon hydrogen creates better disclosures through reduced footprint and decreased climate risk.</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1100" kern="0" dirty="0">
                          <a:solidFill>
                            <a:schemeClr val="bg1"/>
                          </a:solidFill>
                          <a:latin typeface="+mn-lt"/>
                          <a:ea typeface="+mn-ea"/>
                          <a:cs typeface="+mn-cs"/>
                        </a:rPr>
                        <a:t>The European Union adopted the </a:t>
                      </a:r>
                      <a:r>
                        <a:rPr lang="en-US" sz="1100" kern="0" dirty="0">
                          <a:solidFill>
                            <a:schemeClr val="tx2"/>
                          </a:solidFill>
                          <a:latin typeface="+mn-lt"/>
                          <a:ea typeface="+mn-ea"/>
                          <a:cs typeface="+mn-cs"/>
                        </a:rPr>
                        <a:t>Corporate Sustainability Reporting Directive </a:t>
                      </a:r>
                      <a:r>
                        <a:rPr lang="en-US" sz="1100" kern="0" dirty="0">
                          <a:solidFill>
                            <a:schemeClr val="bg1"/>
                          </a:solidFill>
                          <a:latin typeface="+mn-lt"/>
                          <a:ea typeface="+mn-ea"/>
                          <a:cs typeface="+mn-cs"/>
                        </a:rPr>
                        <a:t>in the same year it adopted its </a:t>
                      </a:r>
                      <a:r>
                        <a:rPr lang="en-US" sz="1100" kern="0" dirty="0">
                          <a:solidFill>
                            <a:schemeClr val="tx2"/>
                          </a:solidFill>
                          <a:latin typeface="+mn-lt"/>
                          <a:ea typeface="+mn-ea"/>
                          <a:cs typeface="+mn-cs"/>
                        </a:rPr>
                        <a:t>EU Strategy on Hydrogen</a:t>
                      </a:r>
                      <a:r>
                        <a:rPr lang="en-US" sz="1100" kern="0" dirty="0">
                          <a:solidFill>
                            <a:schemeClr val="bg1"/>
                          </a:solidFill>
                          <a:latin typeface="+mn-lt"/>
                          <a:ea typeface="+mn-ea"/>
                          <a:cs typeface="+mn-cs"/>
                        </a:rPr>
                        <a:t>, 2020*.</a:t>
                      </a:r>
                      <a:br>
                        <a:rPr lang="en-US" sz="1100" kern="0" dirty="0">
                          <a:solidFill>
                            <a:schemeClr val="bg1"/>
                          </a:solidFill>
                          <a:latin typeface="+mn-lt"/>
                          <a:ea typeface="+mn-ea"/>
                          <a:cs typeface="+mn-cs"/>
                        </a:rPr>
                      </a:br>
                      <a:br>
                        <a:rPr lang="en-US" sz="1100" kern="0" dirty="0">
                          <a:solidFill>
                            <a:schemeClr val="bg1"/>
                          </a:solidFill>
                          <a:latin typeface="+mn-lt"/>
                          <a:ea typeface="+mn-ea"/>
                          <a:cs typeface="+mn-cs"/>
                        </a:rPr>
                      </a:br>
                      <a:r>
                        <a:rPr lang="en-US" sz="1100" kern="0" dirty="0">
                          <a:solidFill>
                            <a:schemeClr val="bg1"/>
                          </a:solidFill>
                          <a:latin typeface="+mn-lt"/>
                          <a:ea typeface="+mn-ea"/>
                          <a:cs typeface="+mn-cs"/>
                        </a:rPr>
                        <a:t>Companies must use a recognized sustainability reporting framework, such as the </a:t>
                      </a:r>
                      <a:r>
                        <a:rPr lang="en-US" sz="1100" kern="0" dirty="0">
                          <a:solidFill>
                            <a:schemeClr val="tx2"/>
                          </a:solidFill>
                          <a:latin typeface="+mn-lt"/>
                          <a:ea typeface="+mn-ea"/>
                          <a:cs typeface="+mn-cs"/>
                        </a:rPr>
                        <a:t>Global Reporting Initiative</a:t>
                      </a:r>
                      <a:r>
                        <a:rPr lang="en-US" sz="1100" kern="0" dirty="0">
                          <a:solidFill>
                            <a:schemeClr val="bg1"/>
                          </a:solidFill>
                          <a:latin typeface="+mn-lt"/>
                          <a:ea typeface="+mn-ea"/>
                          <a:cs typeface="+mn-cs"/>
                        </a:rPr>
                        <a:t> or </a:t>
                      </a:r>
                      <a:r>
                        <a:rPr lang="en-US" sz="1100" kern="0" dirty="0">
                          <a:solidFill>
                            <a:schemeClr val="tx2"/>
                          </a:solidFill>
                          <a:latin typeface="+mn-lt"/>
                          <a:ea typeface="+mn-ea"/>
                          <a:cs typeface="+mn-cs"/>
                        </a:rPr>
                        <a:t>Sustainability Accounting Standards Board</a:t>
                      </a:r>
                      <a:r>
                        <a:rPr lang="en-US" sz="1100" kern="0" dirty="0">
                          <a:solidFill>
                            <a:schemeClr val="bg1"/>
                          </a:solidFill>
                          <a:latin typeface="+mn-lt"/>
                          <a:ea typeface="+mn-ea"/>
                          <a:cs typeface="+mn-cs"/>
                        </a:rPr>
                        <a:t> guidelines. </a:t>
                      </a:r>
                    </a:p>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endParaRPr lang="en-US" sz="1100" kern="0" dirty="0">
                        <a:solidFill>
                          <a:schemeClr val="bg1"/>
                        </a:solidFill>
                        <a:latin typeface="+mn-lt"/>
                        <a:ea typeface="+mn-ea"/>
                        <a:cs typeface="+mn-cs"/>
                      </a:endParaRPr>
                    </a:p>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1100" kern="0" dirty="0">
                          <a:solidFill>
                            <a:schemeClr val="bg1"/>
                          </a:solidFill>
                          <a:latin typeface="+mn-lt"/>
                          <a:ea typeface="+mn-ea"/>
                          <a:cs typeface="+mn-cs"/>
                        </a:rPr>
                        <a:t>Embedding low-carbon H</a:t>
                      </a:r>
                      <a:r>
                        <a:rPr lang="en-US" sz="1100" kern="0" baseline="-25000" dirty="0">
                          <a:solidFill>
                            <a:schemeClr val="bg1"/>
                          </a:solidFill>
                          <a:latin typeface="+mn-lt"/>
                          <a:ea typeface="+mn-ea"/>
                          <a:cs typeface="+mn-cs"/>
                        </a:rPr>
                        <a:t>2</a:t>
                      </a:r>
                      <a:r>
                        <a:rPr lang="en-US" sz="1100" kern="0" dirty="0">
                          <a:solidFill>
                            <a:schemeClr val="bg1"/>
                          </a:solidFill>
                          <a:latin typeface="+mn-lt"/>
                          <a:ea typeface="+mn-ea"/>
                          <a:cs typeface="+mn-cs"/>
                        </a:rPr>
                        <a:t> modeling into a recognized reporting framework ensures that the information disclosed is comparable and consistent.</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1100" kern="0" dirty="0">
                          <a:solidFill>
                            <a:schemeClr val="bg1"/>
                          </a:solidFill>
                          <a:latin typeface="+mn-lt"/>
                          <a:ea typeface="+mn-ea"/>
                          <a:cs typeface="+mn-cs"/>
                        </a:rPr>
                        <a:t>The </a:t>
                      </a:r>
                      <a:r>
                        <a:rPr lang="en-US" sz="1100" kern="0" dirty="0">
                          <a:solidFill>
                            <a:schemeClr val="tx2"/>
                          </a:solidFill>
                          <a:latin typeface="+mn-lt"/>
                          <a:ea typeface="+mn-ea"/>
                          <a:cs typeface="+mn-cs"/>
                        </a:rPr>
                        <a:t>International Sustainability and Carbon Certification</a:t>
                      </a:r>
                      <a:r>
                        <a:rPr lang="en-US" sz="1100" kern="0" dirty="0">
                          <a:solidFill>
                            <a:schemeClr val="bg1"/>
                          </a:solidFill>
                          <a:latin typeface="+mn-lt"/>
                          <a:ea typeface="+mn-ea"/>
                          <a:cs typeface="+mn-cs"/>
                        </a:rPr>
                        <a:t> group is a global organization that provides certification for the sustainable production of biofuels, bioplastics, and other renewable materials.  </a:t>
                      </a:r>
                    </a:p>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endParaRPr lang="en-US" sz="1100" kern="0" dirty="0">
                        <a:solidFill>
                          <a:schemeClr val="bg1"/>
                        </a:solidFill>
                        <a:latin typeface="+mn-lt"/>
                        <a:ea typeface="+mn-ea"/>
                        <a:cs typeface="+mn-cs"/>
                      </a:endParaRPr>
                    </a:p>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1100" kern="0" dirty="0">
                          <a:solidFill>
                            <a:schemeClr val="bg1"/>
                          </a:solidFill>
                          <a:latin typeface="+mn-lt"/>
                          <a:ea typeface="+mn-ea"/>
                          <a:cs typeface="+mn-cs"/>
                        </a:rPr>
                        <a:t>As the globe’s leading certification system, they have declared hydrogen as a key focus area in strategy and certification opportunities.</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7877163"/>
                  </a:ext>
                </a:extLst>
              </a:tr>
              <a:tr h="358595">
                <a:tc>
                  <a:txBody>
                    <a:bodyPr/>
                    <a:lstStyle/>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1100" kern="0" dirty="0">
                          <a:solidFill>
                            <a:schemeClr val="bg1"/>
                          </a:solidFill>
                          <a:latin typeface="+mn-lt"/>
                          <a:ea typeface="+mn-ea"/>
                          <a:cs typeface="+mn-cs"/>
                        </a:rPr>
                        <a:t>Model augmentation to reflect IRA-oriented strategies.</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ctr"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r>
                        <a:rPr lang="en-US" sz="1100" kern="0" dirty="0">
                          <a:solidFill>
                            <a:schemeClr val="bg1"/>
                          </a:solidFill>
                          <a:latin typeface="+mn-lt"/>
                          <a:ea typeface="+mn-ea"/>
                          <a:cs typeface="+mn-cs"/>
                        </a:rPr>
                        <a:t>Enhancing the ledger and tracking H</a:t>
                      </a:r>
                      <a:r>
                        <a:rPr lang="en-US" sz="1100" kern="0" baseline="-25000" dirty="0">
                          <a:solidFill>
                            <a:schemeClr val="bg1"/>
                          </a:solidFill>
                          <a:latin typeface="+mn-lt"/>
                          <a:ea typeface="+mn-ea"/>
                          <a:cs typeface="+mn-cs"/>
                        </a:rPr>
                        <a:t>2</a:t>
                      </a:r>
                      <a:r>
                        <a:rPr lang="en-US" sz="1100" kern="0" dirty="0">
                          <a:solidFill>
                            <a:schemeClr val="bg1"/>
                          </a:solidFill>
                          <a:latin typeface="+mn-lt"/>
                          <a:ea typeface="+mn-ea"/>
                          <a:cs typeface="+mn-cs"/>
                        </a:rPr>
                        <a:t> data for reporting and measurement platforms for quicker and more accurate compliance.</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endParaRPr lang="en-US" sz="1200" kern="0">
                        <a:solidFill>
                          <a:schemeClr val="bg1"/>
                        </a:solidFill>
                        <a:latin typeface="+mn-lt"/>
                        <a:ea typeface="+mn-ea"/>
                        <a:cs typeface="+mn-cs"/>
                      </a:endParaRP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endParaRPr lang="en-US" sz="1100" kern="0">
                        <a:solidFill>
                          <a:schemeClr val="bg1"/>
                        </a:solidFill>
                        <a:latin typeface="+mn-lt"/>
                        <a:ea typeface="+mn-ea"/>
                        <a:cs typeface="+mn-cs"/>
                      </a:endParaRP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5941853"/>
                  </a:ext>
                </a:extLst>
              </a:tr>
              <a:tr h="138533">
                <a:tc gridSpan="4">
                  <a:txBody>
                    <a:bodyPr/>
                    <a:lstStyle/>
                    <a:p>
                      <a:pPr marL="0" marR="0" lvl="0" indent="0" algn="ctr" defTabSz="913486" rtl="0" eaLnBrk="1" fontAlgn="auto" latinLnBrk="0" hangingPunct="1">
                        <a:lnSpc>
                          <a:spcPct val="100000"/>
                        </a:lnSpc>
                        <a:spcBef>
                          <a:spcPts val="0"/>
                        </a:spcBef>
                        <a:spcAft>
                          <a:spcPts val="0"/>
                        </a:spcAft>
                        <a:buClr>
                          <a:srgbClr val="FFE600"/>
                        </a:buClr>
                        <a:buSzTx/>
                        <a:buFont typeface="EYInterstate Light" panose="02000506000000020004" pitchFamily="2" charset="0"/>
                        <a:buNone/>
                        <a:tabLst/>
                        <a:defRPr/>
                      </a:pPr>
                      <a:r>
                        <a:rPr kumimoji="0" lang="en-US" sz="1200" b="0" i="1" u="none" strike="noStrike" kern="0" cap="none" spc="0" normalizeH="0" baseline="0" noProof="0" dirty="0">
                          <a:ln>
                            <a:noFill/>
                          </a:ln>
                          <a:solidFill>
                            <a:srgbClr val="FFE600"/>
                          </a:solidFill>
                          <a:effectLst/>
                          <a:uLnTx/>
                          <a:uFillTx/>
                          <a:latin typeface="+mn-lt"/>
                          <a:ea typeface="+mn-ea"/>
                          <a:cs typeface="+mn-cs"/>
                        </a:rPr>
                        <a:t>Enhance and adjust modeling to embed strategies addressing regulatory frameworks.</a:t>
                      </a: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endParaRPr lang="en-US" sz="1600" kern="0">
                        <a:solidFill>
                          <a:schemeClr val="bg1"/>
                        </a:solidFill>
                        <a:latin typeface="+mn-lt"/>
                        <a:ea typeface="+mn-ea"/>
                        <a:cs typeface="+mn-cs"/>
                      </a:endParaRP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endParaRPr lang="en-US" sz="1600" kern="0">
                        <a:solidFill>
                          <a:schemeClr val="bg1"/>
                        </a:solidFill>
                        <a:latin typeface="+mn-lt"/>
                        <a:ea typeface="+mn-ea"/>
                        <a:cs typeface="+mn-cs"/>
                      </a:endParaRP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3486" rtl="0" eaLnBrk="1" fontAlgn="auto" latinLnBrk="0" hangingPunct="1">
                        <a:lnSpc>
                          <a:spcPct val="100000"/>
                        </a:lnSpc>
                        <a:spcBef>
                          <a:spcPts val="0"/>
                        </a:spcBef>
                        <a:spcAft>
                          <a:spcPts val="0"/>
                        </a:spcAft>
                        <a:buClr>
                          <a:schemeClr val="tx2"/>
                        </a:buClr>
                        <a:buSzTx/>
                        <a:buFont typeface="EYInterstate Light" panose="02000506000000020004" pitchFamily="2" charset="0"/>
                        <a:buNone/>
                        <a:tabLst/>
                        <a:defRPr/>
                      </a:pPr>
                      <a:endParaRPr lang="en-US" sz="1200" i="1" kern="0">
                        <a:solidFill>
                          <a:schemeClr val="tx2"/>
                        </a:solidFill>
                        <a:latin typeface="+mn-lt"/>
                        <a:ea typeface="+mn-ea"/>
                        <a:cs typeface="+mn-cs"/>
                      </a:endParaRPr>
                    </a:p>
                  </a:txBody>
                  <a:tcPr marL="91248" marR="91248" marT="45624" marB="45624">
                    <a:lnL w="12700" cmpd="sng">
                      <a:noFill/>
                    </a:lnL>
                    <a:lnR w="12700" cmpd="sng">
                      <a:noFill/>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1031413"/>
                  </a:ext>
                </a:extLst>
              </a:tr>
            </a:tbl>
          </a:graphicData>
        </a:graphic>
      </p:graphicFrame>
      <p:pic>
        <p:nvPicPr>
          <p:cNvPr id="15" name="Graphic 14" descr="Upward trend with solid fill">
            <a:extLst>
              <a:ext uri="{FF2B5EF4-FFF2-40B4-BE49-F238E27FC236}">
                <a16:creationId xmlns:a16="http://schemas.microsoft.com/office/drawing/2014/main" id="{08D68D7B-EBF3-488F-AAB7-B44C3387AE0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057529" y="920192"/>
            <a:ext cx="1247140" cy="1247140"/>
          </a:xfrm>
          <a:prstGeom prst="rect">
            <a:avLst/>
          </a:prstGeom>
        </p:spPr>
      </p:pic>
      <p:pic>
        <p:nvPicPr>
          <p:cNvPr id="16" name="Graphic 15" descr="Court outline">
            <a:extLst>
              <a:ext uri="{FF2B5EF4-FFF2-40B4-BE49-F238E27FC236}">
                <a16:creationId xmlns:a16="http://schemas.microsoft.com/office/drawing/2014/main" id="{F38D9974-78ED-4ABC-948C-5F65E258491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6799363" y="864411"/>
            <a:ext cx="1247140" cy="1247140"/>
          </a:xfrm>
          <a:prstGeom prst="rect">
            <a:avLst/>
          </a:prstGeom>
        </p:spPr>
      </p:pic>
      <p:sp>
        <p:nvSpPr>
          <p:cNvPr id="17" name="Title 1">
            <a:extLst>
              <a:ext uri="{FF2B5EF4-FFF2-40B4-BE49-F238E27FC236}">
                <a16:creationId xmlns:a16="http://schemas.microsoft.com/office/drawing/2014/main" id="{4DC7B111-C441-4066-9CE6-69F1B916D2D1}"/>
              </a:ext>
            </a:extLst>
          </p:cNvPr>
          <p:cNvSpPr txBox="1">
            <a:spLocks/>
          </p:cNvSpPr>
          <p:nvPr/>
        </p:nvSpPr>
        <p:spPr>
          <a:xfrm>
            <a:off x="465702" y="273861"/>
            <a:ext cx="10972800" cy="590550"/>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399" b="1" i="0" u="none" strike="noStrike" kern="1200" cap="none" spc="0" normalizeH="0" baseline="0" noProof="0" dirty="0">
                <a:ln>
                  <a:noFill/>
                </a:ln>
                <a:solidFill>
                  <a:srgbClr val="FFE600"/>
                </a:solidFill>
                <a:effectLst/>
                <a:uLnTx/>
                <a:uFillTx/>
                <a:latin typeface="EYInterstate Light" panose="02000506000000020004" pitchFamily="2" charset="0"/>
                <a:ea typeface="+mj-ea"/>
                <a:cs typeface="Arial" pitchFamily="34" charset="0"/>
              </a:rPr>
              <a:t>Build in Model-Based Regulatory Strategy</a:t>
            </a:r>
            <a:endPar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399"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 </a:t>
            </a:r>
          </a:p>
        </p:txBody>
      </p:sp>
      <p:pic>
        <p:nvPicPr>
          <p:cNvPr id="9" name="Graphic 8" descr="Crops outline">
            <a:extLst>
              <a:ext uri="{FF2B5EF4-FFF2-40B4-BE49-F238E27FC236}">
                <a16:creationId xmlns:a16="http://schemas.microsoft.com/office/drawing/2014/main" id="{86509772-7C19-42F4-A8D0-5F2C95ABAB6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9631285" y="949124"/>
            <a:ext cx="1247140" cy="1247140"/>
          </a:xfrm>
          <a:prstGeom prst="rect">
            <a:avLst/>
          </a:prstGeom>
        </p:spPr>
      </p:pic>
      <p:pic>
        <p:nvPicPr>
          <p:cNvPr id="12" name="Graphic 11" descr="Checklist with solid fill">
            <a:extLst>
              <a:ext uri="{FF2B5EF4-FFF2-40B4-BE49-F238E27FC236}">
                <a16:creationId xmlns:a16="http://schemas.microsoft.com/office/drawing/2014/main" id="{CB285664-80EB-465A-BEED-16B6A0936E7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25607" y="949124"/>
            <a:ext cx="1247140" cy="1247140"/>
          </a:xfrm>
          <a:prstGeom prst="rect">
            <a:avLst/>
          </a:prstGeom>
        </p:spPr>
      </p:pic>
      <p:sp>
        <p:nvSpPr>
          <p:cNvPr id="11" name="Footer Placeholder 2">
            <a:extLst>
              <a:ext uri="{FF2B5EF4-FFF2-40B4-BE49-F238E27FC236}">
                <a16:creationId xmlns:a16="http://schemas.microsoft.com/office/drawing/2014/main" id="{ADE1F285-99A2-48D5-91DA-4E8998B538EA}"/>
              </a:ext>
            </a:extLst>
          </p:cNvPr>
          <p:cNvSpPr txBox="1">
            <a:spLocks/>
          </p:cNvSpPr>
          <p:nvPr/>
        </p:nvSpPr>
        <p:spPr>
          <a:xfrm>
            <a:off x="4553753" y="6471244"/>
            <a:ext cx="3367734" cy="180000"/>
          </a:xfrm>
          <a:prstGeom prst="rect">
            <a:avLst/>
          </a:prstGeom>
        </p:spPr>
        <p:txBody>
          <a:bodyPr/>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Page </a:t>
            </a:r>
            <a:fld id="{F1BC30E3-FFE5-4B91-AA19-87A149EBB9EE}" type="slidenum">
              <a:rPr smtClean="0"/>
              <a:pPr/>
              <a:t>3</a:t>
            </a:fld>
            <a:r>
              <a:rPr lang="en-US" dirty="0"/>
              <a:t> | Draft</a:t>
            </a:r>
          </a:p>
        </p:txBody>
      </p:sp>
    </p:spTree>
    <p:extLst>
      <p:ext uri="{BB962C8B-B14F-4D97-AF65-F5344CB8AC3E}">
        <p14:creationId xmlns:p14="http://schemas.microsoft.com/office/powerpoint/2010/main" val="85814646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250"/>
                                        <p:tgtEl>
                                          <p:spTgt spid="12"/>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250"/>
                                        <p:tgtEl>
                                          <p:spTgt spid="15"/>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250"/>
                                        <p:tgtEl>
                                          <p:spTgt spid="16"/>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250"/>
                                        <p:tgtEl>
                                          <p:spTgt spid="9"/>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1F740BF5-86F5-4AD3-92E1-279D95747FE5}"/>
              </a:ext>
            </a:extLst>
          </p:cNvPr>
          <p:cNvSpPr txBox="1"/>
          <p:nvPr/>
        </p:nvSpPr>
        <p:spPr>
          <a:xfrm>
            <a:off x="5093474" y="2688037"/>
            <a:ext cx="6480385" cy="3871576"/>
          </a:xfrm>
          <a:prstGeom prst="rect">
            <a:avLst/>
          </a:prstGeom>
        </p:spPr>
        <p:txBody>
          <a:bodyPr vert="horz" lIns="0" tIns="0" rIns="0" bIns="0" rtlCol="0" anchor="t" anchorCtr="0">
            <a:normAutofit/>
          </a:bodyPr>
          <a:lstStyle/>
          <a:p>
            <a:pPr marL="0" marR="0" lvl="0" indent="-356438" algn="l" defTabSz="914400" rtl="0" eaLnBrk="1" fontAlgn="auto" latinLnBrk="0" hangingPunct="1">
              <a:lnSpc>
                <a:spcPct val="90000"/>
              </a:lnSpc>
              <a:spcBef>
                <a:spcPct val="20000"/>
              </a:spcBef>
              <a:spcAft>
                <a:spcPts val="0"/>
              </a:spcAft>
              <a:buClr>
                <a:srgbClr val="FFE600"/>
              </a:buClr>
              <a:buSzPct val="110000"/>
              <a:buFont typeface="EYInterstate Light" panose="02000506000000020004" pitchFamily="2" charset="0"/>
              <a:buChar char="•"/>
              <a:tabLst/>
              <a:defRPr/>
            </a:pPr>
            <a:endParaRPr kumimoji="0" lang="en-US" sz="19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a:p>
            <a:pPr marL="0" marR="0" lvl="0" indent="-356438" algn="l" defTabSz="914400" rtl="0" eaLnBrk="1" fontAlgn="auto" latinLnBrk="0" hangingPunct="1">
              <a:lnSpc>
                <a:spcPct val="100000"/>
              </a:lnSpc>
              <a:spcBef>
                <a:spcPts val="0"/>
              </a:spcBef>
              <a:spcAft>
                <a:spcPts val="2400"/>
              </a:spcAft>
              <a:buClr>
                <a:srgbClr val="FFE600"/>
              </a:buClr>
              <a:buSzPct val="110000"/>
              <a:buFont typeface="EYInterstate Light" panose="02000506000000020004" pitchFamily="2" charset="0"/>
              <a:buChar char="•"/>
              <a:tabLst/>
              <a:defRPr/>
            </a:pPr>
            <a:r>
              <a:rPr kumimoji="0" lang="en-US" sz="1599" b="0" i="0" u="none" strike="noStrike" kern="1200" cap="none" spc="0" normalizeH="0" baseline="0" noProof="0" dirty="0">
                <a:ln>
                  <a:noFill/>
                </a:ln>
                <a:solidFill>
                  <a:srgbClr val="2DB757"/>
                </a:solidFill>
                <a:effectLst/>
                <a:uLnTx/>
                <a:uFillTx/>
                <a:latin typeface="EYInterstate Light" panose="02000506000000020004" pitchFamily="2" charset="0"/>
                <a:ea typeface="+mn-ea"/>
                <a:cs typeface="+mn-cs"/>
              </a:rPr>
              <a:t>Zero Carbon H</a:t>
            </a:r>
            <a:r>
              <a:rPr kumimoji="0" lang="en-US" sz="1599" b="0" i="0" u="none" strike="noStrike" kern="1200" cap="none" spc="0" normalizeH="0" baseline="-25000" noProof="0" dirty="0">
                <a:ln>
                  <a:noFill/>
                </a:ln>
                <a:solidFill>
                  <a:srgbClr val="2DB757"/>
                </a:solidFill>
                <a:effectLst/>
                <a:uLnTx/>
                <a:uFillTx/>
                <a:latin typeface="EYInterstate Light" panose="02000506000000020004" pitchFamily="2" charset="0"/>
                <a:ea typeface="+mn-ea"/>
                <a:cs typeface="+mn-cs"/>
              </a:rPr>
              <a:t>2</a:t>
            </a:r>
            <a:r>
              <a:rPr kumimoji="0" lang="en-US" sz="15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 made through the electrolysis of water using renewable electricity sources, is 100% CO</a:t>
            </a:r>
            <a:r>
              <a:rPr kumimoji="0" lang="en-US" sz="1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2</a:t>
            </a:r>
            <a:r>
              <a:rPr kumimoji="0" lang="en-US" sz="15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ree; however, it is not commercially available at scale.</a:t>
            </a:r>
          </a:p>
          <a:p>
            <a:pPr marL="0" marR="0" lvl="0" indent="0" algn="l" defTabSz="914400" rtl="0" eaLnBrk="1" fontAlgn="auto" latinLnBrk="0" hangingPunct="1">
              <a:lnSpc>
                <a:spcPct val="100000"/>
              </a:lnSpc>
              <a:spcBef>
                <a:spcPts val="0"/>
              </a:spcBef>
              <a:spcAft>
                <a:spcPts val="2400"/>
              </a:spcAft>
              <a:buClr>
                <a:srgbClr val="FFE600"/>
              </a:buClr>
              <a:buSzPct val="110000"/>
              <a:buFontTx/>
              <a:buNone/>
              <a:tabLst/>
              <a:defRPr/>
            </a:pPr>
            <a:r>
              <a:rPr kumimoji="0" lang="en-US" sz="15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While </a:t>
            </a:r>
            <a:r>
              <a:rPr kumimoji="0" lang="en-US" sz="1599" b="0" i="0" u="none" strike="noStrike" kern="1200" cap="none" spc="0" normalizeH="0" baseline="0" noProof="0" dirty="0">
                <a:ln>
                  <a:noFill/>
                </a:ln>
                <a:solidFill>
                  <a:srgbClr val="2DB757"/>
                </a:solidFill>
                <a:effectLst/>
                <a:uLnTx/>
                <a:uFillTx/>
                <a:latin typeface="EYInterstate Light" panose="02000506000000020004" pitchFamily="2" charset="0"/>
                <a:ea typeface="+mn-ea"/>
                <a:cs typeface="+mn-cs"/>
              </a:rPr>
              <a:t>Zero Carbon H</a:t>
            </a:r>
            <a:r>
              <a:rPr kumimoji="0" lang="en-US" sz="1599" b="0" i="0" u="none" strike="noStrike" kern="1200" cap="none" spc="0" normalizeH="0" baseline="-25000" noProof="0" dirty="0">
                <a:ln>
                  <a:noFill/>
                </a:ln>
                <a:solidFill>
                  <a:srgbClr val="2DB757"/>
                </a:solidFill>
                <a:effectLst/>
                <a:uLnTx/>
                <a:uFillTx/>
                <a:latin typeface="EYInterstate Light" panose="02000506000000020004" pitchFamily="2" charset="0"/>
                <a:ea typeface="+mn-ea"/>
                <a:cs typeface="+mn-cs"/>
              </a:rPr>
              <a:t>2</a:t>
            </a:r>
            <a:r>
              <a:rPr kumimoji="0" lang="en-US" sz="1599" b="0" i="0" u="none" strike="noStrike" kern="1200" cap="none" spc="0" normalizeH="0" baseline="0" noProof="0" dirty="0">
                <a:ln>
                  <a:noFill/>
                </a:ln>
                <a:solidFill>
                  <a:srgbClr val="2DB757"/>
                </a:solidFill>
                <a:effectLst/>
                <a:uLnTx/>
                <a:uFillTx/>
                <a:latin typeface="EYInterstate Light" panose="02000506000000020004" pitchFamily="2" charset="0"/>
                <a:ea typeface="+mn-ea"/>
                <a:cs typeface="+mn-cs"/>
              </a:rPr>
              <a:t> </a:t>
            </a:r>
            <a:r>
              <a:rPr kumimoji="0" lang="en-US" sz="15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is the end goal, technological developments are needed to improve the supply and efficiency in green hydrogen production. </a:t>
            </a:r>
          </a:p>
          <a:p>
            <a:pPr marL="0" marR="0" lvl="0" indent="-356438" algn="l" defTabSz="914400" rtl="0" eaLnBrk="1" fontAlgn="auto" latinLnBrk="0" hangingPunct="1">
              <a:lnSpc>
                <a:spcPct val="100000"/>
              </a:lnSpc>
              <a:spcBef>
                <a:spcPts val="0"/>
              </a:spcBef>
              <a:spcAft>
                <a:spcPts val="2400"/>
              </a:spcAft>
              <a:buClr>
                <a:srgbClr val="FFE600"/>
              </a:buClr>
              <a:buSzPct val="110000"/>
              <a:buFont typeface="EYInterstate Light" panose="02000506000000020004" pitchFamily="2" charset="0"/>
              <a:buChar char="•"/>
              <a:tabLst/>
              <a:defRPr/>
            </a:pPr>
            <a:r>
              <a:rPr kumimoji="0" lang="en-US" sz="1599" b="0" i="0" u="none" strike="noStrike" kern="1200" cap="none" spc="0" normalizeH="0" baseline="0" noProof="0" dirty="0">
                <a:ln>
                  <a:noFill/>
                </a:ln>
                <a:solidFill>
                  <a:srgbClr val="188CE5"/>
                </a:solidFill>
                <a:effectLst/>
                <a:uLnTx/>
                <a:uFillTx/>
                <a:latin typeface="EYInterstate Light" panose="02000506000000020004" pitchFamily="2" charset="0"/>
                <a:ea typeface="+mn-ea"/>
                <a:cs typeface="+mn-cs"/>
              </a:rPr>
              <a:t>Low Carbon H</a:t>
            </a:r>
            <a:r>
              <a:rPr kumimoji="0" lang="en-US" sz="1599" b="0" i="0" u="none" strike="noStrike" kern="1200" cap="none" spc="0" normalizeH="0" baseline="-25000" noProof="0" dirty="0">
                <a:ln>
                  <a:noFill/>
                </a:ln>
                <a:solidFill>
                  <a:srgbClr val="188CE5"/>
                </a:solidFill>
                <a:effectLst/>
                <a:uLnTx/>
                <a:uFillTx/>
                <a:latin typeface="EYInterstate Light" panose="02000506000000020004" pitchFamily="2" charset="0"/>
                <a:ea typeface="+mn-ea"/>
                <a:cs typeface="+mn-cs"/>
              </a:rPr>
              <a:t>2</a:t>
            </a:r>
            <a:r>
              <a:rPr kumimoji="0" lang="en-US" sz="1599" b="0" i="0" u="none" strike="noStrike" kern="1200" cap="none" spc="0" normalizeH="0" baseline="0" noProof="0" dirty="0">
                <a:ln>
                  <a:noFill/>
                </a:ln>
                <a:solidFill>
                  <a:srgbClr val="188CE5"/>
                </a:solidFill>
                <a:effectLst/>
                <a:uLnTx/>
                <a:uFillTx/>
                <a:latin typeface="EYInterstate Light" panose="02000506000000020004" pitchFamily="2" charset="0"/>
                <a:ea typeface="+mn-ea"/>
                <a:cs typeface="+mn-cs"/>
              </a:rPr>
              <a:t> </a:t>
            </a:r>
            <a:r>
              <a:rPr kumimoji="0" lang="en-US" sz="15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a crucial steppingstone to begin countries’ decarbonization process today, as existing </a:t>
            </a:r>
            <a:r>
              <a:rPr kumimoji="0" lang="en-US" sz="1599" b="1" i="0" u="none" strike="noStrike" kern="1200" cap="none" spc="0" normalizeH="0" baseline="0" noProof="0" dirty="0">
                <a:ln>
                  <a:noFill/>
                </a:ln>
                <a:solidFill>
                  <a:srgbClr val="2E2E38">
                    <a:lumMod val="40000"/>
                    <a:lumOff val="60000"/>
                  </a:srgbClr>
                </a:solidFill>
                <a:effectLst/>
                <a:uLnTx/>
                <a:uFillTx/>
                <a:latin typeface="EYInterstate Light" panose="02000506000000020004" pitchFamily="2" charset="0"/>
                <a:ea typeface="+mn-ea"/>
                <a:cs typeface="+mn-cs"/>
              </a:rPr>
              <a:t>Carbon intensive H</a:t>
            </a:r>
            <a:r>
              <a:rPr kumimoji="0" lang="en-US" sz="1599" b="1" i="0" u="none" strike="noStrike" kern="1200" cap="none" spc="0" normalizeH="0" baseline="-25000" noProof="0" dirty="0">
                <a:ln>
                  <a:noFill/>
                </a:ln>
                <a:solidFill>
                  <a:srgbClr val="2E2E38">
                    <a:lumMod val="40000"/>
                    <a:lumOff val="60000"/>
                  </a:srgbClr>
                </a:solidFill>
                <a:effectLst/>
                <a:uLnTx/>
                <a:uFillTx/>
                <a:latin typeface="EYInterstate Light" panose="02000506000000020004" pitchFamily="2" charset="0"/>
                <a:ea typeface="+mn-ea"/>
                <a:cs typeface="+mn-cs"/>
              </a:rPr>
              <a:t>2</a:t>
            </a:r>
            <a:r>
              <a:rPr kumimoji="0" lang="en-US" sz="1599" b="1" i="0" u="none" strike="noStrike" kern="1200" cap="none" spc="0" normalizeH="0" baseline="0" noProof="0" dirty="0">
                <a:ln>
                  <a:noFill/>
                </a:ln>
                <a:solidFill>
                  <a:srgbClr val="2E2E38">
                    <a:lumMod val="40000"/>
                    <a:lumOff val="60000"/>
                  </a:srgbClr>
                </a:solidFill>
                <a:effectLst/>
                <a:uLnTx/>
                <a:uFillTx/>
                <a:latin typeface="EYInterstate Light" panose="02000506000000020004" pitchFamily="2" charset="0"/>
                <a:ea typeface="+mn-ea"/>
                <a:cs typeface="+mn-cs"/>
              </a:rPr>
              <a:t> </a:t>
            </a:r>
            <a:r>
              <a:rPr kumimoji="0" lang="en-US" sz="15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get phased out and developments towards </a:t>
            </a:r>
            <a:r>
              <a:rPr kumimoji="0" lang="en-US" sz="1599" b="0" i="0" u="none" strike="noStrike" kern="1200" cap="none" spc="0" normalizeH="0" baseline="0" noProof="0" dirty="0">
                <a:ln>
                  <a:noFill/>
                </a:ln>
                <a:solidFill>
                  <a:srgbClr val="2DB757"/>
                </a:solidFill>
                <a:effectLst/>
                <a:uLnTx/>
                <a:uFillTx/>
                <a:latin typeface="EYInterstate Light" panose="02000506000000020004" pitchFamily="2" charset="0"/>
                <a:ea typeface="+mn-ea"/>
                <a:cs typeface="+mn-cs"/>
              </a:rPr>
              <a:t>Zero Carbon H</a:t>
            </a:r>
            <a:r>
              <a:rPr kumimoji="0" lang="en-US" sz="1599" b="0" i="0" u="none" strike="noStrike" kern="1200" cap="none" spc="0" normalizeH="0" baseline="-25000" noProof="0" dirty="0">
                <a:ln>
                  <a:noFill/>
                </a:ln>
                <a:solidFill>
                  <a:srgbClr val="2DB757"/>
                </a:solidFill>
                <a:effectLst/>
                <a:uLnTx/>
                <a:uFillTx/>
                <a:latin typeface="EYInterstate Light" panose="02000506000000020004" pitchFamily="2" charset="0"/>
                <a:ea typeface="+mn-ea"/>
                <a:cs typeface="+mn-cs"/>
              </a:rPr>
              <a:t>2</a:t>
            </a:r>
            <a:r>
              <a:rPr kumimoji="0" lang="en-US" sz="1599" b="0" i="0" u="none" strike="noStrike" kern="1200" cap="none" spc="0" normalizeH="0" baseline="0" noProof="0" dirty="0">
                <a:ln>
                  <a:noFill/>
                </a:ln>
                <a:solidFill>
                  <a:srgbClr val="2DB757"/>
                </a:solidFill>
                <a:effectLst/>
                <a:uLnTx/>
                <a:uFillTx/>
                <a:latin typeface="EYInterstate Light" panose="02000506000000020004" pitchFamily="2" charset="0"/>
                <a:ea typeface="+mn-ea"/>
                <a:cs typeface="+mn-cs"/>
              </a:rPr>
              <a:t> </a:t>
            </a:r>
            <a:r>
              <a:rPr kumimoji="0" lang="en-US" sz="15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ontinue to progress. </a:t>
            </a:r>
          </a:p>
        </p:txBody>
      </p:sp>
      <p:sp>
        <p:nvSpPr>
          <p:cNvPr id="2" name="Title 1">
            <a:extLst>
              <a:ext uri="{FF2B5EF4-FFF2-40B4-BE49-F238E27FC236}">
                <a16:creationId xmlns:a16="http://schemas.microsoft.com/office/drawing/2014/main" id="{E7EEC2D8-CE12-4A1D-92F1-841094EB6DCB}"/>
              </a:ext>
            </a:extLst>
          </p:cNvPr>
          <p:cNvSpPr>
            <a:spLocks noGrp="1"/>
          </p:cNvSpPr>
          <p:nvPr>
            <p:ph type="title" idx="4294967295"/>
          </p:nvPr>
        </p:nvSpPr>
        <p:spPr>
          <a:xfrm>
            <a:off x="579886" y="517797"/>
            <a:ext cx="6097409" cy="744583"/>
          </a:xfrm>
        </p:spPr>
        <p:txBody>
          <a:bodyPr vert="horz" lIns="0" tIns="0" rIns="0" bIns="0" rtlCol="0" anchor="t" anchorCtr="0">
            <a:noAutofit/>
          </a:bodyPr>
          <a:lstStyle/>
          <a:p>
            <a:r>
              <a:rPr lang="en-US" b="1" kern="1200" dirty="0">
                <a:solidFill>
                  <a:schemeClr val="tx2"/>
                </a:solidFill>
                <a:latin typeface="EYInterstate Light" panose="02000506000000020004" pitchFamily="2" charset="0"/>
                <a:ea typeface="+mj-ea"/>
                <a:cs typeface="Arial" pitchFamily="34" charset="0"/>
              </a:rPr>
              <a:t>Building out the enabling infrastructure: </a:t>
            </a:r>
            <a:br>
              <a:rPr lang="en-US" b="1" kern="1200" dirty="0">
                <a:solidFill>
                  <a:schemeClr val="tx2"/>
                </a:solidFill>
                <a:latin typeface="EYInterstate Light" panose="02000506000000020004" pitchFamily="2" charset="0"/>
                <a:ea typeface="+mj-ea"/>
                <a:cs typeface="Arial" pitchFamily="34" charset="0"/>
              </a:rPr>
            </a:br>
            <a:r>
              <a:rPr lang="en-US" sz="1800" b="1" kern="1200" dirty="0">
                <a:solidFill>
                  <a:schemeClr val="tx2"/>
                </a:solidFill>
                <a:latin typeface="EYInterstate Light" panose="02000506000000020004" pitchFamily="2" charset="0"/>
                <a:ea typeface="+mj-ea"/>
                <a:cs typeface="Arial" pitchFamily="34" charset="0"/>
              </a:rPr>
              <a:t>the road to decarbonization starts with low carbon H</a:t>
            </a:r>
            <a:r>
              <a:rPr lang="en-US" sz="1800" b="1" kern="1200" baseline="-25000" dirty="0">
                <a:solidFill>
                  <a:schemeClr val="tx2"/>
                </a:solidFill>
                <a:latin typeface="EYInterstate Light" panose="02000506000000020004" pitchFamily="2" charset="0"/>
                <a:ea typeface="+mj-ea"/>
                <a:cs typeface="Arial" pitchFamily="34" charset="0"/>
              </a:rPr>
              <a:t>2</a:t>
            </a:r>
          </a:p>
        </p:txBody>
      </p:sp>
      <p:grpSp>
        <p:nvGrpSpPr>
          <p:cNvPr id="9" name="Group 8">
            <a:extLst>
              <a:ext uri="{FF2B5EF4-FFF2-40B4-BE49-F238E27FC236}">
                <a16:creationId xmlns:a16="http://schemas.microsoft.com/office/drawing/2014/main" id="{1D6EAA18-B673-410B-980B-1A848659FA70}"/>
              </a:ext>
            </a:extLst>
          </p:cNvPr>
          <p:cNvGrpSpPr/>
          <p:nvPr/>
        </p:nvGrpSpPr>
        <p:grpSpPr>
          <a:xfrm>
            <a:off x="618141" y="2156527"/>
            <a:ext cx="4204047" cy="3088501"/>
            <a:chOff x="674217" y="684928"/>
            <a:chExt cx="6485255" cy="5253895"/>
          </a:xfrm>
        </p:grpSpPr>
        <p:sp>
          <p:nvSpPr>
            <p:cNvPr id="10" name="Freeform 3301">
              <a:extLst>
                <a:ext uri="{FF2B5EF4-FFF2-40B4-BE49-F238E27FC236}">
                  <a16:creationId xmlns:a16="http://schemas.microsoft.com/office/drawing/2014/main" id="{61F70C90-2DE0-4EC3-AF6F-CD14BB69746F}"/>
                </a:ext>
              </a:extLst>
            </p:cNvPr>
            <p:cNvSpPr/>
            <p:nvPr/>
          </p:nvSpPr>
          <p:spPr>
            <a:xfrm>
              <a:off x="1097280" y="4962145"/>
              <a:ext cx="5736336" cy="469392"/>
            </a:xfrm>
            <a:custGeom>
              <a:avLst/>
              <a:gdLst/>
              <a:ahLst/>
              <a:cxnLst/>
              <a:rect l="0" t="0" r="0" b="0"/>
              <a:pathLst>
                <a:path w="5736336" h="469392">
                  <a:moveTo>
                    <a:pt x="0" y="0"/>
                  </a:moveTo>
                  <a:lnTo>
                    <a:pt x="2868167" y="85344"/>
                  </a:lnTo>
                  <a:lnTo>
                    <a:pt x="5736336" y="469392"/>
                  </a:lnTo>
                  <a:lnTo>
                    <a:pt x="2868167" y="469392"/>
                  </a:lnTo>
                  <a:lnTo>
                    <a:pt x="0" y="469392"/>
                  </a:lnTo>
                  <a:close/>
                  <a:moveTo>
                    <a:pt x="798575" y="1895855"/>
                  </a:moveTo>
                </a:path>
              </a:pathLst>
            </a:custGeom>
            <a:solidFill>
              <a:srgbClr val="C4C4CD">
                <a:alpha val="100000"/>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 name="Freeform 3302">
              <a:extLst>
                <a:ext uri="{FF2B5EF4-FFF2-40B4-BE49-F238E27FC236}">
                  <a16:creationId xmlns:a16="http://schemas.microsoft.com/office/drawing/2014/main" id="{F873D668-E186-420F-81BD-B394E126FFE5}"/>
                </a:ext>
              </a:extLst>
            </p:cNvPr>
            <p:cNvSpPr/>
            <p:nvPr/>
          </p:nvSpPr>
          <p:spPr>
            <a:xfrm>
              <a:off x="1097280" y="4066033"/>
              <a:ext cx="5736336" cy="1365504"/>
            </a:xfrm>
            <a:custGeom>
              <a:avLst/>
              <a:gdLst/>
              <a:ahLst/>
              <a:cxnLst/>
              <a:rect l="0" t="0" r="0" b="0"/>
              <a:pathLst>
                <a:path w="5736336" h="1365504">
                  <a:moveTo>
                    <a:pt x="0" y="890016"/>
                  </a:moveTo>
                  <a:lnTo>
                    <a:pt x="2868167" y="307847"/>
                  </a:lnTo>
                  <a:lnTo>
                    <a:pt x="5736336" y="0"/>
                  </a:lnTo>
                  <a:lnTo>
                    <a:pt x="5736336" y="1365504"/>
                  </a:lnTo>
                  <a:lnTo>
                    <a:pt x="2868167" y="981456"/>
                  </a:lnTo>
                  <a:lnTo>
                    <a:pt x="0" y="896112"/>
                  </a:lnTo>
                  <a:close/>
                  <a:moveTo>
                    <a:pt x="804671" y="2791967"/>
                  </a:moveTo>
                </a:path>
              </a:pathLst>
            </a:custGeom>
            <a:solidFill>
              <a:srgbClr val="188CE5">
                <a:alpha val="100000"/>
              </a:srgbClr>
            </a:solidFill>
            <a:ln w="31750">
              <a:noFill/>
            </a:ln>
          </p:spPr>
          <p:style>
            <a:lnRef idx="2">
              <a:schemeClr val="accent1">
                <a:shade val="50000"/>
              </a:schemeClr>
            </a:lnRef>
            <a:fillRef idx="1">
              <a:schemeClr val="accent1"/>
            </a:fillRef>
            <a:effectRef idx="0">
              <a:schemeClr val="accent1"/>
            </a:effectRef>
            <a:fontRef idx="minor">
              <a:schemeClr val="lt1"/>
            </a:fontRef>
          </p:style>
        </p:sp>
        <p:pic>
          <p:nvPicPr>
            <p:cNvPr id="12" name="Picture 3303">
              <a:extLst>
                <a:ext uri="{FF2B5EF4-FFF2-40B4-BE49-F238E27FC236}">
                  <a16:creationId xmlns:a16="http://schemas.microsoft.com/office/drawing/2014/main" id="{B9F1C331-1903-46B5-8CC7-5792E1307127}"/>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1094232" y="1895856"/>
              <a:ext cx="5746241" cy="3064001"/>
            </a:xfrm>
            <a:prstGeom prst="rect">
              <a:avLst/>
            </a:prstGeom>
            <a:noFill/>
          </p:spPr>
        </p:pic>
        <p:sp>
          <p:nvSpPr>
            <p:cNvPr id="13" name="Freeform 3304">
              <a:extLst>
                <a:ext uri="{FF2B5EF4-FFF2-40B4-BE49-F238E27FC236}">
                  <a16:creationId xmlns:a16="http://schemas.microsoft.com/office/drawing/2014/main" id="{ECF18BA0-1FCF-49AD-8908-4E9E99EF83B7}"/>
                </a:ext>
              </a:extLst>
            </p:cNvPr>
            <p:cNvSpPr/>
            <p:nvPr/>
          </p:nvSpPr>
          <p:spPr>
            <a:xfrm>
              <a:off x="1095755" y="5433061"/>
              <a:ext cx="5739385" cy="0"/>
            </a:xfrm>
            <a:custGeom>
              <a:avLst/>
              <a:gdLst/>
              <a:ahLst/>
              <a:cxnLst/>
              <a:rect l="0" t="0" r="0" b="0"/>
              <a:pathLst>
                <a:path w="5739385">
                  <a:moveTo>
                    <a:pt x="0" y="0"/>
                  </a:moveTo>
                  <a:lnTo>
                    <a:pt x="5739385" y="0"/>
                  </a:lnTo>
                </a:path>
              </a:pathLst>
            </a:custGeom>
            <a:noFill/>
            <a:ln w="9525" cap="flat" cmpd="sng">
              <a:solidFill>
                <a:srgbClr val="DDDDE3">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4" name="Freeform 3305">
              <a:extLst>
                <a:ext uri="{FF2B5EF4-FFF2-40B4-BE49-F238E27FC236}">
                  <a16:creationId xmlns:a16="http://schemas.microsoft.com/office/drawing/2014/main" id="{5BF94B53-D2BA-4C2B-AFD0-7B199662DC31}"/>
                </a:ext>
              </a:extLst>
            </p:cNvPr>
            <p:cNvSpPr/>
            <p:nvPr/>
          </p:nvSpPr>
          <p:spPr>
            <a:xfrm>
              <a:off x="1095755" y="5433061"/>
              <a:ext cx="5739385" cy="48767"/>
            </a:xfrm>
            <a:custGeom>
              <a:avLst/>
              <a:gdLst/>
              <a:ahLst/>
              <a:cxnLst/>
              <a:rect l="0" t="0" r="0" b="0"/>
              <a:pathLst>
                <a:path w="5739385" h="48767">
                  <a:moveTo>
                    <a:pt x="0" y="0"/>
                  </a:moveTo>
                  <a:lnTo>
                    <a:pt x="0" y="48767"/>
                  </a:lnTo>
                  <a:moveTo>
                    <a:pt x="2871216" y="0"/>
                  </a:moveTo>
                  <a:lnTo>
                    <a:pt x="2871216" y="48767"/>
                  </a:lnTo>
                  <a:moveTo>
                    <a:pt x="5739385" y="0"/>
                  </a:moveTo>
                  <a:lnTo>
                    <a:pt x="5739385" y="48767"/>
                  </a:lnTo>
                </a:path>
              </a:pathLst>
            </a:custGeom>
            <a:noFill/>
            <a:ln w="9525" cap="flat" cmpd="sng">
              <a:solidFill>
                <a:srgbClr val="DDDDE3">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5" name="Freeform 3306">
              <a:extLst>
                <a:ext uri="{FF2B5EF4-FFF2-40B4-BE49-F238E27FC236}">
                  <a16:creationId xmlns:a16="http://schemas.microsoft.com/office/drawing/2014/main" id="{AD65ACDC-5867-4559-952C-0EB5A363D08E}"/>
                </a:ext>
              </a:extLst>
            </p:cNvPr>
            <p:cNvSpPr/>
            <p:nvPr/>
          </p:nvSpPr>
          <p:spPr>
            <a:xfrm>
              <a:off x="1104900" y="4140708"/>
              <a:ext cx="2861945" cy="812038"/>
            </a:xfrm>
            <a:custGeom>
              <a:avLst/>
              <a:gdLst/>
              <a:ahLst/>
              <a:cxnLst/>
              <a:rect l="0" t="0" r="0" b="0"/>
              <a:pathLst>
                <a:path w="2861945" h="812038">
                  <a:moveTo>
                    <a:pt x="0" y="812038"/>
                  </a:moveTo>
                  <a:lnTo>
                    <a:pt x="2861945" y="0"/>
                  </a:lnTo>
                </a:path>
              </a:pathLst>
            </a:custGeom>
            <a:noFill/>
            <a:ln w="15875" cap="flat" cmpd="sng">
              <a:solidFill>
                <a:srgbClr val="29EB49">
                  <a:alpha val="100000"/>
                </a:srgbClr>
              </a:solidFill>
              <a:custDash>
                <a:ds d="8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16" name="Freeform 3307">
              <a:extLst>
                <a:ext uri="{FF2B5EF4-FFF2-40B4-BE49-F238E27FC236}">
                  <a16:creationId xmlns:a16="http://schemas.microsoft.com/office/drawing/2014/main" id="{065D6D1C-F6E5-4EAA-83E6-F4091E2F2ABD}"/>
                </a:ext>
              </a:extLst>
            </p:cNvPr>
            <p:cNvSpPr/>
            <p:nvPr/>
          </p:nvSpPr>
          <p:spPr>
            <a:xfrm>
              <a:off x="3960876" y="1915668"/>
              <a:ext cx="2829814" cy="2227707"/>
            </a:xfrm>
            <a:custGeom>
              <a:avLst/>
              <a:gdLst/>
              <a:ahLst/>
              <a:cxnLst/>
              <a:rect l="0" t="0" r="0" b="0"/>
              <a:pathLst>
                <a:path w="2829814" h="2227707">
                  <a:moveTo>
                    <a:pt x="0" y="2227707"/>
                  </a:moveTo>
                  <a:lnTo>
                    <a:pt x="2829814" y="0"/>
                  </a:lnTo>
                </a:path>
              </a:pathLst>
            </a:custGeom>
            <a:noFill/>
            <a:ln w="15875" cap="flat" cmpd="sng">
              <a:solidFill>
                <a:srgbClr val="29EB49">
                  <a:alpha val="100000"/>
                </a:srgbClr>
              </a:solidFill>
              <a:custDash>
                <a:ds d="8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17" name="Freeform 3308">
              <a:extLst>
                <a:ext uri="{FF2B5EF4-FFF2-40B4-BE49-F238E27FC236}">
                  <a16:creationId xmlns:a16="http://schemas.microsoft.com/office/drawing/2014/main" id="{5D50E612-B2D8-47C1-AF0A-7359FACB73F1}"/>
                </a:ext>
              </a:extLst>
            </p:cNvPr>
            <p:cNvSpPr/>
            <p:nvPr/>
          </p:nvSpPr>
          <p:spPr>
            <a:xfrm>
              <a:off x="1092708" y="4396740"/>
              <a:ext cx="2878455" cy="576453"/>
            </a:xfrm>
            <a:custGeom>
              <a:avLst/>
              <a:gdLst/>
              <a:ahLst/>
              <a:cxnLst/>
              <a:rect l="0" t="0" r="0" b="0"/>
              <a:pathLst>
                <a:path w="2878455" h="576453">
                  <a:moveTo>
                    <a:pt x="0" y="576453"/>
                  </a:moveTo>
                  <a:lnTo>
                    <a:pt x="2878455" y="0"/>
                  </a:lnTo>
                </a:path>
              </a:pathLst>
            </a:custGeom>
            <a:noFill/>
            <a:ln w="15875" cap="flat" cmpd="sng">
              <a:solidFill>
                <a:srgbClr val="055CE9">
                  <a:alpha val="100000"/>
                </a:srgbClr>
              </a:solidFill>
              <a:custDash>
                <a:ds d="8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18" name="Freeform 3309">
              <a:extLst>
                <a:ext uri="{FF2B5EF4-FFF2-40B4-BE49-F238E27FC236}">
                  <a16:creationId xmlns:a16="http://schemas.microsoft.com/office/drawing/2014/main" id="{1B26092F-C1D7-4896-8BB7-22883EB09E1D}"/>
                </a:ext>
              </a:extLst>
            </p:cNvPr>
            <p:cNvSpPr/>
            <p:nvPr/>
          </p:nvSpPr>
          <p:spPr>
            <a:xfrm>
              <a:off x="4012691" y="4091940"/>
              <a:ext cx="2787269" cy="295275"/>
            </a:xfrm>
            <a:custGeom>
              <a:avLst/>
              <a:gdLst/>
              <a:ahLst/>
              <a:cxnLst/>
              <a:rect l="0" t="0" r="0" b="0"/>
              <a:pathLst>
                <a:path w="2787269" h="295275">
                  <a:moveTo>
                    <a:pt x="0" y="295275"/>
                  </a:moveTo>
                  <a:lnTo>
                    <a:pt x="2787269" y="0"/>
                  </a:lnTo>
                </a:path>
              </a:pathLst>
            </a:custGeom>
            <a:noFill/>
            <a:ln w="15875" cap="flat" cmpd="sng">
              <a:solidFill>
                <a:srgbClr val="055CE9">
                  <a:alpha val="100000"/>
                </a:srgbClr>
              </a:solidFill>
              <a:custDash>
                <a:ds d="8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19" name="Freeform 3310">
              <a:extLst>
                <a:ext uri="{FF2B5EF4-FFF2-40B4-BE49-F238E27FC236}">
                  <a16:creationId xmlns:a16="http://schemas.microsoft.com/office/drawing/2014/main" id="{E478FBA9-E7D9-4EF6-963F-20B3B97452E9}"/>
                </a:ext>
              </a:extLst>
            </p:cNvPr>
            <p:cNvSpPr/>
            <p:nvPr/>
          </p:nvSpPr>
          <p:spPr>
            <a:xfrm>
              <a:off x="1114044" y="4978908"/>
              <a:ext cx="2837688" cy="88647"/>
            </a:xfrm>
            <a:custGeom>
              <a:avLst/>
              <a:gdLst/>
              <a:ahLst/>
              <a:cxnLst/>
              <a:rect l="0" t="0" r="0" b="0"/>
              <a:pathLst>
                <a:path w="2837688" h="88647">
                  <a:moveTo>
                    <a:pt x="0" y="0"/>
                  </a:moveTo>
                  <a:lnTo>
                    <a:pt x="2837688" y="88647"/>
                  </a:lnTo>
                </a:path>
              </a:pathLst>
            </a:custGeom>
            <a:noFill/>
            <a:ln w="15875" cap="flat" cmpd="sng">
              <a:solidFill>
                <a:srgbClr val="585958">
                  <a:alpha val="100000"/>
                </a:srgbClr>
              </a:solidFill>
              <a:custDash>
                <a:ds d="8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20" name="Freeform 3311">
              <a:extLst>
                <a:ext uri="{FF2B5EF4-FFF2-40B4-BE49-F238E27FC236}">
                  <a16:creationId xmlns:a16="http://schemas.microsoft.com/office/drawing/2014/main" id="{79778AC3-24A5-4650-B2B2-A80EB877B03F}"/>
                </a:ext>
              </a:extLst>
            </p:cNvPr>
            <p:cNvSpPr/>
            <p:nvPr/>
          </p:nvSpPr>
          <p:spPr>
            <a:xfrm>
              <a:off x="3921252" y="5067300"/>
              <a:ext cx="2875788" cy="392939"/>
            </a:xfrm>
            <a:custGeom>
              <a:avLst/>
              <a:gdLst/>
              <a:ahLst/>
              <a:cxnLst/>
              <a:rect l="0" t="0" r="0" b="0"/>
              <a:pathLst>
                <a:path w="2875788" h="392939">
                  <a:moveTo>
                    <a:pt x="0" y="0"/>
                  </a:moveTo>
                  <a:lnTo>
                    <a:pt x="2875788" y="392939"/>
                  </a:lnTo>
                </a:path>
              </a:pathLst>
            </a:custGeom>
            <a:noFill/>
            <a:ln w="15875" cap="flat" cmpd="sng">
              <a:solidFill>
                <a:srgbClr val="585958">
                  <a:alpha val="100000"/>
                </a:srgbClr>
              </a:solidFill>
              <a:custDash>
                <a:ds d="8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21" name="Rectangle 3320">
              <a:extLst>
                <a:ext uri="{FF2B5EF4-FFF2-40B4-BE49-F238E27FC236}">
                  <a16:creationId xmlns:a16="http://schemas.microsoft.com/office/drawing/2014/main" id="{54937085-3BF5-4D6F-A556-C51453D6AF62}"/>
                </a:ext>
              </a:extLst>
            </p:cNvPr>
            <p:cNvSpPr/>
            <p:nvPr/>
          </p:nvSpPr>
          <p:spPr>
            <a:xfrm>
              <a:off x="862888" y="5301056"/>
              <a:ext cx="145822" cy="313757"/>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dirty="0">
                  <a:ln>
                    <a:noFill/>
                  </a:ln>
                  <a:solidFill>
                    <a:srgbClr val="FFFFFF"/>
                  </a:solidFill>
                  <a:effectLst/>
                  <a:uLnTx/>
                  <a:uFillTx/>
                  <a:latin typeface="EYInterstate-Light"/>
                  <a:ea typeface="+mn-ea"/>
                  <a:cs typeface="+mn-cs"/>
                </a:rPr>
                <a:t>0</a:t>
              </a:r>
            </a:p>
          </p:txBody>
        </p:sp>
        <p:sp>
          <p:nvSpPr>
            <p:cNvPr id="22" name="Rectangle 3321">
              <a:extLst>
                <a:ext uri="{FF2B5EF4-FFF2-40B4-BE49-F238E27FC236}">
                  <a16:creationId xmlns:a16="http://schemas.microsoft.com/office/drawing/2014/main" id="{BDD69F0D-C091-48F0-B8F0-ECA5D686CB85}"/>
                </a:ext>
              </a:extLst>
            </p:cNvPr>
            <p:cNvSpPr/>
            <p:nvPr/>
          </p:nvSpPr>
          <p:spPr>
            <a:xfrm>
              <a:off x="674217" y="4659199"/>
              <a:ext cx="437463" cy="313757"/>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dirty="0">
                  <a:ln>
                    <a:noFill/>
                  </a:ln>
                  <a:solidFill>
                    <a:srgbClr val="FFFFFF"/>
                  </a:solidFill>
                  <a:effectLst/>
                  <a:uLnTx/>
                  <a:uFillTx/>
                  <a:latin typeface="EYInterstate-Light"/>
                  <a:ea typeface="+mn-ea"/>
                  <a:cs typeface="+mn-cs"/>
                </a:rPr>
                <a:t>100</a:t>
              </a:r>
            </a:p>
          </p:txBody>
        </p:sp>
        <p:sp>
          <p:nvSpPr>
            <p:cNvPr id="23" name="Rectangle 3322">
              <a:extLst>
                <a:ext uri="{FF2B5EF4-FFF2-40B4-BE49-F238E27FC236}">
                  <a16:creationId xmlns:a16="http://schemas.microsoft.com/office/drawing/2014/main" id="{774CE962-9551-4866-8412-9F564547FF5B}"/>
                </a:ext>
              </a:extLst>
            </p:cNvPr>
            <p:cNvSpPr/>
            <p:nvPr/>
          </p:nvSpPr>
          <p:spPr>
            <a:xfrm>
              <a:off x="674217" y="4017214"/>
              <a:ext cx="437463" cy="313757"/>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dirty="0">
                  <a:ln>
                    <a:noFill/>
                  </a:ln>
                  <a:solidFill>
                    <a:srgbClr val="FFFFFF"/>
                  </a:solidFill>
                  <a:effectLst/>
                  <a:uLnTx/>
                  <a:uFillTx/>
                  <a:latin typeface="EYInterstate-Light"/>
                  <a:ea typeface="+mn-ea"/>
                  <a:cs typeface="+mn-cs"/>
                </a:rPr>
                <a:t>200</a:t>
              </a:r>
            </a:p>
          </p:txBody>
        </p:sp>
        <p:sp>
          <p:nvSpPr>
            <p:cNvPr id="24" name="Rectangle 3323">
              <a:extLst>
                <a:ext uri="{FF2B5EF4-FFF2-40B4-BE49-F238E27FC236}">
                  <a16:creationId xmlns:a16="http://schemas.microsoft.com/office/drawing/2014/main" id="{4B6E62F2-0E57-454B-BA04-E0175C9FD1D5}"/>
                </a:ext>
              </a:extLst>
            </p:cNvPr>
            <p:cNvSpPr/>
            <p:nvPr/>
          </p:nvSpPr>
          <p:spPr>
            <a:xfrm>
              <a:off x="674217" y="3375355"/>
              <a:ext cx="437463" cy="313757"/>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dirty="0">
                  <a:ln>
                    <a:noFill/>
                  </a:ln>
                  <a:solidFill>
                    <a:srgbClr val="FFFFFF"/>
                  </a:solidFill>
                  <a:effectLst/>
                  <a:uLnTx/>
                  <a:uFillTx/>
                  <a:latin typeface="EYInterstate-Light"/>
                  <a:ea typeface="+mn-ea"/>
                  <a:cs typeface="+mn-cs"/>
                </a:rPr>
                <a:t>300</a:t>
              </a:r>
            </a:p>
          </p:txBody>
        </p:sp>
        <p:sp>
          <p:nvSpPr>
            <p:cNvPr id="25" name="Rectangle 3324">
              <a:extLst>
                <a:ext uri="{FF2B5EF4-FFF2-40B4-BE49-F238E27FC236}">
                  <a16:creationId xmlns:a16="http://schemas.microsoft.com/office/drawing/2014/main" id="{CECB6A37-CD9E-4E4E-8DDB-AE671F44048E}"/>
                </a:ext>
              </a:extLst>
            </p:cNvPr>
            <p:cNvSpPr/>
            <p:nvPr/>
          </p:nvSpPr>
          <p:spPr>
            <a:xfrm>
              <a:off x="674217" y="2733498"/>
              <a:ext cx="437463" cy="313757"/>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dirty="0">
                  <a:ln>
                    <a:noFill/>
                  </a:ln>
                  <a:solidFill>
                    <a:srgbClr val="FFFFFF"/>
                  </a:solidFill>
                  <a:effectLst/>
                  <a:uLnTx/>
                  <a:uFillTx/>
                  <a:latin typeface="EYInterstate-Light"/>
                  <a:ea typeface="+mn-ea"/>
                  <a:cs typeface="+mn-cs"/>
                </a:rPr>
                <a:t>400</a:t>
              </a:r>
            </a:p>
          </p:txBody>
        </p:sp>
        <p:sp>
          <p:nvSpPr>
            <p:cNvPr id="26" name="Rectangle 3325">
              <a:extLst>
                <a:ext uri="{FF2B5EF4-FFF2-40B4-BE49-F238E27FC236}">
                  <a16:creationId xmlns:a16="http://schemas.microsoft.com/office/drawing/2014/main" id="{39A549AF-CD43-4E49-9E62-C3DED259D6E9}"/>
                </a:ext>
              </a:extLst>
            </p:cNvPr>
            <p:cNvSpPr/>
            <p:nvPr/>
          </p:nvSpPr>
          <p:spPr>
            <a:xfrm>
              <a:off x="674217" y="2091513"/>
              <a:ext cx="437463" cy="313757"/>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dirty="0">
                  <a:ln>
                    <a:noFill/>
                  </a:ln>
                  <a:solidFill>
                    <a:srgbClr val="FFFFFF"/>
                  </a:solidFill>
                  <a:effectLst/>
                  <a:uLnTx/>
                  <a:uFillTx/>
                  <a:latin typeface="EYInterstate-Light"/>
                  <a:ea typeface="+mn-ea"/>
                  <a:cs typeface="+mn-cs"/>
                </a:rPr>
                <a:t>500</a:t>
              </a:r>
            </a:p>
          </p:txBody>
        </p:sp>
        <p:sp>
          <p:nvSpPr>
            <p:cNvPr id="27" name="Rectangle 3326">
              <a:extLst>
                <a:ext uri="{FF2B5EF4-FFF2-40B4-BE49-F238E27FC236}">
                  <a16:creationId xmlns:a16="http://schemas.microsoft.com/office/drawing/2014/main" id="{87B63A64-2F47-4EB7-8F4D-4E0C3141FC7C}"/>
                </a:ext>
              </a:extLst>
            </p:cNvPr>
            <p:cNvSpPr/>
            <p:nvPr/>
          </p:nvSpPr>
          <p:spPr>
            <a:xfrm>
              <a:off x="674217" y="1449656"/>
              <a:ext cx="437463" cy="313757"/>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dirty="0">
                  <a:ln>
                    <a:noFill/>
                  </a:ln>
                  <a:solidFill>
                    <a:srgbClr val="FFFFFF"/>
                  </a:solidFill>
                  <a:effectLst/>
                  <a:uLnTx/>
                  <a:uFillTx/>
                  <a:latin typeface="EYInterstate-Light"/>
                  <a:ea typeface="+mn-ea"/>
                  <a:cs typeface="+mn-cs"/>
                </a:rPr>
                <a:t>600</a:t>
              </a:r>
            </a:p>
          </p:txBody>
        </p:sp>
        <p:sp>
          <p:nvSpPr>
            <p:cNvPr id="28" name="Rectangle 3327">
              <a:extLst>
                <a:ext uri="{FF2B5EF4-FFF2-40B4-BE49-F238E27FC236}">
                  <a16:creationId xmlns:a16="http://schemas.microsoft.com/office/drawing/2014/main" id="{44BD16C1-3F87-474C-A579-F38ABAF84719}"/>
                </a:ext>
              </a:extLst>
            </p:cNvPr>
            <p:cNvSpPr/>
            <p:nvPr/>
          </p:nvSpPr>
          <p:spPr>
            <a:xfrm>
              <a:off x="908304" y="5624848"/>
              <a:ext cx="6251168" cy="313975"/>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2868257" algn="l"/>
                  <a:tab pos="5736514" algn="l"/>
                </a:tabLst>
                <a:defRPr/>
              </a:pPr>
              <a:r>
                <a:rPr kumimoji="0" lang="en-US" sz="1199" b="0" i="0" u="none" strike="noStrike" kern="1200" cap="none" spc="0" normalizeH="0" baseline="0" noProof="0" dirty="0">
                  <a:ln>
                    <a:noFill/>
                  </a:ln>
                  <a:solidFill>
                    <a:srgbClr val="FFFFFF"/>
                  </a:solidFill>
                  <a:effectLst/>
                  <a:uLnTx/>
                  <a:uFillTx/>
                  <a:latin typeface="EYInterstate-Light"/>
                  <a:ea typeface="+mn-ea"/>
                  <a:cs typeface="+mn-cs"/>
                </a:rPr>
                <a:t>2020                   2030                  2050</a:t>
              </a:r>
            </a:p>
          </p:txBody>
        </p:sp>
        <p:sp>
          <p:nvSpPr>
            <p:cNvPr id="29" name="Rectangle 3328">
              <a:extLst>
                <a:ext uri="{FF2B5EF4-FFF2-40B4-BE49-F238E27FC236}">
                  <a16:creationId xmlns:a16="http://schemas.microsoft.com/office/drawing/2014/main" id="{3F909D55-5851-4B50-B0DD-16E121E39CCA}"/>
                </a:ext>
              </a:extLst>
            </p:cNvPr>
            <p:cNvSpPr/>
            <p:nvPr/>
          </p:nvSpPr>
          <p:spPr>
            <a:xfrm>
              <a:off x="2320164" y="5114766"/>
              <a:ext cx="2246415" cy="31435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1" b="1" i="0" u="none" strike="noStrike" kern="1200" cap="none" spc="0" normalizeH="0" baseline="0" noProof="0" dirty="0">
                  <a:ln>
                    <a:noFill/>
                  </a:ln>
                  <a:solidFill>
                    <a:srgbClr val="2E2E38"/>
                  </a:solidFill>
                  <a:effectLst/>
                  <a:uLnTx/>
                  <a:uFillTx/>
                  <a:latin typeface="EYInterstate-LightBold"/>
                  <a:ea typeface="+mn-ea"/>
                  <a:cs typeface="+mn-cs"/>
                </a:rPr>
                <a:t>Carbon Intensive H</a:t>
              </a:r>
              <a:r>
                <a:rPr kumimoji="0" lang="en-US" sz="1202" b="1" i="0" u="none" strike="noStrike" kern="1200" cap="none" spc="0" normalizeH="0" baseline="-36253" noProof="0" dirty="0">
                  <a:ln>
                    <a:noFill/>
                  </a:ln>
                  <a:solidFill>
                    <a:srgbClr val="2E2E38"/>
                  </a:solidFill>
                  <a:effectLst/>
                  <a:uLnTx/>
                  <a:uFillTx/>
                  <a:latin typeface="EYInterstate-LightBold"/>
                  <a:ea typeface="+mn-ea"/>
                  <a:cs typeface="+mn-cs"/>
                </a:rPr>
                <a:t>2</a:t>
              </a:r>
            </a:p>
          </p:txBody>
        </p:sp>
        <p:sp>
          <p:nvSpPr>
            <p:cNvPr id="30" name="Rectangle 3329">
              <a:extLst>
                <a:ext uri="{FF2B5EF4-FFF2-40B4-BE49-F238E27FC236}">
                  <a16:creationId xmlns:a16="http://schemas.microsoft.com/office/drawing/2014/main" id="{5E605D0C-9AB9-4494-9520-79642F468C33}"/>
                </a:ext>
              </a:extLst>
            </p:cNvPr>
            <p:cNvSpPr/>
            <p:nvPr/>
          </p:nvSpPr>
          <p:spPr>
            <a:xfrm>
              <a:off x="5097144" y="4671281"/>
              <a:ext cx="1641661" cy="31435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1" b="1" i="0" u="none" strike="noStrike" kern="1200" cap="none" spc="0" normalizeH="0" baseline="0" noProof="0" dirty="0">
                  <a:ln>
                    <a:noFill/>
                  </a:ln>
                  <a:solidFill>
                    <a:srgbClr val="FFFFFF"/>
                  </a:solidFill>
                  <a:effectLst/>
                  <a:uLnTx/>
                  <a:uFillTx/>
                  <a:latin typeface="EYInterstate-LightBold"/>
                  <a:ea typeface="+mn-ea"/>
                  <a:cs typeface="+mn-cs"/>
                </a:rPr>
                <a:t>Low Carbon</a:t>
              </a:r>
              <a:r>
                <a:rPr kumimoji="0" lang="en-US" sz="1201" b="1" i="0" u="none" strike="noStrike" kern="1200" cap="none" spc="-14" normalizeH="0" baseline="0" noProof="0" dirty="0">
                  <a:ln>
                    <a:noFill/>
                  </a:ln>
                  <a:solidFill>
                    <a:srgbClr val="FFFFFF"/>
                  </a:solidFill>
                  <a:effectLst/>
                  <a:uLnTx/>
                  <a:uFillTx/>
                  <a:latin typeface="EYInterstate-LightBold"/>
                  <a:ea typeface="+mn-ea"/>
                  <a:cs typeface="+mn-cs"/>
                </a:rPr>
                <a:t> </a:t>
              </a:r>
              <a:r>
                <a:rPr kumimoji="0" lang="en-US" sz="1201" b="1" i="0" u="none" strike="noStrike" kern="1200" cap="none" spc="0" normalizeH="0" baseline="0" noProof="0" dirty="0">
                  <a:ln>
                    <a:noFill/>
                  </a:ln>
                  <a:solidFill>
                    <a:srgbClr val="FFFFFF"/>
                  </a:solidFill>
                  <a:effectLst/>
                  <a:uLnTx/>
                  <a:uFillTx/>
                  <a:latin typeface="EYInterstate-LightBold"/>
                  <a:ea typeface="+mn-ea"/>
                  <a:cs typeface="+mn-cs"/>
                </a:rPr>
                <a:t>H</a:t>
              </a:r>
              <a:r>
                <a:rPr kumimoji="0" lang="en-US" sz="1199" b="1" i="0" u="none" strike="noStrike" kern="1200" cap="none" spc="0" normalizeH="0" baseline="-36742" noProof="0" dirty="0">
                  <a:ln>
                    <a:noFill/>
                  </a:ln>
                  <a:solidFill>
                    <a:srgbClr val="FFFFFF"/>
                  </a:solidFill>
                  <a:effectLst/>
                  <a:uLnTx/>
                  <a:uFillTx/>
                  <a:latin typeface="EYInterstate-LightBold"/>
                  <a:ea typeface="+mn-ea"/>
                  <a:cs typeface="+mn-cs"/>
                </a:rPr>
                <a:t>2</a:t>
              </a:r>
            </a:p>
          </p:txBody>
        </p:sp>
        <p:sp>
          <p:nvSpPr>
            <p:cNvPr id="31" name="Rectangle 3330">
              <a:extLst>
                <a:ext uri="{FF2B5EF4-FFF2-40B4-BE49-F238E27FC236}">
                  <a16:creationId xmlns:a16="http://schemas.microsoft.com/office/drawing/2014/main" id="{1F099368-BB8D-47AB-AB98-36B61C5AFDBF}"/>
                </a:ext>
              </a:extLst>
            </p:cNvPr>
            <p:cNvSpPr/>
            <p:nvPr/>
          </p:nvSpPr>
          <p:spPr>
            <a:xfrm>
              <a:off x="5042026" y="3605225"/>
              <a:ext cx="1711097" cy="313921"/>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dirty="0">
                  <a:ln>
                    <a:noFill/>
                  </a:ln>
                  <a:solidFill>
                    <a:srgbClr val="FFFFFF"/>
                  </a:solidFill>
                  <a:effectLst/>
                  <a:uLnTx/>
                  <a:uFillTx/>
                  <a:latin typeface="EYInterstate-LightBold"/>
                  <a:ea typeface="+mn-ea"/>
                  <a:cs typeface="+mn-cs"/>
                </a:rPr>
                <a:t>Zero Carbon</a:t>
              </a:r>
              <a:r>
                <a:rPr kumimoji="0" lang="en-US" sz="1199" b="1" i="0" u="none" strike="noStrike" kern="1200" cap="none" spc="-13" normalizeH="0" baseline="0" noProof="0" dirty="0">
                  <a:ln>
                    <a:noFill/>
                  </a:ln>
                  <a:solidFill>
                    <a:srgbClr val="FFFFFF"/>
                  </a:solidFill>
                  <a:effectLst/>
                  <a:uLnTx/>
                  <a:uFillTx/>
                  <a:latin typeface="EYInterstate-LightBold"/>
                  <a:ea typeface="+mn-ea"/>
                  <a:cs typeface="+mn-cs"/>
                </a:rPr>
                <a:t> </a:t>
              </a:r>
              <a:r>
                <a:rPr kumimoji="0" lang="en-US" sz="1199" b="1" i="0" u="none" strike="noStrike" kern="1200" cap="none" spc="0" normalizeH="0" baseline="0" noProof="0" dirty="0">
                  <a:ln>
                    <a:noFill/>
                  </a:ln>
                  <a:solidFill>
                    <a:srgbClr val="FFFFFF"/>
                  </a:solidFill>
                  <a:effectLst/>
                  <a:uLnTx/>
                  <a:uFillTx/>
                  <a:latin typeface="EYInterstate-LightBold"/>
                  <a:ea typeface="+mn-ea"/>
                  <a:cs typeface="+mn-cs"/>
                </a:rPr>
                <a:t>H</a:t>
              </a:r>
              <a:r>
                <a:rPr kumimoji="0" lang="en-US" sz="1199" b="1" i="0" u="none" strike="noStrike" kern="1200" cap="none" spc="0" normalizeH="0" baseline="-36363" noProof="0" dirty="0">
                  <a:ln>
                    <a:noFill/>
                  </a:ln>
                  <a:solidFill>
                    <a:srgbClr val="FFFFFF"/>
                  </a:solidFill>
                  <a:effectLst/>
                  <a:uLnTx/>
                  <a:uFillTx/>
                  <a:latin typeface="EYInterstate-LightBold"/>
                  <a:ea typeface="+mn-ea"/>
                  <a:cs typeface="+mn-cs"/>
                </a:rPr>
                <a:t>2</a:t>
              </a:r>
            </a:p>
          </p:txBody>
        </p:sp>
        <p:sp>
          <p:nvSpPr>
            <p:cNvPr id="32" name="Rectangle 3331">
              <a:extLst>
                <a:ext uri="{FF2B5EF4-FFF2-40B4-BE49-F238E27FC236}">
                  <a16:creationId xmlns:a16="http://schemas.microsoft.com/office/drawing/2014/main" id="{4DA95119-E507-46B6-98CD-57E15EB9D98F}"/>
                </a:ext>
              </a:extLst>
            </p:cNvPr>
            <p:cNvSpPr/>
            <p:nvPr/>
          </p:nvSpPr>
          <p:spPr>
            <a:xfrm>
              <a:off x="1991562" y="684928"/>
              <a:ext cx="4314907" cy="728190"/>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91" b="1" i="0" u="none" strike="noStrike" kern="1200" cap="none" spc="0" normalizeH="0" baseline="0" noProof="0" dirty="0">
                  <a:ln>
                    <a:noFill/>
                  </a:ln>
                  <a:solidFill>
                    <a:srgbClr val="FFFFFF"/>
                  </a:solidFill>
                  <a:effectLst/>
                  <a:uLnTx/>
                  <a:uFillTx/>
                  <a:latin typeface="EYInterstate-LightBold"/>
                  <a:ea typeface="+mn-ea"/>
                  <a:cs typeface="+mn-cs"/>
                </a:rPr>
                <a:t>H</a:t>
              </a:r>
              <a:r>
                <a:rPr kumimoji="0" lang="en-US" sz="1391" b="1" i="0" u="none" strike="noStrike" kern="1200" cap="none" spc="-31" normalizeH="0" baseline="0" noProof="0" dirty="0">
                  <a:ln>
                    <a:noFill/>
                  </a:ln>
                  <a:solidFill>
                    <a:srgbClr val="FFFFFF"/>
                  </a:solidFill>
                  <a:effectLst/>
                  <a:uLnTx/>
                  <a:uFillTx/>
                  <a:latin typeface="EYInterstate-LightBold"/>
                  <a:ea typeface="+mn-ea"/>
                  <a:cs typeface="+mn-cs"/>
                </a:rPr>
                <a:t>y</a:t>
              </a:r>
              <a:r>
                <a:rPr kumimoji="0" lang="en-US" sz="1391" b="1" i="0" u="none" strike="noStrike" kern="1200" cap="none" spc="0" normalizeH="0" baseline="0" noProof="0" dirty="0">
                  <a:ln>
                    <a:noFill/>
                  </a:ln>
                  <a:solidFill>
                    <a:srgbClr val="FFFFFF"/>
                  </a:solidFill>
                  <a:effectLst/>
                  <a:uLnTx/>
                  <a:uFillTx/>
                  <a:latin typeface="EYInterstate-LightBold"/>
                  <a:ea typeface="+mn-ea"/>
                  <a:cs typeface="+mn-cs"/>
                </a:rPr>
                <a:t>d</a:t>
              </a:r>
              <a:r>
                <a:rPr kumimoji="0" lang="en-US" sz="1391" b="1" i="0" u="none" strike="noStrike" kern="1200" cap="none" spc="-31" normalizeH="0" baseline="0" noProof="0" dirty="0">
                  <a:ln>
                    <a:noFill/>
                  </a:ln>
                  <a:solidFill>
                    <a:srgbClr val="FFFFFF"/>
                  </a:solidFill>
                  <a:effectLst/>
                  <a:uLnTx/>
                  <a:uFillTx/>
                  <a:latin typeface="EYInterstate-LightBold"/>
                  <a:ea typeface="+mn-ea"/>
                  <a:cs typeface="+mn-cs"/>
                </a:rPr>
                <a:t>r</a:t>
              </a:r>
              <a:r>
                <a:rPr kumimoji="0" lang="en-US" sz="1391" b="1" i="0" u="none" strike="noStrike" kern="1200" cap="none" spc="0" normalizeH="0" baseline="0" noProof="0" dirty="0">
                  <a:ln>
                    <a:noFill/>
                  </a:ln>
                  <a:solidFill>
                    <a:srgbClr val="FFFFFF"/>
                  </a:solidFill>
                  <a:effectLst/>
                  <a:uLnTx/>
                  <a:uFillTx/>
                  <a:latin typeface="EYInterstate-LightBold"/>
                  <a:ea typeface="+mn-ea"/>
                  <a:cs typeface="+mn-cs"/>
                </a:rPr>
                <a:t>ogen p</a:t>
              </a:r>
              <a:r>
                <a:rPr kumimoji="0" lang="en-US" sz="1391" b="1" i="0" u="none" strike="noStrike" kern="1200" cap="none" spc="-31" normalizeH="0" baseline="0" noProof="0" dirty="0">
                  <a:ln>
                    <a:noFill/>
                  </a:ln>
                  <a:solidFill>
                    <a:srgbClr val="FFFFFF"/>
                  </a:solidFill>
                  <a:effectLst/>
                  <a:uLnTx/>
                  <a:uFillTx/>
                  <a:latin typeface="EYInterstate-LightBold"/>
                  <a:ea typeface="+mn-ea"/>
                  <a:cs typeface="+mn-cs"/>
                </a:rPr>
                <a:t>r</a:t>
              </a:r>
              <a:r>
                <a:rPr kumimoji="0" lang="en-US" sz="1391" b="1" i="0" u="none" strike="noStrike" kern="1200" cap="none" spc="0" normalizeH="0" baseline="0" noProof="0" dirty="0">
                  <a:ln>
                    <a:noFill/>
                  </a:ln>
                  <a:solidFill>
                    <a:srgbClr val="FFFFFF"/>
                  </a:solidFill>
                  <a:effectLst/>
                  <a:uLnTx/>
                  <a:uFillTx/>
                  <a:latin typeface="EYInterstate-LightBold"/>
                  <a:ea typeface="+mn-ea"/>
                  <a:cs typeface="+mn-cs"/>
                </a:rPr>
                <a:t>oduction b</a:t>
              </a:r>
              <a:r>
                <a:rPr kumimoji="0" lang="en-US" sz="1391" b="1" i="0" u="none" strike="noStrike" kern="1200" cap="none" spc="-31" normalizeH="0" baseline="0" noProof="0" dirty="0">
                  <a:ln>
                    <a:noFill/>
                  </a:ln>
                  <a:solidFill>
                    <a:srgbClr val="FFFFFF"/>
                  </a:solidFill>
                  <a:effectLst/>
                  <a:uLnTx/>
                  <a:uFillTx/>
                  <a:latin typeface="EYInterstate-LightBold"/>
                  <a:ea typeface="+mn-ea"/>
                  <a:cs typeface="+mn-cs"/>
                </a:rPr>
                <a:t>r</a:t>
              </a:r>
              <a:r>
                <a:rPr kumimoji="0" lang="en-US" sz="1391" b="1" i="0" u="none" strike="noStrike" kern="1200" cap="none" spc="0" normalizeH="0" baseline="0" noProof="0" dirty="0">
                  <a:ln>
                    <a:noFill/>
                  </a:ln>
                  <a:solidFill>
                    <a:srgbClr val="FFFFFF"/>
                  </a:solidFill>
                  <a:effectLst/>
                  <a:uLnTx/>
                  <a:uFillTx/>
                  <a:latin typeface="EYInterstate-LightBold"/>
                  <a:ea typeface="+mn-ea"/>
                  <a:cs typeface="+mn-cs"/>
                </a:rPr>
                <a:t>ea</a:t>
              </a:r>
              <a:r>
                <a:rPr kumimoji="0" lang="en-US" sz="1391" b="1" i="0" u="none" strike="noStrike" kern="1200" cap="none" spc="-42" normalizeH="0" baseline="0" noProof="0" dirty="0">
                  <a:ln>
                    <a:noFill/>
                  </a:ln>
                  <a:solidFill>
                    <a:srgbClr val="FFFFFF"/>
                  </a:solidFill>
                  <a:effectLst/>
                  <a:uLnTx/>
                  <a:uFillTx/>
                  <a:latin typeface="EYInterstate-LightBold"/>
                  <a:ea typeface="+mn-ea"/>
                  <a:cs typeface="+mn-cs"/>
                </a:rPr>
                <a:t>k</a:t>
              </a:r>
              <a:r>
                <a:rPr kumimoji="0" lang="en-US" sz="1391" b="1" i="0" u="none" strike="noStrike" kern="1200" cap="none" spc="0" normalizeH="0" baseline="0" noProof="0" dirty="0">
                  <a:ln>
                    <a:noFill/>
                  </a:ln>
                  <a:solidFill>
                    <a:srgbClr val="FFFFFF"/>
                  </a:solidFill>
                  <a:effectLst/>
                  <a:uLnTx/>
                  <a:uFillTx/>
                  <a:latin typeface="EYInterstate-LightBold"/>
                  <a:ea typeface="+mn-ea"/>
                  <a:cs typeface="+mn-cs"/>
                </a:rPr>
                <a:t>d</a:t>
              </a:r>
              <a:r>
                <a:rPr kumimoji="0" lang="en-US" sz="1391" b="1" i="0" u="none" strike="noStrike" kern="1200" cap="none" spc="-27" normalizeH="0" baseline="0" noProof="0" dirty="0">
                  <a:ln>
                    <a:noFill/>
                  </a:ln>
                  <a:solidFill>
                    <a:srgbClr val="FFFFFF"/>
                  </a:solidFill>
                  <a:effectLst/>
                  <a:uLnTx/>
                  <a:uFillTx/>
                  <a:latin typeface="EYInterstate-LightBold"/>
                  <a:ea typeface="+mn-ea"/>
                  <a:cs typeface="+mn-cs"/>
                </a:rPr>
                <a:t>o</a:t>
              </a:r>
              <a:r>
                <a:rPr kumimoji="0" lang="en-US" sz="1391" b="1" i="0" u="none" strike="noStrike" kern="1200" cap="none" spc="0" normalizeH="0" baseline="0" noProof="0" dirty="0">
                  <a:ln>
                    <a:noFill/>
                  </a:ln>
                  <a:solidFill>
                    <a:srgbClr val="FFFFFF"/>
                  </a:solidFill>
                  <a:effectLst/>
                  <a:uLnTx/>
                  <a:uFillTx/>
                  <a:latin typeface="EYInterstate-LightBold"/>
                  <a:ea typeface="+mn-ea"/>
                  <a:cs typeface="+mn-cs"/>
                </a:rPr>
                <a:t>wn in the net </a:t>
              </a:r>
              <a:r>
                <a:rPr kumimoji="0" lang="en-US" sz="1391" b="1" i="0" u="none" strike="noStrike" kern="1200" cap="none" spc="-14" normalizeH="0" baseline="0" noProof="0" dirty="0">
                  <a:ln>
                    <a:noFill/>
                  </a:ln>
                  <a:solidFill>
                    <a:srgbClr val="FFFFFF"/>
                  </a:solidFill>
                  <a:effectLst/>
                  <a:uLnTx/>
                  <a:uFillTx/>
                  <a:latin typeface="EYInterstate-LightBold"/>
                  <a:ea typeface="+mn-ea"/>
                  <a:cs typeface="+mn-cs"/>
                </a:rPr>
                <a:t>z</a:t>
              </a:r>
              <a:r>
                <a:rPr kumimoji="0" lang="en-US" sz="1391" b="1" i="0" u="none" strike="noStrike" kern="1200" cap="none" spc="0" normalizeH="0" baseline="0" noProof="0" dirty="0">
                  <a:ln>
                    <a:noFill/>
                  </a:ln>
                  <a:solidFill>
                    <a:srgbClr val="FFFFFF"/>
                  </a:solidFill>
                  <a:effectLst/>
                  <a:uLnTx/>
                  <a:uFillTx/>
                  <a:latin typeface="EYInterstate-LightBold"/>
                  <a:ea typeface="+mn-ea"/>
                  <a:cs typeface="+mn-cs"/>
                </a:rPr>
                <a:t>e</a:t>
              </a:r>
              <a:r>
                <a:rPr kumimoji="0" lang="en-US" sz="1391" b="1" i="0" u="none" strike="noStrike" kern="1200" cap="none" spc="-34" normalizeH="0" baseline="0" noProof="0" dirty="0">
                  <a:ln>
                    <a:noFill/>
                  </a:ln>
                  <a:solidFill>
                    <a:srgbClr val="FFFFFF"/>
                  </a:solidFill>
                  <a:effectLst/>
                  <a:uLnTx/>
                  <a:uFillTx/>
                  <a:latin typeface="EYInterstate-LightBold"/>
                  <a:ea typeface="+mn-ea"/>
                  <a:cs typeface="+mn-cs"/>
                </a:rPr>
                <a:t>r</a:t>
              </a:r>
              <a:r>
                <a:rPr kumimoji="0" lang="en-US" sz="1391" b="1" i="0" u="none" strike="noStrike" kern="1200" cap="none" spc="0" normalizeH="0" baseline="0" noProof="0" dirty="0">
                  <a:ln>
                    <a:noFill/>
                  </a:ln>
                  <a:solidFill>
                    <a:srgbClr val="FFFFFF"/>
                  </a:solidFill>
                  <a:effectLst/>
                  <a:uLnTx/>
                  <a:uFillTx/>
                  <a:latin typeface="EYInterstate-LightBold"/>
                  <a:ea typeface="+mn-ea"/>
                  <a:cs typeface="+mn-cs"/>
                </a:rPr>
                <a:t>o </a:t>
              </a:r>
              <a:r>
                <a:rPr kumimoji="0" lang="en-US" sz="1391" b="1" i="0" u="none" strike="noStrike" kern="1200" cap="none" spc="-12" normalizeH="0" baseline="0" noProof="0" dirty="0">
                  <a:ln>
                    <a:noFill/>
                  </a:ln>
                  <a:solidFill>
                    <a:srgbClr val="FFFFFF"/>
                  </a:solidFill>
                  <a:effectLst/>
                  <a:uLnTx/>
                  <a:uFillTx/>
                  <a:latin typeface="EYInterstate-LightBold"/>
                  <a:ea typeface="+mn-ea"/>
                  <a:cs typeface="+mn-cs"/>
                </a:rPr>
                <a:t>(</a:t>
              </a:r>
              <a:r>
                <a:rPr kumimoji="0" lang="en-US" sz="1391" b="1" i="0" u="none" strike="noStrike" kern="1200" cap="none" spc="0" normalizeH="0" baseline="0" noProof="0" dirty="0">
                  <a:ln>
                    <a:noFill/>
                  </a:ln>
                  <a:solidFill>
                    <a:srgbClr val="FFFFFF"/>
                  </a:solidFill>
                  <a:effectLst/>
                  <a:uLnTx/>
                  <a:uFillTx/>
                  <a:latin typeface="EYInterstate-LightBold"/>
                  <a:ea typeface="+mn-ea"/>
                  <a:cs typeface="+mn-cs"/>
                </a:rPr>
                <a:t>1.5</a:t>
              </a:r>
              <a:r>
                <a:rPr kumimoji="0" lang="en-US" sz="1391" b="1" i="0" u="none" strike="noStrike" kern="1200" cap="none" spc="0" normalizeH="0" baseline="0" noProof="0" dirty="0">
                  <a:ln>
                    <a:noFill/>
                  </a:ln>
                  <a:solidFill>
                    <a:srgbClr val="FFFFFF"/>
                  </a:solidFill>
                  <a:effectLst/>
                  <a:uLnTx/>
                  <a:uFillTx/>
                  <a:latin typeface="Arial-BoldMT"/>
                  <a:ea typeface="+mn-ea"/>
                  <a:cs typeface="+mn-cs"/>
                </a:rPr>
                <a:t>°</a:t>
              </a:r>
              <a:r>
                <a:rPr kumimoji="0" lang="en-US" sz="1391" b="1" i="0" u="none" strike="noStrike" kern="1200" cap="none" spc="-12" normalizeH="0" baseline="0" noProof="0" dirty="0">
                  <a:ln>
                    <a:noFill/>
                  </a:ln>
                  <a:solidFill>
                    <a:srgbClr val="FFFFFF"/>
                  </a:solidFill>
                  <a:effectLst/>
                  <a:uLnTx/>
                  <a:uFillTx/>
                  <a:latin typeface="EYInterstate-LightBold"/>
                  <a:ea typeface="+mn-ea"/>
                  <a:cs typeface="+mn-cs"/>
                </a:rPr>
                <a:t>)</a:t>
              </a:r>
              <a:r>
                <a:rPr kumimoji="0" lang="en-US" sz="1391" b="1" i="0" u="none" strike="noStrike" kern="1200" cap="none" spc="0" normalizeH="0" baseline="0" noProof="0" dirty="0">
                  <a:ln>
                    <a:noFill/>
                  </a:ln>
                  <a:solidFill>
                    <a:srgbClr val="FFFFFF"/>
                  </a:solidFill>
                  <a:effectLst/>
                  <a:uLnTx/>
                  <a:uFillTx/>
                  <a:latin typeface="EYInterstate-LightBold"/>
                  <a:ea typeface="+mn-ea"/>
                  <a:cs typeface="+mn-cs"/>
                </a:rPr>
                <a:t> </a:t>
              </a:r>
              <a:r>
                <a:rPr kumimoji="0" lang="en-US" sz="1391" b="1" i="0" u="none" strike="noStrike" kern="1200" cap="none" spc="-23" normalizeH="0" baseline="0" noProof="0" dirty="0">
                  <a:ln>
                    <a:noFill/>
                  </a:ln>
                  <a:solidFill>
                    <a:srgbClr val="FFFFFF"/>
                  </a:solidFill>
                  <a:effectLst/>
                  <a:uLnTx/>
                  <a:uFillTx/>
                  <a:latin typeface="EYInterstate-LightBold"/>
                  <a:ea typeface="+mn-ea"/>
                  <a:cs typeface="+mn-cs"/>
                </a:rPr>
                <a:t>s</a:t>
              </a:r>
              <a:r>
                <a:rPr kumimoji="0" lang="en-US" sz="1391" b="1" i="0" u="none" strike="noStrike" kern="1200" cap="none" spc="-31" normalizeH="0" baseline="0" noProof="0" dirty="0">
                  <a:ln>
                    <a:noFill/>
                  </a:ln>
                  <a:solidFill>
                    <a:srgbClr val="FFFFFF"/>
                  </a:solidFill>
                  <a:effectLst/>
                  <a:uLnTx/>
                  <a:uFillTx/>
                  <a:latin typeface="EYInterstate-LightBold"/>
                  <a:ea typeface="+mn-ea"/>
                  <a:cs typeface="+mn-cs"/>
                </a:rPr>
                <a:t>c</a:t>
              </a:r>
              <a:r>
                <a:rPr kumimoji="0" lang="en-US" sz="1391" b="1" i="0" u="none" strike="noStrike" kern="1200" cap="none" spc="0" normalizeH="0" baseline="0" noProof="0" dirty="0">
                  <a:ln>
                    <a:noFill/>
                  </a:ln>
                  <a:solidFill>
                    <a:srgbClr val="FFFFFF"/>
                  </a:solidFill>
                  <a:effectLst/>
                  <a:uLnTx/>
                  <a:uFillTx/>
                  <a:latin typeface="EYInterstate-LightBold"/>
                  <a:ea typeface="+mn-ea"/>
                  <a:cs typeface="+mn-cs"/>
                </a:rPr>
                <a:t>enar</a:t>
              </a:r>
              <a:r>
                <a:rPr kumimoji="0" lang="en-US" sz="1391" b="1" i="0" u="none" strike="noStrike" kern="1200" cap="none" spc="-13" normalizeH="0" baseline="0" noProof="0" dirty="0">
                  <a:ln>
                    <a:noFill/>
                  </a:ln>
                  <a:solidFill>
                    <a:srgbClr val="FFFFFF"/>
                  </a:solidFill>
                  <a:effectLst/>
                  <a:uLnTx/>
                  <a:uFillTx/>
                  <a:latin typeface="EYInterstate-LightBold"/>
                  <a:ea typeface="+mn-ea"/>
                  <a:cs typeface="+mn-cs"/>
                </a:rPr>
                <a:t>io</a:t>
              </a:r>
            </a:p>
          </p:txBody>
        </p:sp>
      </p:grpSp>
      <p:cxnSp>
        <p:nvCxnSpPr>
          <p:cNvPr id="6" name="Straight Connector 5">
            <a:extLst>
              <a:ext uri="{FF2B5EF4-FFF2-40B4-BE49-F238E27FC236}">
                <a16:creationId xmlns:a16="http://schemas.microsoft.com/office/drawing/2014/main" id="{43B78D0C-EF91-4D2B-B7F5-81FC46B116BC}"/>
              </a:ext>
            </a:extLst>
          </p:cNvPr>
          <p:cNvCxnSpPr>
            <a:cxnSpLocks/>
          </p:cNvCxnSpPr>
          <p:nvPr/>
        </p:nvCxnSpPr>
        <p:spPr>
          <a:xfrm>
            <a:off x="618141" y="1099880"/>
            <a:ext cx="5708371" cy="0"/>
          </a:xfrm>
          <a:prstGeom prst="line">
            <a:avLst/>
          </a:prstGeom>
          <a:ln w="9525">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33" name="Rectangle 3342">
            <a:extLst>
              <a:ext uri="{FF2B5EF4-FFF2-40B4-BE49-F238E27FC236}">
                <a16:creationId xmlns:a16="http://schemas.microsoft.com/office/drawing/2014/main" id="{A55B4A99-CAAE-4538-A259-3075C8E99F68}"/>
              </a:ext>
            </a:extLst>
          </p:cNvPr>
          <p:cNvSpPr/>
          <p:nvPr/>
        </p:nvSpPr>
        <p:spPr>
          <a:xfrm>
            <a:off x="1245458" y="5518340"/>
            <a:ext cx="2575705" cy="121893"/>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Sou</a:t>
            </a:r>
            <a:r>
              <a:rPr kumimoji="0" lang="en-US" sz="792" b="0" i="0" u="none" strike="noStrike" kern="1200" cap="none" spc="-11" normalizeH="0" baseline="0" noProof="0" dirty="0">
                <a:ln>
                  <a:noFill/>
                </a:ln>
                <a:solidFill>
                  <a:srgbClr val="FFFFFF"/>
                </a:solidFill>
                <a:effectLst/>
                <a:uLnTx/>
                <a:uFillTx/>
                <a:latin typeface="EYInterstate-Light"/>
                <a:ea typeface="+mn-ea"/>
                <a:cs typeface="+mn-cs"/>
              </a:rPr>
              <a:t>r</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ce: Hy</a:t>
            </a:r>
            <a:r>
              <a:rPr kumimoji="0" lang="en-US" sz="792" b="0" i="0" u="none" strike="noStrike" kern="1200" cap="none" spc="-12" normalizeH="0" baseline="0" noProof="0" dirty="0">
                <a:ln>
                  <a:noFill/>
                </a:ln>
                <a:solidFill>
                  <a:srgbClr val="FFFFFF"/>
                </a:solidFill>
                <a:effectLst/>
                <a:uLnTx/>
                <a:uFillTx/>
                <a:latin typeface="EYInterstate-Light"/>
                <a:ea typeface="+mn-ea"/>
                <a:cs typeface="+mn-cs"/>
              </a:rPr>
              <a:t>d</a:t>
            </a:r>
            <a:r>
              <a:rPr kumimoji="0" lang="en-US" sz="792" b="0" i="0" u="none" strike="noStrike" kern="1200" cap="none" spc="-11" normalizeH="0" baseline="0" noProof="0" dirty="0">
                <a:ln>
                  <a:noFill/>
                </a:ln>
                <a:solidFill>
                  <a:srgbClr val="FFFFFF"/>
                </a:solidFill>
                <a:effectLst/>
                <a:uLnTx/>
                <a:uFillTx/>
                <a:latin typeface="EYInterstate-Light"/>
                <a:ea typeface="+mn-ea"/>
                <a:cs typeface="+mn-cs"/>
              </a:rPr>
              <a:t>r</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o</a:t>
            </a:r>
            <a:r>
              <a:rPr kumimoji="0" lang="en-US" sz="792" b="0" i="0" u="none" strike="noStrike" kern="1200" cap="none" spc="-12" normalizeH="0" baseline="0" noProof="0" dirty="0">
                <a:ln>
                  <a:noFill/>
                </a:ln>
                <a:solidFill>
                  <a:srgbClr val="FFFFFF"/>
                </a:solidFill>
                <a:effectLst/>
                <a:uLnTx/>
                <a:uFillTx/>
                <a:latin typeface="EYInterstate-Light"/>
                <a:ea typeface="+mn-ea"/>
                <a:cs typeface="+mn-cs"/>
              </a:rPr>
              <a:t>g</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en Council, TotalEne</a:t>
            </a:r>
            <a:r>
              <a:rPr kumimoji="0" lang="en-US" sz="792" b="0" i="0" u="none" strike="noStrike" kern="1200" cap="none" spc="-11" normalizeH="0" baseline="0" noProof="0" dirty="0">
                <a:ln>
                  <a:noFill/>
                </a:ln>
                <a:solidFill>
                  <a:srgbClr val="FFFFFF"/>
                </a:solidFill>
                <a:effectLst/>
                <a:uLnTx/>
                <a:uFillTx/>
                <a:latin typeface="EYInterstate-Light"/>
                <a:ea typeface="+mn-ea"/>
                <a:cs typeface="+mn-cs"/>
              </a:rPr>
              <a:t>r</a:t>
            </a:r>
            <a:r>
              <a:rPr kumimoji="0" lang="en-US" sz="792" b="0" i="0" u="none" strike="noStrike" kern="1200" cap="none" spc="-12" normalizeH="0" baseline="0" noProof="0" dirty="0">
                <a:ln>
                  <a:noFill/>
                </a:ln>
                <a:solidFill>
                  <a:srgbClr val="FFFFFF"/>
                </a:solidFill>
                <a:effectLst/>
                <a:uLnTx/>
                <a:uFillTx/>
                <a:latin typeface="EYInterstate-Light"/>
                <a:ea typeface="+mn-ea"/>
                <a:cs typeface="+mn-cs"/>
              </a:rPr>
              <a:t>g</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ies,</a:t>
            </a:r>
            <a:r>
              <a:rPr kumimoji="0" lang="en-US" sz="792" b="0" i="0" u="none" strike="noStrike" kern="1200" cap="none" spc="129" normalizeH="0" baseline="0" noProof="0" dirty="0">
                <a:ln>
                  <a:noFill/>
                </a:ln>
                <a:solidFill>
                  <a:srgbClr val="FFFFFF"/>
                </a:solidFill>
                <a:effectLst/>
                <a:uLnTx/>
                <a:uFillTx/>
                <a:latin typeface="EYInterstate-Light"/>
                <a:ea typeface="+mn-ea"/>
                <a:cs typeface="+mn-cs"/>
              </a:rPr>
              <a:t> </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EY analysis.</a:t>
            </a:r>
          </a:p>
        </p:txBody>
      </p:sp>
      <p:sp>
        <p:nvSpPr>
          <p:cNvPr id="34" name="TextBox 33">
            <a:extLst>
              <a:ext uri="{FF2B5EF4-FFF2-40B4-BE49-F238E27FC236}">
                <a16:creationId xmlns:a16="http://schemas.microsoft.com/office/drawing/2014/main" id="{BA077E5C-7813-4FE1-BF99-5A144FDE4E0C}"/>
              </a:ext>
            </a:extLst>
          </p:cNvPr>
          <p:cNvSpPr txBox="1"/>
          <p:nvPr/>
        </p:nvSpPr>
        <p:spPr>
          <a:xfrm>
            <a:off x="4990062" y="1614181"/>
            <a:ext cx="7001310" cy="840230"/>
          </a:xfrm>
          <a:prstGeom prst="rect">
            <a:avLst/>
          </a:prstGeom>
          <a:noFill/>
        </p:spPr>
        <p:txBody>
          <a:bodyPr wrap="square">
            <a:spAutoFit/>
          </a:bodyPr>
          <a:lstStyle/>
          <a:p>
            <a:pPr marL="0" marR="0" lvl="0" indent="0" algn="l" defTabSz="914400" rtl="0" eaLnBrk="1" fontAlgn="auto" latinLnBrk="0" hangingPunct="1">
              <a:lnSpc>
                <a:spcPct val="90000"/>
              </a:lnSpc>
              <a:spcBef>
                <a:spcPct val="20000"/>
              </a:spcBef>
              <a:spcAft>
                <a:spcPts val="0"/>
              </a:spcAft>
              <a:buClr>
                <a:srgbClr val="FFE600"/>
              </a:buClr>
              <a:buSzPct val="110000"/>
              <a:buFontTx/>
              <a:buNone/>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Low carbon H</a:t>
            </a:r>
            <a:r>
              <a:rPr kumimoji="0" lang="en-US" sz="1800" b="0" i="0" u="none" strike="noStrike" kern="1200" cap="none" spc="0" normalizeH="0" baseline="-25000" noProof="0" dirty="0">
                <a:ln>
                  <a:noFill/>
                </a:ln>
                <a:solidFill>
                  <a:prstClr val="white"/>
                </a:solidFill>
                <a:effectLst/>
                <a:uLnTx/>
                <a:uFillTx/>
                <a:latin typeface="EYInterstate Light" panose="02000506000000020004" pitchFamily="2" charset="0"/>
                <a:ea typeface="+mn-ea"/>
                <a:cs typeface="+mn-cs"/>
              </a:rPr>
              <a:t>2</a:t>
            </a: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 is available in the short term and can aid countries to achieve their carbon reduction goals, while paving the way and buying time for the refinement of the zero carbon H</a:t>
            </a:r>
            <a:r>
              <a:rPr kumimoji="0" lang="en-US" sz="1800" b="0" i="0" u="none" strike="noStrike" kern="1200" cap="none" spc="0" normalizeH="0" baseline="-25000" noProof="0" dirty="0">
                <a:ln>
                  <a:noFill/>
                </a:ln>
                <a:solidFill>
                  <a:prstClr val="white"/>
                </a:solidFill>
                <a:effectLst/>
                <a:uLnTx/>
                <a:uFillTx/>
                <a:latin typeface="EYInterstate Light" panose="02000506000000020004" pitchFamily="2" charset="0"/>
                <a:ea typeface="+mn-ea"/>
                <a:cs typeface="+mn-cs"/>
              </a:rPr>
              <a:t>2</a:t>
            </a: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 process. </a:t>
            </a:r>
          </a:p>
        </p:txBody>
      </p:sp>
      <p:sp>
        <p:nvSpPr>
          <p:cNvPr id="35" name="Footer Placeholder 2">
            <a:extLst>
              <a:ext uri="{FF2B5EF4-FFF2-40B4-BE49-F238E27FC236}">
                <a16:creationId xmlns:a16="http://schemas.microsoft.com/office/drawing/2014/main" id="{0855EF25-C7B1-4D44-9307-5994133FD3D3}"/>
              </a:ext>
            </a:extLst>
          </p:cNvPr>
          <p:cNvSpPr txBox="1">
            <a:spLocks/>
          </p:cNvSpPr>
          <p:nvPr/>
        </p:nvSpPr>
        <p:spPr>
          <a:xfrm>
            <a:off x="4553753" y="6471244"/>
            <a:ext cx="3367734" cy="180000"/>
          </a:xfrm>
          <a:prstGeom prst="rect">
            <a:avLst/>
          </a:prstGeom>
        </p:spPr>
        <p:txBody>
          <a:bodyPr/>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Page </a:t>
            </a:r>
            <a:fld id="{F1BC30E3-FFE5-4B91-AA19-87A149EBB9EE}" type="slidenum">
              <a:rPr smtClean="0"/>
              <a:pPr/>
              <a:t>4</a:t>
            </a:fld>
            <a:r>
              <a:rPr lang="en-US" dirty="0"/>
              <a:t> | Draft</a:t>
            </a:r>
          </a:p>
        </p:txBody>
      </p:sp>
    </p:spTree>
    <p:extLst>
      <p:ext uri="{BB962C8B-B14F-4D97-AF65-F5344CB8AC3E}">
        <p14:creationId xmlns:p14="http://schemas.microsoft.com/office/powerpoint/2010/main" val="295179543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3. End User Application">
            <a:extLst>
              <a:ext uri="{FF2B5EF4-FFF2-40B4-BE49-F238E27FC236}">
                <a16:creationId xmlns:a16="http://schemas.microsoft.com/office/drawing/2014/main" id="{358E9740-79A6-4044-A783-9618AC9A5768}"/>
              </a:ext>
            </a:extLst>
          </p:cNvPr>
          <p:cNvGrpSpPr/>
          <p:nvPr/>
        </p:nvGrpSpPr>
        <p:grpSpPr>
          <a:xfrm>
            <a:off x="566721" y="4651373"/>
            <a:ext cx="11123494" cy="1579102"/>
            <a:chOff x="567016" y="4652010"/>
            <a:chExt cx="11129287" cy="1579924"/>
          </a:xfrm>
        </p:grpSpPr>
        <p:sp>
          <p:nvSpPr>
            <p:cNvPr id="700" name="Freeform 700"/>
            <p:cNvSpPr/>
            <p:nvPr/>
          </p:nvSpPr>
          <p:spPr>
            <a:xfrm>
              <a:off x="1392765" y="4869768"/>
              <a:ext cx="10303538" cy="1038826"/>
            </a:xfrm>
            <a:custGeom>
              <a:avLst/>
              <a:gdLst/>
              <a:ahLst/>
              <a:cxnLst/>
              <a:rect l="0" t="0" r="0" b="0"/>
              <a:pathLst>
                <a:path w="1185672" h="1039367">
                  <a:moveTo>
                    <a:pt x="0" y="1039367"/>
                  </a:moveTo>
                  <a:lnTo>
                    <a:pt x="1185672" y="1039367"/>
                  </a:lnTo>
                  <a:lnTo>
                    <a:pt x="1185672" y="0"/>
                  </a:lnTo>
                  <a:lnTo>
                    <a:pt x="0" y="0"/>
                  </a:lnTo>
                  <a:lnTo>
                    <a:pt x="0" y="1039367"/>
                  </a:lnTo>
                  <a:close/>
                </a:path>
              </a:pathLst>
            </a:custGeom>
            <a:solidFill>
              <a:schemeClr val="bg2"/>
            </a:solidFill>
            <a:ln w="3175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05" name="Freeform 705"/>
            <p:cNvSpPr/>
            <p:nvPr/>
          </p:nvSpPr>
          <p:spPr>
            <a:xfrm>
              <a:off x="567016" y="4652010"/>
              <a:ext cx="1335853" cy="1392439"/>
            </a:xfrm>
            <a:custGeom>
              <a:avLst/>
              <a:gdLst/>
              <a:ahLst/>
              <a:cxnLst/>
              <a:rect l="0" t="0" r="0" b="0"/>
              <a:pathLst>
                <a:path w="1336549" h="1393164">
                  <a:moveTo>
                    <a:pt x="378638" y="143128"/>
                  </a:moveTo>
                  <a:cubicBezTo>
                    <a:pt x="685102" y="0"/>
                    <a:pt x="1049783" y="131825"/>
                    <a:pt x="1193165" y="437515"/>
                  </a:cubicBezTo>
                  <a:cubicBezTo>
                    <a:pt x="1336549" y="743330"/>
                    <a:pt x="1204468" y="1107058"/>
                    <a:pt x="898017" y="1250111"/>
                  </a:cubicBezTo>
                  <a:cubicBezTo>
                    <a:pt x="591503" y="1393164"/>
                    <a:pt x="226810" y="1261313"/>
                    <a:pt x="83401" y="955611"/>
                  </a:cubicBezTo>
                  <a:cubicBezTo>
                    <a:pt x="0" y="777874"/>
                    <a:pt x="7290" y="570865"/>
                    <a:pt x="102972" y="399415"/>
                  </a:cubicBezTo>
                  <a:lnTo>
                    <a:pt x="638303" y="696594"/>
                  </a:lnTo>
                  <a:close/>
                  <a:moveTo>
                    <a:pt x="1498093" y="2205354"/>
                  </a:moveTo>
                </a:path>
              </a:pathLst>
            </a:custGeom>
            <a:solidFill>
              <a:srgbClr val="2E2E38">
                <a:alpha val="100000"/>
              </a:srgbClr>
            </a:solidFill>
            <a:ln w="31750">
              <a:noFill/>
            </a:ln>
          </p:spPr>
          <p:style>
            <a:lnRef idx="2">
              <a:schemeClr val="accent1">
                <a:shade val="50000"/>
              </a:schemeClr>
            </a:lnRef>
            <a:fillRef idx="1">
              <a:schemeClr val="accent1"/>
            </a:fillRef>
            <a:effectRef idx="0">
              <a:schemeClr val="accent1"/>
            </a:effectRef>
            <a:fontRef idx="minor">
              <a:schemeClr val="lt1"/>
            </a:fontRef>
          </p:style>
        </p:sp>
        <p:pic>
          <p:nvPicPr>
            <p:cNvPr id="706" name="Picture 706"/>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573820" y="4718270"/>
              <a:ext cx="1262661" cy="1260009"/>
            </a:xfrm>
            <a:prstGeom prst="rect">
              <a:avLst/>
            </a:prstGeom>
            <a:noFill/>
          </p:spPr>
        </p:pic>
        <p:sp>
          <p:nvSpPr>
            <p:cNvPr id="1064" name="Rectangle 1064"/>
            <p:cNvSpPr/>
            <p:nvPr/>
          </p:nvSpPr>
          <p:spPr>
            <a:xfrm>
              <a:off x="722738" y="4675281"/>
              <a:ext cx="190659" cy="369268"/>
            </a:xfrm>
            <a:prstGeom prst="rect">
              <a:avLst/>
            </a:prstGeom>
          </p:spPr>
          <p:txBody>
            <a:bodyPr wrap="none" lIns="0" tIns="0" rIns="0" bIns="0">
              <a:spAutoFit/>
            </a:bodyPr>
            <a:lstStyle/>
            <a:p>
              <a:pPr marL="0" marR="0" lvl="0" indent="0" algn="l" defTabSz="913486"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E600"/>
                  </a:solidFill>
                  <a:effectLst/>
                  <a:uLnTx/>
                  <a:uFillTx/>
                  <a:latin typeface="EYInterstate-LightBold"/>
                  <a:ea typeface="+mn-ea"/>
                  <a:cs typeface="+mn-cs"/>
                </a:rPr>
                <a:t>3</a:t>
              </a:r>
            </a:p>
          </p:txBody>
        </p:sp>
        <p:sp>
          <p:nvSpPr>
            <p:cNvPr id="1067" name="Rectangle 1067"/>
            <p:cNvSpPr/>
            <p:nvPr/>
          </p:nvSpPr>
          <p:spPr>
            <a:xfrm>
              <a:off x="782753" y="5108504"/>
              <a:ext cx="862287" cy="393377"/>
            </a:xfrm>
            <a:prstGeom prst="rect">
              <a:avLst/>
            </a:prstGeom>
          </p:spPr>
          <p:txBody>
            <a:bodyPr wrap="none" lIns="0" tIns="0" rIns="0" bIns="0">
              <a:spAutoFit/>
            </a:bodyPr>
            <a:lstStyle/>
            <a:p>
              <a:pPr marL="79472" marR="0" lvl="0" indent="0" algn="l" defTabSz="913486" rtl="0" eaLnBrk="1" fontAlgn="auto" latinLnBrk="0" hangingPunct="1">
                <a:lnSpc>
                  <a:spcPct val="100000"/>
                </a:lnSpc>
                <a:spcBef>
                  <a:spcPts val="0"/>
                </a:spcBef>
                <a:spcAft>
                  <a:spcPts val="0"/>
                </a:spcAft>
                <a:buClrTx/>
                <a:buSzTx/>
                <a:buFontTx/>
                <a:buNone/>
                <a:tabLst/>
                <a:defRPr/>
              </a:pPr>
              <a:r>
                <a:rPr kumimoji="0" lang="en-US" sz="1296" b="1" i="0" u="none" strike="noStrike" kern="0" cap="none" spc="0" normalizeH="0" baseline="0" noProof="0" dirty="0">
                  <a:ln>
                    <a:noFill/>
                  </a:ln>
                  <a:solidFill>
                    <a:srgbClr val="FFFFFF"/>
                  </a:solidFill>
                  <a:effectLst/>
                  <a:uLnTx/>
                  <a:uFillTx/>
                  <a:latin typeface="EYInterstate-LightBold"/>
                  <a:ea typeface="+mn-ea"/>
                  <a:cs typeface="+mn-cs"/>
                </a:rPr>
                <a:t>End</a:t>
              </a:r>
              <a:r>
                <a:rPr kumimoji="0" lang="en-US" sz="1296" b="1" i="0" u="none" strike="noStrike" kern="0" cap="none" spc="-12" normalizeH="0" baseline="0" noProof="0" dirty="0">
                  <a:ln>
                    <a:noFill/>
                  </a:ln>
                  <a:solidFill>
                    <a:srgbClr val="FFFFFF"/>
                  </a:solidFill>
                  <a:effectLst/>
                  <a:uLnTx/>
                  <a:uFillTx/>
                  <a:latin typeface="EYInterstate-LightBold"/>
                  <a:ea typeface="+mn-ea"/>
                  <a:cs typeface="+mn-cs"/>
                </a:rPr>
                <a:t>-</a:t>
              </a:r>
              <a:r>
                <a:rPr kumimoji="0" lang="en-US" sz="1296" b="1" i="0" u="none" strike="noStrike" kern="0" cap="none" spc="0" normalizeH="0" baseline="0" noProof="0" dirty="0">
                  <a:ln>
                    <a:noFill/>
                  </a:ln>
                  <a:solidFill>
                    <a:srgbClr val="FFFFFF"/>
                  </a:solidFill>
                  <a:effectLst/>
                  <a:uLnTx/>
                  <a:uFillTx/>
                  <a:latin typeface="EYInterstate-LightBold"/>
                  <a:ea typeface="+mn-ea"/>
                  <a:cs typeface="+mn-cs"/>
                </a:rPr>
                <a:t>u</a:t>
              </a:r>
              <a:r>
                <a:rPr kumimoji="0" lang="en-US" sz="1296" b="1" i="0" u="none" strike="noStrike" kern="0" cap="none" spc="-24" normalizeH="0" baseline="0" noProof="0" dirty="0">
                  <a:ln>
                    <a:noFill/>
                  </a:ln>
                  <a:solidFill>
                    <a:srgbClr val="FFFFFF"/>
                  </a:solidFill>
                  <a:effectLst/>
                  <a:uLnTx/>
                  <a:uFillTx/>
                  <a:latin typeface="EYInterstate-LightBold"/>
                  <a:ea typeface="+mn-ea"/>
                  <a:cs typeface="+mn-cs"/>
                </a:rPr>
                <a:t>s</a:t>
              </a:r>
              <a:r>
                <a:rPr kumimoji="0" lang="en-US" sz="1296" b="1" i="0" u="none" strike="noStrike" kern="0" cap="none" spc="0" normalizeH="0" baseline="0" noProof="0" dirty="0">
                  <a:ln>
                    <a:noFill/>
                  </a:ln>
                  <a:solidFill>
                    <a:srgbClr val="FFFFFF"/>
                  </a:solidFill>
                  <a:effectLst/>
                  <a:uLnTx/>
                  <a:uFillTx/>
                  <a:latin typeface="EYInterstate-LightBold"/>
                  <a:ea typeface="+mn-ea"/>
                  <a:cs typeface="+mn-cs"/>
                </a:rPr>
                <a:t>er </a:t>
              </a:r>
            </a:p>
            <a:p>
              <a:pPr marL="0" marR="0" lvl="0" indent="0" algn="l" defTabSz="913486" rtl="0" eaLnBrk="1" fontAlgn="auto" latinLnBrk="0" hangingPunct="1">
                <a:lnSpc>
                  <a:spcPts val="1560"/>
                </a:lnSpc>
                <a:spcBef>
                  <a:spcPts val="0"/>
                </a:spcBef>
                <a:spcAft>
                  <a:spcPts val="0"/>
                </a:spcAft>
                <a:buClrTx/>
                <a:buSzTx/>
                <a:buFontTx/>
                <a:buNone/>
                <a:tabLst/>
                <a:defRPr/>
              </a:pPr>
              <a:r>
                <a:rPr kumimoji="0" lang="en-US" sz="1294" b="1" i="0" u="none" strike="noStrike" kern="0" cap="none" spc="0" normalizeH="0" baseline="0" noProof="0" dirty="0">
                  <a:ln>
                    <a:noFill/>
                  </a:ln>
                  <a:solidFill>
                    <a:srgbClr val="FFFFFF"/>
                  </a:solidFill>
                  <a:effectLst/>
                  <a:uLnTx/>
                  <a:uFillTx/>
                  <a:latin typeface="EYInterstate-LightBold"/>
                  <a:ea typeface="+mn-ea"/>
                  <a:cs typeface="+mn-cs"/>
                </a:rPr>
                <a:t>appli</a:t>
              </a:r>
              <a:r>
                <a:rPr kumimoji="0" lang="en-US" sz="1294" b="1" i="0" u="none" strike="noStrike" kern="0" cap="none" spc="-26" normalizeH="0" baseline="0" noProof="0" dirty="0">
                  <a:ln>
                    <a:noFill/>
                  </a:ln>
                  <a:solidFill>
                    <a:srgbClr val="FFFFFF"/>
                  </a:solidFill>
                  <a:effectLst/>
                  <a:uLnTx/>
                  <a:uFillTx/>
                  <a:latin typeface="EYInterstate-LightBold"/>
                  <a:ea typeface="+mn-ea"/>
                  <a:cs typeface="+mn-cs"/>
                </a:rPr>
                <a:t>c</a:t>
              </a:r>
              <a:r>
                <a:rPr kumimoji="0" lang="en-US" sz="1294" b="1" i="0" u="none" strike="noStrike" kern="0" cap="none" spc="0" normalizeH="0" baseline="0" noProof="0" dirty="0">
                  <a:ln>
                    <a:noFill/>
                  </a:ln>
                  <a:solidFill>
                    <a:srgbClr val="FFFFFF"/>
                  </a:solidFill>
                  <a:effectLst/>
                  <a:uLnTx/>
                  <a:uFillTx/>
                  <a:latin typeface="EYInterstate-LightBold"/>
                  <a:ea typeface="+mn-ea"/>
                  <a:cs typeface="+mn-cs"/>
                </a:rPr>
                <a:t>ation</a:t>
              </a:r>
            </a:p>
          </p:txBody>
        </p:sp>
        <p:sp>
          <p:nvSpPr>
            <p:cNvPr id="1099" name="Rectangle 1099"/>
            <p:cNvSpPr/>
            <p:nvPr/>
          </p:nvSpPr>
          <p:spPr>
            <a:xfrm>
              <a:off x="616419" y="6110041"/>
              <a:ext cx="1014893" cy="121893"/>
            </a:xfrm>
            <a:prstGeom prst="rect">
              <a:avLst/>
            </a:prstGeom>
          </p:spPr>
          <p:txBody>
            <a:bodyPr wrap="none" lIns="0" tIns="0" rIns="0" bIns="0">
              <a:spAutoFit/>
            </a:bodyPr>
            <a:lstStyle/>
            <a:p>
              <a:pPr marL="0" marR="0" lvl="0" indent="0" algn="l" defTabSz="913486" rtl="0" eaLnBrk="1" fontAlgn="auto" latinLnBrk="0" hangingPunct="1">
                <a:lnSpc>
                  <a:spcPct val="100000"/>
                </a:lnSpc>
                <a:spcBef>
                  <a:spcPts val="0"/>
                </a:spcBef>
                <a:spcAft>
                  <a:spcPts val="0"/>
                </a:spcAft>
                <a:buClrTx/>
                <a:buSzTx/>
                <a:buFontTx/>
                <a:buNone/>
                <a:tabLst/>
                <a:defRPr/>
              </a:pPr>
              <a:r>
                <a:rPr kumimoji="0" lang="en-US" sz="792" b="0" i="0" u="none" strike="noStrike" kern="0" cap="none" spc="0" normalizeH="0" baseline="0" noProof="0" dirty="0">
                  <a:ln>
                    <a:noFill/>
                  </a:ln>
                  <a:solidFill>
                    <a:srgbClr val="FFFFFF"/>
                  </a:solidFill>
                  <a:effectLst/>
                  <a:uLnTx/>
                  <a:uFillTx/>
                  <a:latin typeface="EYInterstate-Light"/>
                  <a:ea typeface="+mn-ea"/>
                  <a:cs typeface="+mn-cs"/>
                </a:rPr>
                <a:t>Sou</a:t>
              </a:r>
              <a:r>
                <a:rPr kumimoji="0" lang="en-US" sz="792" b="0" i="0" u="none" strike="noStrike" kern="0" cap="none" spc="-11" normalizeH="0" baseline="0" noProof="0" dirty="0">
                  <a:ln>
                    <a:noFill/>
                  </a:ln>
                  <a:solidFill>
                    <a:srgbClr val="FFFFFF"/>
                  </a:solidFill>
                  <a:effectLst/>
                  <a:uLnTx/>
                  <a:uFillTx/>
                  <a:latin typeface="EYInterstate-Light"/>
                  <a:ea typeface="+mn-ea"/>
                  <a:cs typeface="+mn-cs"/>
                </a:rPr>
                <a:t>r</a:t>
              </a:r>
              <a:r>
                <a:rPr kumimoji="0" lang="en-US" sz="792" b="0" i="0" u="none" strike="noStrike" kern="0" cap="none" spc="0" normalizeH="0" baseline="0" noProof="0" dirty="0">
                  <a:ln>
                    <a:noFill/>
                  </a:ln>
                  <a:solidFill>
                    <a:srgbClr val="FFFFFF"/>
                  </a:solidFill>
                  <a:effectLst/>
                  <a:uLnTx/>
                  <a:uFillTx/>
                  <a:latin typeface="EYInterstate-Light"/>
                  <a:ea typeface="+mn-ea"/>
                  <a:cs typeface="+mn-cs"/>
                </a:rPr>
                <a:t>ces: EY analysis.</a:t>
              </a:r>
            </a:p>
          </p:txBody>
        </p:sp>
      </p:grpSp>
      <p:grpSp>
        <p:nvGrpSpPr>
          <p:cNvPr id="14" name="Group 13">
            <a:extLst>
              <a:ext uri="{FF2B5EF4-FFF2-40B4-BE49-F238E27FC236}">
                <a16:creationId xmlns:a16="http://schemas.microsoft.com/office/drawing/2014/main" id="{3097548D-18AC-43CC-8476-B05FBD3C5450}"/>
              </a:ext>
            </a:extLst>
          </p:cNvPr>
          <p:cNvGrpSpPr/>
          <p:nvPr/>
        </p:nvGrpSpPr>
        <p:grpSpPr>
          <a:xfrm>
            <a:off x="4417922" y="5137149"/>
            <a:ext cx="720975" cy="669998"/>
            <a:chOff x="4420222" y="5138038"/>
            <a:chExt cx="721351" cy="670347"/>
          </a:xfrm>
          <a:solidFill>
            <a:schemeClr val="accent4">
              <a:lumMod val="40000"/>
              <a:lumOff val="60000"/>
            </a:schemeClr>
          </a:solidFill>
        </p:grpSpPr>
        <p:sp>
          <p:nvSpPr>
            <p:cNvPr id="797" name="Freeform 797"/>
            <p:cNvSpPr/>
            <p:nvPr/>
          </p:nvSpPr>
          <p:spPr>
            <a:xfrm>
              <a:off x="4551470" y="5138038"/>
              <a:ext cx="322920" cy="140136"/>
            </a:xfrm>
            <a:custGeom>
              <a:avLst/>
              <a:gdLst/>
              <a:ahLst/>
              <a:cxnLst/>
              <a:rect l="0" t="0" r="0" b="0"/>
              <a:pathLst>
                <a:path w="323088" h="140209">
                  <a:moveTo>
                    <a:pt x="21336" y="129795"/>
                  </a:moveTo>
                  <a:lnTo>
                    <a:pt x="100838" y="129795"/>
                  </a:lnTo>
                  <a:lnTo>
                    <a:pt x="99187" y="140209"/>
                  </a:lnTo>
                  <a:lnTo>
                    <a:pt x="0" y="140209"/>
                  </a:lnTo>
                  <a:lnTo>
                    <a:pt x="0" y="135001"/>
                  </a:lnTo>
                  <a:lnTo>
                    <a:pt x="0" y="130937"/>
                  </a:lnTo>
                  <a:lnTo>
                    <a:pt x="253" y="126873"/>
                  </a:lnTo>
                  <a:lnTo>
                    <a:pt x="507" y="122936"/>
                  </a:lnTo>
                  <a:lnTo>
                    <a:pt x="889" y="118872"/>
                  </a:lnTo>
                  <a:lnTo>
                    <a:pt x="1396" y="115062"/>
                  </a:lnTo>
                  <a:lnTo>
                    <a:pt x="1905" y="111253"/>
                  </a:lnTo>
                  <a:lnTo>
                    <a:pt x="2794" y="107570"/>
                  </a:lnTo>
                  <a:lnTo>
                    <a:pt x="3556" y="103886"/>
                  </a:lnTo>
                  <a:lnTo>
                    <a:pt x="4445" y="100203"/>
                  </a:lnTo>
                  <a:lnTo>
                    <a:pt x="5588" y="96647"/>
                  </a:lnTo>
                  <a:lnTo>
                    <a:pt x="6731" y="93218"/>
                  </a:lnTo>
                  <a:lnTo>
                    <a:pt x="8001" y="89790"/>
                  </a:lnTo>
                  <a:lnTo>
                    <a:pt x="9270" y="86487"/>
                  </a:lnTo>
                  <a:lnTo>
                    <a:pt x="10668" y="83186"/>
                  </a:lnTo>
                  <a:lnTo>
                    <a:pt x="12191" y="80011"/>
                  </a:lnTo>
                  <a:lnTo>
                    <a:pt x="13843" y="76836"/>
                  </a:lnTo>
                  <a:lnTo>
                    <a:pt x="15494" y="73661"/>
                  </a:lnTo>
                  <a:lnTo>
                    <a:pt x="17399" y="70612"/>
                  </a:lnTo>
                  <a:lnTo>
                    <a:pt x="19303" y="67692"/>
                  </a:lnTo>
                  <a:lnTo>
                    <a:pt x="21082" y="64771"/>
                  </a:lnTo>
                  <a:lnTo>
                    <a:pt x="23240" y="61849"/>
                  </a:lnTo>
                  <a:lnTo>
                    <a:pt x="25400" y="59055"/>
                  </a:lnTo>
                  <a:lnTo>
                    <a:pt x="27432" y="56389"/>
                  </a:lnTo>
                  <a:lnTo>
                    <a:pt x="29718" y="53595"/>
                  </a:lnTo>
                  <a:lnTo>
                    <a:pt x="32131" y="51181"/>
                  </a:lnTo>
                  <a:lnTo>
                    <a:pt x="34544" y="48642"/>
                  </a:lnTo>
                  <a:lnTo>
                    <a:pt x="37083" y="46102"/>
                  </a:lnTo>
                  <a:lnTo>
                    <a:pt x="39496" y="43689"/>
                  </a:lnTo>
                  <a:lnTo>
                    <a:pt x="42290" y="41275"/>
                  </a:lnTo>
                  <a:lnTo>
                    <a:pt x="44831" y="38990"/>
                  </a:lnTo>
                  <a:lnTo>
                    <a:pt x="47751" y="36830"/>
                  </a:lnTo>
                  <a:lnTo>
                    <a:pt x="50419" y="34671"/>
                  </a:lnTo>
                  <a:lnTo>
                    <a:pt x="53213" y="32512"/>
                  </a:lnTo>
                  <a:lnTo>
                    <a:pt x="56133" y="30608"/>
                  </a:lnTo>
                  <a:lnTo>
                    <a:pt x="59182" y="28575"/>
                  </a:lnTo>
                  <a:lnTo>
                    <a:pt x="62357" y="26671"/>
                  </a:lnTo>
                  <a:lnTo>
                    <a:pt x="65277" y="24893"/>
                  </a:lnTo>
                  <a:lnTo>
                    <a:pt x="68580" y="23115"/>
                  </a:lnTo>
                  <a:lnTo>
                    <a:pt x="74930" y="19686"/>
                  </a:lnTo>
                  <a:lnTo>
                    <a:pt x="81407" y="16637"/>
                  </a:lnTo>
                  <a:lnTo>
                    <a:pt x="88264" y="13843"/>
                  </a:lnTo>
                  <a:lnTo>
                    <a:pt x="95122" y="11430"/>
                  </a:lnTo>
                  <a:lnTo>
                    <a:pt x="102107" y="9018"/>
                  </a:lnTo>
                  <a:lnTo>
                    <a:pt x="109346" y="6986"/>
                  </a:lnTo>
                  <a:lnTo>
                    <a:pt x="116586" y="5208"/>
                  </a:lnTo>
                  <a:lnTo>
                    <a:pt x="123951" y="3683"/>
                  </a:lnTo>
                  <a:lnTo>
                    <a:pt x="131318" y="2414"/>
                  </a:lnTo>
                  <a:lnTo>
                    <a:pt x="138811" y="1524"/>
                  </a:lnTo>
                  <a:lnTo>
                    <a:pt x="146431" y="636"/>
                  </a:lnTo>
                  <a:lnTo>
                    <a:pt x="153924" y="255"/>
                  </a:lnTo>
                  <a:lnTo>
                    <a:pt x="161544" y="0"/>
                  </a:lnTo>
                  <a:lnTo>
                    <a:pt x="169164" y="127"/>
                  </a:lnTo>
                  <a:lnTo>
                    <a:pt x="176657" y="381"/>
                  </a:lnTo>
                  <a:lnTo>
                    <a:pt x="184150" y="1017"/>
                  </a:lnTo>
                  <a:lnTo>
                    <a:pt x="191770" y="1905"/>
                  </a:lnTo>
                  <a:lnTo>
                    <a:pt x="199008" y="2921"/>
                  </a:lnTo>
                  <a:lnTo>
                    <a:pt x="206501" y="4446"/>
                  </a:lnTo>
                  <a:lnTo>
                    <a:pt x="213614" y="5970"/>
                  </a:lnTo>
                  <a:lnTo>
                    <a:pt x="220726" y="7874"/>
                  </a:lnTo>
                  <a:lnTo>
                    <a:pt x="227838" y="10033"/>
                  </a:lnTo>
                  <a:lnTo>
                    <a:pt x="234695" y="12574"/>
                  </a:lnTo>
                  <a:lnTo>
                    <a:pt x="241553" y="15240"/>
                  </a:lnTo>
                  <a:lnTo>
                    <a:pt x="248157" y="18289"/>
                  </a:lnTo>
                  <a:lnTo>
                    <a:pt x="251332" y="19812"/>
                  </a:lnTo>
                  <a:lnTo>
                    <a:pt x="254507" y="21464"/>
                  </a:lnTo>
                  <a:lnTo>
                    <a:pt x="257682" y="23242"/>
                  </a:lnTo>
                  <a:lnTo>
                    <a:pt x="260731" y="25020"/>
                  </a:lnTo>
                  <a:lnTo>
                    <a:pt x="263906" y="26924"/>
                  </a:lnTo>
                  <a:lnTo>
                    <a:pt x="266826" y="28956"/>
                  </a:lnTo>
                  <a:lnTo>
                    <a:pt x="269747" y="30862"/>
                  </a:lnTo>
                  <a:lnTo>
                    <a:pt x="272669" y="32893"/>
                  </a:lnTo>
                  <a:lnTo>
                    <a:pt x="275336" y="35052"/>
                  </a:lnTo>
                  <a:lnTo>
                    <a:pt x="278130" y="37212"/>
                  </a:lnTo>
                  <a:lnTo>
                    <a:pt x="280796" y="39497"/>
                  </a:lnTo>
                  <a:lnTo>
                    <a:pt x="283464" y="41783"/>
                  </a:lnTo>
                  <a:lnTo>
                    <a:pt x="286003" y="44196"/>
                  </a:lnTo>
                  <a:lnTo>
                    <a:pt x="288416" y="46737"/>
                  </a:lnTo>
                  <a:lnTo>
                    <a:pt x="290957" y="49277"/>
                  </a:lnTo>
                  <a:lnTo>
                    <a:pt x="293243" y="51943"/>
                  </a:lnTo>
                  <a:lnTo>
                    <a:pt x="295401" y="54611"/>
                  </a:lnTo>
                  <a:lnTo>
                    <a:pt x="297688" y="57277"/>
                  </a:lnTo>
                  <a:lnTo>
                    <a:pt x="299846" y="60071"/>
                  </a:lnTo>
                  <a:lnTo>
                    <a:pt x="301878" y="62993"/>
                  </a:lnTo>
                  <a:lnTo>
                    <a:pt x="303783" y="65914"/>
                  </a:lnTo>
                  <a:lnTo>
                    <a:pt x="305689" y="68962"/>
                  </a:lnTo>
                  <a:lnTo>
                    <a:pt x="307466" y="72009"/>
                  </a:lnTo>
                  <a:lnTo>
                    <a:pt x="309118" y="75184"/>
                  </a:lnTo>
                  <a:lnTo>
                    <a:pt x="310769" y="78359"/>
                  </a:lnTo>
                  <a:lnTo>
                    <a:pt x="312293" y="81662"/>
                  </a:lnTo>
                  <a:lnTo>
                    <a:pt x="313816" y="85090"/>
                  </a:lnTo>
                  <a:lnTo>
                    <a:pt x="315087" y="88520"/>
                  </a:lnTo>
                  <a:lnTo>
                    <a:pt x="316357" y="92075"/>
                  </a:lnTo>
                  <a:lnTo>
                    <a:pt x="317500" y="95631"/>
                  </a:lnTo>
                  <a:lnTo>
                    <a:pt x="318389" y="99187"/>
                  </a:lnTo>
                  <a:lnTo>
                    <a:pt x="319405" y="102870"/>
                  </a:lnTo>
                  <a:lnTo>
                    <a:pt x="320294" y="106808"/>
                  </a:lnTo>
                  <a:lnTo>
                    <a:pt x="320928" y="110617"/>
                  </a:lnTo>
                  <a:lnTo>
                    <a:pt x="321690" y="114428"/>
                  </a:lnTo>
                  <a:lnTo>
                    <a:pt x="322199" y="118364"/>
                  </a:lnTo>
                  <a:lnTo>
                    <a:pt x="322580" y="122556"/>
                  </a:lnTo>
                  <a:lnTo>
                    <a:pt x="322833" y="126620"/>
                  </a:lnTo>
                  <a:lnTo>
                    <a:pt x="322961" y="130811"/>
                  </a:lnTo>
                  <a:lnTo>
                    <a:pt x="323088" y="135001"/>
                  </a:lnTo>
                  <a:lnTo>
                    <a:pt x="323088" y="140209"/>
                  </a:lnTo>
                  <a:lnTo>
                    <a:pt x="231901" y="140209"/>
                  </a:lnTo>
                  <a:lnTo>
                    <a:pt x="230377" y="129795"/>
                  </a:lnTo>
                  <a:lnTo>
                    <a:pt x="301625" y="129795"/>
                  </a:lnTo>
                  <a:lnTo>
                    <a:pt x="301497" y="126365"/>
                  </a:lnTo>
                  <a:lnTo>
                    <a:pt x="301116" y="122936"/>
                  </a:lnTo>
                  <a:lnTo>
                    <a:pt x="300736" y="119634"/>
                  </a:lnTo>
                  <a:lnTo>
                    <a:pt x="300355" y="116206"/>
                  </a:lnTo>
                  <a:lnTo>
                    <a:pt x="299846" y="113158"/>
                  </a:lnTo>
                  <a:lnTo>
                    <a:pt x="299212" y="109856"/>
                  </a:lnTo>
                  <a:lnTo>
                    <a:pt x="298322" y="106808"/>
                  </a:lnTo>
                  <a:lnTo>
                    <a:pt x="297561" y="103886"/>
                  </a:lnTo>
                  <a:lnTo>
                    <a:pt x="296671" y="100839"/>
                  </a:lnTo>
                  <a:lnTo>
                    <a:pt x="295782" y="97917"/>
                  </a:lnTo>
                  <a:lnTo>
                    <a:pt x="294639" y="95123"/>
                  </a:lnTo>
                  <a:lnTo>
                    <a:pt x="293496" y="92202"/>
                  </a:lnTo>
                  <a:lnTo>
                    <a:pt x="292353" y="89408"/>
                  </a:lnTo>
                  <a:lnTo>
                    <a:pt x="290957" y="86742"/>
                  </a:lnTo>
                  <a:lnTo>
                    <a:pt x="289559" y="84074"/>
                  </a:lnTo>
                  <a:lnTo>
                    <a:pt x="288163" y="81408"/>
                  </a:lnTo>
                  <a:lnTo>
                    <a:pt x="286512" y="78868"/>
                  </a:lnTo>
                  <a:lnTo>
                    <a:pt x="284988" y="76327"/>
                  </a:lnTo>
                  <a:lnTo>
                    <a:pt x="283337" y="74042"/>
                  </a:lnTo>
                  <a:lnTo>
                    <a:pt x="281686" y="71628"/>
                  </a:lnTo>
                  <a:lnTo>
                    <a:pt x="279781" y="69343"/>
                  </a:lnTo>
                  <a:lnTo>
                    <a:pt x="277876" y="67056"/>
                  </a:lnTo>
                  <a:lnTo>
                    <a:pt x="276097" y="64897"/>
                  </a:lnTo>
                  <a:lnTo>
                    <a:pt x="274065" y="62612"/>
                  </a:lnTo>
                  <a:lnTo>
                    <a:pt x="272033" y="60580"/>
                  </a:lnTo>
                  <a:lnTo>
                    <a:pt x="270001" y="58547"/>
                  </a:lnTo>
                  <a:lnTo>
                    <a:pt x="265557" y="54611"/>
                  </a:lnTo>
                  <a:lnTo>
                    <a:pt x="260984" y="50800"/>
                  </a:lnTo>
                  <a:lnTo>
                    <a:pt x="256158" y="47371"/>
                  </a:lnTo>
                  <a:lnTo>
                    <a:pt x="251206" y="44070"/>
                  </a:lnTo>
                  <a:lnTo>
                    <a:pt x="245999" y="41021"/>
                  </a:lnTo>
                  <a:lnTo>
                    <a:pt x="240664" y="38355"/>
                  </a:lnTo>
                  <a:lnTo>
                    <a:pt x="235203" y="35561"/>
                  </a:lnTo>
                  <a:lnTo>
                    <a:pt x="229489" y="33274"/>
                  </a:lnTo>
                  <a:lnTo>
                    <a:pt x="223901" y="30989"/>
                  </a:lnTo>
                  <a:lnTo>
                    <a:pt x="218058" y="29083"/>
                  </a:lnTo>
                  <a:lnTo>
                    <a:pt x="211836" y="27305"/>
                  </a:lnTo>
                  <a:lnTo>
                    <a:pt x="205866" y="25781"/>
                  </a:lnTo>
                  <a:lnTo>
                    <a:pt x="199644" y="24512"/>
                  </a:lnTo>
                  <a:lnTo>
                    <a:pt x="193420" y="23496"/>
                  </a:lnTo>
                  <a:lnTo>
                    <a:pt x="187197" y="22606"/>
                  </a:lnTo>
                  <a:lnTo>
                    <a:pt x="180847" y="21845"/>
                  </a:lnTo>
                  <a:lnTo>
                    <a:pt x="174370" y="21337"/>
                  </a:lnTo>
                  <a:lnTo>
                    <a:pt x="168020" y="21083"/>
                  </a:lnTo>
                  <a:lnTo>
                    <a:pt x="161670" y="21083"/>
                  </a:lnTo>
                  <a:lnTo>
                    <a:pt x="155194" y="21209"/>
                  </a:lnTo>
                  <a:lnTo>
                    <a:pt x="148844" y="21590"/>
                  </a:lnTo>
                  <a:lnTo>
                    <a:pt x="142366" y="22225"/>
                  </a:lnTo>
                  <a:lnTo>
                    <a:pt x="136016" y="23115"/>
                  </a:lnTo>
                  <a:lnTo>
                    <a:pt x="129794" y="24130"/>
                  </a:lnTo>
                  <a:lnTo>
                    <a:pt x="123570" y="25274"/>
                  </a:lnTo>
                  <a:lnTo>
                    <a:pt x="117220" y="26671"/>
                  </a:lnTo>
                  <a:lnTo>
                    <a:pt x="111251" y="28321"/>
                  </a:lnTo>
                  <a:lnTo>
                    <a:pt x="105282" y="30099"/>
                  </a:lnTo>
                  <a:lnTo>
                    <a:pt x="99440" y="32386"/>
                  </a:lnTo>
                  <a:lnTo>
                    <a:pt x="93599" y="34545"/>
                  </a:lnTo>
                  <a:lnTo>
                    <a:pt x="87883" y="37084"/>
                  </a:lnTo>
                  <a:lnTo>
                    <a:pt x="82422" y="39752"/>
                  </a:lnTo>
                  <a:lnTo>
                    <a:pt x="77089" y="42672"/>
                  </a:lnTo>
                  <a:lnTo>
                    <a:pt x="72008" y="45721"/>
                  </a:lnTo>
                  <a:lnTo>
                    <a:pt x="66928" y="49022"/>
                  </a:lnTo>
                  <a:lnTo>
                    <a:pt x="62102" y="52578"/>
                  </a:lnTo>
                  <a:lnTo>
                    <a:pt x="57657" y="56262"/>
                  </a:lnTo>
                  <a:lnTo>
                    <a:pt x="53213" y="60199"/>
                  </a:lnTo>
                  <a:lnTo>
                    <a:pt x="49149" y="64390"/>
                  </a:lnTo>
                  <a:lnTo>
                    <a:pt x="47116" y="66421"/>
                  </a:lnTo>
                  <a:lnTo>
                    <a:pt x="45212" y="68708"/>
                  </a:lnTo>
                  <a:lnTo>
                    <a:pt x="43307" y="70993"/>
                  </a:lnTo>
                  <a:lnTo>
                    <a:pt x="41528" y="73280"/>
                  </a:lnTo>
                  <a:lnTo>
                    <a:pt x="39751" y="75565"/>
                  </a:lnTo>
                  <a:lnTo>
                    <a:pt x="38100" y="77978"/>
                  </a:lnTo>
                  <a:lnTo>
                    <a:pt x="36576" y="80392"/>
                  </a:lnTo>
                  <a:lnTo>
                    <a:pt x="34925" y="82931"/>
                  </a:lnTo>
                  <a:lnTo>
                    <a:pt x="33527" y="85471"/>
                  </a:lnTo>
                  <a:lnTo>
                    <a:pt x="32131" y="88139"/>
                  </a:lnTo>
                  <a:lnTo>
                    <a:pt x="30733" y="90678"/>
                  </a:lnTo>
                  <a:lnTo>
                    <a:pt x="29590" y="93346"/>
                  </a:lnTo>
                  <a:lnTo>
                    <a:pt x="28320" y="96139"/>
                  </a:lnTo>
                  <a:lnTo>
                    <a:pt x="27305" y="98934"/>
                  </a:lnTo>
                  <a:lnTo>
                    <a:pt x="26415" y="101855"/>
                  </a:lnTo>
                  <a:lnTo>
                    <a:pt x="25400" y="104775"/>
                  </a:lnTo>
                  <a:lnTo>
                    <a:pt x="24764" y="107697"/>
                  </a:lnTo>
                  <a:lnTo>
                    <a:pt x="23876" y="110745"/>
                  </a:lnTo>
                  <a:lnTo>
                    <a:pt x="23240" y="113792"/>
                  </a:lnTo>
                  <a:lnTo>
                    <a:pt x="22732" y="116714"/>
                  </a:lnTo>
                  <a:lnTo>
                    <a:pt x="22225" y="120015"/>
                  </a:lnTo>
                  <a:lnTo>
                    <a:pt x="21844" y="123190"/>
                  </a:lnTo>
                  <a:lnTo>
                    <a:pt x="21463" y="126492"/>
                  </a:lnTo>
                  <a:lnTo>
                    <a:pt x="21336" y="129795"/>
                  </a:lnTo>
                  <a:close/>
                  <a:moveTo>
                    <a:pt x="-2961387" y="1719072"/>
                  </a:moveTo>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sp>
        <p:sp>
          <p:nvSpPr>
            <p:cNvPr id="798" name="Freeform 798"/>
            <p:cNvSpPr/>
            <p:nvPr/>
          </p:nvSpPr>
          <p:spPr>
            <a:xfrm>
              <a:off x="4551471" y="5290359"/>
              <a:ext cx="21325" cy="152321"/>
            </a:xfrm>
            <a:custGeom>
              <a:avLst/>
              <a:gdLst/>
              <a:ahLst/>
              <a:cxnLst/>
              <a:rect l="0" t="0" r="0" b="0"/>
              <a:pathLst>
                <a:path w="21336" h="152400">
                  <a:moveTo>
                    <a:pt x="0" y="152400"/>
                  </a:moveTo>
                  <a:lnTo>
                    <a:pt x="21336" y="152400"/>
                  </a:lnTo>
                  <a:lnTo>
                    <a:pt x="21336" y="0"/>
                  </a:lnTo>
                  <a:lnTo>
                    <a:pt x="0" y="0"/>
                  </a:lnTo>
                  <a:lnTo>
                    <a:pt x="0" y="152400"/>
                  </a:lnTo>
                  <a:close/>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sp>
        <p:sp>
          <p:nvSpPr>
            <p:cNvPr id="799" name="Freeform 799"/>
            <p:cNvSpPr/>
            <p:nvPr/>
          </p:nvSpPr>
          <p:spPr>
            <a:xfrm>
              <a:off x="4853066" y="5144131"/>
              <a:ext cx="164507" cy="298549"/>
            </a:xfrm>
            <a:custGeom>
              <a:avLst/>
              <a:gdLst/>
              <a:ahLst/>
              <a:cxnLst/>
              <a:rect l="0" t="0" r="0" b="0"/>
              <a:pathLst>
                <a:path w="164593" h="298704">
                  <a:moveTo>
                    <a:pt x="61976" y="0"/>
                  </a:moveTo>
                  <a:lnTo>
                    <a:pt x="61976" y="28194"/>
                  </a:lnTo>
                  <a:lnTo>
                    <a:pt x="36450" y="28194"/>
                  </a:lnTo>
                  <a:lnTo>
                    <a:pt x="36450" y="266701"/>
                  </a:lnTo>
                  <a:lnTo>
                    <a:pt x="21210" y="266701"/>
                  </a:lnTo>
                  <a:lnTo>
                    <a:pt x="21210" y="145669"/>
                  </a:lnTo>
                  <a:lnTo>
                    <a:pt x="0" y="145669"/>
                  </a:lnTo>
                  <a:lnTo>
                    <a:pt x="0" y="298704"/>
                  </a:lnTo>
                  <a:lnTo>
                    <a:pt x="21210" y="298704"/>
                  </a:lnTo>
                  <a:lnTo>
                    <a:pt x="21210" y="277368"/>
                  </a:lnTo>
                  <a:lnTo>
                    <a:pt x="46990" y="277368"/>
                  </a:lnTo>
                  <a:lnTo>
                    <a:pt x="46990" y="38862"/>
                  </a:lnTo>
                  <a:lnTo>
                    <a:pt x="61976" y="38862"/>
                  </a:lnTo>
                  <a:lnTo>
                    <a:pt x="61976" y="277368"/>
                  </a:lnTo>
                  <a:lnTo>
                    <a:pt x="84329" y="277368"/>
                  </a:lnTo>
                  <a:lnTo>
                    <a:pt x="84329" y="298704"/>
                  </a:lnTo>
                  <a:lnTo>
                    <a:pt x="94996" y="298704"/>
                  </a:lnTo>
                  <a:lnTo>
                    <a:pt x="94996" y="277368"/>
                  </a:lnTo>
                  <a:lnTo>
                    <a:pt x="99061" y="277368"/>
                  </a:lnTo>
                  <a:lnTo>
                    <a:pt x="99061" y="298704"/>
                  </a:lnTo>
                  <a:lnTo>
                    <a:pt x="109601" y="298704"/>
                  </a:lnTo>
                  <a:lnTo>
                    <a:pt x="109601" y="277368"/>
                  </a:lnTo>
                  <a:lnTo>
                    <a:pt x="121286" y="277368"/>
                  </a:lnTo>
                  <a:lnTo>
                    <a:pt x="121286" y="298704"/>
                  </a:lnTo>
                  <a:lnTo>
                    <a:pt x="131700" y="298704"/>
                  </a:lnTo>
                  <a:lnTo>
                    <a:pt x="131700" y="277368"/>
                  </a:lnTo>
                  <a:lnTo>
                    <a:pt x="136271" y="277368"/>
                  </a:lnTo>
                  <a:lnTo>
                    <a:pt x="136271" y="298704"/>
                  </a:lnTo>
                  <a:lnTo>
                    <a:pt x="146939" y="298704"/>
                  </a:lnTo>
                  <a:lnTo>
                    <a:pt x="146939" y="277368"/>
                  </a:lnTo>
                  <a:lnTo>
                    <a:pt x="164593" y="277368"/>
                  </a:lnTo>
                  <a:lnTo>
                    <a:pt x="164593" y="0"/>
                  </a:lnTo>
                  <a:lnTo>
                    <a:pt x="61976" y="0"/>
                  </a:lnTo>
                  <a:close/>
                  <a:moveTo>
                    <a:pt x="-3139439" y="1712976"/>
                  </a:moveTo>
                  <a:moveTo>
                    <a:pt x="154051" y="211201"/>
                  </a:moveTo>
                  <a:lnTo>
                    <a:pt x="72518" y="152527"/>
                  </a:lnTo>
                  <a:lnTo>
                    <a:pt x="72518" y="10669"/>
                  </a:lnTo>
                  <a:lnTo>
                    <a:pt x="154051" y="10669"/>
                  </a:lnTo>
                  <a:lnTo>
                    <a:pt x="154051" y="211201"/>
                  </a:lnTo>
                  <a:close/>
                  <a:moveTo>
                    <a:pt x="-3350640" y="1712976"/>
                  </a:moveTo>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sp>
        <p:sp>
          <p:nvSpPr>
            <p:cNvPr id="800" name="Freeform 800"/>
            <p:cNvSpPr/>
            <p:nvPr/>
          </p:nvSpPr>
          <p:spPr>
            <a:xfrm>
              <a:off x="4521006" y="5451821"/>
              <a:ext cx="502658" cy="12185"/>
            </a:xfrm>
            <a:custGeom>
              <a:avLst/>
              <a:gdLst/>
              <a:ahLst/>
              <a:cxnLst/>
              <a:rect l="0" t="0" r="0" b="0"/>
              <a:pathLst>
                <a:path w="502920" h="12191">
                  <a:moveTo>
                    <a:pt x="0" y="12191"/>
                  </a:moveTo>
                  <a:lnTo>
                    <a:pt x="502920" y="12191"/>
                  </a:lnTo>
                  <a:lnTo>
                    <a:pt x="502920" y="0"/>
                  </a:lnTo>
                  <a:lnTo>
                    <a:pt x="0" y="0"/>
                  </a:lnTo>
                  <a:lnTo>
                    <a:pt x="0" y="12191"/>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sp>
        <p:pic>
          <p:nvPicPr>
            <p:cNvPr id="801" name="Picture 80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4670891" y="5275476"/>
              <a:ext cx="86323" cy="163411"/>
            </a:xfrm>
            <a:prstGeom prst="rect">
              <a:avLst/>
            </a:prstGeom>
            <a:solidFill>
              <a:schemeClr val="bg2"/>
            </a:solidFill>
            <a:ln>
              <a:solidFill>
                <a:schemeClr val="bg1"/>
              </a:solidFill>
            </a:ln>
          </p:spPr>
        </p:pic>
        <p:sp>
          <p:nvSpPr>
            <p:cNvPr id="1081" name="Rectangle 1081"/>
            <p:cNvSpPr/>
            <p:nvPr/>
          </p:nvSpPr>
          <p:spPr>
            <a:xfrm>
              <a:off x="4420222" y="5497723"/>
              <a:ext cx="721351" cy="310662"/>
            </a:xfrm>
            <a:prstGeom prst="rect">
              <a:avLst/>
            </a:prstGeom>
            <a:noFill/>
            <a:ln>
              <a:noFill/>
            </a:ln>
          </p:spPr>
          <p:txBody>
            <a:bodyPr wrap="none" lIns="0" tIns="0" rIns="0" bIns="0">
              <a:spAutoFit/>
            </a:bodyPr>
            <a:lstStyle/>
            <a:p>
              <a:pPr marL="146157" marR="0" lvl="0" indent="0" algn="l" defTabSz="913486" rtl="0" eaLnBrk="1" fontAlgn="auto" latinLnBrk="0" hangingPunct="1">
                <a:lnSpc>
                  <a:spcPct val="100000"/>
                </a:lnSpc>
                <a:spcBef>
                  <a:spcPts val="0"/>
                </a:spcBef>
                <a:spcAft>
                  <a:spcPts val="0"/>
                </a:spcAft>
                <a:buClrTx/>
                <a:buSzTx/>
                <a:buFontTx/>
                <a:buNone/>
                <a:tabLst/>
                <a:defRPr/>
              </a:pPr>
              <a:r>
                <a:rPr kumimoji="0" lang="en-US" sz="1099" b="1" i="0" u="none" strike="noStrike" kern="0" cap="none" spc="0" normalizeH="0" baseline="0" noProof="0" dirty="0">
                  <a:ln>
                    <a:noFill/>
                  </a:ln>
                  <a:solidFill>
                    <a:prstClr val="white"/>
                  </a:solidFill>
                  <a:effectLst/>
                  <a:uLnTx/>
                  <a:uFillTx/>
                  <a:latin typeface="EYInterstate-LightBold"/>
                  <a:ea typeface="+mn-ea"/>
                  <a:cs typeface="+mn-cs"/>
                </a:rPr>
                <a:t>Power </a:t>
              </a:r>
            </a:p>
            <a:p>
              <a:pPr marL="0" marR="0" lvl="0" indent="0" algn="l" defTabSz="913486" rtl="0" eaLnBrk="1" fontAlgn="auto" latinLnBrk="0" hangingPunct="1">
                <a:lnSpc>
                  <a:spcPts val="1102"/>
                </a:lnSpc>
                <a:spcBef>
                  <a:spcPts val="0"/>
                </a:spcBef>
                <a:spcAft>
                  <a:spcPts val="0"/>
                </a:spcAft>
                <a:buClrTx/>
                <a:buSzTx/>
                <a:buFontTx/>
                <a:buNone/>
                <a:tabLst/>
                <a:defRPr/>
              </a:pPr>
              <a:r>
                <a:rPr kumimoji="0" lang="en-US" sz="1099" b="1" i="0" u="none" strike="noStrike" kern="0" cap="none" spc="0" normalizeH="0" baseline="0" noProof="0" dirty="0">
                  <a:ln>
                    <a:noFill/>
                  </a:ln>
                  <a:solidFill>
                    <a:prstClr val="white"/>
                  </a:solidFill>
                  <a:effectLst/>
                  <a:uLnTx/>
                  <a:uFillTx/>
                  <a:latin typeface="EYInterstate-LightBold"/>
                  <a:ea typeface="+mn-ea"/>
                  <a:cs typeface="+mn-cs"/>
                </a:rPr>
                <a:t>generation</a:t>
              </a:r>
            </a:p>
          </p:txBody>
        </p:sp>
      </p:grpSp>
      <p:grpSp>
        <p:nvGrpSpPr>
          <p:cNvPr id="15" name="Group 14">
            <a:extLst>
              <a:ext uri="{FF2B5EF4-FFF2-40B4-BE49-F238E27FC236}">
                <a16:creationId xmlns:a16="http://schemas.microsoft.com/office/drawing/2014/main" id="{797D12DD-CC44-44DE-A7F5-DF383BDEC7C0}"/>
              </a:ext>
            </a:extLst>
          </p:cNvPr>
          <p:cNvGrpSpPr/>
          <p:nvPr/>
        </p:nvGrpSpPr>
        <p:grpSpPr>
          <a:xfrm>
            <a:off x="5906459" y="5085387"/>
            <a:ext cx="1009366" cy="580768"/>
            <a:chOff x="5909535" y="5086250"/>
            <a:chExt cx="1009892" cy="581070"/>
          </a:xfrm>
          <a:solidFill>
            <a:schemeClr val="bg1"/>
          </a:solidFill>
        </p:grpSpPr>
        <p:sp>
          <p:nvSpPr>
            <p:cNvPr id="802" name="Freeform 802"/>
            <p:cNvSpPr/>
            <p:nvPr/>
          </p:nvSpPr>
          <p:spPr>
            <a:xfrm>
              <a:off x="6214812" y="5086250"/>
              <a:ext cx="377755" cy="377755"/>
            </a:xfrm>
            <a:custGeom>
              <a:avLst/>
              <a:gdLst/>
              <a:ahLst/>
              <a:cxnLst/>
              <a:rect l="0" t="0" r="0" b="0"/>
              <a:pathLst>
                <a:path w="377952" h="377952">
                  <a:moveTo>
                    <a:pt x="336805" y="49022"/>
                  </a:moveTo>
                  <a:lnTo>
                    <a:pt x="109856" y="25528"/>
                  </a:lnTo>
                  <a:lnTo>
                    <a:pt x="116713" y="20193"/>
                  </a:lnTo>
                  <a:lnTo>
                    <a:pt x="117730" y="19178"/>
                  </a:lnTo>
                  <a:lnTo>
                    <a:pt x="118745" y="18288"/>
                  </a:lnTo>
                  <a:lnTo>
                    <a:pt x="119507" y="17272"/>
                  </a:lnTo>
                  <a:lnTo>
                    <a:pt x="120269" y="16256"/>
                  </a:lnTo>
                  <a:lnTo>
                    <a:pt x="120777" y="15368"/>
                  </a:lnTo>
                  <a:lnTo>
                    <a:pt x="121158" y="14224"/>
                  </a:lnTo>
                  <a:lnTo>
                    <a:pt x="121539" y="13209"/>
                  </a:lnTo>
                  <a:lnTo>
                    <a:pt x="121667" y="12319"/>
                  </a:lnTo>
                  <a:lnTo>
                    <a:pt x="121794" y="11303"/>
                  </a:lnTo>
                  <a:lnTo>
                    <a:pt x="121794" y="10287"/>
                  </a:lnTo>
                  <a:lnTo>
                    <a:pt x="121667" y="9271"/>
                  </a:lnTo>
                  <a:lnTo>
                    <a:pt x="121286" y="8509"/>
                  </a:lnTo>
                  <a:lnTo>
                    <a:pt x="121158" y="7493"/>
                  </a:lnTo>
                  <a:lnTo>
                    <a:pt x="120777" y="6605"/>
                  </a:lnTo>
                  <a:lnTo>
                    <a:pt x="120143" y="5843"/>
                  </a:lnTo>
                  <a:lnTo>
                    <a:pt x="119634" y="4953"/>
                  </a:lnTo>
                  <a:lnTo>
                    <a:pt x="119000" y="4191"/>
                  </a:lnTo>
                  <a:lnTo>
                    <a:pt x="118364" y="3430"/>
                  </a:lnTo>
                  <a:lnTo>
                    <a:pt x="117602" y="2794"/>
                  </a:lnTo>
                  <a:lnTo>
                    <a:pt x="116968" y="2159"/>
                  </a:lnTo>
                  <a:lnTo>
                    <a:pt x="116079" y="1652"/>
                  </a:lnTo>
                  <a:lnTo>
                    <a:pt x="115189" y="1143"/>
                  </a:lnTo>
                  <a:lnTo>
                    <a:pt x="114427" y="762"/>
                  </a:lnTo>
                  <a:lnTo>
                    <a:pt x="113538" y="509"/>
                  </a:lnTo>
                  <a:lnTo>
                    <a:pt x="112523" y="255"/>
                  </a:lnTo>
                  <a:lnTo>
                    <a:pt x="111633" y="128"/>
                  </a:lnTo>
                  <a:lnTo>
                    <a:pt x="110744" y="0"/>
                  </a:lnTo>
                  <a:lnTo>
                    <a:pt x="109729" y="0"/>
                  </a:lnTo>
                  <a:lnTo>
                    <a:pt x="108839" y="128"/>
                  </a:lnTo>
                  <a:lnTo>
                    <a:pt x="107824" y="381"/>
                  </a:lnTo>
                  <a:lnTo>
                    <a:pt x="106934" y="762"/>
                  </a:lnTo>
                  <a:lnTo>
                    <a:pt x="106045" y="1143"/>
                  </a:lnTo>
                  <a:lnTo>
                    <a:pt x="19813" y="50928"/>
                  </a:lnTo>
                  <a:lnTo>
                    <a:pt x="17145" y="52071"/>
                  </a:lnTo>
                  <a:lnTo>
                    <a:pt x="14606" y="53340"/>
                  </a:lnTo>
                  <a:lnTo>
                    <a:pt x="12446" y="54865"/>
                  </a:lnTo>
                  <a:lnTo>
                    <a:pt x="10288" y="56769"/>
                  </a:lnTo>
                  <a:lnTo>
                    <a:pt x="8382" y="58547"/>
                  </a:lnTo>
                  <a:lnTo>
                    <a:pt x="6732" y="60580"/>
                  </a:lnTo>
                  <a:lnTo>
                    <a:pt x="5207" y="62865"/>
                  </a:lnTo>
                  <a:lnTo>
                    <a:pt x="3811" y="65278"/>
                  </a:lnTo>
                  <a:lnTo>
                    <a:pt x="2668" y="67565"/>
                  </a:lnTo>
                  <a:lnTo>
                    <a:pt x="1651" y="70105"/>
                  </a:lnTo>
                  <a:lnTo>
                    <a:pt x="1017" y="72899"/>
                  </a:lnTo>
                  <a:lnTo>
                    <a:pt x="508" y="75438"/>
                  </a:lnTo>
                  <a:lnTo>
                    <a:pt x="127" y="78233"/>
                  </a:lnTo>
                  <a:lnTo>
                    <a:pt x="0" y="80899"/>
                  </a:lnTo>
                  <a:lnTo>
                    <a:pt x="0" y="83821"/>
                  </a:lnTo>
                  <a:lnTo>
                    <a:pt x="255" y="86615"/>
                  </a:lnTo>
                  <a:lnTo>
                    <a:pt x="636" y="89409"/>
                  </a:lnTo>
                  <a:lnTo>
                    <a:pt x="1270" y="92075"/>
                  </a:lnTo>
                  <a:lnTo>
                    <a:pt x="2032" y="94869"/>
                  </a:lnTo>
                  <a:lnTo>
                    <a:pt x="3049" y="97409"/>
                  </a:lnTo>
                  <a:lnTo>
                    <a:pt x="4319" y="100203"/>
                  </a:lnTo>
                  <a:lnTo>
                    <a:pt x="5715" y="102616"/>
                  </a:lnTo>
                  <a:lnTo>
                    <a:pt x="7367" y="105030"/>
                  </a:lnTo>
                  <a:lnTo>
                    <a:pt x="9271" y="107315"/>
                  </a:lnTo>
                  <a:lnTo>
                    <a:pt x="11176" y="109474"/>
                  </a:lnTo>
                  <a:lnTo>
                    <a:pt x="13463" y="111506"/>
                  </a:lnTo>
                  <a:lnTo>
                    <a:pt x="15875" y="113412"/>
                  </a:lnTo>
                  <a:lnTo>
                    <a:pt x="18415" y="115190"/>
                  </a:lnTo>
                  <a:lnTo>
                    <a:pt x="21463" y="116840"/>
                  </a:lnTo>
                  <a:lnTo>
                    <a:pt x="24384" y="117984"/>
                  </a:lnTo>
                  <a:lnTo>
                    <a:pt x="27687" y="119127"/>
                  </a:lnTo>
                  <a:lnTo>
                    <a:pt x="31243" y="120015"/>
                  </a:lnTo>
                  <a:lnTo>
                    <a:pt x="157226" y="146686"/>
                  </a:lnTo>
                  <a:lnTo>
                    <a:pt x="32767" y="279908"/>
                  </a:lnTo>
                  <a:lnTo>
                    <a:pt x="30988" y="281941"/>
                  </a:lnTo>
                  <a:lnTo>
                    <a:pt x="29464" y="284100"/>
                  </a:lnTo>
                  <a:lnTo>
                    <a:pt x="27813" y="286258"/>
                  </a:lnTo>
                  <a:lnTo>
                    <a:pt x="26544" y="288544"/>
                  </a:lnTo>
                  <a:lnTo>
                    <a:pt x="25146" y="290958"/>
                  </a:lnTo>
                  <a:lnTo>
                    <a:pt x="24004" y="293497"/>
                  </a:lnTo>
                  <a:lnTo>
                    <a:pt x="22988" y="295783"/>
                  </a:lnTo>
                  <a:lnTo>
                    <a:pt x="21971" y="298324"/>
                  </a:lnTo>
                  <a:lnTo>
                    <a:pt x="21082" y="301117"/>
                  </a:lnTo>
                  <a:lnTo>
                    <a:pt x="20320" y="303658"/>
                  </a:lnTo>
                  <a:lnTo>
                    <a:pt x="19813" y="306325"/>
                  </a:lnTo>
                  <a:lnTo>
                    <a:pt x="19177" y="308991"/>
                  </a:lnTo>
                  <a:lnTo>
                    <a:pt x="18924" y="311786"/>
                  </a:lnTo>
                  <a:lnTo>
                    <a:pt x="18543" y="314452"/>
                  </a:lnTo>
                  <a:lnTo>
                    <a:pt x="18415" y="317247"/>
                  </a:lnTo>
                  <a:lnTo>
                    <a:pt x="18415" y="320041"/>
                  </a:lnTo>
                  <a:lnTo>
                    <a:pt x="18415" y="322835"/>
                  </a:lnTo>
                  <a:lnTo>
                    <a:pt x="18543" y="325628"/>
                  </a:lnTo>
                  <a:lnTo>
                    <a:pt x="18796" y="328296"/>
                  </a:lnTo>
                  <a:lnTo>
                    <a:pt x="19177" y="331089"/>
                  </a:lnTo>
                  <a:lnTo>
                    <a:pt x="19813" y="333756"/>
                  </a:lnTo>
                  <a:lnTo>
                    <a:pt x="20320" y="336550"/>
                  </a:lnTo>
                  <a:lnTo>
                    <a:pt x="20956" y="339217"/>
                  </a:lnTo>
                  <a:lnTo>
                    <a:pt x="21971" y="341885"/>
                  </a:lnTo>
                  <a:lnTo>
                    <a:pt x="22861" y="344425"/>
                  </a:lnTo>
                  <a:lnTo>
                    <a:pt x="23876" y="346964"/>
                  </a:lnTo>
                  <a:lnTo>
                    <a:pt x="25019" y="349505"/>
                  </a:lnTo>
                  <a:lnTo>
                    <a:pt x="26417" y="351791"/>
                  </a:lnTo>
                  <a:lnTo>
                    <a:pt x="27813" y="354330"/>
                  </a:lnTo>
                  <a:lnTo>
                    <a:pt x="29338" y="356616"/>
                  </a:lnTo>
                  <a:lnTo>
                    <a:pt x="30862" y="358775"/>
                  </a:lnTo>
                  <a:lnTo>
                    <a:pt x="32639" y="360935"/>
                  </a:lnTo>
                  <a:lnTo>
                    <a:pt x="34544" y="362839"/>
                  </a:lnTo>
                  <a:lnTo>
                    <a:pt x="36450" y="364744"/>
                  </a:lnTo>
                  <a:lnTo>
                    <a:pt x="38355" y="366650"/>
                  </a:lnTo>
                  <a:lnTo>
                    <a:pt x="40387" y="368174"/>
                  </a:lnTo>
                  <a:lnTo>
                    <a:pt x="42545" y="369825"/>
                  </a:lnTo>
                  <a:lnTo>
                    <a:pt x="44705" y="371094"/>
                  </a:lnTo>
                  <a:lnTo>
                    <a:pt x="46863" y="372238"/>
                  </a:lnTo>
                  <a:lnTo>
                    <a:pt x="49150" y="373380"/>
                  </a:lnTo>
                  <a:lnTo>
                    <a:pt x="51308" y="374269"/>
                  </a:lnTo>
                  <a:lnTo>
                    <a:pt x="53721" y="375158"/>
                  </a:lnTo>
                  <a:lnTo>
                    <a:pt x="56134" y="375921"/>
                  </a:lnTo>
                  <a:lnTo>
                    <a:pt x="58420" y="376428"/>
                  </a:lnTo>
                  <a:lnTo>
                    <a:pt x="60707" y="376810"/>
                  </a:lnTo>
                  <a:lnTo>
                    <a:pt x="63119" y="377191"/>
                  </a:lnTo>
                  <a:lnTo>
                    <a:pt x="65659" y="377317"/>
                  </a:lnTo>
                  <a:lnTo>
                    <a:pt x="68073" y="377317"/>
                  </a:lnTo>
                  <a:lnTo>
                    <a:pt x="70486" y="377317"/>
                  </a:lnTo>
                  <a:lnTo>
                    <a:pt x="72899" y="377063"/>
                  </a:lnTo>
                  <a:lnTo>
                    <a:pt x="75184" y="376810"/>
                  </a:lnTo>
                  <a:lnTo>
                    <a:pt x="77598" y="376302"/>
                  </a:lnTo>
                  <a:lnTo>
                    <a:pt x="79883" y="375666"/>
                  </a:lnTo>
                  <a:lnTo>
                    <a:pt x="82296" y="374905"/>
                  </a:lnTo>
                  <a:lnTo>
                    <a:pt x="84582" y="374016"/>
                  </a:lnTo>
                  <a:lnTo>
                    <a:pt x="86869" y="373000"/>
                  </a:lnTo>
                  <a:lnTo>
                    <a:pt x="89027" y="371983"/>
                  </a:lnTo>
                  <a:lnTo>
                    <a:pt x="91187" y="370713"/>
                  </a:lnTo>
                  <a:lnTo>
                    <a:pt x="93473" y="369189"/>
                  </a:lnTo>
                  <a:lnTo>
                    <a:pt x="95505" y="367792"/>
                  </a:lnTo>
                  <a:lnTo>
                    <a:pt x="97663" y="366141"/>
                  </a:lnTo>
                  <a:lnTo>
                    <a:pt x="99569" y="364363"/>
                  </a:lnTo>
                  <a:lnTo>
                    <a:pt x="101474" y="362458"/>
                  </a:lnTo>
                  <a:lnTo>
                    <a:pt x="103251" y="360427"/>
                  </a:lnTo>
                  <a:lnTo>
                    <a:pt x="114936" y="344044"/>
                  </a:lnTo>
                  <a:lnTo>
                    <a:pt x="116459" y="347346"/>
                  </a:lnTo>
                  <a:lnTo>
                    <a:pt x="117983" y="350647"/>
                  </a:lnTo>
                  <a:lnTo>
                    <a:pt x="119762" y="353822"/>
                  </a:lnTo>
                  <a:lnTo>
                    <a:pt x="121667" y="356744"/>
                  </a:lnTo>
                  <a:lnTo>
                    <a:pt x="123699" y="359411"/>
                  </a:lnTo>
                  <a:lnTo>
                    <a:pt x="125857" y="361950"/>
                  </a:lnTo>
                  <a:lnTo>
                    <a:pt x="128144" y="364491"/>
                  </a:lnTo>
                  <a:lnTo>
                    <a:pt x="130683" y="366650"/>
                  </a:lnTo>
                  <a:lnTo>
                    <a:pt x="133224" y="368681"/>
                  </a:lnTo>
                  <a:lnTo>
                    <a:pt x="135763" y="370460"/>
                  </a:lnTo>
                  <a:lnTo>
                    <a:pt x="138557" y="371983"/>
                  </a:lnTo>
                  <a:lnTo>
                    <a:pt x="141351" y="373508"/>
                  </a:lnTo>
                  <a:lnTo>
                    <a:pt x="144145" y="374777"/>
                  </a:lnTo>
                  <a:lnTo>
                    <a:pt x="147067" y="375794"/>
                  </a:lnTo>
                  <a:lnTo>
                    <a:pt x="149861" y="376555"/>
                  </a:lnTo>
                  <a:lnTo>
                    <a:pt x="152908" y="377317"/>
                  </a:lnTo>
                  <a:lnTo>
                    <a:pt x="155957" y="377699"/>
                  </a:lnTo>
                  <a:lnTo>
                    <a:pt x="159005" y="377952"/>
                  </a:lnTo>
                  <a:lnTo>
                    <a:pt x="162052" y="377952"/>
                  </a:lnTo>
                  <a:lnTo>
                    <a:pt x="165100" y="377699"/>
                  </a:lnTo>
                  <a:lnTo>
                    <a:pt x="168149" y="377191"/>
                  </a:lnTo>
                  <a:lnTo>
                    <a:pt x="171324" y="376555"/>
                  </a:lnTo>
                  <a:lnTo>
                    <a:pt x="174244" y="375794"/>
                  </a:lnTo>
                  <a:lnTo>
                    <a:pt x="177165" y="374524"/>
                  </a:lnTo>
                  <a:lnTo>
                    <a:pt x="180087" y="373253"/>
                  </a:lnTo>
                  <a:lnTo>
                    <a:pt x="183007" y="371730"/>
                  </a:lnTo>
                  <a:lnTo>
                    <a:pt x="185801" y="369825"/>
                  </a:lnTo>
                  <a:lnTo>
                    <a:pt x="188595" y="367666"/>
                  </a:lnTo>
                  <a:lnTo>
                    <a:pt x="191263" y="365380"/>
                  </a:lnTo>
                  <a:lnTo>
                    <a:pt x="193802" y="362713"/>
                  </a:lnTo>
                  <a:lnTo>
                    <a:pt x="196215" y="359919"/>
                  </a:lnTo>
                  <a:lnTo>
                    <a:pt x="198629" y="356871"/>
                  </a:lnTo>
                  <a:lnTo>
                    <a:pt x="205359" y="343155"/>
                  </a:lnTo>
                  <a:lnTo>
                    <a:pt x="205740" y="344171"/>
                  </a:lnTo>
                  <a:lnTo>
                    <a:pt x="206375" y="346075"/>
                  </a:lnTo>
                  <a:lnTo>
                    <a:pt x="207138" y="347853"/>
                  </a:lnTo>
                  <a:lnTo>
                    <a:pt x="208026" y="349758"/>
                  </a:lnTo>
                  <a:lnTo>
                    <a:pt x="208788" y="351536"/>
                  </a:lnTo>
                  <a:lnTo>
                    <a:pt x="209805" y="353188"/>
                  </a:lnTo>
                  <a:lnTo>
                    <a:pt x="210820" y="354838"/>
                  </a:lnTo>
                  <a:lnTo>
                    <a:pt x="211709" y="356363"/>
                  </a:lnTo>
                  <a:lnTo>
                    <a:pt x="212852" y="357886"/>
                  </a:lnTo>
                  <a:lnTo>
                    <a:pt x="213995" y="359411"/>
                  </a:lnTo>
                  <a:lnTo>
                    <a:pt x="215138" y="360680"/>
                  </a:lnTo>
                  <a:lnTo>
                    <a:pt x="216282" y="362205"/>
                  </a:lnTo>
                  <a:lnTo>
                    <a:pt x="217551" y="363347"/>
                  </a:lnTo>
                  <a:lnTo>
                    <a:pt x="220219" y="365761"/>
                  </a:lnTo>
                  <a:lnTo>
                    <a:pt x="223013" y="367919"/>
                  </a:lnTo>
                  <a:lnTo>
                    <a:pt x="225807" y="369825"/>
                  </a:lnTo>
                  <a:lnTo>
                    <a:pt x="228855" y="371475"/>
                  </a:lnTo>
                  <a:lnTo>
                    <a:pt x="231902" y="373127"/>
                  </a:lnTo>
                  <a:lnTo>
                    <a:pt x="235077" y="374269"/>
                  </a:lnTo>
                  <a:lnTo>
                    <a:pt x="238252" y="375286"/>
                  </a:lnTo>
                  <a:lnTo>
                    <a:pt x="241682" y="376047"/>
                  </a:lnTo>
                  <a:lnTo>
                    <a:pt x="244983" y="376555"/>
                  </a:lnTo>
                  <a:lnTo>
                    <a:pt x="248286" y="376810"/>
                  </a:lnTo>
                  <a:lnTo>
                    <a:pt x="251714" y="376555"/>
                  </a:lnTo>
                  <a:lnTo>
                    <a:pt x="255017" y="376428"/>
                  </a:lnTo>
                  <a:lnTo>
                    <a:pt x="258445" y="375794"/>
                  </a:lnTo>
                  <a:lnTo>
                    <a:pt x="261620" y="374905"/>
                  </a:lnTo>
                  <a:lnTo>
                    <a:pt x="264923" y="373888"/>
                  </a:lnTo>
                  <a:lnTo>
                    <a:pt x="268225" y="372619"/>
                  </a:lnTo>
                  <a:lnTo>
                    <a:pt x="269749" y="371730"/>
                  </a:lnTo>
                  <a:lnTo>
                    <a:pt x="271273" y="370841"/>
                  </a:lnTo>
                  <a:lnTo>
                    <a:pt x="272796" y="370078"/>
                  </a:lnTo>
                  <a:lnTo>
                    <a:pt x="274320" y="368936"/>
                  </a:lnTo>
                  <a:lnTo>
                    <a:pt x="275718" y="367919"/>
                  </a:lnTo>
                  <a:lnTo>
                    <a:pt x="277114" y="366650"/>
                  </a:lnTo>
                  <a:lnTo>
                    <a:pt x="278512" y="365506"/>
                  </a:lnTo>
                  <a:lnTo>
                    <a:pt x="279908" y="364363"/>
                  </a:lnTo>
                  <a:lnTo>
                    <a:pt x="281179" y="362839"/>
                  </a:lnTo>
                  <a:lnTo>
                    <a:pt x="282575" y="361569"/>
                  </a:lnTo>
                  <a:lnTo>
                    <a:pt x="283845" y="359919"/>
                  </a:lnTo>
                  <a:lnTo>
                    <a:pt x="285115" y="358394"/>
                  </a:lnTo>
                  <a:lnTo>
                    <a:pt x="286258" y="356871"/>
                  </a:lnTo>
                  <a:lnTo>
                    <a:pt x="287401" y="355092"/>
                  </a:lnTo>
                  <a:lnTo>
                    <a:pt x="288418" y="353314"/>
                  </a:lnTo>
                  <a:lnTo>
                    <a:pt x="289560" y="351536"/>
                  </a:lnTo>
                  <a:lnTo>
                    <a:pt x="290576" y="349505"/>
                  </a:lnTo>
                  <a:lnTo>
                    <a:pt x="291465" y="347600"/>
                  </a:lnTo>
                  <a:lnTo>
                    <a:pt x="292355" y="345441"/>
                  </a:lnTo>
                  <a:lnTo>
                    <a:pt x="293244" y="343281"/>
                  </a:lnTo>
                  <a:lnTo>
                    <a:pt x="370206" y="135002"/>
                  </a:lnTo>
                  <a:lnTo>
                    <a:pt x="371602" y="131446"/>
                  </a:lnTo>
                  <a:lnTo>
                    <a:pt x="372746" y="127890"/>
                  </a:lnTo>
                  <a:lnTo>
                    <a:pt x="373761" y="124206"/>
                  </a:lnTo>
                  <a:lnTo>
                    <a:pt x="374777" y="120650"/>
                  </a:lnTo>
                  <a:lnTo>
                    <a:pt x="375539" y="117094"/>
                  </a:lnTo>
                  <a:lnTo>
                    <a:pt x="376301" y="113284"/>
                  </a:lnTo>
                  <a:lnTo>
                    <a:pt x="376936" y="109602"/>
                  </a:lnTo>
                  <a:lnTo>
                    <a:pt x="377445" y="106172"/>
                  </a:lnTo>
                  <a:lnTo>
                    <a:pt x="377698" y="102490"/>
                  </a:lnTo>
                  <a:lnTo>
                    <a:pt x="377952" y="98934"/>
                  </a:lnTo>
                  <a:lnTo>
                    <a:pt x="377952" y="95378"/>
                  </a:lnTo>
                  <a:lnTo>
                    <a:pt x="377952" y="92075"/>
                  </a:lnTo>
                  <a:lnTo>
                    <a:pt x="377572" y="88646"/>
                  </a:lnTo>
                  <a:lnTo>
                    <a:pt x="377190" y="85344"/>
                  </a:lnTo>
                  <a:lnTo>
                    <a:pt x="376683" y="82169"/>
                  </a:lnTo>
                  <a:lnTo>
                    <a:pt x="375921" y="78994"/>
                  </a:lnTo>
                  <a:lnTo>
                    <a:pt x="375032" y="75946"/>
                  </a:lnTo>
                  <a:lnTo>
                    <a:pt x="374015" y="73025"/>
                  </a:lnTo>
                  <a:lnTo>
                    <a:pt x="372619" y="70359"/>
                  </a:lnTo>
                  <a:lnTo>
                    <a:pt x="371222" y="67565"/>
                  </a:lnTo>
                  <a:lnTo>
                    <a:pt x="369571" y="65024"/>
                  </a:lnTo>
                  <a:lnTo>
                    <a:pt x="367665" y="62738"/>
                  </a:lnTo>
                  <a:lnTo>
                    <a:pt x="365634" y="60325"/>
                  </a:lnTo>
                  <a:lnTo>
                    <a:pt x="363347" y="58293"/>
                  </a:lnTo>
                  <a:lnTo>
                    <a:pt x="362205" y="57405"/>
                  </a:lnTo>
                  <a:lnTo>
                    <a:pt x="360808" y="56515"/>
                  </a:lnTo>
                  <a:lnTo>
                    <a:pt x="359537" y="55499"/>
                  </a:lnTo>
                  <a:lnTo>
                    <a:pt x="358013" y="54865"/>
                  </a:lnTo>
                  <a:lnTo>
                    <a:pt x="356617" y="53975"/>
                  </a:lnTo>
                  <a:lnTo>
                    <a:pt x="355220" y="53213"/>
                  </a:lnTo>
                  <a:lnTo>
                    <a:pt x="351918" y="51943"/>
                  </a:lnTo>
                  <a:lnTo>
                    <a:pt x="348615" y="50928"/>
                  </a:lnTo>
                  <a:lnTo>
                    <a:pt x="344806" y="50038"/>
                  </a:lnTo>
                  <a:lnTo>
                    <a:pt x="340996" y="49403"/>
                  </a:lnTo>
                  <a:lnTo>
                    <a:pt x="336805" y="49022"/>
                  </a:lnTo>
                  <a:close/>
                  <a:moveTo>
                    <a:pt x="-4493005" y="1770888"/>
                  </a:moveTo>
                  <a:moveTo>
                    <a:pt x="32639" y="110490"/>
                  </a:moveTo>
                  <a:lnTo>
                    <a:pt x="32639" y="110490"/>
                  </a:lnTo>
                  <a:lnTo>
                    <a:pt x="30862" y="110109"/>
                  </a:lnTo>
                  <a:lnTo>
                    <a:pt x="29083" y="109602"/>
                  </a:lnTo>
                  <a:lnTo>
                    <a:pt x="27559" y="109221"/>
                  </a:lnTo>
                  <a:lnTo>
                    <a:pt x="26036" y="108586"/>
                  </a:lnTo>
                  <a:lnTo>
                    <a:pt x="24384" y="107950"/>
                  </a:lnTo>
                  <a:lnTo>
                    <a:pt x="22988" y="107188"/>
                  </a:lnTo>
                  <a:lnTo>
                    <a:pt x="21718" y="106553"/>
                  </a:lnTo>
                  <a:lnTo>
                    <a:pt x="20320" y="105791"/>
                  </a:lnTo>
                  <a:lnTo>
                    <a:pt x="19050" y="104903"/>
                  </a:lnTo>
                  <a:lnTo>
                    <a:pt x="18034" y="104140"/>
                  </a:lnTo>
                  <a:lnTo>
                    <a:pt x="17019" y="103252"/>
                  </a:lnTo>
                  <a:lnTo>
                    <a:pt x="15875" y="102362"/>
                  </a:lnTo>
                  <a:lnTo>
                    <a:pt x="14987" y="101474"/>
                  </a:lnTo>
                  <a:lnTo>
                    <a:pt x="13970" y="100458"/>
                  </a:lnTo>
                  <a:lnTo>
                    <a:pt x="13208" y="99315"/>
                  </a:lnTo>
                  <a:lnTo>
                    <a:pt x="12446" y="98425"/>
                  </a:lnTo>
                  <a:lnTo>
                    <a:pt x="11050" y="96266"/>
                  </a:lnTo>
                  <a:lnTo>
                    <a:pt x="10033" y="93981"/>
                  </a:lnTo>
                  <a:lnTo>
                    <a:pt x="9144" y="91821"/>
                  </a:lnTo>
                  <a:lnTo>
                    <a:pt x="8509" y="89536"/>
                  </a:lnTo>
                  <a:lnTo>
                    <a:pt x="8256" y="86996"/>
                  </a:lnTo>
                  <a:lnTo>
                    <a:pt x="8001" y="84709"/>
                  </a:lnTo>
                  <a:lnTo>
                    <a:pt x="8129" y="82424"/>
                  </a:lnTo>
                  <a:lnTo>
                    <a:pt x="8256" y="80011"/>
                  </a:lnTo>
                  <a:lnTo>
                    <a:pt x="8763" y="77724"/>
                  </a:lnTo>
                  <a:lnTo>
                    <a:pt x="9399" y="75438"/>
                  </a:lnTo>
                  <a:lnTo>
                    <a:pt x="10288" y="73280"/>
                  </a:lnTo>
                  <a:lnTo>
                    <a:pt x="11431" y="71247"/>
                  </a:lnTo>
                  <a:lnTo>
                    <a:pt x="12700" y="69215"/>
                  </a:lnTo>
                  <a:lnTo>
                    <a:pt x="13970" y="67311"/>
                  </a:lnTo>
                  <a:lnTo>
                    <a:pt x="15621" y="65533"/>
                  </a:lnTo>
                  <a:lnTo>
                    <a:pt x="17400" y="64009"/>
                  </a:lnTo>
                  <a:lnTo>
                    <a:pt x="19305" y="62484"/>
                  </a:lnTo>
                  <a:lnTo>
                    <a:pt x="21463" y="61341"/>
                  </a:lnTo>
                  <a:lnTo>
                    <a:pt x="23623" y="60325"/>
                  </a:lnTo>
                  <a:lnTo>
                    <a:pt x="26163" y="59563"/>
                  </a:lnTo>
                  <a:lnTo>
                    <a:pt x="28702" y="58928"/>
                  </a:lnTo>
                  <a:lnTo>
                    <a:pt x="31369" y="58547"/>
                  </a:lnTo>
                  <a:lnTo>
                    <a:pt x="34163" y="58547"/>
                  </a:lnTo>
                  <a:lnTo>
                    <a:pt x="37084" y="58802"/>
                  </a:lnTo>
                  <a:lnTo>
                    <a:pt x="65659" y="62231"/>
                  </a:lnTo>
                  <a:lnTo>
                    <a:pt x="64008" y="63628"/>
                  </a:lnTo>
                  <a:lnTo>
                    <a:pt x="62357" y="65024"/>
                  </a:lnTo>
                  <a:lnTo>
                    <a:pt x="60833" y="66675"/>
                  </a:lnTo>
                  <a:lnTo>
                    <a:pt x="59563" y="68327"/>
                  </a:lnTo>
                  <a:lnTo>
                    <a:pt x="58167" y="70105"/>
                  </a:lnTo>
                  <a:lnTo>
                    <a:pt x="56896" y="71756"/>
                  </a:lnTo>
                  <a:lnTo>
                    <a:pt x="55754" y="73661"/>
                  </a:lnTo>
                  <a:lnTo>
                    <a:pt x="54738" y="75565"/>
                  </a:lnTo>
                  <a:lnTo>
                    <a:pt x="53721" y="77471"/>
                  </a:lnTo>
                  <a:lnTo>
                    <a:pt x="52959" y="79630"/>
                  </a:lnTo>
                  <a:lnTo>
                    <a:pt x="52325" y="81662"/>
                  </a:lnTo>
                  <a:lnTo>
                    <a:pt x="51689" y="83821"/>
                  </a:lnTo>
                  <a:lnTo>
                    <a:pt x="51182" y="85980"/>
                  </a:lnTo>
                  <a:lnTo>
                    <a:pt x="50927" y="88265"/>
                  </a:lnTo>
                  <a:lnTo>
                    <a:pt x="50674" y="90552"/>
                  </a:lnTo>
                  <a:lnTo>
                    <a:pt x="50674" y="92837"/>
                  </a:lnTo>
                  <a:lnTo>
                    <a:pt x="50674" y="94615"/>
                  </a:lnTo>
                  <a:lnTo>
                    <a:pt x="50800" y="96140"/>
                  </a:lnTo>
                  <a:lnTo>
                    <a:pt x="50927" y="97663"/>
                  </a:lnTo>
                  <a:lnTo>
                    <a:pt x="51182" y="99315"/>
                  </a:lnTo>
                  <a:lnTo>
                    <a:pt x="51563" y="100838"/>
                  </a:lnTo>
                  <a:lnTo>
                    <a:pt x="51944" y="102362"/>
                  </a:lnTo>
                  <a:lnTo>
                    <a:pt x="52325" y="103887"/>
                  </a:lnTo>
                  <a:lnTo>
                    <a:pt x="52832" y="105284"/>
                  </a:lnTo>
                  <a:lnTo>
                    <a:pt x="54102" y="108205"/>
                  </a:lnTo>
                  <a:lnTo>
                    <a:pt x="55500" y="110871"/>
                  </a:lnTo>
                  <a:lnTo>
                    <a:pt x="57150" y="113665"/>
                  </a:lnTo>
                  <a:lnTo>
                    <a:pt x="58929" y="115952"/>
                  </a:lnTo>
                  <a:lnTo>
                    <a:pt x="32639" y="110490"/>
                  </a:lnTo>
                  <a:close/>
                  <a:moveTo>
                    <a:pt x="-4554473" y="1770888"/>
                  </a:moveTo>
                  <a:moveTo>
                    <a:pt x="77470" y="120015"/>
                  </a:moveTo>
                  <a:lnTo>
                    <a:pt x="77598" y="119888"/>
                  </a:lnTo>
                  <a:lnTo>
                    <a:pt x="75565" y="118746"/>
                  </a:lnTo>
                  <a:lnTo>
                    <a:pt x="73661" y="117475"/>
                  </a:lnTo>
                  <a:lnTo>
                    <a:pt x="71756" y="116206"/>
                  </a:lnTo>
                  <a:lnTo>
                    <a:pt x="69977" y="114809"/>
                  </a:lnTo>
                  <a:lnTo>
                    <a:pt x="68326" y="113284"/>
                  </a:lnTo>
                  <a:lnTo>
                    <a:pt x="66802" y="111761"/>
                  </a:lnTo>
                  <a:lnTo>
                    <a:pt x="65279" y="109983"/>
                  </a:lnTo>
                  <a:lnTo>
                    <a:pt x="64136" y="108331"/>
                  </a:lnTo>
                  <a:lnTo>
                    <a:pt x="62865" y="106553"/>
                  </a:lnTo>
                  <a:lnTo>
                    <a:pt x="61850" y="104649"/>
                  </a:lnTo>
                  <a:lnTo>
                    <a:pt x="61088" y="102743"/>
                  </a:lnTo>
                  <a:lnTo>
                    <a:pt x="60325" y="100838"/>
                  </a:lnTo>
                  <a:lnTo>
                    <a:pt x="59690" y="98934"/>
                  </a:lnTo>
                  <a:lnTo>
                    <a:pt x="59309" y="96774"/>
                  </a:lnTo>
                  <a:lnTo>
                    <a:pt x="58929" y="94869"/>
                  </a:lnTo>
                  <a:lnTo>
                    <a:pt x="58929" y="92837"/>
                  </a:lnTo>
                  <a:lnTo>
                    <a:pt x="59056" y="90552"/>
                  </a:lnTo>
                  <a:lnTo>
                    <a:pt x="59309" y="88265"/>
                  </a:lnTo>
                  <a:lnTo>
                    <a:pt x="59818" y="85980"/>
                  </a:lnTo>
                  <a:lnTo>
                    <a:pt x="60580" y="83693"/>
                  </a:lnTo>
                  <a:lnTo>
                    <a:pt x="61342" y="81662"/>
                  </a:lnTo>
                  <a:lnTo>
                    <a:pt x="62357" y="79375"/>
                  </a:lnTo>
                  <a:lnTo>
                    <a:pt x="63627" y="77343"/>
                  </a:lnTo>
                  <a:lnTo>
                    <a:pt x="65025" y="75438"/>
                  </a:lnTo>
                  <a:lnTo>
                    <a:pt x="66549" y="73661"/>
                  </a:lnTo>
                  <a:lnTo>
                    <a:pt x="68326" y="72009"/>
                  </a:lnTo>
                  <a:lnTo>
                    <a:pt x="70105" y="70359"/>
                  </a:lnTo>
                  <a:lnTo>
                    <a:pt x="72263" y="68834"/>
                  </a:lnTo>
                  <a:lnTo>
                    <a:pt x="74295" y="67311"/>
                  </a:lnTo>
                  <a:lnTo>
                    <a:pt x="76582" y="66168"/>
                  </a:lnTo>
                  <a:lnTo>
                    <a:pt x="78868" y="65024"/>
                  </a:lnTo>
                  <a:lnTo>
                    <a:pt x="81407" y="64136"/>
                  </a:lnTo>
                  <a:lnTo>
                    <a:pt x="139065" y="70993"/>
                  </a:lnTo>
                  <a:lnTo>
                    <a:pt x="137288" y="72644"/>
                  </a:lnTo>
                  <a:lnTo>
                    <a:pt x="135637" y="74168"/>
                  </a:lnTo>
                  <a:lnTo>
                    <a:pt x="134113" y="75819"/>
                  </a:lnTo>
                  <a:lnTo>
                    <a:pt x="132715" y="77471"/>
                  </a:lnTo>
                  <a:lnTo>
                    <a:pt x="131192" y="79375"/>
                  </a:lnTo>
                  <a:lnTo>
                    <a:pt x="129921" y="81408"/>
                  </a:lnTo>
                  <a:lnTo>
                    <a:pt x="128779" y="83312"/>
                  </a:lnTo>
                  <a:lnTo>
                    <a:pt x="127636" y="85471"/>
                  </a:lnTo>
                  <a:lnTo>
                    <a:pt x="126619" y="87631"/>
                  </a:lnTo>
                  <a:lnTo>
                    <a:pt x="125731" y="89790"/>
                  </a:lnTo>
                  <a:lnTo>
                    <a:pt x="124969" y="92075"/>
                  </a:lnTo>
                  <a:lnTo>
                    <a:pt x="124461" y="94488"/>
                  </a:lnTo>
                  <a:lnTo>
                    <a:pt x="123952" y="96774"/>
                  </a:lnTo>
                  <a:lnTo>
                    <a:pt x="123571" y="99315"/>
                  </a:lnTo>
                  <a:lnTo>
                    <a:pt x="123444" y="101855"/>
                  </a:lnTo>
                  <a:lnTo>
                    <a:pt x="123318" y="104394"/>
                  </a:lnTo>
                  <a:lnTo>
                    <a:pt x="123444" y="106427"/>
                  </a:lnTo>
                  <a:lnTo>
                    <a:pt x="123571" y="108331"/>
                  </a:lnTo>
                  <a:lnTo>
                    <a:pt x="123699" y="110237"/>
                  </a:lnTo>
                  <a:lnTo>
                    <a:pt x="123952" y="112141"/>
                  </a:lnTo>
                  <a:lnTo>
                    <a:pt x="124461" y="114046"/>
                  </a:lnTo>
                  <a:lnTo>
                    <a:pt x="124969" y="115824"/>
                  </a:lnTo>
                  <a:lnTo>
                    <a:pt x="125476" y="117603"/>
                  </a:lnTo>
                  <a:lnTo>
                    <a:pt x="126238" y="119381"/>
                  </a:lnTo>
                  <a:lnTo>
                    <a:pt x="126746" y="121031"/>
                  </a:lnTo>
                  <a:lnTo>
                    <a:pt x="127636" y="122809"/>
                  </a:lnTo>
                  <a:lnTo>
                    <a:pt x="128525" y="124461"/>
                  </a:lnTo>
                  <a:lnTo>
                    <a:pt x="129413" y="126112"/>
                  </a:lnTo>
                  <a:lnTo>
                    <a:pt x="130557" y="127636"/>
                  </a:lnTo>
                  <a:lnTo>
                    <a:pt x="131573" y="129159"/>
                  </a:lnTo>
                  <a:lnTo>
                    <a:pt x="132588" y="130556"/>
                  </a:lnTo>
                  <a:lnTo>
                    <a:pt x="133732" y="131953"/>
                  </a:lnTo>
                  <a:lnTo>
                    <a:pt x="77470" y="120015"/>
                  </a:lnTo>
                  <a:close/>
                  <a:moveTo>
                    <a:pt x="-4563998" y="1770888"/>
                  </a:moveTo>
                  <a:moveTo>
                    <a:pt x="96648" y="352425"/>
                  </a:moveTo>
                  <a:lnTo>
                    <a:pt x="96648" y="352425"/>
                  </a:lnTo>
                  <a:lnTo>
                    <a:pt x="95250" y="354077"/>
                  </a:lnTo>
                  <a:lnTo>
                    <a:pt x="93726" y="355600"/>
                  </a:lnTo>
                  <a:lnTo>
                    <a:pt x="92202" y="356871"/>
                  </a:lnTo>
                  <a:lnTo>
                    <a:pt x="90425" y="358267"/>
                  </a:lnTo>
                  <a:lnTo>
                    <a:pt x="88900" y="359411"/>
                  </a:lnTo>
                  <a:lnTo>
                    <a:pt x="87250" y="360553"/>
                  </a:lnTo>
                  <a:lnTo>
                    <a:pt x="85471" y="361569"/>
                  </a:lnTo>
                  <a:lnTo>
                    <a:pt x="83694" y="362458"/>
                  </a:lnTo>
                  <a:lnTo>
                    <a:pt x="82043" y="363221"/>
                  </a:lnTo>
                  <a:lnTo>
                    <a:pt x="80264" y="363855"/>
                  </a:lnTo>
                  <a:lnTo>
                    <a:pt x="78359" y="364491"/>
                  </a:lnTo>
                  <a:lnTo>
                    <a:pt x="76582" y="364999"/>
                  </a:lnTo>
                  <a:lnTo>
                    <a:pt x="74676" y="365252"/>
                  </a:lnTo>
                  <a:lnTo>
                    <a:pt x="72899" y="365506"/>
                  </a:lnTo>
                  <a:lnTo>
                    <a:pt x="70867" y="365633"/>
                  </a:lnTo>
                  <a:lnTo>
                    <a:pt x="69088" y="365761"/>
                  </a:lnTo>
                  <a:lnTo>
                    <a:pt x="67183" y="365633"/>
                  </a:lnTo>
                  <a:lnTo>
                    <a:pt x="65279" y="365506"/>
                  </a:lnTo>
                  <a:lnTo>
                    <a:pt x="63500" y="365252"/>
                  </a:lnTo>
                  <a:lnTo>
                    <a:pt x="61723" y="364999"/>
                  </a:lnTo>
                  <a:lnTo>
                    <a:pt x="59818" y="364491"/>
                  </a:lnTo>
                  <a:lnTo>
                    <a:pt x="57913" y="363855"/>
                  </a:lnTo>
                  <a:lnTo>
                    <a:pt x="56134" y="363221"/>
                  </a:lnTo>
                  <a:lnTo>
                    <a:pt x="54357" y="362458"/>
                  </a:lnTo>
                  <a:lnTo>
                    <a:pt x="52579" y="361569"/>
                  </a:lnTo>
                  <a:lnTo>
                    <a:pt x="50927" y="360553"/>
                  </a:lnTo>
                  <a:lnTo>
                    <a:pt x="49276" y="359411"/>
                  </a:lnTo>
                  <a:lnTo>
                    <a:pt x="47625" y="358267"/>
                  </a:lnTo>
                  <a:lnTo>
                    <a:pt x="46101" y="356871"/>
                  </a:lnTo>
                  <a:lnTo>
                    <a:pt x="44577" y="355600"/>
                  </a:lnTo>
                  <a:lnTo>
                    <a:pt x="42926" y="354077"/>
                  </a:lnTo>
                  <a:lnTo>
                    <a:pt x="41530" y="352425"/>
                  </a:lnTo>
                  <a:lnTo>
                    <a:pt x="39370" y="349886"/>
                  </a:lnTo>
                  <a:lnTo>
                    <a:pt x="37593" y="347219"/>
                  </a:lnTo>
                  <a:lnTo>
                    <a:pt x="35814" y="344171"/>
                  </a:lnTo>
                  <a:lnTo>
                    <a:pt x="34418" y="341377"/>
                  </a:lnTo>
                  <a:lnTo>
                    <a:pt x="33275" y="338328"/>
                  </a:lnTo>
                  <a:lnTo>
                    <a:pt x="32258" y="335153"/>
                  </a:lnTo>
                  <a:lnTo>
                    <a:pt x="31369" y="331978"/>
                  </a:lnTo>
                  <a:lnTo>
                    <a:pt x="30734" y="328677"/>
                  </a:lnTo>
                  <a:lnTo>
                    <a:pt x="85980" y="279781"/>
                  </a:lnTo>
                  <a:lnTo>
                    <a:pt x="87504" y="280544"/>
                  </a:lnTo>
                  <a:lnTo>
                    <a:pt x="88900" y="281433"/>
                  </a:lnTo>
                  <a:lnTo>
                    <a:pt x="90170" y="282449"/>
                  </a:lnTo>
                  <a:lnTo>
                    <a:pt x="91568" y="283464"/>
                  </a:lnTo>
                  <a:lnTo>
                    <a:pt x="92838" y="284735"/>
                  </a:lnTo>
                  <a:lnTo>
                    <a:pt x="94234" y="285877"/>
                  </a:lnTo>
                  <a:lnTo>
                    <a:pt x="95377" y="287147"/>
                  </a:lnTo>
                  <a:lnTo>
                    <a:pt x="96648" y="288417"/>
                  </a:lnTo>
                  <a:lnTo>
                    <a:pt x="98044" y="290196"/>
                  </a:lnTo>
                  <a:lnTo>
                    <a:pt x="99442" y="291974"/>
                  </a:lnTo>
                  <a:lnTo>
                    <a:pt x="100457" y="293752"/>
                  </a:lnTo>
                  <a:lnTo>
                    <a:pt x="101600" y="295530"/>
                  </a:lnTo>
                  <a:lnTo>
                    <a:pt x="102617" y="297561"/>
                  </a:lnTo>
                  <a:lnTo>
                    <a:pt x="103632" y="299466"/>
                  </a:lnTo>
                  <a:lnTo>
                    <a:pt x="104394" y="301499"/>
                  </a:lnTo>
                  <a:lnTo>
                    <a:pt x="105157" y="303403"/>
                  </a:lnTo>
                  <a:lnTo>
                    <a:pt x="105919" y="305563"/>
                  </a:lnTo>
                  <a:lnTo>
                    <a:pt x="106426" y="307594"/>
                  </a:lnTo>
                  <a:lnTo>
                    <a:pt x="106934" y="309753"/>
                  </a:lnTo>
                  <a:lnTo>
                    <a:pt x="107443" y="311913"/>
                  </a:lnTo>
                  <a:lnTo>
                    <a:pt x="107696" y="313944"/>
                  </a:lnTo>
                  <a:lnTo>
                    <a:pt x="107824" y="316103"/>
                  </a:lnTo>
                  <a:lnTo>
                    <a:pt x="107950" y="318263"/>
                  </a:lnTo>
                  <a:lnTo>
                    <a:pt x="108077" y="320549"/>
                  </a:lnTo>
                  <a:lnTo>
                    <a:pt x="107950" y="322580"/>
                  </a:lnTo>
                  <a:lnTo>
                    <a:pt x="107824" y="324739"/>
                  </a:lnTo>
                  <a:lnTo>
                    <a:pt x="107696" y="327025"/>
                  </a:lnTo>
                  <a:lnTo>
                    <a:pt x="107443" y="329185"/>
                  </a:lnTo>
                  <a:lnTo>
                    <a:pt x="106934" y="331216"/>
                  </a:lnTo>
                  <a:lnTo>
                    <a:pt x="106426" y="333375"/>
                  </a:lnTo>
                  <a:lnTo>
                    <a:pt x="105919" y="335408"/>
                  </a:lnTo>
                  <a:lnTo>
                    <a:pt x="105157" y="337439"/>
                  </a:lnTo>
                  <a:lnTo>
                    <a:pt x="104394" y="339599"/>
                  </a:lnTo>
                  <a:lnTo>
                    <a:pt x="103632" y="341503"/>
                  </a:lnTo>
                  <a:lnTo>
                    <a:pt x="102617" y="343536"/>
                  </a:lnTo>
                  <a:lnTo>
                    <a:pt x="101600" y="345313"/>
                  </a:lnTo>
                  <a:lnTo>
                    <a:pt x="100457" y="347219"/>
                  </a:lnTo>
                  <a:lnTo>
                    <a:pt x="99442" y="349124"/>
                  </a:lnTo>
                  <a:lnTo>
                    <a:pt x="98044" y="350775"/>
                  </a:lnTo>
                  <a:lnTo>
                    <a:pt x="96648" y="352425"/>
                  </a:lnTo>
                  <a:close/>
                  <a:moveTo>
                    <a:pt x="-4796408" y="1770888"/>
                  </a:moveTo>
                  <a:moveTo>
                    <a:pt x="113919" y="303022"/>
                  </a:moveTo>
                  <a:lnTo>
                    <a:pt x="113919" y="303022"/>
                  </a:lnTo>
                  <a:lnTo>
                    <a:pt x="113031" y="299975"/>
                  </a:lnTo>
                  <a:lnTo>
                    <a:pt x="112014" y="297180"/>
                  </a:lnTo>
                  <a:lnTo>
                    <a:pt x="110744" y="294386"/>
                  </a:lnTo>
                  <a:lnTo>
                    <a:pt x="109348" y="291719"/>
                  </a:lnTo>
                  <a:lnTo>
                    <a:pt x="107824" y="289052"/>
                  </a:lnTo>
                  <a:lnTo>
                    <a:pt x="106173" y="286513"/>
                  </a:lnTo>
                  <a:lnTo>
                    <a:pt x="104394" y="283972"/>
                  </a:lnTo>
                  <a:lnTo>
                    <a:pt x="102617" y="281686"/>
                  </a:lnTo>
                  <a:lnTo>
                    <a:pt x="100204" y="279019"/>
                  </a:lnTo>
                  <a:lnTo>
                    <a:pt x="97663" y="276733"/>
                  </a:lnTo>
                  <a:lnTo>
                    <a:pt x="95124" y="274575"/>
                  </a:lnTo>
                  <a:lnTo>
                    <a:pt x="92457" y="272669"/>
                  </a:lnTo>
                  <a:lnTo>
                    <a:pt x="89536" y="271019"/>
                  </a:lnTo>
                  <a:lnTo>
                    <a:pt x="86742" y="269494"/>
                  </a:lnTo>
                  <a:lnTo>
                    <a:pt x="83820" y="268352"/>
                  </a:lnTo>
                  <a:lnTo>
                    <a:pt x="80900" y="267336"/>
                  </a:lnTo>
                  <a:lnTo>
                    <a:pt x="77851" y="266447"/>
                  </a:lnTo>
                  <a:lnTo>
                    <a:pt x="74804" y="265938"/>
                  </a:lnTo>
                  <a:lnTo>
                    <a:pt x="71756" y="265685"/>
                  </a:lnTo>
                  <a:lnTo>
                    <a:pt x="68707" y="265685"/>
                  </a:lnTo>
                  <a:lnTo>
                    <a:pt x="65659" y="265811"/>
                  </a:lnTo>
                  <a:lnTo>
                    <a:pt x="62612" y="266192"/>
                  </a:lnTo>
                  <a:lnTo>
                    <a:pt x="59563" y="266700"/>
                  </a:lnTo>
                  <a:lnTo>
                    <a:pt x="56515" y="267589"/>
                  </a:lnTo>
                  <a:lnTo>
                    <a:pt x="129287" y="189866"/>
                  </a:lnTo>
                  <a:lnTo>
                    <a:pt x="131573" y="189103"/>
                  </a:lnTo>
                  <a:lnTo>
                    <a:pt x="133986" y="188722"/>
                  </a:lnTo>
                  <a:lnTo>
                    <a:pt x="136399" y="188341"/>
                  </a:lnTo>
                  <a:lnTo>
                    <a:pt x="138812" y="188214"/>
                  </a:lnTo>
                  <a:lnTo>
                    <a:pt x="141225" y="188341"/>
                  </a:lnTo>
                  <a:lnTo>
                    <a:pt x="143511" y="188596"/>
                  </a:lnTo>
                  <a:lnTo>
                    <a:pt x="145924" y="188977"/>
                  </a:lnTo>
                  <a:lnTo>
                    <a:pt x="148337" y="189485"/>
                  </a:lnTo>
                  <a:lnTo>
                    <a:pt x="150623" y="190247"/>
                  </a:lnTo>
                  <a:lnTo>
                    <a:pt x="152908" y="191008"/>
                  </a:lnTo>
                  <a:lnTo>
                    <a:pt x="155194" y="192025"/>
                  </a:lnTo>
                  <a:lnTo>
                    <a:pt x="157481" y="193167"/>
                  </a:lnTo>
                  <a:lnTo>
                    <a:pt x="159513" y="194438"/>
                  </a:lnTo>
                  <a:lnTo>
                    <a:pt x="161544" y="195961"/>
                  </a:lnTo>
                  <a:lnTo>
                    <a:pt x="163450" y="197613"/>
                  </a:lnTo>
                  <a:lnTo>
                    <a:pt x="165227" y="199263"/>
                  </a:lnTo>
                  <a:lnTo>
                    <a:pt x="170943" y="192152"/>
                  </a:lnTo>
                  <a:lnTo>
                    <a:pt x="169292" y="190500"/>
                  </a:lnTo>
                  <a:lnTo>
                    <a:pt x="167640" y="189103"/>
                  </a:lnTo>
                  <a:lnTo>
                    <a:pt x="165989" y="187706"/>
                  </a:lnTo>
                  <a:lnTo>
                    <a:pt x="164084" y="186436"/>
                  </a:lnTo>
                  <a:lnTo>
                    <a:pt x="162307" y="185166"/>
                  </a:lnTo>
                  <a:lnTo>
                    <a:pt x="160275" y="184150"/>
                  </a:lnTo>
                  <a:lnTo>
                    <a:pt x="158496" y="183135"/>
                  </a:lnTo>
                  <a:lnTo>
                    <a:pt x="156464" y="182246"/>
                  </a:lnTo>
                  <a:lnTo>
                    <a:pt x="154559" y="181356"/>
                  </a:lnTo>
                  <a:lnTo>
                    <a:pt x="152400" y="180722"/>
                  </a:lnTo>
                  <a:lnTo>
                    <a:pt x="150369" y="180086"/>
                  </a:lnTo>
                  <a:lnTo>
                    <a:pt x="148337" y="179578"/>
                  </a:lnTo>
                  <a:lnTo>
                    <a:pt x="146177" y="179197"/>
                  </a:lnTo>
                  <a:lnTo>
                    <a:pt x="144019" y="178816"/>
                  </a:lnTo>
                  <a:lnTo>
                    <a:pt x="141859" y="178689"/>
                  </a:lnTo>
                  <a:lnTo>
                    <a:pt x="139700" y="178563"/>
                  </a:lnTo>
                  <a:lnTo>
                    <a:pt x="172086" y="144018"/>
                  </a:lnTo>
                  <a:lnTo>
                    <a:pt x="184658" y="131827"/>
                  </a:lnTo>
                  <a:lnTo>
                    <a:pt x="186437" y="131699"/>
                  </a:lnTo>
                  <a:lnTo>
                    <a:pt x="188342" y="131699"/>
                  </a:lnTo>
                  <a:lnTo>
                    <a:pt x="190119" y="131699"/>
                  </a:lnTo>
                  <a:lnTo>
                    <a:pt x="191898" y="131827"/>
                  </a:lnTo>
                  <a:lnTo>
                    <a:pt x="193802" y="132081"/>
                  </a:lnTo>
                  <a:lnTo>
                    <a:pt x="195581" y="132462"/>
                  </a:lnTo>
                  <a:lnTo>
                    <a:pt x="197232" y="132969"/>
                  </a:lnTo>
                  <a:lnTo>
                    <a:pt x="199009" y="133478"/>
                  </a:lnTo>
                  <a:lnTo>
                    <a:pt x="200661" y="134240"/>
                  </a:lnTo>
                  <a:lnTo>
                    <a:pt x="202184" y="134874"/>
                  </a:lnTo>
                  <a:lnTo>
                    <a:pt x="203836" y="135890"/>
                  </a:lnTo>
                  <a:lnTo>
                    <a:pt x="205359" y="136780"/>
                  </a:lnTo>
                  <a:lnTo>
                    <a:pt x="206883" y="137796"/>
                  </a:lnTo>
                  <a:lnTo>
                    <a:pt x="208281" y="139065"/>
                  </a:lnTo>
                  <a:lnTo>
                    <a:pt x="209805" y="140209"/>
                  </a:lnTo>
                  <a:lnTo>
                    <a:pt x="210948" y="141478"/>
                  </a:lnTo>
                  <a:lnTo>
                    <a:pt x="216789" y="134366"/>
                  </a:lnTo>
                  <a:lnTo>
                    <a:pt x="214376" y="132081"/>
                  </a:lnTo>
                  <a:lnTo>
                    <a:pt x="211709" y="129921"/>
                  </a:lnTo>
                  <a:lnTo>
                    <a:pt x="209043" y="128143"/>
                  </a:lnTo>
                  <a:lnTo>
                    <a:pt x="206375" y="126365"/>
                  </a:lnTo>
                  <a:lnTo>
                    <a:pt x="203455" y="125096"/>
                  </a:lnTo>
                  <a:lnTo>
                    <a:pt x="200407" y="123825"/>
                  </a:lnTo>
                  <a:lnTo>
                    <a:pt x="197358" y="123063"/>
                  </a:lnTo>
                  <a:lnTo>
                    <a:pt x="194183" y="122428"/>
                  </a:lnTo>
                  <a:lnTo>
                    <a:pt x="222758" y="94615"/>
                  </a:lnTo>
                  <a:lnTo>
                    <a:pt x="223267" y="93981"/>
                  </a:lnTo>
                  <a:lnTo>
                    <a:pt x="223648" y="93599"/>
                  </a:lnTo>
                  <a:lnTo>
                    <a:pt x="223901" y="93218"/>
                  </a:lnTo>
                  <a:lnTo>
                    <a:pt x="224029" y="92837"/>
                  </a:lnTo>
                  <a:lnTo>
                    <a:pt x="224029" y="92584"/>
                  </a:lnTo>
                  <a:lnTo>
                    <a:pt x="223901" y="92075"/>
                  </a:lnTo>
                  <a:lnTo>
                    <a:pt x="223775" y="91949"/>
                  </a:lnTo>
                  <a:lnTo>
                    <a:pt x="223520" y="91694"/>
                  </a:lnTo>
                  <a:lnTo>
                    <a:pt x="222758" y="91313"/>
                  </a:lnTo>
                  <a:lnTo>
                    <a:pt x="221743" y="91059"/>
                  </a:lnTo>
                  <a:lnTo>
                    <a:pt x="220345" y="90933"/>
                  </a:lnTo>
                  <a:lnTo>
                    <a:pt x="218821" y="91059"/>
                  </a:lnTo>
                  <a:lnTo>
                    <a:pt x="217044" y="91187"/>
                  </a:lnTo>
                  <a:lnTo>
                    <a:pt x="215138" y="91440"/>
                  </a:lnTo>
                  <a:lnTo>
                    <a:pt x="213361" y="91949"/>
                  </a:lnTo>
                  <a:lnTo>
                    <a:pt x="211329" y="92584"/>
                  </a:lnTo>
                  <a:lnTo>
                    <a:pt x="209296" y="93091"/>
                  </a:lnTo>
                  <a:lnTo>
                    <a:pt x="207392" y="93981"/>
                  </a:lnTo>
                  <a:lnTo>
                    <a:pt x="205487" y="94869"/>
                  </a:lnTo>
                  <a:lnTo>
                    <a:pt x="203708" y="95759"/>
                  </a:lnTo>
                  <a:lnTo>
                    <a:pt x="146050" y="131191"/>
                  </a:lnTo>
                  <a:lnTo>
                    <a:pt x="144526" y="129921"/>
                  </a:lnTo>
                  <a:lnTo>
                    <a:pt x="143002" y="128652"/>
                  </a:lnTo>
                  <a:lnTo>
                    <a:pt x="141479" y="127255"/>
                  </a:lnTo>
                  <a:lnTo>
                    <a:pt x="140082" y="125858"/>
                  </a:lnTo>
                  <a:lnTo>
                    <a:pt x="138938" y="124206"/>
                  </a:lnTo>
                  <a:lnTo>
                    <a:pt x="137669" y="122683"/>
                  </a:lnTo>
                  <a:lnTo>
                    <a:pt x="136525" y="121031"/>
                  </a:lnTo>
                  <a:lnTo>
                    <a:pt x="135509" y="119253"/>
                  </a:lnTo>
                  <a:lnTo>
                    <a:pt x="134748" y="117603"/>
                  </a:lnTo>
                  <a:lnTo>
                    <a:pt x="133858" y="115824"/>
                  </a:lnTo>
                  <a:lnTo>
                    <a:pt x="133350" y="114046"/>
                  </a:lnTo>
                  <a:lnTo>
                    <a:pt x="132715" y="112015"/>
                  </a:lnTo>
                  <a:lnTo>
                    <a:pt x="132207" y="110237"/>
                  </a:lnTo>
                  <a:lnTo>
                    <a:pt x="131954" y="108331"/>
                  </a:lnTo>
                  <a:lnTo>
                    <a:pt x="131700" y="106427"/>
                  </a:lnTo>
                  <a:lnTo>
                    <a:pt x="131573" y="104394"/>
                  </a:lnTo>
                  <a:lnTo>
                    <a:pt x="131700" y="101855"/>
                  </a:lnTo>
                  <a:lnTo>
                    <a:pt x="131954" y="99061"/>
                  </a:lnTo>
                  <a:lnTo>
                    <a:pt x="132588" y="96521"/>
                  </a:lnTo>
                  <a:lnTo>
                    <a:pt x="133350" y="94234"/>
                  </a:lnTo>
                  <a:lnTo>
                    <a:pt x="134239" y="91821"/>
                  </a:lnTo>
                  <a:lnTo>
                    <a:pt x="135256" y="89409"/>
                  </a:lnTo>
                  <a:lnTo>
                    <a:pt x="136525" y="87249"/>
                  </a:lnTo>
                  <a:lnTo>
                    <a:pt x="138050" y="84963"/>
                  </a:lnTo>
                  <a:lnTo>
                    <a:pt x="139700" y="83059"/>
                  </a:lnTo>
                  <a:lnTo>
                    <a:pt x="141351" y="81153"/>
                  </a:lnTo>
                  <a:lnTo>
                    <a:pt x="143257" y="79375"/>
                  </a:lnTo>
                  <a:lnTo>
                    <a:pt x="145288" y="77724"/>
                  </a:lnTo>
                  <a:lnTo>
                    <a:pt x="147575" y="76328"/>
                  </a:lnTo>
                  <a:lnTo>
                    <a:pt x="149861" y="74931"/>
                  </a:lnTo>
                  <a:lnTo>
                    <a:pt x="152274" y="73915"/>
                  </a:lnTo>
                  <a:lnTo>
                    <a:pt x="154687" y="72899"/>
                  </a:lnTo>
                  <a:lnTo>
                    <a:pt x="242825" y="83440"/>
                  </a:lnTo>
                  <a:lnTo>
                    <a:pt x="244983" y="83821"/>
                  </a:lnTo>
                  <a:lnTo>
                    <a:pt x="246888" y="84328"/>
                  </a:lnTo>
                  <a:lnTo>
                    <a:pt x="248794" y="84963"/>
                  </a:lnTo>
                  <a:lnTo>
                    <a:pt x="250444" y="85725"/>
                  </a:lnTo>
                  <a:lnTo>
                    <a:pt x="252095" y="86741"/>
                  </a:lnTo>
                  <a:lnTo>
                    <a:pt x="253365" y="87758"/>
                  </a:lnTo>
                  <a:lnTo>
                    <a:pt x="253874" y="88393"/>
                  </a:lnTo>
                  <a:lnTo>
                    <a:pt x="254382" y="89028"/>
                  </a:lnTo>
                  <a:lnTo>
                    <a:pt x="254889" y="89790"/>
                  </a:lnTo>
                  <a:lnTo>
                    <a:pt x="255270" y="90424"/>
                  </a:lnTo>
                  <a:lnTo>
                    <a:pt x="255651" y="91187"/>
                  </a:lnTo>
                  <a:lnTo>
                    <a:pt x="255906" y="92075"/>
                  </a:lnTo>
                  <a:lnTo>
                    <a:pt x="256032" y="92837"/>
                  </a:lnTo>
                  <a:lnTo>
                    <a:pt x="256159" y="93727"/>
                  </a:lnTo>
                  <a:lnTo>
                    <a:pt x="256159" y="94615"/>
                  </a:lnTo>
                  <a:lnTo>
                    <a:pt x="256159" y="95631"/>
                  </a:lnTo>
                  <a:lnTo>
                    <a:pt x="256032" y="96521"/>
                  </a:lnTo>
                  <a:lnTo>
                    <a:pt x="255906" y="97663"/>
                  </a:lnTo>
                  <a:lnTo>
                    <a:pt x="255651" y="98806"/>
                  </a:lnTo>
                  <a:lnTo>
                    <a:pt x="255270" y="99822"/>
                  </a:lnTo>
                  <a:lnTo>
                    <a:pt x="254763" y="101093"/>
                  </a:lnTo>
                  <a:lnTo>
                    <a:pt x="254255" y="102236"/>
                  </a:lnTo>
                  <a:lnTo>
                    <a:pt x="253619" y="103633"/>
                  </a:lnTo>
                  <a:lnTo>
                    <a:pt x="252731" y="104775"/>
                  </a:lnTo>
                  <a:lnTo>
                    <a:pt x="250952" y="107569"/>
                  </a:lnTo>
                  <a:lnTo>
                    <a:pt x="128144" y="278638"/>
                  </a:lnTo>
                  <a:lnTo>
                    <a:pt x="126619" y="280163"/>
                  </a:lnTo>
                  <a:lnTo>
                    <a:pt x="125350" y="281686"/>
                  </a:lnTo>
                  <a:lnTo>
                    <a:pt x="123444" y="283972"/>
                  </a:lnTo>
                  <a:lnTo>
                    <a:pt x="121667" y="286513"/>
                  </a:lnTo>
                  <a:lnTo>
                    <a:pt x="120015" y="289052"/>
                  </a:lnTo>
                  <a:lnTo>
                    <a:pt x="118492" y="291719"/>
                  </a:lnTo>
                  <a:lnTo>
                    <a:pt x="117221" y="294386"/>
                  </a:lnTo>
                  <a:lnTo>
                    <a:pt x="115951" y="297180"/>
                  </a:lnTo>
                  <a:lnTo>
                    <a:pt x="114808" y="299975"/>
                  </a:lnTo>
                  <a:lnTo>
                    <a:pt x="113919" y="303022"/>
                  </a:lnTo>
                  <a:close/>
                  <a:moveTo>
                    <a:pt x="-4747005" y="1770888"/>
                  </a:moveTo>
                  <a:moveTo>
                    <a:pt x="186437" y="352425"/>
                  </a:moveTo>
                  <a:lnTo>
                    <a:pt x="186437" y="352425"/>
                  </a:lnTo>
                  <a:lnTo>
                    <a:pt x="184913" y="354077"/>
                  </a:lnTo>
                  <a:lnTo>
                    <a:pt x="183388" y="355600"/>
                  </a:lnTo>
                  <a:lnTo>
                    <a:pt x="181738" y="356871"/>
                  </a:lnTo>
                  <a:lnTo>
                    <a:pt x="180213" y="358267"/>
                  </a:lnTo>
                  <a:lnTo>
                    <a:pt x="178563" y="359411"/>
                  </a:lnTo>
                  <a:lnTo>
                    <a:pt x="176912" y="360553"/>
                  </a:lnTo>
                  <a:lnTo>
                    <a:pt x="175261" y="361569"/>
                  </a:lnTo>
                  <a:lnTo>
                    <a:pt x="173482" y="362458"/>
                  </a:lnTo>
                  <a:lnTo>
                    <a:pt x="171705" y="363221"/>
                  </a:lnTo>
                  <a:lnTo>
                    <a:pt x="169926" y="363855"/>
                  </a:lnTo>
                  <a:lnTo>
                    <a:pt x="168021" y="364491"/>
                  </a:lnTo>
                  <a:lnTo>
                    <a:pt x="166244" y="364999"/>
                  </a:lnTo>
                  <a:lnTo>
                    <a:pt x="164465" y="365252"/>
                  </a:lnTo>
                  <a:lnTo>
                    <a:pt x="162561" y="365506"/>
                  </a:lnTo>
                  <a:lnTo>
                    <a:pt x="160656" y="365633"/>
                  </a:lnTo>
                  <a:lnTo>
                    <a:pt x="158750" y="365761"/>
                  </a:lnTo>
                  <a:lnTo>
                    <a:pt x="156845" y="365633"/>
                  </a:lnTo>
                  <a:lnTo>
                    <a:pt x="155068" y="365506"/>
                  </a:lnTo>
                  <a:lnTo>
                    <a:pt x="153163" y="365252"/>
                  </a:lnTo>
                  <a:lnTo>
                    <a:pt x="151257" y="364999"/>
                  </a:lnTo>
                  <a:lnTo>
                    <a:pt x="149480" y="364491"/>
                  </a:lnTo>
                  <a:lnTo>
                    <a:pt x="147701" y="363855"/>
                  </a:lnTo>
                  <a:lnTo>
                    <a:pt x="145924" y="363221"/>
                  </a:lnTo>
                  <a:lnTo>
                    <a:pt x="144145" y="362458"/>
                  </a:lnTo>
                  <a:lnTo>
                    <a:pt x="142368" y="361569"/>
                  </a:lnTo>
                  <a:lnTo>
                    <a:pt x="140717" y="360553"/>
                  </a:lnTo>
                  <a:lnTo>
                    <a:pt x="138938" y="359411"/>
                  </a:lnTo>
                  <a:lnTo>
                    <a:pt x="137288" y="358267"/>
                  </a:lnTo>
                  <a:lnTo>
                    <a:pt x="135637" y="356871"/>
                  </a:lnTo>
                  <a:lnTo>
                    <a:pt x="134113" y="355600"/>
                  </a:lnTo>
                  <a:lnTo>
                    <a:pt x="132715" y="354077"/>
                  </a:lnTo>
                  <a:lnTo>
                    <a:pt x="131192" y="352425"/>
                  </a:lnTo>
                  <a:lnTo>
                    <a:pt x="129287" y="350139"/>
                  </a:lnTo>
                  <a:lnTo>
                    <a:pt x="127636" y="347853"/>
                  </a:lnTo>
                  <a:lnTo>
                    <a:pt x="126238" y="345441"/>
                  </a:lnTo>
                  <a:lnTo>
                    <a:pt x="124842" y="342774"/>
                  </a:lnTo>
                  <a:lnTo>
                    <a:pt x="123699" y="340233"/>
                  </a:lnTo>
                  <a:lnTo>
                    <a:pt x="122682" y="337439"/>
                  </a:lnTo>
                  <a:lnTo>
                    <a:pt x="121794" y="334900"/>
                  </a:lnTo>
                  <a:lnTo>
                    <a:pt x="121032" y="332105"/>
                  </a:lnTo>
                  <a:lnTo>
                    <a:pt x="178182" y="281433"/>
                  </a:lnTo>
                  <a:lnTo>
                    <a:pt x="180468" y="282830"/>
                  </a:lnTo>
                  <a:lnTo>
                    <a:pt x="182373" y="284608"/>
                  </a:lnTo>
                  <a:lnTo>
                    <a:pt x="184405" y="286513"/>
                  </a:lnTo>
                  <a:lnTo>
                    <a:pt x="186437" y="288417"/>
                  </a:lnTo>
                  <a:lnTo>
                    <a:pt x="187707" y="290196"/>
                  </a:lnTo>
                  <a:lnTo>
                    <a:pt x="188976" y="291974"/>
                  </a:lnTo>
                  <a:lnTo>
                    <a:pt x="190246" y="293752"/>
                  </a:lnTo>
                  <a:lnTo>
                    <a:pt x="191389" y="295530"/>
                  </a:lnTo>
                  <a:lnTo>
                    <a:pt x="192406" y="297561"/>
                  </a:lnTo>
                  <a:lnTo>
                    <a:pt x="193294" y="299466"/>
                  </a:lnTo>
                  <a:lnTo>
                    <a:pt x="194183" y="301499"/>
                  </a:lnTo>
                  <a:lnTo>
                    <a:pt x="194819" y="303403"/>
                  </a:lnTo>
                  <a:lnTo>
                    <a:pt x="195581" y="305563"/>
                  </a:lnTo>
                  <a:lnTo>
                    <a:pt x="196215" y="307594"/>
                  </a:lnTo>
                  <a:lnTo>
                    <a:pt x="196596" y="309753"/>
                  </a:lnTo>
                  <a:lnTo>
                    <a:pt x="197105" y="311913"/>
                  </a:lnTo>
                  <a:lnTo>
                    <a:pt x="197358" y="313944"/>
                  </a:lnTo>
                  <a:lnTo>
                    <a:pt x="197613" y="316103"/>
                  </a:lnTo>
                  <a:lnTo>
                    <a:pt x="197739" y="318263"/>
                  </a:lnTo>
                  <a:lnTo>
                    <a:pt x="197739" y="320549"/>
                  </a:lnTo>
                  <a:lnTo>
                    <a:pt x="197739" y="322580"/>
                  </a:lnTo>
                  <a:lnTo>
                    <a:pt x="197613" y="324739"/>
                  </a:lnTo>
                  <a:lnTo>
                    <a:pt x="197358" y="327025"/>
                  </a:lnTo>
                  <a:lnTo>
                    <a:pt x="197105" y="329185"/>
                  </a:lnTo>
                  <a:lnTo>
                    <a:pt x="196596" y="331216"/>
                  </a:lnTo>
                  <a:lnTo>
                    <a:pt x="196215" y="333375"/>
                  </a:lnTo>
                  <a:lnTo>
                    <a:pt x="195581" y="335408"/>
                  </a:lnTo>
                  <a:lnTo>
                    <a:pt x="194819" y="337439"/>
                  </a:lnTo>
                  <a:lnTo>
                    <a:pt x="194183" y="339599"/>
                  </a:lnTo>
                  <a:lnTo>
                    <a:pt x="193294" y="341503"/>
                  </a:lnTo>
                  <a:lnTo>
                    <a:pt x="192406" y="343536"/>
                  </a:lnTo>
                  <a:lnTo>
                    <a:pt x="191389" y="345313"/>
                  </a:lnTo>
                  <a:lnTo>
                    <a:pt x="190246" y="347219"/>
                  </a:lnTo>
                  <a:lnTo>
                    <a:pt x="189104" y="349124"/>
                  </a:lnTo>
                  <a:lnTo>
                    <a:pt x="187707" y="350775"/>
                  </a:lnTo>
                  <a:lnTo>
                    <a:pt x="186437" y="352425"/>
                  </a:lnTo>
                  <a:close/>
                  <a:moveTo>
                    <a:pt x="-4796408" y="1770888"/>
                  </a:moveTo>
                  <a:moveTo>
                    <a:pt x="203582" y="303022"/>
                  </a:moveTo>
                  <a:lnTo>
                    <a:pt x="203582" y="303022"/>
                  </a:lnTo>
                  <a:lnTo>
                    <a:pt x="202693" y="299975"/>
                  </a:lnTo>
                  <a:lnTo>
                    <a:pt x="201676" y="297180"/>
                  </a:lnTo>
                  <a:lnTo>
                    <a:pt x="200407" y="294386"/>
                  </a:lnTo>
                  <a:lnTo>
                    <a:pt x="199009" y="291719"/>
                  </a:lnTo>
                  <a:lnTo>
                    <a:pt x="197613" y="289052"/>
                  </a:lnTo>
                  <a:lnTo>
                    <a:pt x="195962" y="286513"/>
                  </a:lnTo>
                  <a:lnTo>
                    <a:pt x="194183" y="283972"/>
                  </a:lnTo>
                  <a:lnTo>
                    <a:pt x="192151" y="281686"/>
                  </a:lnTo>
                  <a:lnTo>
                    <a:pt x="189865" y="279147"/>
                  </a:lnTo>
                  <a:lnTo>
                    <a:pt x="187452" y="276733"/>
                  </a:lnTo>
                  <a:lnTo>
                    <a:pt x="184913" y="274702"/>
                  </a:lnTo>
                  <a:lnTo>
                    <a:pt x="182245" y="272797"/>
                  </a:lnTo>
                  <a:lnTo>
                    <a:pt x="179451" y="271019"/>
                  </a:lnTo>
                  <a:lnTo>
                    <a:pt x="176657" y="269622"/>
                  </a:lnTo>
                  <a:lnTo>
                    <a:pt x="173863" y="268478"/>
                  </a:lnTo>
                  <a:lnTo>
                    <a:pt x="170943" y="267463"/>
                  </a:lnTo>
                  <a:lnTo>
                    <a:pt x="168021" y="266574"/>
                  </a:lnTo>
                  <a:lnTo>
                    <a:pt x="165100" y="266192"/>
                  </a:lnTo>
                  <a:lnTo>
                    <a:pt x="162052" y="265811"/>
                  </a:lnTo>
                  <a:lnTo>
                    <a:pt x="159005" y="265685"/>
                  </a:lnTo>
                  <a:lnTo>
                    <a:pt x="156083" y="265685"/>
                  </a:lnTo>
                  <a:lnTo>
                    <a:pt x="153036" y="265938"/>
                  </a:lnTo>
                  <a:lnTo>
                    <a:pt x="150114" y="266447"/>
                  </a:lnTo>
                  <a:lnTo>
                    <a:pt x="147067" y="267336"/>
                  </a:lnTo>
                  <a:lnTo>
                    <a:pt x="204217" y="187706"/>
                  </a:lnTo>
                  <a:lnTo>
                    <a:pt x="206630" y="187199"/>
                  </a:lnTo>
                  <a:lnTo>
                    <a:pt x="209043" y="186691"/>
                  </a:lnTo>
                  <a:lnTo>
                    <a:pt x="211456" y="186436"/>
                  </a:lnTo>
                  <a:lnTo>
                    <a:pt x="213742" y="186436"/>
                  </a:lnTo>
                  <a:lnTo>
                    <a:pt x="216155" y="186563"/>
                  </a:lnTo>
                  <a:lnTo>
                    <a:pt x="218568" y="186817"/>
                  </a:lnTo>
                  <a:lnTo>
                    <a:pt x="220854" y="187199"/>
                  </a:lnTo>
                  <a:lnTo>
                    <a:pt x="223139" y="187706"/>
                  </a:lnTo>
                  <a:lnTo>
                    <a:pt x="225425" y="188469"/>
                  </a:lnTo>
                  <a:lnTo>
                    <a:pt x="227712" y="189485"/>
                  </a:lnTo>
                  <a:lnTo>
                    <a:pt x="229744" y="190500"/>
                  </a:lnTo>
                  <a:lnTo>
                    <a:pt x="231902" y="191644"/>
                  </a:lnTo>
                  <a:lnTo>
                    <a:pt x="233934" y="193041"/>
                  </a:lnTo>
                  <a:lnTo>
                    <a:pt x="235713" y="194438"/>
                  </a:lnTo>
                  <a:lnTo>
                    <a:pt x="237618" y="195961"/>
                  </a:lnTo>
                  <a:lnTo>
                    <a:pt x="239395" y="197613"/>
                  </a:lnTo>
                  <a:lnTo>
                    <a:pt x="244475" y="189992"/>
                  </a:lnTo>
                  <a:lnTo>
                    <a:pt x="242698" y="188341"/>
                  </a:lnTo>
                  <a:lnTo>
                    <a:pt x="241046" y="186817"/>
                  </a:lnTo>
                  <a:lnTo>
                    <a:pt x="239269" y="185421"/>
                  </a:lnTo>
                  <a:lnTo>
                    <a:pt x="237363" y="184150"/>
                  </a:lnTo>
                  <a:lnTo>
                    <a:pt x="235458" y="182880"/>
                  </a:lnTo>
                  <a:lnTo>
                    <a:pt x="233554" y="181864"/>
                  </a:lnTo>
                  <a:lnTo>
                    <a:pt x="231521" y="180722"/>
                  </a:lnTo>
                  <a:lnTo>
                    <a:pt x="229489" y="179833"/>
                  </a:lnTo>
                  <a:lnTo>
                    <a:pt x="227331" y="179071"/>
                  </a:lnTo>
                  <a:lnTo>
                    <a:pt x="225299" y="178436"/>
                  </a:lnTo>
                  <a:lnTo>
                    <a:pt x="223139" y="177927"/>
                  </a:lnTo>
                  <a:lnTo>
                    <a:pt x="220981" y="177292"/>
                  </a:lnTo>
                  <a:lnTo>
                    <a:pt x="218821" y="177038"/>
                  </a:lnTo>
                  <a:lnTo>
                    <a:pt x="216536" y="176911"/>
                  </a:lnTo>
                  <a:lnTo>
                    <a:pt x="214376" y="176785"/>
                  </a:lnTo>
                  <a:lnTo>
                    <a:pt x="212218" y="176785"/>
                  </a:lnTo>
                  <a:lnTo>
                    <a:pt x="245111" y="130811"/>
                  </a:lnTo>
                  <a:lnTo>
                    <a:pt x="247269" y="130303"/>
                  </a:lnTo>
                  <a:lnTo>
                    <a:pt x="249175" y="129921"/>
                  </a:lnTo>
                  <a:lnTo>
                    <a:pt x="251333" y="129668"/>
                  </a:lnTo>
                  <a:lnTo>
                    <a:pt x="253493" y="129668"/>
                  </a:lnTo>
                  <a:lnTo>
                    <a:pt x="255651" y="129668"/>
                  </a:lnTo>
                  <a:lnTo>
                    <a:pt x="257683" y="129921"/>
                  </a:lnTo>
                  <a:lnTo>
                    <a:pt x="259715" y="130175"/>
                  </a:lnTo>
                  <a:lnTo>
                    <a:pt x="261875" y="130684"/>
                  </a:lnTo>
                  <a:lnTo>
                    <a:pt x="263780" y="131191"/>
                  </a:lnTo>
                  <a:lnTo>
                    <a:pt x="265812" y="132081"/>
                  </a:lnTo>
                  <a:lnTo>
                    <a:pt x="267717" y="132969"/>
                  </a:lnTo>
                  <a:lnTo>
                    <a:pt x="269621" y="133986"/>
                  </a:lnTo>
                  <a:lnTo>
                    <a:pt x="271400" y="135128"/>
                  </a:lnTo>
                  <a:lnTo>
                    <a:pt x="273177" y="136525"/>
                  </a:lnTo>
                  <a:lnTo>
                    <a:pt x="274956" y="138049"/>
                  </a:lnTo>
                  <a:lnTo>
                    <a:pt x="276607" y="139574"/>
                  </a:lnTo>
                  <a:lnTo>
                    <a:pt x="281559" y="131699"/>
                  </a:lnTo>
                  <a:lnTo>
                    <a:pt x="280036" y="130303"/>
                  </a:lnTo>
                  <a:lnTo>
                    <a:pt x="278384" y="128906"/>
                  </a:lnTo>
                  <a:lnTo>
                    <a:pt x="276733" y="127636"/>
                  </a:lnTo>
                  <a:lnTo>
                    <a:pt x="275209" y="126365"/>
                  </a:lnTo>
                  <a:lnTo>
                    <a:pt x="273432" y="125349"/>
                  </a:lnTo>
                  <a:lnTo>
                    <a:pt x="271654" y="124334"/>
                  </a:lnTo>
                  <a:lnTo>
                    <a:pt x="269875" y="123571"/>
                  </a:lnTo>
                  <a:lnTo>
                    <a:pt x="268098" y="122683"/>
                  </a:lnTo>
                  <a:lnTo>
                    <a:pt x="266193" y="122047"/>
                  </a:lnTo>
                  <a:lnTo>
                    <a:pt x="264288" y="121540"/>
                  </a:lnTo>
                  <a:lnTo>
                    <a:pt x="262382" y="121031"/>
                  </a:lnTo>
                  <a:lnTo>
                    <a:pt x="260605" y="120650"/>
                  </a:lnTo>
                  <a:lnTo>
                    <a:pt x="258700" y="120269"/>
                  </a:lnTo>
                  <a:lnTo>
                    <a:pt x="256668" y="120143"/>
                  </a:lnTo>
                  <a:lnTo>
                    <a:pt x="254889" y="120015"/>
                  </a:lnTo>
                  <a:lnTo>
                    <a:pt x="252984" y="120015"/>
                  </a:lnTo>
                  <a:lnTo>
                    <a:pt x="257430" y="113665"/>
                  </a:lnTo>
                  <a:lnTo>
                    <a:pt x="258826" y="111506"/>
                  </a:lnTo>
                  <a:lnTo>
                    <a:pt x="260224" y="109221"/>
                  </a:lnTo>
                  <a:lnTo>
                    <a:pt x="261367" y="107188"/>
                  </a:lnTo>
                  <a:lnTo>
                    <a:pt x="262382" y="105156"/>
                  </a:lnTo>
                  <a:lnTo>
                    <a:pt x="263144" y="103124"/>
                  </a:lnTo>
                  <a:lnTo>
                    <a:pt x="263780" y="101219"/>
                  </a:lnTo>
                  <a:lnTo>
                    <a:pt x="264288" y="99315"/>
                  </a:lnTo>
                  <a:lnTo>
                    <a:pt x="264669" y="97409"/>
                  </a:lnTo>
                  <a:lnTo>
                    <a:pt x="264669" y="95759"/>
                  </a:lnTo>
                  <a:lnTo>
                    <a:pt x="264669" y="93981"/>
                  </a:lnTo>
                  <a:lnTo>
                    <a:pt x="264669" y="92584"/>
                  </a:lnTo>
                  <a:lnTo>
                    <a:pt x="264414" y="90933"/>
                  </a:lnTo>
                  <a:lnTo>
                    <a:pt x="264033" y="89409"/>
                  </a:lnTo>
                  <a:lnTo>
                    <a:pt x="263652" y="88012"/>
                  </a:lnTo>
                  <a:lnTo>
                    <a:pt x="263018" y="86615"/>
                  </a:lnTo>
                  <a:lnTo>
                    <a:pt x="262256" y="85344"/>
                  </a:lnTo>
                  <a:lnTo>
                    <a:pt x="261620" y="84074"/>
                  </a:lnTo>
                  <a:lnTo>
                    <a:pt x="260732" y="82931"/>
                  </a:lnTo>
                  <a:lnTo>
                    <a:pt x="259843" y="81915"/>
                  </a:lnTo>
                  <a:lnTo>
                    <a:pt x="258826" y="80772"/>
                  </a:lnTo>
                  <a:lnTo>
                    <a:pt x="257811" y="79884"/>
                  </a:lnTo>
                  <a:lnTo>
                    <a:pt x="256668" y="78994"/>
                  </a:lnTo>
                  <a:lnTo>
                    <a:pt x="255398" y="78106"/>
                  </a:lnTo>
                  <a:lnTo>
                    <a:pt x="254255" y="77343"/>
                  </a:lnTo>
                  <a:lnTo>
                    <a:pt x="252984" y="76709"/>
                  </a:lnTo>
                  <a:lnTo>
                    <a:pt x="251588" y="76074"/>
                  </a:lnTo>
                  <a:lnTo>
                    <a:pt x="250444" y="75438"/>
                  </a:lnTo>
                  <a:lnTo>
                    <a:pt x="249048" y="74931"/>
                  </a:lnTo>
                  <a:lnTo>
                    <a:pt x="246254" y="74296"/>
                  </a:lnTo>
                  <a:lnTo>
                    <a:pt x="243713" y="73787"/>
                  </a:lnTo>
                  <a:lnTo>
                    <a:pt x="73788" y="53468"/>
                  </a:lnTo>
                  <a:lnTo>
                    <a:pt x="82296" y="46863"/>
                  </a:lnTo>
                  <a:lnTo>
                    <a:pt x="293751" y="70740"/>
                  </a:lnTo>
                  <a:lnTo>
                    <a:pt x="296164" y="71121"/>
                  </a:lnTo>
                  <a:lnTo>
                    <a:pt x="298450" y="71502"/>
                  </a:lnTo>
                  <a:lnTo>
                    <a:pt x="300483" y="72009"/>
                  </a:lnTo>
                  <a:lnTo>
                    <a:pt x="302514" y="72644"/>
                  </a:lnTo>
                  <a:lnTo>
                    <a:pt x="304293" y="73280"/>
                  </a:lnTo>
                  <a:lnTo>
                    <a:pt x="305944" y="74041"/>
                  </a:lnTo>
                  <a:lnTo>
                    <a:pt x="307340" y="74803"/>
                  </a:lnTo>
                  <a:lnTo>
                    <a:pt x="308737" y="75693"/>
                  </a:lnTo>
                  <a:lnTo>
                    <a:pt x="310008" y="76709"/>
                  </a:lnTo>
                  <a:lnTo>
                    <a:pt x="311023" y="77724"/>
                  </a:lnTo>
                  <a:lnTo>
                    <a:pt x="312039" y="78868"/>
                  </a:lnTo>
                  <a:lnTo>
                    <a:pt x="312929" y="80011"/>
                  </a:lnTo>
                  <a:lnTo>
                    <a:pt x="313690" y="81281"/>
                  </a:lnTo>
                  <a:lnTo>
                    <a:pt x="314198" y="82424"/>
                  </a:lnTo>
                  <a:lnTo>
                    <a:pt x="314707" y="83821"/>
                  </a:lnTo>
                  <a:lnTo>
                    <a:pt x="315087" y="85090"/>
                  </a:lnTo>
                  <a:lnTo>
                    <a:pt x="315342" y="86615"/>
                  </a:lnTo>
                  <a:lnTo>
                    <a:pt x="315469" y="88012"/>
                  </a:lnTo>
                  <a:lnTo>
                    <a:pt x="315596" y="89536"/>
                  </a:lnTo>
                  <a:lnTo>
                    <a:pt x="315596" y="90933"/>
                  </a:lnTo>
                  <a:lnTo>
                    <a:pt x="315469" y="92584"/>
                  </a:lnTo>
                  <a:lnTo>
                    <a:pt x="315342" y="93981"/>
                  </a:lnTo>
                  <a:lnTo>
                    <a:pt x="314960" y="95631"/>
                  </a:lnTo>
                  <a:lnTo>
                    <a:pt x="314580" y="97156"/>
                  </a:lnTo>
                  <a:lnTo>
                    <a:pt x="314198" y="98806"/>
                  </a:lnTo>
                  <a:lnTo>
                    <a:pt x="313690" y="100458"/>
                  </a:lnTo>
                  <a:lnTo>
                    <a:pt x="312421" y="103759"/>
                  </a:lnTo>
                  <a:lnTo>
                    <a:pt x="310897" y="106934"/>
                  </a:lnTo>
                  <a:lnTo>
                    <a:pt x="309246" y="110237"/>
                  </a:lnTo>
                  <a:lnTo>
                    <a:pt x="209805" y="288544"/>
                  </a:lnTo>
                  <a:lnTo>
                    <a:pt x="209932" y="288544"/>
                  </a:lnTo>
                  <a:lnTo>
                    <a:pt x="208915" y="290322"/>
                  </a:lnTo>
                  <a:lnTo>
                    <a:pt x="208026" y="291974"/>
                  </a:lnTo>
                  <a:lnTo>
                    <a:pt x="207138" y="293752"/>
                  </a:lnTo>
                  <a:lnTo>
                    <a:pt x="206249" y="295530"/>
                  </a:lnTo>
                  <a:lnTo>
                    <a:pt x="205487" y="297435"/>
                  </a:lnTo>
                  <a:lnTo>
                    <a:pt x="204725" y="299213"/>
                  </a:lnTo>
                  <a:lnTo>
                    <a:pt x="204217" y="301117"/>
                  </a:lnTo>
                  <a:lnTo>
                    <a:pt x="203582" y="303022"/>
                  </a:lnTo>
                  <a:close/>
                  <a:moveTo>
                    <a:pt x="-4747005" y="1770888"/>
                  </a:moveTo>
                  <a:moveTo>
                    <a:pt x="275971" y="352425"/>
                  </a:moveTo>
                  <a:lnTo>
                    <a:pt x="275971" y="352425"/>
                  </a:lnTo>
                  <a:lnTo>
                    <a:pt x="274575" y="354077"/>
                  </a:lnTo>
                  <a:lnTo>
                    <a:pt x="273050" y="355600"/>
                  </a:lnTo>
                  <a:lnTo>
                    <a:pt x="271400" y="356871"/>
                  </a:lnTo>
                  <a:lnTo>
                    <a:pt x="270002" y="358267"/>
                  </a:lnTo>
                  <a:lnTo>
                    <a:pt x="268225" y="359411"/>
                  </a:lnTo>
                  <a:lnTo>
                    <a:pt x="266574" y="360553"/>
                  </a:lnTo>
                  <a:lnTo>
                    <a:pt x="264795" y="361569"/>
                  </a:lnTo>
                  <a:lnTo>
                    <a:pt x="263144" y="362458"/>
                  </a:lnTo>
                  <a:lnTo>
                    <a:pt x="261367" y="363221"/>
                  </a:lnTo>
                  <a:lnTo>
                    <a:pt x="259462" y="363855"/>
                  </a:lnTo>
                  <a:lnTo>
                    <a:pt x="257811" y="364491"/>
                  </a:lnTo>
                  <a:lnTo>
                    <a:pt x="255906" y="364999"/>
                  </a:lnTo>
                  <a:lnTo>
                    <a:pt x="254000" y="365252"/>
                  </a:lnTo>
                  <a:lnTo>
                    <a:pt x="252095" y="365506"/>
                  </a:lnTo>
                  <a:lnTo>
                    <a:pt x="250444" y="365633"/>
                  </a:lnTo>
                  <a:lnTo>
                    <a:pt x="248539" y="365761"/>
                  </a:lnTo>
                  <a:lnTo>
                    <a:pt x="246634" y="365633"/>
                  </a:lnTo>
                  <a:lnTo>
                    <a:pt x="244730" y="365506"/>
                  </a:lnTo>
                  <a:lnTo>
                    <a:pt x="242825" y="365252"/>
                  </a:lnTo>
                  <a:lnTo>
                    <a:pt x="241046" y="364999"/>
                  </a:lnTo>
                  <a:lnTo>
                    <a:pt x="239142" y="364491"/>
                  </a:lnTo>
                  <a:lnTo>
                    <a:pt x="237363" y="363855"/>
                  </a:lnTo>
                  <a:lnTo>
                    <a:pt x="235586" y="363221"/>
                  </a:lnTo>
                  <a:lnTo>
                    <a:pt x="233807" y="362458"/>
                  </a:lnTo>
                  <a:lnTo>
                    <a:pt x="232030" y="361569"/>
                  </a:lnTo>
                  <a:lnTo>
                    <a:pt x="230251" y="360553"/>
                  </a:lnTo>
                  <a:lnTo>
                    <a:pt x="228600" y="359411"/>
                  </a:lnTo>
                  <a:lnTo>
                    <a:pt x="226950" y="358267"/>
                  </a:lnTo>
                  <a:lnTo>
                    <a:pt x="225425" y="356871"/>
                  </a:lnTo>
                  <a:lnTo>
                    <a:pt x="223775" y="355600"/>
                  </a:lnTo>
                  <a:lnTo>
                    <a:pt x="222377" y="354077"/>
                  </a:lnTo>
                  <a:lnTo>
                    <a:pt x="220854" y="352425"/>
                  </a:lnTo>
                  <a:lnTo>
                    <a:pt x="219711" y="351155"/>
                  </a:lnTo>
                  <a:lnTo>
                    <a:pt x="218694" y="349758"/>
                  </a:lnTo>
                  <a:lnTo>
                    <a:pt x="217679" y="348361"/>
                  </a:lnTo>
                  <a:lnTo>
                    <a:pt x="216789" y="346964"/>
                  </a:lnTo>
                  <a:lnTo>
                    <a:pt x="215138" y="343916"/>
                  </a:lnTo>
                  <a:lnTo>
                    <a:pt x="213614" y="340869"/>
                  </a:lnTo>
                  <a:lnTo>
                    <a:pt x="212980" y="338836"/>
                  </a:lnTo>
                  <a:lnTo>
                    <a:pt x="212471" y="336805"/>
                  </a:lnTo>
                  <a:lnTo>
                    <a:pt x="211963" y="334646"/>
                  </a:lnTo>
                  <a:lnTo>
                    <a:pt x="211582" y="332613"/>
                  </a:lnTo>
                  <a:lnTo>
                    <a:pt x="268732" y="281941"/>
                  </a:lnTo>
                  <a:lnTo>
                    <a:pt x="270638" y="283338"/>
                  </a:lnTo>
                  <a:lnTo>
                    <a:pt x="272543" y="284988"/>
                  </a:lnTo>
                  <a:lnTo>
                    <a:pt x="274320" y="286639"/>
                  </a:lnTo>
                  <a:lnTo>
                    <a:pt x="275971" y="288417"/>
                  </a:lnTo>
                  <a:lnTo>
                    <a:pt x="277369" y="290196"/>
                  </a:lnTo>
                  <a:lnTo>
                    <a:pt x="278638" y="291974"/>
                  </a:lnTo>
                  <a:lnTo>
                    <a:pt x="279908" y="293752"/>
                  </a:lnTo>
                  <a:lnTo>
                    <a:pt x="280925" y="295530"/>
                  </a:lnTo>
                  <a:lnTo>
                    <a:pt x="281940" y="297561"/>
                  </a:lnTo>
                  <a:lnTo>
                    <a:pt x="282957" y="299466"/>
                  </a:lnTo>
                  <a:lnTo>
                    <a:pt x="283719" y="301499"/>
                  </a:lnTo>
                  <a:lnTo>
                    <a:pt x="284607" y="303403"/>
                  </a:lnTo>
                  <a:lnTo>
                    <a:pt x="285243" y="305563"/>
                  </a:lnTo>
                  <a:lnTo>
                    <a:pt x="285877" y="307594"/>
                  </a:lnTo>
                  <a:lnTo>
                    <a:pt x="286258" y="309753"/>
                  </a:lnTo>
                  <a:lnTo>
                    <a:pt x="286767" y="311913"/>
                  </a:lnTo>
                  <a:lnTo>
                    <a:pt x="287020" y="313944"/>
                  </a:lnTo>
                  <a:lnTo>
                    <a:pt x="287148" y="316103"/>
                  </a:lnTo>
                  <a:lnTo>
                    <a:pt x="287401" y="318263"/>
                  </a:lnTo>
                  <a:lnTo>
                    <a:pt x="287401" y="320549"/>
                  </a:lnTo>
                  <a:lnTo>
                    <a:pt x="287401" y="322580"/>
                  </a:lnTo>
                  <a:lnTo>
                    <a:pt x="287148" y="324739"/>
                  </a:lnTo>
                  <a:lnTo>
                    <a:pt x="287020" y="327025"/>
                  </a:lnTo>
                  <a:lnTo>
                    <a:pt x="286767" y="329185"/>
                  </a:lnTo>
                  <a:lnTo>
                    <a:pt x="286258" y="331216"/>
                  </a:lnTo>
                  <a:lnTo>
                    <a:pt x="285877" y="333375"/>
                  </a:lnTo>
                  <a:lnTo>
                    <a:pt x="285243" y="335408"/>
                  </a:lnTo>
                  <a:lnTo>
                    <a:pt x="284607" y="337439"/>
                  </a:lnTo>
                  <a:lnTo>
                    <a:pt x="283719" y="339599"/>
                  </a:lnTo>
                  <a:lnTo>
                    <a:pt x="282957" y="341503"/>
                  </a:lnTo>
                  <a:lnTo>
                    <a:pt x="281940" y="343536"/>
                  </a:lnTo>
                  <a:lnTo>
                    <a:pt x="280925" y="345313"/>
                  </a:lnTo>
                  <a:lnTo>
                    <a:pt x="279908" y="347219"/>
                  </a:lnTo>
                  <a:lnTo>
                    <a:pt x="278638" y="349124"/>
                  </a:lnTo>
                  <a:lnTo>
                    <a:pt x="277369" y="350775"/>
                  </a:lnTo>
                  <a:lnTo>
                    <a:pt x="275971" y="352425"/>
                  </a:lnTo>
                  <a:close/>
                  <a:moveTo>
                    <a:pt x="-4796408" y="1770888"/>
                  </a:moveTo>
                  <a:moveTo>
                    <a:pt x="362585" y="131191"/>
                  </a:moveTo>
                  <a:lnTo>
                    <a:pt x="353569" y="155702"/>
                  </a:lnTo>
                  <a:lnTo>
                    <a:pt x="353060" y="153671"/>
                  </a:lnTo>
                  <a:lnTo>
                    <a:pt x="352552" y="151766"/>
                  </a:lnTo>
                  <a:lnTo>
                    <a:pt x="351918" y="149861"/>
                  </a:lnTo>
                  <a:lnTo>
                    <a:pt x="351283" y="147955"/>
                  </a:lnTo>
                  <a:lnTo>
                    <a:pt x="350647" y="146050"/>
                  </a:lnTo>
                  <a:lnTo>
                    <a:pt x="349759" y="144272"/>
                  </a:lnTo>
                  <a:lnTo>
                    <a:pt x="348870" y="142621"/>
                  </a:lnTo>
                  <a:lnTo>
                    <a:pt x="347854" y="140716"/>
                  </a:lnTo>
                  <a:lnTo>
                    <a:pt x="343535" y="151385"/>
                  </a:lnTo>
                  <a:lnTo>
                    <a:pt x="344171" y="153416"/>
                  </a:lnTo>
                  <a:lnTo>
                    <a:pt x="344806" y="155194"/>
                  </a:lnTo>
                  <a:lnTo>
                    <a:pt x="345313" y="157100"/>
                  </a:lnTo>
                  <a:lnTo>
                    <a:pt x="345695" y="159005"/>
                  </a:lnTo>
                  <a:lnTo>
                    <a:pt x="346075" y="160910"/>
                  </a:lnTo>
                  <a:lnTo>
                    <a:pt x="346330" y="162941"/>
                  </a:lnTo>
                  <a:lnTo>
                    <a:pt x="346457" y="164974"/>
                  </a:lnTo>
                  <a:lnTo>
                    <a:pt x="346457" y="167005"/>
                  </a:lnTo>
                  <a:lnTo>
                    <a:pt x="346457" y="168911"/>
                  </a:lnTo>
                  <a:lnTo>
                    <a:pt x="346330" y="170942"/>
                  </a:lnTo>
                  <a:lnTo>
                    <a:pt x="346075" y="173102"/>
                  </a:lnTo>
                  <a:lnTo>
                    <a:pt x="345695" y="175133"/>
                  </a:lnTo>
                  <a:lnTo>
                    <a:pt x="345313" y="177038"/>
                  </a:lnTo>
                  <a:lnTo>
                    <a:pt x="344806" y="179071"/>
                  </a:lnTo>
                  <a:lnTo>
                    <a:pt x="344044" y="180975"/>
                  </a:lnTo>
                  <a:lnTo>
                    <a:pt x="343282" y="182880"/>
                  </a:lnTo>
                  <a:lnTo>
                    <a:pt x="343409" y="183008"/>
                  </a:lnTo>
                  <a:lnTo>
                    <a:pt x="330582" y="217678"/>
                  </a:lnTo>
                  <a:lnTo>
                    <a:pt x="330073" y="215266"/>
                  </a:lnTo>
                  <a:lnTo>
                    <a:pt x="329438" y="212852"/>
                  </a:lnTo>
                  <a:lnTo>
                    <a:pt x="328676" y="210439"/>
                  </a:lnTo>
                  <a:lnTo>
                    <a:pt x="327914" y="208153"/>
                  </a:lnTo>
                  <a:lnTo>
                    <a:pt x="327025" y="205867"/>
                  </a:lnTo>
                  <a:lnTo>
                    <a:pt x="326010" y="203708"/>
                  </a:lnTo>
                  <a:lnTo>
                    <a:pt x="324994" y="201550"/>
                  </a:lnTo>
                  <a:lnTo>
                    <a:pt x="323850" y="199517"/>
                  </a:lnTo>
                  <a:lnTo>
                    <a:pt x="319533" y="209931"/>
                  </a:lnTo>
                  <a:lnTo>
                    <a:pt x="320295" y="212217"/>
                  </a:lnTo>
                  <a:lnTo>
                    <a:pt x="321057" y="214377"/>
                  </a:lnTo>
                  <a:lnTo>
                    <a:pt x="321692" y="216408"/>
                  </a:lnTo>
                  <a:lnTo>
                    <a:pt x="322326" y="218822"/>
                  </a:lnTo>
                  <a:lnTo>
                    <a:pt x="322708" y="221235"/>
                  </a:lnTo>
                  <a:lnTo>
                    <a:pt x="323088" y="223521"/>
                  </a:lnTo>
                  <a:lnTo>
                    <a:pt x="323215" y="225933"/>
                  </a:lnTo>
                  <a:lnTo>
                    <a:pt x="323343" y="228347"/>
                  </a:lnTo>
                  <a:lnTo>
                    <a:pt x="323215" y="230760"/>
                  </a:lnTo>
                  <a:lnTo>
                    <a:pt x="323088" y="233300"/>
                  </a:lnTo>
                  <a:lnTo>
                    <a:pt x="322835" y="235713"/>
                  </a:lnTo>
                  <a:lnTo>
                    <a:pt x="322326" y="238252"/>
                  </a:lnTo>
                  <a:lnTo>
                    <a:pt x="321692" y="240666"/>
                  </a:lnTo>
                  <a:lnTo>
                    <a:pt x="321057" y="243205"/>
                  </a:lnTo>
                  <a:lnTo>
                    <a:pt x="320168" y="245746"/>
                  </a:lnTo>
                  <a:lnTo>
                    <a:pt x="319279" y="248158"/>
                  </a:lnTo>
                  <a:lnTo>
                    <a:pt x="319279" y="248286"/>
                  </a:lnTo>
                  <a:lnTo>
                    <a:pt x="295275" y="313183"/>
                  </a:lnTo>
                  <a:lnTo>
                    <a:pt x="295022" y="310897"/>
                  </a:lnTo>
                  <a:lnTo>
                    <a:pt x="294768" y="308864"/>
                  </a:lnTo>
                  <a:lnTo>
                    <a:pt x="294260" y="306705"/>
                  </a:lnTo>
                  <a:lnTo>
                    <a:pt x="293751" y="304674"/>
                  </a:lnTo>
                  <a:lnTo>
                    <a:pt x="293117" y="302514"/>
                  </a:lnTo>
                  <a:lnTo>
                    <a:pt x="292482" y="300483"/>
                  </a:lnTo>
                  <a:lnTo>
                    <a:pt x="291720" y="298324"/>
                  </a:lnTo>
                  <a:lnTo>
                    <a:pt x="290958" y="296419"/>
                  </a:lnTo>
                  <a:lnTo>
                    <a:pt x="290196" y="294386"/>
                  </a:lnTo>
                  <a:lnTo>
                    <a:pt x="289180" y="292481"/>
                  </a:lnTo>
                  <a:lnTo>
                    <a:pt x="288163" y="290450"/>
                  </a:lnTo>
                  <a:lnTo>
                    <a:pt x="287020" y="288672"/>
                  </a:lnTo>
                  <a:lnTo>
                    <a:pt x="285877" y="286894"/>
                  </a:lnTo>
                  <a:lnTo>
                    <a:pt x="284607" y="285116"/>
                  </a:lnTo>
                  <a:lnTo>
                    <a:pt x="283211" y="283338"/>
                  </a:lnTo>
                  <a:lnTo>
                    <a:pt x="281940" y="281686"/>
                  </a:lnTo>
                  <a:lnTo>
                    <a:pt x="280544" y="280163"/>
                  </a:lnTo>
                  <a:lnTo>
                    <a:pt x="279146" y="278892"/>
                  </a:lnTo>
                  <a:lnTo>
                    <a:pt x="277876" y="277496"/>
                  </a:lnTo>
                  <a:lnTo>
                    <a:pt x="276352" y="276099"/>
                  </a:lnTo>
                  <a:lnTo>
                    <a:pt x="274956" y="274955"/>
                  </a:lnTo>
                  <a:lnTo>
                    <a:pt x="273432" y="273813"/>
                  </a:lnTo>
                  <a:lnTo>
                    <a:pt x="271907" y="272797"/>
                  </a:lnTo>
                  <a:lnTo>
                    <a:pt x="270383" y="271780"/>
                  </a:lnTo>
                  <a:lnTo>
                    <a:pt x="268732" y="270764"/>
                  </a:lnTo>
                  <a:lnTo>
                    <a:pt x="267082" y="270130"/>
                  </a:lnTo>
                  <a:lnTo>
                    <a:pt x="265557" y="269241"/>
                  </a:lnTo>
                  <a:lnTo>
                    <a:pt x="263907" y="268478"/>
                  </a:lnTo>
                  <a:lnTo>
                    <a:pt x="262256" y="267971"/>
                  </a:lnTo>
                  <a:lnTo>
                    <a:pt x="260605" y="267463"/>
                  </a:lnTo>
                  <a:lnTo>
                    <a:pt x="258826" y="267081"/>
                  </a:lnTo>
                  <a:lnTo>
                    <a:pt x="257175" y="266447"/>
                  </a:lnTo>
                  <a:lnTo>
                    <a:pt x="255398" y="266192"/>
                  </a:lnTo>
                  <a:lnTo>
                    <a:pt x="253874" y="265938"/>
                  </a:lnTo>
                  <a:lnTo>
                    <a:pt x="250444" y="265685"/>
                  </a:lnTo>
                  <a:lnTo>
                    <a:pt x="246888" y="265685"/>
                  </a:lnTo>
                  <a:lnTo>
                    <a:pt x="243459" y="265938"/>
                  </a:lnTo>
                  <a:lnTo>
                    <a:pt x="241808" y="266192"/>
                  </a:lnTo>
                  <a:lnTo>
                    <a:pt x="240031" y="266447"/>
                  </a:lnTo>
                  <a:lnTo>
                    <a:pt x="238380" y="266827"/>
                  </a:lnTo>
                  <a:lnTo>
                    <a:pt x="236729" y="267336"/>
                  </a:lnTo>
                  <a:lnTo>
                    <a:pt x="235077" y="267844"/>
                  </a:lnTo>
                  <a:lnTo>
                    <a:pt x="233426" y="268478"/>
                  </a:lnTo>
                  <a:lnTo>
                    <a:pt x="231775" y="269113"/>
                  </a:lnTo>
                  <a:lnTo>
                    <a:pt x="230125" y="269875"/>
                  </a:lnTo>
                  <a:lnTo>
                    <a:pt x="276225" y="187199"/>
                  </a:lnTo>
                  <a:lnTo>
                    <a:pt x="278257" y="186563"/>
                  </a:lnTo>
                  <a:lnTo>
                    <a:pt x="280163" y="186055"/>
                  </a:lnTo>
                  <a:lnTo>
                    <a:pt x="282194" y="185802"/>
                  </a:lnTo>
                  <a:lnTo>
                    <a:pt x="284100" y="185547"/>
                  </a:lnTo>
                  <a:lnTo>
                    <a:pt x="286005" y="185547"/>
                  </a:lnTo>
                  <a:lnTo>
                    <a:pt x="287910" y="185547"/>
                  </a:lnTo>
                  <a:lnTo>
                    <a:pt x="289814" y="185675"/>
                  </a:lnTo>
                  <a:lnTo>
                    <a:pt x="291720" y="186055"/>
                  </a:lnTo>
                  <a:lnTo>
                    <a:pt x="293371" y="186436"/>
                  </a:lnTo>
                  <a:lnTo>
                    <a:pt x="295148" y="186944"/>
                  </a:lnTo>
                  <a:lnTo>
                    <a:pt x="296926" y="187452"/>
                  </a:lnTo>
                  <a:lnTo>
                    <a:pt x="298705" y="188088"/>
                  </a:lnTo>
                  <a:lnTo>
                    <a:pt x="300356" y="188977"/>
                  </a:lnTo>
                  <a:lnTo>
                    <a:pt x="302007" y="189866"/>
                  </a:lnTo>
                  <a:lnTo>
                    <a:pt x="303658" y="190755"/>
                  </a:lnTo>
                  <a:lnTo>
                    <a:pt x="305182" y="191897"/>
                  </a:lnTo>
                  <a:lnTo>
                    <a:pt x="309372" y="183516"/>
                  </a:lnTo>
                  <a:lnTo>
                    <a:pt x="307722" y="182372"/>
                  </a:lnTo>
                  <a:lnTo>
                    <a:pt x="306324" y="181483"/>
                  </a:lnTo>
                  <a:lnTo>
                    <a:pt x="304800" y="180722"/>
                  </a:lnTo>
                  <a:lnTo>
                    <a:pt x="303149" y="179833"/>
                  </a:lnTo>
                  <a:lnTo>
                    <a:pt x="301752" y="179071"/>
                  </a:lnTo>
                  <a:lnTo>
                    <a:pt x="299974" y="178436"/>
                  </a:lnTo>
                  <a:lnTo>
                    <a:pt x="298323" y="177927"/>
                  </a:lnTo>
                  <a:lnTo>
                    <a:pt x="296672" y="177292"/>
                  </a:lnTo>
                  <a:lnTo>
                    <a:pt x="294895" y="176911"/>
                  </a:lnTo>
                  <a:lnTo>
                    <a:pt x="293244" y="176530"/>
                  </a:lnTo>
                  <a:lnTo>
                    <a:pt x="291465" y="176277"/>
                  </a:lnTo>
                  <a:lnTo>
                    <a:pt x="289687" y="176022"/>
                  </a:lnTo>
                  <a:lnTo>
                    <a:pt x="287910" y="175896"/>
                  </a:lnTo>
                  <a:lnTo>
                    <a:pt x="286005" y="175896"/>
                  </a:lnTo>
                  <a:lnTo>
                    <a:pt x="284354" y="175896"/>
                  </a:lnTo>
                  <a:lnTo>
                    <a:pt x="282449" y="176022"/>
                  </a:lnTo>
                  <a:lnTo>
                    <a:pt x="307340" y="131191"/>
                  </a:lnTo>
                  <a:lnTo>
                    <a:pt x="309246" y="130811"/>
                  </a:lnTo>
                  <a:lnTo>
                    <a:pt x="311023" y="130430"/>
                  </a:lnTo>
                  <a:lnTo>
                    <a:pt x="312801" y="130175"/>
                  </a:lnTo>
                  <a:lnTo>
                    <a:pt x="314580" y="130049"/>
                  </a:lnTo>
                  <a:lnTo>
                    <a:pt x="316231" y="130049"/>
                  </a:lnTo>
                  <a:lnTo>
                    <a:pt x="317882" y="130175"/>
                  </a:lnTo>
                  <a:lnTo>
                    <a:pt x="319533" y="130430"/>
                  </a:lnTo>
                  <a:lnTo>
                    <a:pt x="321310" y="130684"/>
                  </a:lnTo>
                  <a:lnTo>
                    <a:pt x="322835" y="131065"/>
                  </a:lnTo>
                  <a:lnTo>
                    <a:pt x="324359" y="131699"/>
                  </a:lnTo>
                  <a:lnTo>
                    <a:pt x="325883" y="132208"/>
                  </a:lnTo>
                  <a:lnTo>
                    <a:pt x="327280" y="132843"/>
                  </a:lnTo>
                  <a:lnTo>
                    <a:pt x="328804" y="133731"/>
                  </a:lnTo>
                  <a:lnTo>
                    <a:pt x="330200" y="134493"/>
                  </a:lnTo>
                  <a:lnTo>
                    <a:pt x="331471" y="135383"/>
                  </a:lnTo>
                  <a:lnTo>
                    <a:pt x="332868" y="136525"/>
                  </a:lnTo>
                  <a:lnTo>
                    <a:pt x="337059" y="128016"/>
                  </a:lnTo>
                  <a:lnTo>
                    <a:pt x="334392" y="126112"/>
                  </a:lnTo>
                  <a:lnTo>
                    <a:pt x="331724" y="124587"/>
                  </a:lnTo>
                  <a:lnTo>
                    <a:pt x="329058" y="123190"/>
                  </a:lnTo>
                  <a:lnTo>
                    <a:pt x="327660" y="122556"/>
                  </a:lnTo>
                  <a:lnTo>
                    <a:pt x="326136" y="122047"/>
                  </a:lnTo>
                  <a:lnTo>
                    <a:pt x="324485" y="121540"/>
                  </a:lnTo>
                  <a:lnTo>
                    <a:pt x="323088" y="121286"/>
                  </a:lnTo>
                  <a:lnTo>
                    <a:pt x="321564" y="120905"/>
                  </a:lnTo>
                  <a:lnTo>
                    <a:pt x="319913" y="120650"/>
                  </a:lnTo>
                  <a:lnTo>
                    <a:pt x="318262" y="120524"/>
                  </a:lnTo>
                  <a:lnTo>
                    <a:pt x="316738" y="120396"/>
                  </a:lnTo>
                  <a:lnTo>
                    <a:pt x="315087" y="120396"/>
                  </a:lnTo>
                  <a:lnTo>
                    <a:pt x="313436" y="120396"/>
                  </a:lnTo>
                  <a:lnTo>
                    <a:pt x="316231" y="115443"/>
                  </a:lnTo>
                  <a:lnTo>
                    <a:pt x="317120" y="113665"/>
                  </a:lnTo>
                  <a:lnTo>
                    <a:pt x="318135" y="111761"/>
                  </a:lnTo>
                  <a:lnTo>
                    <a:pt x="318897" y="109856"/>
                  </a:lnTo>
                  <a:lnTo>
                    <a:pt x="319786" y="107950"/>
                  </a:lnTo>
                  <a:lnTo>
                    <a:pt x="320675" y="105918"/>
                  </a:lnTo>
                  <a:lnTo>
                    <a:pt x="321310" y="103887"/>
                  </a:lnTo>
                  <a:lnTo>
                    <a:pt x="321819" y="101855"/>
                  </a:lnTo>
                  <a:lnTo>
                    <a:pt x="322454" y="99568"/>
                  </a:lnTo>
                  <a:lnTo>
                    <a:pt x="322835" y="97663"/>
                  </a:lnTo>
                  <a:lnTo>
                    <a:pt x="323215" y="95378"/>
                  </a:lnTo>
                  <a:lnTo>
                    <a:pt x="323470" y="93218"/>
                  </a:lnTo>
                  <a:lnTo>
                    <a:pt x="323723" y="91187"/>
                  </a:lnTo>
                  <a:lnTo>
                    <a:pt x="323723" y="89028"/>
                  </a:lnTo>
                  <a:lnTo>
                    <a:pt x="323597" y="86996"/>
                  </a:lnTo>
                  <a:lnTo>
                    <a:pt x="323470" y="84963"/>
                  </a:lnTo>
                  <a:lnTo>
                    <a:pt x="323088" y="82805"/>
                  </a:lnTo>
                  <a:lnTo>
                    <a:pt x="322708" y="80772"/>
                  </a:lnTo>
                  <a:lnTo>
                    <a:pt x="322072" y="78868"/>
                  </a:lnTo>
                  <a:lnTo>
                    <a:pt x="321310" y="77090"/>
                  </a:lnTo>
                  <a:lnTo>
                    <a:pt x="320422" y="75184"/>
                  </a:lnTo>
                  <a:lnTo>
                    <a:pt x="319279" y="73406"/>
                  </a:lnTo>
                  <a:lnTo>
                    <a:pt x="318009" y="71756"/>
                  </a:lnTo>
                  <a:lnTo>
                    <a:pt x="316611" y="70359"/>
                  </a:lnTo>
                  <a:lnTo>
                    <a:pt x="314960" y="68708"/>
                  </a:lnTo>
                  <a:lnTo>
                    <a:pt x="313310" y="67311"/>
                  </a:lnTo>
                  <a:lnTo>
                    <a:pt x="311150" y="66040"/>
                  </a:lnTo>
                  <a:lnTo>
                    <a:pt x="308992" y="65024"/>
                  </a:lnTo>
                  <a:lnTo>
                    <a:pt x="306579" y="63881"/>
                  </a:lnTo>
                  <a:lnTo>
                    <a:pt x="303911" y="62993"/>
                  </a:lnTo>
                  <a:lnTo>
                    <a:pt x="301118" y="62231"/>
                  </a:lnTo>
                  <a:lnTo>
                    <a:pt x="297943" y="61596"/>
                  </a:lnTo>
                  <a:lnTo>
                    <a:pt x="294640" y="61087"/>
                  </a:lnTo>
                  <a:lnTo>
                    <a:pt x="93219" y="38355"/>
                  </a:lnTo>
                  <a:lnTo>
                    <a:pt x="98807" y="34037"/>
                  </a:lnTo>
                  <a:lnTo>
                    <a:pt x="336170" y="58547"/>
                  </a:lnTo>
                  <a:lnTo>
                    <a:pt x="339725" y="58928"/>
                  </a:lnTo>
                  <a:lnTo>
                    <a:pt x="343027" y="59563"/>
                  </a:lnTo>
                  <a:lnTo>
                    <a:pt x="346202" y="60199"/>
                  </a:lnTo>
                  <a:lnTo>
                    <a:pt x="349123" y="61087"/>
                  </a:lnTo>
                  <a:lnTo>
                    <a:pt x="351790" y="62231"/>
                  </a:lnTo>
                  <a:lnTo>
                    <a:pt x="354331" y="63500"/>
                  </a:lnTo>
                  <a:lnTo>
                    <a:pt x="356489" y="65024"/>
                  </a:lnTo>
                  <a:lnTo>
                    <a:pt x="358648" y="66549"/>
                  </a:lnTo>
                  <a:lnTo>
                    <a:pt x="360426" y="68327"/>
                  </a:lnTo>
                  <a:lnTo>
                    <a:pt x="362205" y="70105"/>
                  </a:lnTo>
                  <a:lnTo>
                    <a:pt x="363729" y="72263"/>
                  </a:lnTo>
                  <a:lnTo>
                    <a:pt x="364998" y="74296"/>
                  </a:lnTo>
                  <a:lnTo>
                    <a:pt x="366142" y="76581"/>
                  </a:lnTo>
                  <a:lnTo>
                    <a:pt x="367158" y="78994"/>
                  </a:lnTo>
                  <a:lnTo>
                    <a:pt x="367920" y="81408"/>
                  </a:lnTo>
                  <a:lnTo>
                    <a:pt x="368555" y="84074"/>
                  </a:lnTo>
                  <a:lnTo>
                    <a:pt x="369189" y="86615"/>
                  </a:lnTo>
                  <a:lnTo>
                    <a:pt x="369571" y="89409"/>
                  </a:lnTo>
                  <a:lnTo>
                    <a:pt x="369697" y="92075"/>
                  </a:lnTo>
                  <a:lnTo>
                    <a:pt x="369824" y="95124"/>
                  </a:lnTo>
                  <a:lnTo>
                    <a:pt x="369697" y="97918"/>
                  </a:lnTo>
                  <a:lnTo>
                    <a:pt x="369571" y="100838"/>
                  </a:lnTo>
                  <a:lnTo>
                    <a:pt x="369444" y="103887"/>
                  </a:lnTo>
                  <a:lnTo>
                    <a:pt x="368935" y="106934"/>
                  </a:lnTo>
                  <a:lnTo>
                    <a:pt x="368555" y="109856"/>
                  </a:lnTo>
                  <a:lnTo>
                    <a:pt x="367920" y="113031"/>
                  </a:lnTo>
                  <a:lnTo>
                    <a:pt x="367158" y="115952"/>
                  </a:lnTo>
                  <a:lnTo>
                    <a:pt x="366522" y="118999"/>
                  </a:lnTo>
                  <a:lnTo>
                    <a:pt x="365634" y="122174"/>
                  </a:lnTo>
                  <a:lnTo>
                    <a:pt x="364745" y="125222"/>
                  </a:lnTo>
                  <a:lnTo>
                    <a:pt x="363729" y="128271"/>
                  </a:lnTo>
                  <a:lnTo>
                    <a:pt x="362585" y="131191"/>
                  </a:lnTo>
                  <a:close/>
                  <a:moveTo>
                    <a:pt x="-4575174" y="1770888"/>
                  </a:moveTo>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082" name="Rectangle 1082"/>
            <p:cNvSpPr/>
            <p:nvPr/>
          </p:nvSpPr>
          <p:spPr>
            <a:xfrm>
              <a:off x="5909535" y="5497722"/>
              <a:ext cx="1009892" cy="169598"/>
            </a:xfrm>
            <a:prstGeom prst="rect">
              <a:avLst/>
            </a:prstGeom>
            <a:noFill/>
          </p:spPr>
          <p:txBody>
            <a:bodyPr wrap="none" lIns="0" tIns="0" rIns="0" bIns="0">
              <a:spAutoFit/>
            </a:bodyPr>
            <a:lstStyle/>
            <a:p>
              <a:pPr marL="0" marR="0" lvl="0" indent="0" algn="l" defTabSz="913486" rtl="0" eaLnBrk="1" fontAlgn="auto" latinLnBrk="0" hangingPunct="1">
                <a:lnSpc>
                  <a:spcPct val="100000"/>
                </a:lnSpc>
                <a:spcBef>
                  <a:spcPts val="0"/>
                </a:spcBef>
                <a:spcAft>
                  <a:spcPts val="0"/>
                </a:spcAft>
                <a:buClrTx/>
                <a:buSzTx/>
                <a:buFontTx/>
                <a:buNone/>
                <a:tabLst>
                  <a:tab pos="1745138" algn="l"/>
                </a:tabLst>
                <a:defRPr/>
              </a:pPr>
              <a:r>
                <a:rPr kumimoji="0" lang="en-US" sz="1101" b="1" i="0" u="none" strike="noStrike" kern="0" cap="none" spc="0" normalizeH="0" baseline="0" noProof="0" dirty="0">
                  <a:ln>
                    <a:noFill/>
                  </a:ln>
                  <a:solidFill>
                    <a:prstClr val="white"/>
                  </a:solidFill>
                  <a:effectLst/>
                  <a:uLnTx/>
                  <a:uFillTx/>
                  <a:latin typeface="EYInterstate-LightBold"/>
                  <a:ea typeface="+mn-ea"/>
                  <a:cs typeface="+mn-cs"/>
                </a:rPr>
                <a:t>Transportation</a:t>
              </a:r>
            </a:p>
          </p:txBody>
        </p:sp>
      </p:grpSp>
      <p:grpSp>
        <p:nvGrpSpPr>
          <p:cNvPr id="16" name="Group 15">
            <a:extLst>
              <a:ext uri="{FF2B5EF4-FFF2-40B4-BE49-F238E27FC236}">
                <a16:creationId xmlns:a16="http://schemas.microsoft.com/office/drawing/2014/main" id="{A5A9B21B-5512-4C59-AFBB-6AEAF694C682}"/>
              </a:ext>
            </a:extLst>
          </p:cNvPr>
          <p:cNvGrpSpPr/>
          <p:nvPr/>
        </p:nvGrpSpPr>
        <p:grpSpPr>
          <a:xfrm>
            <a:off x="1398331" y="4933307"/>
            <a:ext cx="6917306" cy="1896929"/>
            <a:chOff x="1399059" y="4981720"/>
            <a:chExt cx="6920909" cy="1897917"/>
          </a:xfrm>
        </p:grpSpPr>
        <p:sp>
          <p:nvSpPr>
            <p:cNvPr id="803" name="Freeform 803"/>
            <p:cNvSpPr/>
            <p:nvPr/>
          </p:nvSpPr>
          <p:spPr>
            <a:xfrm>
              <a:off x="1399059" y="4981720"/>
              <a:ext cx="6763676" cy="1897917"/>
            </a:xfrm>
            <a:custGeom>
              <a:avLst/>
              <a:gdLst>
                <a:gd name="connsiteX0" fmla="*/ 6359016 w 6767194"/>
                <a:gd name="connsiteY0" fmla="*/ 425451 h 1898904"/>
                <a:gd name="connsiteX1" fmla="*/ 6359016 w 6767194"/>
                <a:gd name="connsiteY1" fmla="*/ 397383 h 1898904"/>
                <a:gd name="connsiteX2" fmla="*/ 6369177 w 6767194"/>
                <a:gd name="connsiteY2" fmla="*/ 397383 h 1898904"/>
                <a:gd name="connsiteX3" fmla="*/ 6369177 w 6767194"/>
                <a:gd name="connsiteY3" fmla="*/ 425451 h 1898904"/>
                <a:gd name="connsiteX4" fmla="*/ 6359016 w 6767194"/>
                <a:gd name="connsiteY4" fmla="*/ 425451 h 1898904"/>
                <a:gd name="connsiteX5" fmla="*/ 65912 w 6767194"/>
                <a:gd name="connsiteY5" fmla="*/ 1898904 h 1898904"/>
                <a:gd name="connsiteX6" fmla="*/ 6451473 w 6767194"/>
                <a:gd name="connsiteY6" fmla="*/ 343154 h 1898904"/>
                <a:gd name="connsiteX7" fmla="*/ 6317615 w 6767194"/>
                <a:gd name="connsiteY7" fmla="*/ 277496 h 1898904"/>
                <a:gd name="connsiteX8" fmla="*/ 6317615 w 6767194"/>
                <a:gd name="connsiteY8" fmla="*/ 343154 h 1898904"/>
                <a:gd name="connsiteX9" fmla="*/ 6451473 w 6767194"/>
                <a:gd name="connsiteY9" fmla="*/ 343154 h 1898904"/>
                <a:gd name="connsiteX10" fmla="*/ 148209 w 6767194"/>
                <a:gd name="connsiteY10" fmla="*/ 1898904 h 1898904"/>
                <a:gd name="connsiteX11" fmla="*/ 6370319 w 6767194"/>
                <a:gd name="connsiteY11" fmla="*/ 271527 h 1898904"/>
                <a:gd name="connsiteX12" fmla="*/ 6384036 w 6767194"/>
                <a:gd name="connsiteY12" fmla="*/ 277877 h 1898904"/>
                <a:gd name="connsiteX13" fmla="*/ 6380226 w 6767194"/>
                <a:gd name="connsiteY13" fmla="*/ 131572 h 1898904"/>
                <a:gd name="connsiteX14" fmla="*/ 6374002 w 6767194"/>
                <a:gd name="connsiteY14" fmla="*/ 131572 h 1898904"/>
                <a:gd name="connsiteX15" fmla="*/ 6370319 w 6767194"/>
                <a:gd name="connsiteY15" fmla="*/ 271527 h 1898904"/>
                <a:gd name="connsiteX16" fmla="*/ 219836 w 6767194"/>
                <a:gd name="connsiteY16" fmla="*/ 1898904 h 1898904"/>
                <a:gd name="connsiteX17" fmla="*/ 6467475 w 6767194"/>
                <a:gd name="connsiteY17" fmla="*/ 475996 h 1898904"/>
                <a:gd name="connsiteX18" fmla="*/ 6466840 w 6767194"/>
                <a:gd name="connsiteY18" fmla="*/ 357760 h 1898904"/>
                <a:gd name="connsiteX19" fmla="*/ 6317615 w 6767194"/>
                <a:gd name="connsiteY19" fmla="*/ 357760 h 1898904"/>
                <a:gd name="connsiteX20" fmla="*/ 6317615 w 6767194"/>
                <a:gd name="connsiteY20" fmla="*/ 475996 h 1898904"/>
                <a:gd name="connsiteX21" fmla="*/ 6297167 w 6767194"/>
                <a:gd name="connsiteY21" fmla="*/ 475996 h 1898904"/>
                <a:gd name="connsiteX22" fmla="*/ 6297167 w 6767194"/>
                <a:gd name="connsiteY22" fmla="*/ 237490 h 1898904"/>
                <a:gd name="connsiteX23" fmla="*/ 6360287 w 6767194"/>
                <a:gd name="connsiteY23" fmla="*/ 266828 h 1898904"/>
                <a:gd name="connsiteX24" fmla="*/ 6364224 w 6767194"/>
                <a:gd name="connsiteY24" fmla="*/ 116968 h 1898904"/>
                <a:gd name="connsiteX25" fmla="*/ 6390004 w 6767194"/>
                <a:gd name="connsiteY25" fmla="*/ 116968 h 1898904"/>
                <a:gd name="connsiteX26" fmla="*/ 6394450 w 6767194"/>
                <a:gd name="connsiteY26" fmla="*/ 282576 h 1898904"/>
                <a:gd name="connsiteX27" fmla="*/ 6417690 w 6767194"/>
                <a:gd name="connsiteY27" fmla="*/ 293497 h 1898904"/>
                <a:gd name="connsiteX28" fmla="*/ 6535039 w 6767194"/>
                <a:gd name="connsiteY28" fmla="*/ 242190 h 1898904"/>
                <a:gd name="connsiteX29" fmla="*/ 6733031 w 6767194"/>
                <a:gd name="connsiteY29" fmla="*/ 335662 h 1898904"/>
                <a:gd name="connsiteX30" fmla="*/ 6733540 w 6767194"/>
                <a:gd name="connsiteY30" fmla="*/ 475996 h 1898904"/>
                <a:gd name="connsiteX31" fmla="*/ 6713092 w 6767194"/>
                <a:gd name="connsiteY31" fmla="*/ 476251 h 1898904"/>
                <a:gd name="connsiteX32" fmla="*/ 6712712 w 6767194"/>
                <a:gd name="connsiteY32" fmla="*/ 357760 h 1898904"/>
                <a:gd name="connsiteX33" fmla="*/ 6509385 w 6767194"/>
                <a:gd name="connsiteY33" fmla="*/ 357760 h 1898904"/>
                <a:gd name="connsiteX34" fmla="*/ 6509385 w 6767194"/>
                <a:gd name="connsiteY34" fmla="*/ 343154 h 1898904"/>
                <a:gd name="connsiteX35" fmla="*/ 6628129 w 6767194"/>
                <a:gd name="connsiteY35" fmla="*/ 343154 h 1898904"/>
                <a:gd name="connsiteX36" fmla="*/ 6534657 w 6767194"/>
                <a:gd name="connsiteY36" fmla="*/ 272797 h 1898904"/>
                <a:gd name="connsiteX37" fmla="*/ 6432168 w 6767194"/>
                <a:gd name="connsiteY37" fmla="*/ 317501 h 1898904"/>
                <a:gd name="connsiteX38" fmla="*/ 6477127 w 6767194"/>
                <a:gd name="connsiteY38" fmla="*/ 341122 h 1898904"/>
                <a:gd name="connsiteX39" fmla="*/ 6477635 w 6767194"/>
                <a:gd name="connsiteY39" fmla="*/ 475996 h 1898904"/>
                <a:gd name="connsiteX40" fmla="*/ 6467475 w 6767194"/>
                <a:gd name="connsiteY40" fmla="*/ 475996 h 1898904"/>
                <a:gd name="connsiteX41" fmla="*/ 15367 w 6767194"/>
                <a:gd name="connsiteY41" fmla="*/ 1898904 h 1898904"/>
                <a:gd name="connsiteX42" fmla="*/ 6606666 w 6767194"/>
                <a:gd name="connsiteY42" fmla="*/ 443993 h 1898904"/>
                <a:gd name="connsiteX43" fmla="*/ 6606666 w 6767194"/>
                <a:gd name="connsiteY43" fmla="*/ 416052 h 1898904"/>
                <a:gd name="connsiteX44" fmla="*/ 6616953 w 6767194"/>
                <a:gd name="connsiteY44" fmla="*/ 416052 h 1898904"/>
                <a:gd name="connsiteX45" fmla="*/ 6616953 w 6767194"/>
                <a:gd name="connsiteY45" fmla="*/ 443993 h 1898904"/>
                <a:gd name="connsiteX46" fmla="*/ 6606666 w 6767194"/>
                <a:gd name="connsiteY46" fmla="*/ 443993 h 1898904"/>
                <a:gd name="connsiteX47" fmla="*/ 47370 w 6767194"/>
                <a:gd name="connsiteY47" fmla="*/ 1898904 h 1898904"/>
                <a:gd name="connsiteX48" fmla="*/ 6660261 w 6767194"/>
                <a:gd name="connsiteY48" fmla="*/ 443993 h 1898904"/>
                <a:gd name="connsiteX49" fmla="*/ 6660261 w 6767194"/>
                <a:gd name="connsiteY49" fmla="*/ 416052 h 1898904"/>
                <a:gd name="connsiteX50" fmla="*/ 6670420 w 6767194"/>
                <a:gd name="connsiteY50" fmla="*/ 416052 h 1898904"/>
                <a:gd name="connsiteX51" fmla="*/ 6670420 w 6767194"/>
                <a:gd name="connsiteY51" fmla="*/ 443993 h 1898904"/>
                <a:gd name="connsiteX52" fmla="*/ 6660261 w 6767194"/>
                <a:gd name="connsiteY52" fmla="*/ 443993 h 1898904"/>
                <a:gd name="connsiteX53" fmla="*/ 47370 w 6767194"/>
                <a:gd name="connsiteY53" fmla="*/ 1898904 h 1898904"/>
                <a:gd name="connsiteX54" fmla="*/ 6633464 w 6767194"/>
                <a:gd name="connsiteY54" fmla="*/ 443993 h 1898904"/>
                <a:gd name="connsiteX55" fmla="*/ 6633464 w 6767194"/>
                <a:gd name="connsiteY55" fmla="*/ 416052 h 1898904"/>
                <a:gd name="connsiteX56" fmla="*/ 6643624 w 6767194"/>
                <a:gd name="connsiteY56" fmla="*/ 416052 h 1898904"/>
                <a:gd name="connsiteX57" fmla="*/ 6643624 w 6767194"/>
                <a:gd name="connsiteY57" fmla="*/ 443993 h 1898904"/>
                <a:gd name="connsiteX58" fmla="*/ 6633464 w 6767194"/>
                <a:gd name="connsiteY58" fmla="*/ 443993 h 1898904"/>
                <a:gd name="connsiteX59" fmla="*/ 47370 w 6767194"/>
                <a:gd name="connsiteY59" fmla="*/ 1898904 h 1898904"/>
                <a:gd name="connsiteX60" fmla="*/ 6509257 w 6767194"/>
                <a:gd name="connsiteY60" fmla="*/ 491363 h 1898904"/>
                <a:gd name="connsiteX61" fmla="*/ 6509257 w 6767194"/>
                <a:gd name="connsiteY61" fmla="*/ 416052 h 1898904"/>
                <a:gd name="connsiteX62" fmla="*/ 6572757 w 6767194"/>
                <a:gd name="connsiteY62" fmla="*/ 416052 h 1898904"/>
                <a:gd name="connsiteX63" fmla="*/ 6572757 w 6767194"/>
                <a:gd name="connsiteY63" fmla="*/ 491363 h 1898904"/>
                <a:gd name="connsiteX64" fmla="*/ 6767194 w 6767194"/>
                <a:gd name="connsiteY64" fmla="*/ 491363 h 1898904"/>
                <a:gd name="connsiteX65" fmla="*/ 6767194 w 6767194"/>
                <a:gd name="connsiteY65" fmla="*/ 505968 h 1898904"/>
                <a:gd name="connsiteX66" fmla="*/ 6261227 w 6767194"/>
                <a:gd name="connsiteY66" fmla="*/ 505968 h 1898904"/>
                <a:gd name="connsiteX67" fmla="*/ 6261227 w 6767194"/>
                <a:gd name="connsiteY67" fmla="*/ 491363 h 1898904"/>
                <a:gd name="connsiteX68" fmla="*/ 6509257 w 6767194"/>
                <a:gd name="connsiteY68" fmla="*/ 491363 h 1898904"/>
                <a:gd name="connsiteX69" fmla="*/ 0 w 6767194"/>
                <a:gd name="connsiteY69" fmla="*/ 1898904 h 1898904"/>
                <a:gd name="connsiteX70" fmla="*/ 6536690 w 6767194"/>
                <a:gd name="connsiteY70" fmla="*/ 428626 h 1898904"/>
                <a:gd name="connsiteX71" fmla="*/ 6518020 w 6767194"/>
                <a:gd name="connsiteY71" fmla="*/ 428626 h 1898904"/>
                <a:gd name="connsiteX72" fmla="*/ 6518020 w 6767194"/>
                <a:gd name="connsiteY72" fmla="*/ 490347 h 1898904"/>
                <a:gd name="connsiteX73" fmla="*/ 6536690 w 6767194"/>
                <a:gd name="connsiteY73" fmla="*/ 490347 h 1898904"/>
                <a:gd name="connsiteX74" fmla="*/ 6536690 w 6767194"/>
                <a:gd name="connsiteY74" fmla="*/ 428626 h 1898904"/>
                <a:gd name="connsiteX75" fmla="*/ 62737 w 6767194"/>
                <a:gd name="connsiteY75" fmla="*/ 1898904 h 1898904"/>
                <a:gd name="connsiteX76" fmla="*/ 6563994 w 6767194"/>
                <a:gd name="connsiteY76" fmla="*/ 490347 h 1898904"/>
                <a:gd name="connsiteX77" fmla="*/ 6563994 w 6767194"/>
                <a:gd name="connsiteY77" fmla="*/ 428626 h 1898904"/>
                <a:gd name="connsiteX78" fmla="*/ 6545452 w 6767194"/>
                <a:gd name="connsiteY78" fmla="*/ 428626 h 1898904"/>
                <a:gd name="connsiteX79" fmla="*/ 6545452 w 6767194"/>
                <a:gd name="connsiteY79" fmla="*/ 490347 h 1898904"/>
                <a:gd name="connsiteX80" fmla="*/ 6563994 w 6767194"/>
                <a:gd name="connsiteY80" fmla="*/ 490347 h 1898904"/>
                <a:gd name="connsiteX81" fmla="*/ 1016 w 6767194"/>
                <a:gd name="connsiteY81" fmla="*/ 1898904 h 1898904"/>
                <a:gd name="connsiteX82" fmla="*/ 6368288 w 6767194"/>
                <a:gd name="connsiteY82" fmla="*/ 76835 h 1898904"/>
                <a:gd name="connsiteX83" fmla="*/ 6598665 w 6767194"/>
                <a:gd name="connsiteY83" fmla="*/ 76835 h 1898904"/>
                <a:gd name="connsiteX84" fmla="*/ 6601205 w 6767194"/>
                <a:gd name="connsiteY84" fmla="*/ 76709 h 1898904"/>
                <a:gd name="connsiteX85" fmla="*/ 6603238 w 6767194"/>
                <a:gd name="connsiteY85" fmla="*/ 76074 h 1898904"/>
                <a:gd name="connsiteX86" fmla="*/ 6604127 w 6767194"/>
                <a:gd name="connsiteY86" fmla="*/ 75819 h 1898904"/>
                <a:gd name="connsiteX87" fmla="*/ 6604889 w 6767194"/>
                <a:gd name="connsiteY87" fmla="*/ 75438 h 1898904"/>
                <a:gd name="connsiteX88" fmla="*/ 6605524 w 6767194"/>
                <a:gd name="connsiteY88" fmla="*/ 74931 h 1898904"/>
                <a:gd name="connsiteX89" fmla="*/ 6606159 w 6767194"/>
                <a:gd name="connsiteY89" fmla="*/ 74296 h 1898904"/>
                <a:gd name="connsiteX90" fmla="*/ 6606666 w 6767194"/>
                <a:gd name="connsiteY90" fmla="*/ 73660 h 1898904"/>
                <a:gd name="connsiteX91" fmla="*/ 6607048 w 6767194"/>
                <a:gd name="connsiteY91" fmla="*/ 73153 h 1898904"/>
                <a:gd name="connsiteX92" fmla="*/ 6607428 w 6767194"/>
                <a:gd name="connsiteY92" fmla="*/ 72390 h 1898904"/>
                <a:gd name="connsiteX93" fmla="*/ 6607682 w 6767194"/>
                <a:gd name="connsiteY93" fmla="*/ 71628 h 1898904"/>
                <a:gd name="connsiteX94" fmla="*/ 6607810 w 6767194"/>
                <a:gd name="connsiteY94" fmla="*/ 70612 h 1898904"/>
                <a:gd name="connsiteX95" fmla="*/ 6607937 w 6767194"/>
                <a:gd name="connsiteY95" fmla="*/ 69978 h 1898904"/>
                <a:gd name="connsiteX96" fmla="*/ 6607937 w 6767194"/>
                <a:gd name="connsiteY96" fmla="*/ 68327 h 1898904"/>
                <a:gd name="connsiteX97" fmla="*/ 6607682 w 6767194"/>
                <a:gd name="connsiteY97" fmla="*/ 66422 h 1898904"/>
                <a:gd name="connsiteX98" fmla="*/ 6607175 w 6767194"/>
                <a:gd name="connsiteY98" fmla="*/ 64897 h 1898904"/>
                <a:gd name="connsiteX99" fmla="*/ 6606413 w 6767194"/>
                <a:gd name="connsiteY99" fmla="*/ 62993 h 1898904"/>
                <a:gd name="connsiteX100" fmla="*/ 6605524 w 6767194"/>
                <a:gd name="connsiteY100" fmla="*/ 61596 h 1898904"/>
                <a:gd name="connsiteX101" fmla="*/ 6604507 w 6767194"/>
                <a:gd name="connsiteY101" fmla="*/ 59944 h 1898904"/>
                <a:gd name="connsiteX102" fmla="*/ 6603365 w 6767194"/>
                <a:gd name="connsiteY102" fmla="*/ 58675 h 1898904"/>
                <a:gd name="connsiteX103" fmla="*/ 6602094 w 6767194"/>
                <a:gd name="connsiteY103" fmla="*/ 57531 h 1898904"/>
                <a:gd name="connsiteX104" fmla="*/ 6600698 w 6767194"/>
                <a:gd name="connsiteY104" fmla="*/ 56769 h 1898904"/>
                <a:gd name="connsiteX105" fmla="*/ 6597777 w 6767194"/>
                <a:gd name="connsiteY105" fmla="*/ 55500 h 1898904"/>
                <a:gd name="connsiteX106" fmla="*/ 6594475 w 6767194"/>
                <a:gd name="connsiteY106" fmla="*/ 53975 h 1898904"/>
                <a:gd name="connsiteX107" fmla="*/ 6590411 w 6767194"/>
                <a:gd name="connsiteY107" fmla="*/ 52578 h 1898904"/>
                <a:gd name="connsiteX108" fmla="*/ 6586092 w 6767194"/>
                <a:gd name="connsiteY108" fmla="*/ 51309 h 1898904"/>
                <a:gd name="connsiteX109" fmla="*/ 6581013 w 6767194"/>
                <a:gd name="connsiteY109" fmla="*/ 50165 h 1898904"/>
                <a:gd name="connsiteX110" fmla="*/ 6575552 w 6767194"/>
                <a:gd name="connsiteY110" fmla="*/ 49277 h 1898904"/>
                <a:gd name="connsiteX111" fmla="*/ 6569328 w 6767194"/>
                <a:gd name="connsiteY111" fmla="*/ 48641 h 1898904"/>
                <a:gd name="connsiteX112" fmla="*/ 6562470 w 6767194"/>
                <a:gd name="connsiteY112" fmla="*/ 48515 h 1898904"/>
                <a:gd name="connsiteX113" fmla="*/ 6558406 w 6767194"/>
                <a:gd name="connsiteY113" fmla="*/ 48641 h 1898904"/>
                <a:gd name="connsiteX114" fmla="*/ 6554469 w 6767194"/>
                <a:gd name="connsiteY114" fmla="*/ 48896 h 1898904"/>
                <a:gd name="connsiteX115" fmla="*/ 6546595 w 6767194"/>
                <a:gd name="connsiteY115" fmla="*/ 49277 h 1898904"/>
                <a:gd name="connsiteX116" fmla="*/ 6548754 w 6767194"/>
                <a:gd name="connsiteY116" fmla="*/ 46609 h 1898904"/>
                <a:gd name="connsiteX117" fmla="*/ 6549898 w 6767194"/>
                <a:gd name="connsiteY117" fmla="*/ 45340 h 1898904"/>
                <a:gd name="connsiteX118" fmla="*/ 6550914 w 6767194"/>
                <a:gd name="connsiteY118" fmla="*/ 43688 h 1898904"/>
                <a:gd name="connsiteX119" fmla="*/ 6551802 w 6767194"/>
                <a:gd name="connsiteY119" fmla="*/ 41656 h 1898904"/>
                <a:gd name="connsiteX120" fmla="*/ 6552438 w 6767194"/>
                <a:gd name="connsiteY120" fmla="*/ 39625 h 1898904"/>
                <a:gd name="connsiteX121" fmla="*/ 6552818 w 6767194"/>
                <a:gd name="connsiteY121" fmla="*/ 38354 h 1898904"/>
                <a:gd name="connsiteX122" fmla="*/ 6552945 w 6767194"/>
                <a:gd name="connsiteY122" fmla="*/ 37212 h 1898904"/>
                <a:gd name="connsiteX123" fmla="*/ 6553073 w 6767194"/>
                <a:gd name="connsiteY123" fmla="*/ 35941 h 1898904"/>
                <a:gd name="connsiteX124" fmla="*/ 6553073 w 6767194"/>
                <a:gd name="connsiteY124" fmla="*/ 34544 h 1898904"/>
                <a:gd name="connsiteX125" fmla="*/ 6553073 w 6767194"/>
                <a:gd name="connsiteY125" fmla="*/ 33021 h 1898904"/>
                <a:gd name="connsiteX126" fmla="*/ 6552691 w 6767194"/>
                <a:gd name="connsiteY126" fmla="*/ 31750 h 1898904"/>
                <a:gd name="connsiteX127" fmla="*/ 6552184 w 6767194"/>
                <a:gd name="connsiteY127" fmla="*/ 30481 h 1898904"/>
                <a:gd name="connsiteX128" fmla="*/ 6551422 w 6767194"/>
                <a:gd name="connsiteY128" fmla="*/ 29210 h 1898904"/>
                <a:gd name="connsiteX129" fmla="*/ 6550532 w 6767194"/>
                <a:gd name="connsiteY129" fmla="*/ 27940 h 1898904"/>
                <a:gd name="connsiteX130" fmla="*/ 6549390 w 6767194"/>
                <a:gd name="connsiteY130" fmla="*/ 26925 h 1898904"/>
                <a:gd name="connsiteX131" fmla="*/ 6548247 w 6767194"/>
                <a:gd name="connsiteY131" fmla="*/ 25781 h 1898904"/>
                <a:gd name="connsiteX132" fmla="*/ 6546850 w 6767194"/>
                <a:gd name="connsiteY132" fmla="*/ 24893 h 1898904"/>
                <a:gd name="connsiteX133" fmla="*/ 6545326 w 6767194"/>
                <a:gd name="connsiteY133" fmla="*/ 24003 h 1898904"/>
                <a:gd name="connsiteX134" fmla="*/ 6543802 w 6767194"/>
                <a:gd name="connsiteY134" fmla="*/ 23115 h 1898904"/>
                <a:gd name="connsiteX135" fmla="*/ 6540245 w 6767194"/>
                <a:gd name="connsiteY135" fmla="*/ 21463 h 1898904"/>
                <a:gd name="connsiteX136" fmla="*/ 6536563 w 6767194"/>
                <a:gd name="connsiteY136" fmla="*/ 20066 h 1898904"/>
                <a:gd name="connsiteX137" fmla="*/ 6532499 w 6767194"/>
                <a:gd name="connsiteY137" fmla="*/ 18669 h 1898904"/>
                <a:gd name="connsiteX138" fmla="*/ 6528435 w 6767194"/>
                <a:gd name="connsiteY138" fmla="*/ 17653 h 1898904"/>
                <a:gd name="connsiteX139" fmla="*/ 6524625 w 6767194"/>
                <a:gd name="connsiteY139" fmla="*/ 16637 h 1898904"/>
                <a:gd name="connsiteX140" fmla="*/ 6520688 w 6767194"/>
                <a:gd name="connsiteY140" fmla="*/ 16003 h 1898904"/>
                <a:gd name="connsiteX141" fmla="*/ 6517131 w 6767194"/>
                <a:gd name="connsiteY141" fmla="*/ 15368 h 1898904"/>
                <a:gd name="connsiteX142" fmla="*/ 6511163 w 6767194"/>
                <a:gd name="connsiteY142" fmla="*/ 14732 h 1898904"/>
                <a:gd name="connsiteX143" fmla="*/ 6507606 w 6767194"/>
                <a:gd name="connsiteY143" fmla="*/ 14606 h 1898904"/>
                <a:gd name="connsiteX144" fmla="*/ 6503797 w 6767194"/>
                <a:gd name="connsiteY144" fmla="*/ 14732 h 1898904"/>
                <a:gd name="connsiteX145" fmla="*/ 6498081 w 6767194"/>
                <a:gd name="connsiteY145" fmla="*/ 15113 h 1898904"/>
                <a:gd name="connsiteX146" fmla="*/ 6494652 w 6767194"/>
                <a:gd name="connsiteY146" fmla="*/ 15368 h 1898904"/>
                <a:gd name="connsiteX147" fmla="*/ 6490969 w 6767194"/>
                <a:gd name="connsiteY147" fmla="*/ 16003 h 1898904"/>
                <a:gd name="connsiteX148" fmla="*/ 6487032 w 6767194"/>
                <a:gd name="connsiteY148" fmla="*/ 16637 h 1898904"/>
                <a:gd name="connsiteX149" fmla="*/ 6483095 w 6767194"/>
                <a:gd name="connsiteY149" fmla="*/ 17400 h 1898904"/>
                <a:gd name="connsiteX150" fmla="*/ 6479286 w 6767194"/>
                <a:gd name="connsiteY150" fmla="*/ 18543 h 1898904"/>
                <a:gd name="connsiteX151" fmla="*/ 6475602 w 6767194"/>
                <a:gd name="connsiteY151" fmla="*/ 20066 h 1898904"/>
                <a:gd name="connsiteX152" fmla="*/ 6472174 w 6767194"/>
                <a:gd name="connsiteY152" fmla="*/ 21463 h 1898904"/>
                <a:gd name="connsiteX153" fmla="*/ 6470523 w 6767194"/>
                <a:gd name="connsiteY153" fmla="*/ 22353 h 1898904"/>
                <a:gd name="connsiteX154" fmla="*/ 6469126 w 6767194"/>
                <a:gd name="connsiteY154" fmla="*/ 23241 h 1898904"/>
                <a:gd name="connsiteX155" fmla="*/ 6467602 w 6767194"/>
                <a:gd name="connsiteY155" fmla="*/ 24384 h 1898904"/>
                <a:gd name="connsiteX156" fmla="*/ 6466331 w 6767194"/>
                <a:gd name="connsiteY156" fmla="*/ 25528 h 1898904"/>
                <a:gd name="connsiteX157" fmla="*/ 6465189 w 6767194"/>
                <a:gd name="connsiteY157" fmla="*/ 26544 h 1898904"/>
                <a:gd name="connsiteX158" fmla="*/ 6464300 w 6767194"/>
                <a:gd name="connsiteY158" fmla="*/ 27813 h 1898904"/>
                <a:gd name="connsiteX159" fmla="*/ 6463411 w 6767194"/>
                <a:gd name="connsiteY159" fmla="*/ 29210 h 1898904"/>
                <a:gd name="connsiteX160" fmla="*/ 6462776 w 6767194"/>
                <a:gd name="connsiteY160" fmla="*/ 30481 h 1898904"/>
                <a:gd name="connsiteX161" fmla="*/ 6462394 w 6767194"/>
                <a:gd name="connsiteY161" fmla="*/ 32259 h 1898904"/>
                <a:gd name="connsiteX162" fmla="*/ 6462140 w 6767194"/>
                <a:gd name="connsiteY162" fmla="*/ 33782 h 1898904"/>
                <a:gd name="connsiteX163" fmla="*/ 6462140 w 6767194"/>
                <a:gd name="connsiteY163" fmla="*/ 35053 h 1898904"/>
                <a:gd name="connsiteX164" fmla="*/ 6462267 w 6767194"/>
                <a:gd name="connsiteY164" fmla="*/ 36450 h 1898904"/>
                <a:gd name="connsiteX165" fmla="*/ 6462649 w 6767194"/>
                <a:gd name="connsiteY165" fmla="*/ 37593 h 1898904"/>
                <a:gd name="connsiteX166" fmla="*/ 6463156 w 6767194"/>
                <a:gd name="connsiteY166" fmla="*/ 38862 h 1898904"/>
                <a:gd name="connsiteX167" fmla="*/ 6463918 w 6767194"/>
                <a:gd name="connsiteY167" fmla="*/ 40006 h 1898904"/>
                <a:gd name="connsiteX168" fmla="*/ 6465062 w 6767194"/>
                <a:gd name="connsiteY168" fmla="*/ 41149 h 1898904"/>
                <a:gd name="connsiteX169" fmla="*/ 6466077 w 6767194"/>
                <a:gd name="connsiteY169" fmla="*/ 42165 h 1898904"/>
                <a:gd name="connsiteX170" fmla="*/ 6467602 w 6767194"/>
                <a:gd name="connsiteY170" fmla="*/ 43053 h 1898904"/>
                <a:gd name="connsiteX171" fmla="*/ 6464427 w 6767194"/>
                <a:gd name="connsiteY171" fmla="*/ 56769 h 1898904"/>
                <a:gd name="connsiteX172" fmla="*/ 6459092 w 6767194"/>
                <a:gd name="connsiteY172" fmla="*/ 56134 h 1898904"/>
                <a:gd name="connsiteX173" fmla="*/ 6453631 w 6767194"/>
                <a:gd name="connsiteY173" fmla="*/ 56007 h 1898904"/>
                <a:gd name="connsiteX174" fmla="*/ 6449567 w 6767194"/>
                <a:gd name="connsiteY174" fmla="*/ 56007 h 1898904"/>
                <a:gd name="connsiteX175" fmla="*/ 6445503 w 6767194"/>
                <a:gd name="connsiteY175" fmla="*/ 56262 h 1898904"/>
                <a:gd name="connsiteX176" fmla="*/ 6441313 w 6767194"/>
                <a:gd name="connsiteY176" fmla="*/ 56897 h 1898904"/>
                <a:gd name="connsiteX177" fmla="*/ 6437122 w 6767194"/>
                <a:gd name="connsiteY177" fmla="*/ 57785 h 1898904"/>
                <a:gd name="connsiteX178" fmla="*/ 6433057 w 6767194"/>
                <a:gd name="connsiteY178" fmla="*/ 58928 h 1898904"/>
                <a:gd name="connsiteX179" fmla="*/ 6430899 w 6767194"/>
                <a:gd name="connsiteY179" fmla="*/ 59563 h 1898904"/>
                <a:gd name="connsiteX180" fmla="*/ 6428866 w 6767194"/>
                <a:gd name="connsiteY180" fmla="*/ 60453 h 1898904"/>
                <a:gd name="connsiteX181" fmla="*/ 6426835 w 6767194"/>
                <a:gd name="connsiteY181" fmla="*/ 61469 h 1898904"/>
                <a:gd name="connsiteX182" fmla="*/ 6424929 w 6767194"/>
                <a:gd name="connsiteY182" fmla="*/ 62484 h 1898904"/>
                <a:gd name="connsiteX183" fmla="*/ 6423152 w 6767194"/>
                <a:gd name="connsiteY183" fmla="*/ 63754 h 1898904"/>
                <a:gd name="connsiteX184" fmla="*/ 6421247 w 6767194"/>
                <a:gd name="connsiteY184" fmla="*/ 65025 h 1898904"/>
                <a:gd name="connsiteX185" fmla="*/ 6415913 w 6767194"/>
                <a:gd name="connsiteY185" fmla="*/ 63628 h 1898904"/>
                <a:gd name="connsiteX186" fmla="*/ 6410705 w 6767194"/>
                <a:gd name="connsiteY186" fmla="*/ 62738 h 1898904"/>
                <a:gd name="connsiteX187" fmla="*/ 6405244 w 6767194"/>
                <a:gd name="connsiteY187" fmla="*/ 62231 h 1898904"/>
                <a:gd name="connsiteX188" fmla="*/ 6399784 w 6767194"/>
                <a:gd name="connsiteY188" fmla="*/ 61977 h 1898904"/>
                <a:gd name="connsiteX189" fmla="*/ 6397243 w 6767194"/>
                <a:gd name="connsiteY189" fmla="*/ 61977 h 1898904"/>
                <a:gd name="connsiteX190" fmla="*/ 6392926 w 6767194"/>
                <a:gd name="connsiteY190" fmla="*/ 62231 h 1898904"/>
                <a:gd name="connsiteX191" fmla="*/ 6387718 w 6767194"/>
                <a:gd name="connsiteY191" fmla="*/ 62738 h 1898904"/>
                <a:gd name="connsiteX192" fmla="*/ 6382003 w 6767194"/>
                <a:gd name="connsiteY192" fmla="*/ 63628 h 1898904"/>
                <a:gd name="connsiteX193" fmla="*/ 6379082 w 6767194"/>
                <a:gd name="connsiteY193" fmla="*/ 64135 h 1898904"/>
                <a:gd name="connsiteX194" fmla="*/ 6376415 w 6767194"/>
                <a:gd name="connsiteY194" fmla="*/ 64897 h 1898904"/>
                <a:gd name="connsiteX195" fmla="*/ 6373876 w 6767194"/>
                <a:gd name="connsiteY195" fmla="*/ 65659 h 1898904"/>
                <a:gd name="connsiteX196" fmla="*/ 6371463 w 6767194"/>
                <a:gd name="connsiteY196" fmla="*/ 66422 h 1898904"/>
                <a:gd name="connsiteX197" fmla="*/ 6369430 w 6767194"/>
                <a:gd name="connsiteY197" fmla="*/ 67691 h 1898904"/>
                <a:gd name="connsiteX198" fmla="*/ 6367652 w 6767194"/>
                <a:gd name="connsiteY198" fmla="*/ 68962 h 1898904"/>
                <a:gd name="connsiteX199" fmla="*/ 6367017 w 6767194"/>
                <a:gd name="connsiteY199" fmla="*/ 69597 h 1898904"/>
                <a:gd name="connsiteX200" fmla="*/ 6366510 w 6767194"/>
                <a:gd name="connsiteY200" fmla="*/ 70104 h 1898904"/>
                <a:gd name="connsiteX201" fmla="*/ 6366002 w 6767194"/>
                <a:gd name="connsiteY201" fmla="*/ 71121 h 1898904"/>
                <a:gd name="connsiteX202" fmla="*/ 6365748 w 6767194"/>
                <a:gd name="connsiteY202" fmla="*/ 71882 h 1898904"/>
                <a:gd name="connsiteX203" fmla="*/ 6365366 w 6767194"/>
                <a:gd name="connsiteY203" fmla="*/ 73153 h 1898904"/>
                <a:gd name="connsiteX204" fmla="*/ 6365366 w 6767194"/>
                <a:gd name="connsiteY204" fmla="*/ 74296 h 1898904"/>
                <a:gd name="connsiteX205" fmla="*/ 6365620 w 6767194"/>
                <a:gd name="connsiteY205" fmla="*/ 75057 h 1898904"/>
                <a:gd name="connsiteX206" fmla="*/ 6366002 w 6767194"/>
                <a:gd name="connsiteY206" fmla="*/ 75819 h 1898904"/>
                <a:gd name="connsiteX207" fmla="*/ 6366510 w 6767194"/>
                <a:gd name="connsiteY207" fmla="*/ 76328 h 1898904"/>
                <a:gd name="connsiteX208" fmla="*/ 6367017 w 6767194"/>
                <a:gd name="connsiteY208" fmla="*/ 76709 h 1898904"/>
                <a:gd name="connsiteX209" fmla="*/ 6367652 w 6767194"/>
                <a:gd name="connsiteY209" fmla="*/ 76835 h 1898904"/>
                <a:gd name="connsiteX210" fmla="*/ 6368288 w 6767194"/>
                <a:gd name="connsiteY210" fmla="*/ 76835 h 1898904"/>
                <a:gd name="connsiteX211" fmla="*/ 414528 w 6767194"/>
                <a:gd name="connsiteY211" fmla="*/ 1898904 h 1898904"/>
                <a:gd name="connsiteX212" fmla="*/ 6452615 w 6767194"/>
                <a:gd name="connsiteY212" fmla="*/ 41403 h 1898904"/>
                <a:gd name="connsiteX213" fmla="*/ 6452615 w 6767194"/>
                <a:gd name="connsiteY213" fmla="*/ 41403 h 1898904"/>
                <a:gd name="connsiteX214" fmla="*/ 6452235 w 6767194"/>
                <a:gd name="connsiteY214" fmla="*/ 39878 h 1898904"/>
                <a:gd name="connsiteX215" fmla="*/ 6451853 w 6767194"/>
                <a:gd name="connsiteY215" fmla="*/ 38228 h 1898904"/>
                <a:gd name="connsiteX216" fmla="*/ 6451727 w 6767194"/>
                <a:gd name="connsiteY216" fmla="*/ 36450 h 1898904"/>
                <a:gd name="connsiteX217" fmla="*/ 6451727 w 6767194"/>
                <a:gd name="connsiteY217" fmla="*/ 34544 h 1898904"/>
                <a:gd name="connsiteX218" fmla="*/ 6451853 w 6767194"/>
                <a:gd name="connsiteY218" fmla="*/ 31750 h 1898904"/>
                <a:gd name="connsiteX219" fmla="*/ 6452107 w 6767194"/>
                <a:gd name="connsiteY219" fmla="*/ 29210 h 1898904"/>
                <a:gd name="connsiteX220" fmla="*/ 6452742 w 6767194"/>
                <a:gd name="connsiteY220" fmla="*/ 26925 h 1898904"/>
                <a:gd name="connsiteX221" fmla="*/ 6453504 w 6767194"/>
                <a:gd name="connsiteY221" fmla="*/ 24765 h 1898904"/>
                <a:gd name="connsiteX222" fmla="*/ 6454520 w 6767194"/>
                <a:gd name="connsiteY222" fmla="*/ 22606 h 1898904"/>
                <a:gd name="connsiteX223" fmla="*/ 6455664 w 6767194"/>
                <a:gd name="connsiteY223" fmla="*/ 20575 h 1898904"/>
                <a:gd name="connsiteX224" fmla="*/ 6457061 w 6767194"/>
                <a:gd name="connsiteY224" fmla="*/ 18543 h 1898904"/>
                <a:gd name="connsiteX225" fmla="*/ 6458585 w 6767194"/>
                <a:gd name="connsiteY225" fmla="*/ 16637 h 1898904"/>
                <a:gd name="connsiteX226" fmla="*/ 6460236 w 6767194"/>
                <a:gd name="connsiteY226" fmla="*/ 15113 h 1898904"/>
                <a:gd name="connsiteX227" fmla="*/ 6462140 w 6767194"/>
                <a:gd name="connsiteY227" fmla="*/ 13462 h 1898904"/>
                <a:gd name="connsiteX228" fmla="*/ 6463791 w 6767194"/>
                <a:gd name="connsiteY228" fmla="*/ 11938 h 1898904"/>
                <a:gd name="connsiteX229" fmla="*/ 6465951 w 6767194"/>
                <a:gd name="connsiteY229" fmla="*/ 10669 h 1898904"/>
                <a:gd name="connsiteX230" fmla="*/ 6467982 w 6767194"/>
                <a:gd name="connsiteY230" fmla="*/ 9399 h 1898904"/>
                <a:gd name="connsiteX231" fmla="*/ 6470141 w 6767194"/>
                <a:gd name="connsiteY231" fmla="*/ 8382 h 1898904"/>
                <a:gd name="connsiteX232" fmla="*/ 6472427 w 6767194"/>
                <a:gd name="connsiteY232" fmla="*/ 7240 h 1898904"/>
                <a:gd name="connsiteX233" fmla="*/ 6474714 w 6767194"/>
                <a:gd name="connsiteY233" fmla="*/ 6224 h 1898904"/>
                <a:gd name="connsiteX234" fmla="*/ 6479413 w 6767194"/>
                <a:gd name="connsiteY234" fmla="*/ 4446 h 1898904"/>
                <a:gd name="connsiteX235" fmla="*/ 6484112 w 6767194"/>
                <a:gd name="connsiteY235" fmla="*/ 3303 h 1898904"/>
                <a:gd name="connsiteX236" fmla="*/ 6488811 w 6767194"/>
                <a:gd name="connsiteY236" fmla="*/ 2159 h 1898904"/>
                <a:gd name="connsiteX237" fmla="*/ 6493382 w 6767194"/>
                <a:gd name="connsiteY237" fmla="*/ 1271 h 1898904"/>
                <a:gd name="connsiteX238" fmla="*/ 6497574 w 6767194"/>
                <a:gd name="connsiteY238" fmla="*/ 762 h 1898904"/>
                <a:gd name="connsiteX239" fmla="*/ 6501384 w 6767194"/>
                <a:gd name="connsiteY239" fmla="*/ 381 h 1898904"/>
                <a:gd name="connsiteX240" fmla="*/ 6504686 w 6767194"/>
                <a:gd name="connsiteY240" fmla="*/ 0 h 1898904"/>
                <a:gd name="connsiteX241" fmla="*/ 6507606 w 6767194"/>
                <a:gd name="connsiteY241" fmla="*/ 0 h 1898904"/>
                <a:gd name="connsiteX242" fmla="*/ 6510274 w 6767194"/>
                <a:gd name="connsiteY242" fmla="*/ 0 h 1898904"/>
                <a:gd name="connsiteX243" fmla="*/ 6513702 w 6767194"/>
                <a:gd name="connsiteY243" fmla="*/ 254 h 1898904"/>
                <a:gd name="connsiteX244" fmla="*/ 6517513 w 6767194"/>
                <a:gd name="connsiteY244" fmla="*/ 762 h 1898904"/>
                <a:gd name="connsiteX245" fmla="*/ 6521703 w 6767194"/>
                <a:gd name="connsiteY245" fmla="*/ 1271 h 1898904"/>
                <a:gd name="connsiteX246" fmla="*/ 6526276 w 6767194"/>
                <a:gd name="connsiteY246" fmla="*/ 2032 h 1898904"/>
                <a:gd name="connsiteX247" fmla="*/ 6530848 w 6767194"/>
                <a:gd name="connsiteY247" fmla="*/ 3049 h 1898904"/>
                <a:gd name="connsiteX248" fmla="*/ 6535419 w 6767194"/>
                <a:gd name="connsiteY248" fmla="*/ 4446 h 1898904"/>
                <a:gd name="connsiteX249" fmla="*/ 6540118 w 6767194"/>
                <a:gd name="connsiteY249" fmla="*/ 6224 h 1898904"/>
                <a:gd name="connsiteX250" fmla="*/ 6544690 w 6767194"/>
                <a:gd name="connsiteY250" fmla="*/ 8128 h 1898904"/>
                <a:gd name="connsiteX251" fmla="*/ 6546723 w 6767194"/>
                <a:gd name="connsiteY251" fmla="*/ 9272 h 1898904"/>
                <a:gd name="connsiteX252" fmla="*/ 6548881 w 6767194"/>
                <a:gd name="connsiteY252" fmla="*/ 10541 h 1898904"/>
                <a:gd name="connsiteX253" fmla="*/ 6550914 w 6767194"/>
                <a:gd name="connsiteY253" fmla="*/ 11812 h 1898904"/>
                <a:gd name="connsiteX254" fmla="*/ 6552691 w 6767194"/>
                <a:gd name="connsiteY254" fmla="*/ 13335 h 1898904"/>
                <a:gd name="connsiteX255" fmla="*/ 6554469 w 6767194"/>
                <a:gd name="connsiteY255" fmla="*/ 14859 h 1898904"/>
                <a:gd name="connsiteX256" fmla="*/ 6556248 w 6767194"/>
                <a:gd name="connsiteY256" fmla="*/ 16637 h 1898904"/>
                <a:gd name="connsiteX257" fmla="*/ 6557644 w 6767194"/>
                <a:gd name="connsiteY257" fmla="*/ 18288 h 1898904"/>
                <a:gd name="connsiteX258" fmla="*/ 6559168 w 6767194"/>
                <a:gd name="connsiteY258" fmla="*/ 20066 h 1898904"/>
                <a:gd name="connsiteX259" fmla="*/ 6560439 w 6767194"/>
                <a:gd name="connsiteY259" fmla="*/ 22099 h 1898904"/>
                <a:gd name="connsiteX260" fmla="*/ 6561327 w 6767194"/>
                <a:gd name="connsiteY260" fmla="*/ 24131 h 1898904"/>
                <a:gd name="connsiteX261" fmla="*/ 6562090 w 6767194"/>
                <a:gd name="connsiteY261" fmla="*/ 26544 h 1898904"/>
                <a:gd name="connsiteX262" fmla="*/ 6562852 w 6767194"/>
                <a:gd name="connsiteY262" fmla="*/ 28956 h 1898904"/>
                <a:gd name="connsiteX263" fmla="*/ 6563232 w 6767194"/>
                <a:gd name="connsiteY263" fmla="*/ 31497 h 1898904"/>
                <a:gd name="connsiteX264" fmla="*/ 6563360 w 6767194"/>
                <a:gd name="connsiteY264" fmla="*/ 34037 h 1898904"/>
                <a:gd name="connsiteX265" fmla="*/ 6569837 w 6767194"/>
                <a:gd name="connsiteY265" fmla="*/ 34163 h 1898904"/>
                <a:gd name="connsiteX266" fmla="*/ 6575932 w 6767194"/>
                <a:gd name="connsiteY266" fmla="*/ 34672 h 1898904"/>
                <a:gd name="connsiteX267" fmla="*/ 6581393 w 6767194"/>
                <a:gd name="connsiteY267" fmla="*/ 35434 h 1898904"/>
                <a:gd name="connsiteX268" fmla="*/ 6586601 w 6767194"/>
                <a:gd name="connsiteY268" fmla="*/ 36450 h 1898904"/>
                <a:gd name="connsiteX269" fmla="*/ 6591173 w 6767194"/>
                <a:gd name="connsiteY269" fmla="*/ 37974 h 1898904"/>
                <a:gd name="connsiteX270" fmla="*/ 6595617 w 6767194"/>
                <a:gd name="connsiteY270" fmla="*/ 39371 h 1898904"/>
                <a:gd name="connsiteX271" fmla="*/ 6599554 w 6767194"/>
                <a:gd name="connsiteY271" fmla="*/ 41149 h 1898904"/>
                <a:gd name="connsiteX272" fmla="*/ 6602984 w 6767194"/>
                <a:gd name="connsiteY272" fmla="*/ 43053 h 1898904"/>
                <a:gd name="connsiteX273" fmla="*/ 6606159 w 6767194"/>
                <a:gd name="connsiteY273" fmla="*/ 45340 h 1898904"/>
                <a:gd name="connsiteX274" fmla="*/ 6608826 w 6767194"/>
                <a:gd name="connsiteY274" fmla="*/ 47372 h 1898904"/>
                <a:gd name="connsiteX275" fmla="*/ 6611239 w 6767194"/>
                <a:gd name="connsiteY275" fmla="*/ 49784 h 1898904"/>
                <a:gd name="connsiteX276" fmla="*/ 6613270 w 6767194"/>
                <a:gd name="connsiteY276" fmla="*/ 52325 h 1898904"/>
                <a:gd name="connsiteX277" fmla="*/ 6615049 w 6767194"/>
                <a:gd name="connsiteY277" fmla="*/ 54865 h 1898904"/>
                <a:gd name="connsiteX278" fmla="*/ 6616445 w 6767194"/>
                <a:gd name="connsiteY278" fmla="*/ 57531 h 1898904"/>
                <a:gd name="connsiteX279" fmla="*/ 6617589 w 6767194"/>
                <a:gd name="connsiteY279" fmla="*/ 60199 h 1898904"/>
                <a:gd name="connsiteX280" fmla="*/ 6618604 w 6767194"/>
                <a:gd name="connsiteY280" fmla="*/ 62865 h 1898904"/>
                <a:gd name="connsiteX281" fmla="*/ 6618986 w 6767194"/>
                <a:gd name="connsiteY281" fmla="*/ 65659 h 1898904"/>
                <a:gd name="connsiteX282" fmla="*/ 6619493 w 6767194"/>
                <a:gd name="connsiteY282" fmla="*/ 68200 h 1898904"/>
                <a:gd name="connsiteX283" fmla="*/ 6619493 w 6767194"/>
                <a:gd name="connsiteY283" fmla="*/ 70866 h 1898904"/>
                <a:gd name="connsiteX284" fmla="*/ 6619240 w 6767194"/>
                <a:gd name="connsiteY284" fmla="*/ 73406 h 1898904"/>
                <a:gd name="connsiteX285" fmla="*/ 6618859 w 6767194"/>
                <a:gd name="connsiteY285" fmla="*/ 75819 h 1898904"/>
                <a:gd name="connsiteX286" fmla="*/ 6618224 w 6767194"/>
                <a:gd name="connsiteY286" fmla="*/ 78106 h 1898904"/>
                <a:gd name="connsiteX287" fmla="*/ 6617335 w 6767194"/>
                <a:gd name="connsiteY287" fmla="*/ 80265 h 1898904"/>
                <a:gd name="connsiteX288" fmla="*/ 6616318 w 6767194"/>
                <a:gd name="connsiteY288" fmla="*/ 82550 h 1898904"/>
                <a:gd name="connsiteX289" fmla="*/ 6615176 w 6767194"/>
                <a:gd name="connsiteY289" fmla="*/ 84328 h 1898904"/>
                <a:gd name="connsiteX290" fmla="*/ 6613778 w 6767194"/>
                <a:gd name="connsiteY290" fmla="*/ 86106 h 1898904"/>
                <a:gd name="connsiteX291" fmla="*/ 6612381 w 6767194"/>
                <a:gd name="connsiteY291" fmla="*/ 87503 h 1898904"/>
                <a:gd name="connsiteX292" fmla="*/ 6610730 w 6767194"/>
                <a:gd name="connsiteY292" fmla="*/ 88900 h 1898904"/>
                <a:gd name="connsiteX293" fmla="*/ 6608952 w 6767194"/>
                <a:gd name="connsiteY293" fmla="*/ 89916 h 1898904"/>
                <a:gd name="connsiteX294" fmla="*/ 6607048 w 6767194"/>
                <a:gd name="connsiteY294" fmla="*/ 90678 h 1898904"/>
                <a:gd name="connsiteX295" fmla="*/ 6605015 w 6767194"/>
                <a:gd name="connsiteY295" fmla="*/ 91187 h 1898904"/>
                <a:gd name="connsiteX296" fmla="*/ 6602984 w 6767194"/>
                <a:gd name="connsiteY296" fmla="*/ 91440 h 1898904"/>
                <a:gd name="connsiteX297" fmla="*/ 6367272 w 6767194"/>
                <a:gd name="connsiteY297" fmla="*/ 91440 h 1898904"/>
                <a:gd name="connsiteX298" fmla="*/ 6366002 w 6767194"/>
                <a:gd name="connsiteY298" fmla="*/ 91187 h 1898904"/>
                <a:gd name="connsiteX299" fmla="*/ 6364731 w 6767194"/>
                <a:gd name="connsiteY299" fmla="*/ 91059 h 1898904"/>
                <a:gd name="connsiteX300" fmla="*/ 6363589 w 6767194"/>
                <a:gd name="connsiteY300" fmla="*/ 90678 h 1898904"/>
                <a:gd name="connsiteX301" fmla="*/ 6362445 w 6767194"/>
                <a:gd name="connsiteY301" fmla="*/ 89916 h 1898904"/>
                <a:gd name="connsiteX302" fmla="*/ 6361302 w 6767194"/>
                <a:gd name="connsiteY302" fmla="*/ 89281 h 1898904"/>
                <a:gd name="connsiteX303" fmla="*/ 6360287 w 6767194"/>
                <a:gd name="connsiteY303" fmla="*/ 88519 h 1898904"/>
                <a:gd name="connsiteX304" fmla="*/ 6359398 w 6767194"/>
                <a:gd name="connsiteY304" fmla="*/ 87503 h 1898904"/>
                <a:gd name="connsiteX305" fmla="*/ 6358509 w 6767194"/>
                <a:gd name="connsiteY305" fmla="*/ 86360 h 1898904"/>
                <a:gd name="connsiteX306" fmla="*/ 6357747 w 6767194"/>
                <a:gd name="connsiteY306" fmla="*/ 85218 h 1898904"/>
                <a:gd name="connsiteX307" fmla="*/ 6357112 w 6767194"/>
                <a:gd name="connsiteY307" fmla="*/ 83947 h 1898904"/>
                <a:gd name="connsiteX308" fmla="*/ 6356477 w 6767194"/>
                <a:gd name="connsiteY308" fmla="*/ 82550 h 1898904"/>
                <a:gd name="connsiteX309" fmla="*/ 6355968 w 6767194"/>
                <a:gd name="connsiteY309" fmla="*/ 81027 h 1898904"/>
                <a:gd name="connsiteX310" fmla="*/ 6355588 w 6767194"/>
                <a:gd name="connsiteY310" fmla="*/ 79629 h 1898904"/>
                <a:gd name="connsiteX311" fmla="*/ 6355206 w 6767194"/>
                <a:gd name="connsiteY311" fmla="*/ 77978 h 1898904"/>
                <a:gd name="connsiteX312" fmla="*/ 6355079 w 6767194"/>
                <a:gd name="connsiteY312" fmla="*/ 76328 h 1898904"/>
                <a:gd name="connsiteX313" fmla="*/ 6354952 w 6767194"/>
                <a:gd name="connsiteY313" fmla="*/ 74677 h 1898904"/>
                <a:gd name="connsiteX314" fmla="*/ 6354952 w 6767194"/>
                <a:gd name="connsiteY314" fmla="*/ 73153 h 1898904"/>
                <a:gd name="connsiteX315" fmla="*/ 6355079 w 6767194"/>
                <a:gd name="connsiteY315" fmla="*/ 71247 h 1898904"/>
                <a:gd name="connsiteX316" fmla="*/ 6355461 w 6767194"/>
                <a:gd name="connsiteY316" fmla="*/ 69597 h 1898904"/>
                <a:gd name="connsiteX317" fmla="*/ 6355841 w 6767194"/>
                <a:gd name="connsiteY317" fmla="*/ 67946 h 1898904"/>
                <a:gd name="connsiteX318" fmla="*/ 6356350 w 6767194"/>
                <a:gd name="connsiteY318" fmla="*/ 66168 h 1898904"/>
                <a:gd name="connsiteX319" fmla="*/ 6356985 w 6767194"/>
                <a:gd name="connsiteY319" fmla="*/ 64516 h 1898904"/>
                <a:gd name="connsiteX320" fmla="*/ 6357874 w 6767194"/>
                <a:gd name="connsiteY320" fmla="*/ 62865 h 1898904"/>
                <a:gd name="connsiteX321" fmla="*/ 6358763 w 6767194"/>
                <a:gd name="connsiteY321" fmla="*/ 61215 h 1898904"/>
                <a:gd name="connsiteX322" fmla="*/ 6359905 w 6767194"/>
                <a:gd name="connsiteY322" fmla="*/ 59818 h 1898904"/>
                <a:gd name="connsiteX323" fmla="*/ 6361176 w 6767194"/>
                <a:gd name="connsiteY323" fmla="*/ 58166 h 1898904"/>
                <a:gd name="connsiteX324" fmla="*/ 6362700 w 6767194"/>
                <a:gd name="connsiteY324" fmla="*/ 56897 h 1898904"/>
                <a:gd name="connsiteX325" fmla="*/ 6364224 w 6767194"/>
                <a:gd name="connsiteY325" fmla="*/ 55500 h 1898904"/>
                <a:gd name="connsiteX326" fmla="*/ 6366002 w 6767194"/>
                <a:gd name="connsiteY326" fmla="*/ 54356 h 1898904"/>
                <a:gd name="connsiteX327" fmla="*/ 6367906 w 6767194"/>
                <a:gd name="connsiteY327" fmla="*/ 53087 h 1898904"/>
                <a:gd name="connsiteX328" fmla="*/ 6370192 w 6767194"/>
                <a:gd name="connsiteY328" fmla="*/ 52071 h 1898904"/>
                <a:gd name="connsiteX329" fmla="*/ 6372352 w 6767194"/>
                <a:gd name="connsiteY329" fmla="*/ 51309 h 1898904"/>
                <a:gd name="connsiteX330" fmla="*/ 6375273 w 6767194"/>
                <a:gd name="connsiteY330" fmla="*/ 50293 h 1898904"/>
                <a:gd name="connsiteX331" fmla="*/ 6378448 w 6767194"/>
                <a:gd name="connsiteY331" fmla="*/ 49403 h 1898904"/>
                <a:gd name="connsiteX332" fmla="*/ 6381623 w 6767194"/>
                <a:gd name="connsiteY332" fmla="*/ 48896 h 1898904"/>
                <a:gd name="connsiteX333" fmla="*/ 6384925 w 6767194"/>
                <a:gd name="connsiteY333" fmla="*/ 48387 h 1898904"/>
                <a:gd name="connsiteX334" fmla="*/ 6388480 w 6767194"/>
                <a:gd name="connsiteY334" fmla="*/ 47879 h 1898904"/>
                <a:gd name="connsiteX335" fmla="*/ 6392164 w 6767194"/>
                <a:gd name="connsiteY335" fmla="*/ 47625 h 1898904"/>
                <a:gd name="connsiteX336" fmla="*/ 6395847 w 6767194"/>
                <a:gd name="connsiteY336" fmla="*/ 47372 h 1898904"/>
                <a:gd name="connsiteX337" fmla="*/ 6399784 w 6767194"/>
                <a:gd name="connsiteY337" fmla="*/ 47372 h 1898904"/>
                <a:gd name="connsiteX338" fmla="*/ 6405244 w 6767194"/>
                <a:gd name="connsiteY338" fmla="*/ 47372 h 1898904"/>
                <a:gd name="connsiteX339" fmla="*/ 6410198 w 6767194"/>
                <a:gd name="connsiteY339" fmla="*/ 48006 h 1898904"/>
                <a:gd name="connsiteX340" fmla="*/ 6415151 w 6767194"/>
                <a:gd name="connsiteY340" fmla="*/ 48641 h 1898904"/>
                <a:gd name="connsiteX341" fmla="*/ 6419723 w 6767194"/>
                <a:gd name="connsiteY341" fmla="*/ 49784 h 1898904"/>
                <a:gd name="connsiteX342" fmla="*/ 6422770 w 6767194"/>
                <a:gd name="connsiteY342" fmla="*/ 48006 h 1898904"/>
                <a:gd name="connsiteX343" fmla="*/ 6426327 w 6767194"/>
                <a:gd name="connsiteY343" fmla="*/ 46356 h 1898904"/>
                <a:gd name="connsiteX344" fmla="*/ 6430137 w 6767194"/>
                <a:gd name="connsiteY344" fmla="*/ 44831 h 1898904"/>
                <a:gd name="connsiteX345" fmla="*/ 6434201 w 6767194"/>
                <a:gd name="connsiteY345" fmla="*/ 43688 h 1898904"/>
                <a:gd name="connsiteX346" fmla="*/ 6438518 w 6767194"/>
                <a:gd name="connsiteY346" fmla="*/ 42672 h 1898904"/>
                <a:gd name="connsiteX347" fmla="*/ 6443090 w 6767194"/>
                <a:gd name="connsiteY347" fmla="*/ 41910 h 1898904"/>
                <a:gd name="connsiteX348" fmla="*/ 6447790 w 6767194"/>
                <a:gd name="connsiteY348" fmla="*/ 41656 h 1898904"/>
                <a:gd name="connsiteX349" fmla="*/ 6452615 w 6767194"/>
                <a:gd name="connsiteY349" fmla="*/ 41403 h 1898904"/>
                <a:gd name="connsiteX350" fmla="*/ 449960 w 6767194"/>
                <a:gd name="connsiteY350" fmla="*/ 1898904 h 1898904"/>
                <a:gd name="connsiteX351" fmla="*/ 6412611 w 6767194"/>
                <a:gd name="connsiteY351" fmla="*/ 425451 h 1898904"/>
                <a:gd name="connsiteX352" fmla="*/ 6412611 w 6767194"/>
                <a:gd name="connsiteY352" fmla="*/ 397383 h 1898904"/>
                <a:gd name="connsiteX353" fmla="*/ 6422770 w 6767194"/>
                <a:gd name="connsiteY353" fmla="*/ 397383 h 1898904"/>
                <a:gd name="connsiteX354" fmla="*/ 6422770 w 6767194"/>
                <a:gd name="connsiteY354" fmla="*/ 425451 h 1898904"/>
                <a:gd name="connsiteX355" fmla="*/ 6412611 w 6767194"/>
                <a:gd name="connsiteY355" fmla="*/ 425451 h 1898904"/>
                <a:gd name="connsiteX356" fmla="*/ 65912 w 6767194"/>
                <a:gd name="connsiteY356" fmla="*/ 1898904 h 1898904"/>
                <a:gd name="connsiteX357" fmla="*/ 6385814 w 6767194"/>
                <a:gd name="connsiteY357" fmla="*/ 425451 h 1898904"/>
                <a:gd name="connsiteX358" fmla="*/ 6385814 w 6767194"/>
                <a:gd name="connsiteY358" fmla="*/ 397383 h 1898904"/>
                <a:gd name="connsiteX359" fmla="*/ 6395974 w 6767194"/>
                <a:gd name="connsiteY359" fmla="*/ 397383 h 1898904"/>
                <a:gd name="connsiteX360" fmla="*/ 6395974 w 6767194"/>
                <a:gd name="connsiteY360" fmla="*/ 425451 h 1898904"/>
                <a:gd name="connsiteX361" fmla="*/ 6385814 w 6767194"/>
                <a:gd name="connsiteY361" fmla="*/ 425451 h 1898904"/>
                <a:gd name="connsiteX362" fmla="*/ 65912 w 6767194"/>
                <a:gd name="connsiteY362" fmla="*/ 1898904 h 189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Lst>
              <a:rect l="l" t="t" r="r" b="b"/>
              <a:pathLst>
                <a:path w="6767194" h="1898904">
                  <a:moveTo>
                    <a:pt x="6359016" y="425451"/>
                  </a:moveTo>
                  <a:lnTo>
                    <a:pt x="6359016" y="397383"/>
                  </a:lnTo>
                  <a:lnTo>
                    <a:pt x="6369177" y="397383"/>
                  </a:lnTo>
                  <a:lnTo>
                    <a:pt x="6369177" y="425451"/>
                  </a:lnTo>
                  <a:lnTo>
                    <a:pt x="6359016" y="425451"/>
                  </a:lnTo>
                  <a:close/>
                  <a:moveTo>
                    <a:pt x="65912" y="1898904"/>
                  </a:moveTo>
                  <a:moveTo>
                    <a:pt x="6451473" y="343154"/>
                  </a:moveTo>
                  <a:lnTo>
                    <a:pt x="6317615" y="277496"/>
                  </a:lnTo>
                  <a:lnTo>
                    <a:pt x="6317615" y="343154"/>
                  </a:lnTo>
                  <a:lnTo>
                    <a:pt x="6451473" y="343154"/>
                  </a:lnTo>
                  <a:close/>
                  <a:moveTo>
                    <a:pt x="148209" y="1898904"/>
                  </a:moveTo>
                  <a:moveTo>
                    <a:pt x="6370319" y="271527"/>
                  </a:moveTo>
                  <a:lnTo>
                    <a:pt x="6384036" y="277877"/>
                  </a:lnTo>
                  <a:lnTo>
                    <a:pt x="6380226" y="131572"/>
                  </a:lnTo>
                  <a:lnTo>
                    <a:pt x="6374002" y="131572"/>
                  </a:lnTo>
                  <a:cubicBezTo>
                    <a:pt x="6372774" y="178224"/>
                    <a:pt x="6371547" y="224875"/>
                    <a:pt x="6370319" y="271527"/>
                  </a:cubicBezTo>
                  <a:close/>
                  <a:moveTo>
                    <a:pt x="219836" y="1898904"/>
                  </a:moveTo>
                  <a:moveTo>
                    <a:pt x="6467475" y="475996"/>
                  </a:moveTo>
                  <a:cubicBezTo>
                    <a:pt x="6467263" y="436584"/>
                    <a:pt x="6467052" y="397172"/>
                    <a:pt x="6466840" y="357760"/>
                  </a:cubicBezTo>
                  <a:lnTo>
                    <a:pt x="6317615" y="357760"/>
                  </a:lnTo>
                  <a:lnTo>
                    <a:pt x="6317615" y="475996"/>
                  </a:lnTo>
                  <a:lnTo>
                    <a:pt x="6297167" y="475996"/>
                  </a:lnTo>
                  <a:lnTo>
                    <a:pt x="6297167" y="237490"/>
                  </a:lnTo>
                  <a:lnTo>
                    <a:pt x="6360287" y="266828"/>
                  </a:lnTo>
                  <a:lnTo>
                    <a:pt x="6364224" y="116968"/>
                  </a:lnTo>
                  <a:lnTo>
                    <a:pt x="6390004" y="116968"/>
                  </a:lnTo>
                  <a:lnTo>
                    <a:pt x="6394450" y="282576"/>
                  </a:lnTo>
                  <a:lnTo>
                    <a:pt x="6417690" y="293497"/>
                  </a:lnTo>
                  <a:lnTo>
                    <a:pt x="6535039" y="242190"/>
                  </a:lnTo>
                  <a:lnTo>
                    <a:pt x="6733031" y="335662"/>
                  </a:lnTo>
                  <a:cubicBezTo>
                    <a:pt x="6733201" y="382440"/>
                    <a:pt x="6733370" y="429218"/>
                    <a:pt x="6733540" y="475996"/>
                  </a:cubicBezTo>
                  <a:lnTo>
                    <a:pt x="6713092" y="476251"/>
                  </a:lnTo>
                  <a:cubicBezTo>
                    <a:pt x="6712965" y="436754"/>
                    <a:pt x="6712839" y="397257"/>
                    <a:pt x="6712712" y="357760"/>
                  </a:cubicBezTo>
                  <a:lnTo>
                    <a:pt x="6509385" y="357760"/>
                  </a:lnTo>
                  <a:lnTo>
                    <a:pt x="6509385" y="343154"/>
                  </a:lnTo>
                  <a:lnTo>
                    <a:pt x="6628129" y="343154"/>
                  </a:lnTo>
                  <a:lnTo>
                    <a:pt x="6534657" y="272797"/>
                  </a:lnTo>
                  <a:lnTo>
                    <a:pt x="6432168" y="317501"/>
                  </a:lnTo>
                  <a:lnTo>
                    <a:pt x="6477127" y="341122"/>
                  </a:lnTo>
                  <a:cubicBezTo>
                    <a:pt x="6477296" y="386080"/>
                    <a:pt x="6477466" y="431038"/>
                    <a:pt x="6477635" y="475996"/>
                  </a:cubicBezTo>
                  <a:lnTo>
                    <a:pt x="6467475" y="475996"/>
                  </a:lnTo>
                  <a:close/>
                  <a:moveTo>
                    <a:pt x="15367" y="1898904"/>
                  </a:moveTo>
                  <a:moveTo>
                    <a:pt x="6606666" y="443993"/>
                  </a:moveTo>
                  <a:lnTo>
                    <a:pt x="6606666" y="416052"/>
                  </a:lnTo>
                  <a:lnTo>
                    <a:pt x="6616953" y="416052"/>
                  </a:lnTo>
                  <a:lnTo>
                    <a:pt x="6616953" y="443993"/>
                  </a:lnTo>
                  <a:lnTo>
                    <a:pt x="6606666" y="443993"/>
                  </a:lnTo>
                  <a:close/>
                  <a:moveTo>
                    <a:pt x="47370" y="1898904"/>
                  </a:moveTo>
                  <a:moveTo>
                    <a:pt x="6660261" y="443993"/>
                  </a:moveTo>
                  <a:lnTo>
                    <a:pt x="6660261" y="416052"/>
                  </a:lnTo>
                  <a:lnTo>
                    <a:pt x="6670420" y="416052"/>
                  </a:lnTo>
                  <a:lnTo>
                    <a:pt x="6670420" y="443993"/>
                  </a:lnTo>
                  <a:lnTo>
                    <a:pt x="6660261" y="443993"/>
                  </a:lnTo>
                  <a:close/>
                  <a:moveTo>
                    <a:pt x="47370" y="1898904"/>
                  </a:moveTo>
                  <a:moveTo>
                    <a:pt x="6633464" y="443993"/>
                  </a:moveTo>
                  <a:lnTo>
                    <a:pt x="6633464" y="416052"/>
                  </a:lnTo>
                  <a:lnTo>
                    <a:pt x="6643624" y="416052"/>
                  </a:lnTo>
                  <a:lnTo>
                    <a:pt x="6643624" y="443993"/>
                  </a:lnTo>
                  <a:lnTo>
                    <a:pt x="6633464" y="443993"/>
                  </a:lnTo>
                  <a:close/>
                  <a:moveTo>
                    <a:pt x="47370" y="1898904"/>
                  </a:moveTo>
                  <a:moveTo>
                    <a:pt x="6509257" y="491363"/>
                  </a:moveTo>
                  <a:lnTo>
                    <a:pt x="6509257" y="416052"/>
                  </a:lnTo>
                  <a:lnTo>
                    <a:pt x="6572757" y="416052"/>
                  </a:lnTo>
                  <a:lnTo>
                    <a:pt x="6572757" y="491363"/>
                  </a:lnTo>
                  <a:lnTo>
                    <a:pt x="6767194" y="491363"/>
                  </a:lnTo>
                  <a:lnTo>
                    <a:pt x="6767194" y="505968"/>
                  </a:lnTo>
                  <a:lnTo>
                    <a:pt x="6261227" y="505968"/>
                  </a:lnTo>
                  <a:lnTo>
                    <a:pt x="6261227" y="491363"/>
                  </a:lnTo>
                  <a:lnTo>
                    <a:pt x="6509257" y="491363"/>
                  </a:lnTo>
                  <a:close/>
                  <a:moveTo>
                    <a:pt x="0" y="1898904"/>
                  </a:moveTo>
                  <a:moveTo>
                    <a:pt x="6536690" y="428626"/>
                  </a:moveTo>
                  <a:lnTo>
                    <a:pt x="6518020" y="428626"/>
                  </a:lnTo>
                  <a:lnTo>
                    <a:pt x="6518020" y="490347"/>
                  </a:lnTo>
                  <a:lnTo>
                    <a:pt x="6536690" y="490347"/>
                  </a:lnTo>
                  <a:lnTo>
                    <a:pt x="6536690" y="428626"/>
                  </a:lnTo>
                  <a:close/>
                  <a:moveTo>
                    <a:pt x="62737" y="1898904"/>
                  </a:moveTo>
                  <a:moveTo>
                    <a:pt x="6563994" y="490347"/>
                  </a:moveTo>
                  <a:lnTo>
                    <a:pt x="6563994" y="428626"/>
                  </a:lnTo>
                  <a:lnTo>
                    <a:pt x="6545452" y="428626"/>
                  </a:lnTo>
                  <a:lnTo>
                    <a:pt x="6545452" y="490347"/>
                  </a:lnTo>
                  <a:lnTo>
                    <a:pt x="6563994" y="490347"/>
                  </a:lnTo>
                  <a:close/>
                  <a:moveTo>
                    <a:pt x="1016" y="1898904"/>
                  </a:moveTo>
                  <a:moveTo>
                    <a:pt x="6368288" y="76835"/>
                  </a:moveTo>
                  <a:lnTo>
                    <a:pt x="6598665" y="76835"/>
                  </a:lnTo>
                  <a:lnTo>
                    <a:pt x="6601205" y="76709"/>
                  </a:lnTo>
                  <a:lnTo>
                    <a:pt x="6603238" y="76074"/>
                  </a:lnTo>
                  <a:lnTo>
                    <a:pt x="6604127" y="75819"/>
                  </a:lnTo>
                  <a:lnTo>
                    <a:pt x="6604889" y="75438"/>
                  </a:lnTo>
                  <a:lnTo>
                    <a:pt x="6605524" y="74931"/>
                  </a:lnTo>
                  <a:lnTo>
                    <a:pt x="6606159" y="74296"/>
                  </a:lnTo>
                  <a:lnTo>
                    <a:pt x="6606666" y="73660"/>
                  </a:lnTo>
                  <a:lnTo>
                    <a:pt x="6607048" y="73153"/>
                  </a:lnTo>
                  <a:lnTo>
                    <a:pt x="6607428" y="72390"/>
                  </a:lnTo>
                  <a:cubicBezTo>
                    <a:pt x="6607513" y="72136"/>
                    <a:pt x="6607597" y="71882"/>
                    <a:pt x="6607682" y="71628"/>
                  </a:cubicBezTo>
                  <a:cubicBezTo>
                    <a:pt x="6607725" y="71289"/>
                    <a:pt x="6607767" y="70951"/>
                    <a:pt x="6607810" y="70612"/>
                  </a:cubicBezTo>
                  <a:cubicBezTo>
                    <a:pt x="6607852" y="70401"/>
                    <a:pt x="6607895" y="70189"/>
                    <a:pt x="6607937" y="69978"/>
                  </a:cubicBezTo>
                  <a:lnTo>
                    <a:pt x="6607937" y="68327"/>
                  </a:lnTo>
                  <a:lnTo>
                    <a:pt x="6607682" y="66422"/>
                  </a:lnTo>
                  <a:lnTo>
                    <a:pt x="6607175" y="64897"/>
                  </a:lnTo>
                  <a:lnTo>
                    <a:pt x="6606413" y="62993"/>
                  </a:lnTo>
                  <a:lnTo>
                    <a:pt x="6605524" y="61596"/>
                  </a:lnTo>
                  <a:lnTo>
                    <a:pt x="6604507" y="59944"/>
                  </a:lnTo>
                  <a:lnTo>
                    <a:pt x="6603365" y="58675"/>
                  </a:lnTo>
                  <a:lnTo>
                    <a:pt x="6602094" y="57531"/>
                  </a:lnTo>
                  <a:lnTo>
                    <a:pt x="6600698" y="56769"/>
                  </a:lnTo>
                  <a:lnTo>
                    <a:pt x="6597777" y="55500"/>
                  </a:lnTo>
                  <a:lnTo>
                    <a:pt x="6594475" y="53975"/>
                  </a:lnTo>
                  <a:lnTo>
                    <a:pt x="6590411" y="52578"/>
                  </a:lnTo>
                  <a:lnTo>
                    <a:pt x="6586092" y="51309"/>
                  </a:lnTo>
                  <a:lnTo>
                    <a:pt x="6581013" y="50165"/>
                  </a:lnTo>
                  <a:lnTo>
                    <a:pt x="6575552" y="49277"/>
                  </a:lnTo>
                  <a:lnTo>
                    <a:pt x="6569328" y="48641"/>
                  </a:lnTo>
                  <a:lnTo>
                    <a:pt x="6562470" y="48515"/>
                  </a:lnTo>
                  <a:lnTo>
                    <a:pt x="6558406" y="48641"/>
                  </a:lnTo>
                  <a:lnTo>
                    <a:pt x="6554469" y="48896"/>
                  </a:lnTo>
                  <a:lnTo>
                    <a:pt x="6546595" y="49277"/>
                  </a:lnTo>
                  <a:lnTo>
                    <a:pt x="6548754" y="46609"/>
                  </a:lnTo>
                  <a:lnTo>
                    <a:pt x="6549898" y="45340"/>
                  </a:lnTo>
                  <a:lnTo>
                    <a:pt x="6550914" y="43688"/>
                  </a:lnTo>
                  <a:lnTo>
                    <a:pt x="6551802" y="41656"/>
                  </a:lnTo>
                  <a:lnTo>
                    <a:pt x="6552438" y="39625"/>
                  </a:lnTo>
                  <a:lnTo>
                    <a:pt x="6552818" y="38354"/>
                  </a:lnTo>
                  <a:cubicBezTo>
                    <a:pt x="6552860" y="37973"/>
                    <a:pt x="6552903" y="37593"/>
                    <a:pt x="6552945" y="37212"/>
                  </a:cubicBezTo>
                  <a:cubicBezTo>
                    <a:pt x="6552988" y="36788"/>
                    <a:pt x="6553030" y="36365"/>
                    <a:pt x="6553073" y="35941"/>
                  </a:cubicBezTo>
                  <a:lnTo>
                    <a:pt x="6553073" y="34544"/>
                  </a:lnTo>
                  <a:lnTo>
                    <a:pt x="6553073" y="33021"/>
                  </a:lnTo>
                  <a:cubicBezTo>
                    <a:pt x="6552946" y="32597"/>
                    <a:pt x="6552818" y="32174"/>
                    <a:pt x="6552691" y="31750"/>
                  </a:cubicBezTo>
                  <a:lnTo>
                    <a:pt x="6552184" y="30481"/>
                  </a:lnTo>
                  <a:lnTo>
                    <a:pt x="6551422" y="29210"/>
                  </a:lnTo>
                  <a:lnTo>
                    <a:pt x="6550532" y="27940"/>
                  </a:lnTo>
                  <a:lnTo>
                    <a:pt x="6549390" y="26925"/>
                  </a:lnTo>
                  <a:lnTo>
                    <a:pt x="6548247" y="25781"/>
                  </a:lnTo>
                  <a:lnTo>
                    <a:pt x="6546850" y="24893"/>
                  </a:lnTo>
                  <a:lnTo>
                    <a:pt x="6545326" y="24003"/>
                  </a:lnTo>
                  <a:lnTo>
                    <a:pt x="6543802" y="23115"/>
                  </a:lnTo>
                  <a:lnTo>
                    <a:pt x="6540245" y="21463"/>
                  </a:lnTo>
                  <a:lnTo>
                    <a:pt x="6536563" y="20066"/>
                  </a:lnTo>
                  <a:lnTo>
                    <a:pt x="6532499" y="18669"/>
                  </a:lnTo>
                  <a:lnTo>
                    <a:pt x="6528435" y="17653"/>
                  </a:lnTo>
                  <a:lnTo>
                    <a:pt x="6524625" y="16637"/>
                  </a:lnTo>
                  <a:lnTo>
                    <a:pt x="6520688" y="16003"/>
                  </a:lnTo>
                  <a:lnTo>
                    <a:pt x="6517131" y="15368"/>
                  </a:lnTo>
                  <a:lnTo>
                    <a:pt x="6511163" y="14732"/>
                  </a:lnTo>
                  <a:lnTo>
                    <a:pt x="6507606" y="14606"/>
                  </a:lnTo>
                  <a:lnTo>
                    <a:pt x="6503797" y="14732"/>
                  </a:lnTo>
                  <a:lnTo>
                    <a:pt x="6498081" y="15113"/>
                  </a:lnTo>
                  <a:lnTo>
                    <a:pt x="6494652" y="15368"/>
                  </a:lnTo>
                  <a:lnTo>
                    <a:pt x="6490969" y="16003"/>
                  </a:lnTo>
                  <a:lnTo>
                    <a:pt x="6487032" y="16637"/>
                  </a:lnTo>
                  <a:lnTo>
                    <a:pt x="6483095" y="17400"/>
                  </a:lnTo>
                  <a:lnTo>
                    <a:pt x="6479286" y="18543"/>
                  </a:lnTo>
                  <a:lnTo>
                    <a:pt x="6475602" y="20066"/>
                  </a:lnTo>
                  <a:lnTo>
                    <a:pt x="6472174" y="21463"/>
                  </a:lnTo>
                  <a:lnTo>
                    <a:pt x="6470523" y="22353"/>
                  </a:lnTo>
                  <a:lnTo>
                    <a:pt x="6469126" y="23241"/>
                  </a:lnTo>
                  <a:lnTo>
                    <a:pt x="6467602" y="24384"/>
                  </a:lnTo>
                  <a:lnTo>
                    <a:pt x="6466331" y="25528"/>
                  </a:lnTo>
                  <a:lnTo>
                    <a:pt x="6465189" y="26544"/>
                  </a:lnTo>
                  <a:lnTo>
                    <a:pt x="6464300" y="27813"/>
                  </a:lnTo>
                  <a:lnTo>
                    <a:pt x="6463411" y="29210"/>
                  </a:lnTo>
                  <a:lnTo>
                    <a:pt x="6462776" y="30481"/>
                  </a:lnTo>
                  <a:cubicBezTo>
                    <a:pt x="6462649" y="31074"/>
                    <a:pt x="6462521" y="31666"/>
                    <a:pt x="6462394" y="32259"/>
                  </a:cubicBezTo>
                  <a:cubicBezTo>
                    <a:pt x="6462309" y="32767"/>
                    <a:pt x="6462225" y="33274"/>
                    <a:pt x="6462140" y="33782"/>
                  </a:cubicBezTo>
                  <a:lnTo>
                    <a:pt x="6462140" y="35053"/>
                  </a:lnTo>
                  <a:cubicBezTo>
                    <a:pt x="6462182" y="35519"/>
                    <a:pt x="6462225" y="35984"/>
                    <a:pt x="6462267" y="36450"/>
                  </a:cubicBezTo>
                  <a:lnTo>
                    <a:pt x="6462649" y="37593"/>
                  </a:lnTo>
                  <a:lnTo>
                    <a:pt x="6463156" y="38862"/>
                  </a:lnTo>
                  <a:lnTo>
                    <a:pt x="6463918" y="40006"/>
                  </a:lnTo>
                  <a:lnTo>
                    <a:pt x="6465062" y="41149"/>
                  </a:lnTo>
                  <a:lnTo>
                    <a:pt x="6466077" y="42165"/>
                  </a:lnTo>
                  <a:lnTo>
                    <a:pt x="6467602" y="43053"/>
                  </a:lnTo>
                  <a:lnTo>
                    <a:pt x="6464427" y="56769"/>
                  </a:lnTo>
                  <a:lnTo>
                    <a:pt x="6459092" y="56134"/>
                  </a:lnTo>
                  <a:lnTo>
                    <a:pt x="6453631" y="56007"/>
                  </a:lnTo>
                  <a:lnTo>
                    <a:pt x="6449567" y="56007"/>
                  </a:lnTo>
                  <a:lnTo>
                    <a:pt x="6445503" y="56262"/>
                  </a:lnTo>
                  <a:lnTo>
                    <a:pt x="6441313" y="56897"/>
                  </a:lnTo>
                  <a:lnTo>
                    <a:pt x="6437122" y="57785"/>
                  </a:lnTo>
                  <a:lnTo>
                    <a:pt x="6433057" y="58928"/>
                  </a:lnTo>
                  <a:lnTo>
                    <a:pt x="6430899" y="59563"/>
                  </a:lnTo>
                  <a:lnTo>
                    <a:pt x="6428866" y="60453"/>
                  </a:lnTo>
                  <a:lnTo>
                    <a:pt x="6426835" y="61469"/>
                  </a:lnTo>
                  <a:lnTo>
                    <a:pt x="6424929" y="62484"/>
                  </a:lnTo>
                  <a:lnTo>
                    <a:pt x="6423152" y="63754"/>
                  </a:lnTo>
                  <a:lnTo>
                    <a:pt x="6421247" y="65025"/>
                  </a:lnTo>
                  <a:lnTo>
                    <a:pt x="6415913" y="63628"/>
                  </a:lnTo>
                  <a:lnTo>
                    <a:pt x="6410705" y="62738"/>
                  </a:lnTo>
                  <a:lnTo>
                    <a:pt x="6405244" y="62231"/>
                  </a:lnTo>
                  <a:lnTo>
                    <a:pt x="6399784" y="61977"/>
                  </a:lnTo>
                  <a:lnTo>
                    <a:pt x="6397243" y="61977"/>
                  </a:lnTo>
                  <a:lnTo>
                    <a:pt x="6392926" y="62231"/>
                  </a:lnTo>
                  <a:lnTo>
                    <a:pt x="6387718" y="62738"/>
                  </a:lnTo>
                  <a:lnTo>
                    <a:pt x="6382003" y="63628"/>
                  </a:lnTo>
                  <a:lnTo>
                    <a:pt x="6379082" y="64135"/>
                  </a:lnTo>
                  <a:lnTo>
                    <a:pt x="6376415" y="64897"/>
                  </a:lnTo>
                  <a:lnTo>
                    <a:pt x="6373876" y="65659"/>
                  </a:lnTo>
                  <a:lnTo>
                    <a:pt x="6371463" y="66422"/>
                  </a:lnTo>
                  <a:lnTo>
                    <a:pt x="6369430" y="67691"/>
                  </a:lnTo>
                  <a:lnTo>
                    <a:pt x="6367652" y="68962"/>
                  </a:lnTo>
                  <a:lnTo>
                    <a:pt x="6367017" y="69597"/>
                  </a:lnTo>
                  <a:lnTo>
                    <a:pt x="6366510" y="70104"/>
                  </a:lnTo>
                  <a:lnTo>
                    <a:pt x="6366002" y="71121"/>
                  </a:lnTo>
                  <a:lnTo>
                    <a:pt x="6365748" y="71882"/>
                  </a:lnTo>
                  <a:cubicBezTo>
                    <a:pt x="6365621" y="72306"/>
                    <a:pt x="6365493" y="72729"/>
                    <a:pt x="6365366" y="73153"/>
                  </a:cubicBezTo>
                  <a:lnTo>
                    <a:pt x="6365366" y="74296"/>
                  </a:lnTo>
                  <a:lnTo>
                    <a:pt x="6365620" y="75057"/>
                  </a:lnTo>
                  <a:lnTo>
                    <a:pt x="6366002" y="75819"/>
                  </a:lnTo>
                  <a:lnTo>
                    <a:pt x="6366510" y="76328"/>
                  </a:lnTo>
                  <a:lnTo>
                    <a:pt x="6367017" y="76709"/>
                  </a:lnTo>
                  <a:lnTo>
                    <a:pt x="6367652" y="76835"/>
                  </a:lnTo>
                  <a:lnTo>
                    <a:pt x="6368288" y="76835"/>
                  </a:lnTo>
                  <a:close/>
                  <a:moveTo>
                    <a:pt x="414528" y="1898904"/>
                  </a:moveTo>
                  <a:moveTo>
                    <a:pt x="6452615" y="41403"/>
                  </a:moveTo>
                  <a:lnTo>
                    <a:pt x="6452615" y="41403"/>
                  </a:lnTo>
                  <a:cubicBezTo>
                    <a:pt x="6452488" y="40895"/>
                    <a:pt x="6452362" y="40386"/>
                    <a:pt x="6452235" y="39878"/>
                  </a:cubicBezTo>
                  <a:cubicBezTo>
                    <a:pt x="6452108" y="39328"/>
                    <a:pt x="6451980" y="38778"/>
                    <a:pt x="6451853" y="38228"/>
                  </a:cubicBezTo>
                  <a:lnTo>
                    <a:pt x="6451727" y="36450"/>
                  </a:lnTo>
                  <a:lnTo>
                    <a:pt x="6451727" y="34544"/>
                  </a:lnTo>
                  <a:lnTo>
                    <a:pt x="6451853" y="31750"/>
                  </a:lnTo>
                  <a:cubicBezTo>
                    <a:pt x="6451938" y="30903"/>
                    <a:pt x="6452022" y="30057"/>
                    <a:pt x="6452107" y="29210"/>
                  </a:cubicBezTo>
                  <a:lnTo>
                    <a:pt x="6452742" y="26925"/>
                  </a:lnTo>
                  <a:lnTo>
                    <a:pt x="6453504" y="24765"/>
                  </a:lnTo>
                  <a:lnTo>
                    <a:pt x="6454520" y="22606"/>
                  </a:lnTo>
                  <a:lnTo>
                    <a:pt x="6455664" y="20575"/>
                  </a:lnTo>
                  <a:lnTo>
                    <a:pt x="6457061" y="18543"/>
                  </a:lnTo>
                  <a:lnTo>
                    <a:pt x="6458585" y="16637"/>
                  </a:lnTo>
                  <a:lnTo>
                    <a:pt x="6460236" y="15113"/>
                  </a:lnTo>
                  <a:lnTo>
                    <a:pt x="6462140" y="13462"/>
                  </a:lnTo>
                  <a:lnTo>
                    <a:pt x="6463791" y="11938"/>
                  </a:lnTo>
                  <a:lnTo>
                    <a:pt x="6465951" y="10669"/>
                  </a:lnTo>
                  <a:lnTo>
                    <a:pt x="6467982" y="9399"/>
                  </a:lnTo>
                  <a:lnTo>
                    <a:pt x="6470141" y="8382"/>
                  </a:lnTo>
                  <a:lnTo>
                    <a:pt x="6472427" y="7240"/>
                  </a:lnTo>
                  <a:lnTo>
                    <a:pt x="6474714" y="6224"/>
                  </a:lnTo>
                  <a:lnTo>
                    <a:pt x="6479413" y="4446"/>
                  </a:lnTo>
                  <a:lnTo>
                    <a:pt x="6484112" y="3303"/>
                  </a:lnTo>
                  <a:lnTo>
                    <a:pt x="6488811" y="2159"/>
                  </a:lnTo>
                  <a:lnTo>
                    <a:pt x="6493382" y="1271"/>
                  </a:lnTo>
                  <a:lnTo>
                    <a:pt x="6497574" y="762"/>
                  </a:lnTo>
                  <a:lnTo>
                    <a:pt x="6501384" y="381"/>
                  </a:lnTo>
                  <a:lnTo>
                    <a:pt x="6504686" y="0"/>
                  </a:lnTo>
                  <a:lnTo>
                    <a:pt x="6507606" y="0"/>
                  </a:lnTo>
                  <a:lnTo>
                    <a:pt x="6510274" y="0"/>
                  </a:lnTo>
                  <a:lnTo>
                    <a:pt x="6513702" y="254"/>
                  </a:lnTo>
                  <a:lnTo>
                    <a:pt x="6517513" y="762"/>
                  </a:lnTo>
                  <a:lnTo>
                    <a:pt x="6521703" y="1271"/>
                  </a:lnTo>
                  <a:lnTo>
                    <a:pt x="6526276" y="2032"/>
                  </a:lnTo>
                  <a:lnTo>
                    <a:pt x="6530848" y="3049"/>
                  </a:lnTo>
                  <a:lnTo>
                    <a:pt x="6535419" y="4446"/>
                  </a:lnTo>
                  <a:lnTo>
                    <a:pt x="6540118" y="6224"/>
                  </a:lnTo>
                  <a:lnTo>
                    <a:pt x="6544690" y="8128"/>
                  </a:lnTo>
                  <a:lnTo>
                    <a:pt x="6546723" y="9272"/>
                  </a:lnTo>
                  <a:lnTo>
                    <a:pt x="6548881" y="10541"/>
                  </a:lnTo>
                  <a:lnTo>
                    <a:pt x="6550914" y="11812"/>
                  </a:lnTo>
                  <a:lnTo>
                    <a:pt x="6552691" y="13335"/>
                  </a:lnTo>
                  <a:lnTo>
                    <a:pt x="6554469" y="14859"/>
                  </a:lnTo>
                  <a:lnTo>
                    <a:pt x="6556248" y="16637"/>
                  </a:lnTo>
                  <a:lnTo>
                    <a:pt x="6557644" y="18288"/>
                  </a:lnTo>
                  <a:lnTo>
                    <a:pt x="6559168" y="20066"/>
                  </a:lnTo>
                  <a:lnTo>
                    <a:pt x="6560439" y="22099"/>
                  </a:lnTo>
                  <a:lnTo>
                    <a:pt x="6561327" y="24131"/>
                  </a:lnTo>
                  <a:lnTo>
                    <a:pt x="6562090" y="26544"/>
                  </a:lnTo>
                  <a:lnTo>
                    <a:pt x="6562852" y="28956"/>
                  </a:lnTo>
                  <a:cubicBezTo>
                    <a:pt x="6562979" y="29803"/>
                    <a:pt x="6563105" y="30650"/>
                    <a:pt x="6563232" y="31497"/>
                  </a:cubicBezTo>
                  <a:cubicBezTo>
                    <a:pt x="6563275" y="32344"/>
                    <a:pt x="6563317" y="33190"/>
                    <a:pt x="6563360" y="34037"/>
                  </a:cubicBezTo>
                  <a:lnTo>
                    <a:pt x="6569837" y="34163"/>
                  </a:lnTo>
                  <a:lnTo>
                    <a:pt x="6575932" y="34672"/>
                  </a:lnTo>
                  <a:lnTo>
                    <a:pt x="6581393" y="35434"/>
                  </a:lnTo>
                  <a:lnTo>
                    <a:pt x="6586601" y="36450"/>
                  </a:lnTo>
                  <a:lnTo>
                    <a:pt x="6591173" y="37974"/>
                  </a:lnTo>
                  <a:lnTo>
                    <a:pt x="6595617" y="39371"/>
                  </a:lnTo>
                  <a:lnTo>
                    <a:pt x="6599554" y="41149"/>
                  </a:lnTo>
                  <a:lnTo>
                    <a:pt x="6602984" y="43053"/>
                  </a:lnTo>
                  <a:lnTo>
                    <a:pt x="6606159" y="45340"/>
                  </a:lnTo>
                  <a:lnTo>
                    <a:pt x="6608826" y="47372"/>
                  </a:lnTo>
                  <a:lnTo>
                    <a:pt x="6611239" y="49784"/>
                  </a:lnTo>
                  <a:lnTo>
                    <a:pt x="6613270" y="52325"/>
                  </a:lnTo>
                  <a:lnTo>
                    <a:pt x="6615049" y="54865"/>
                  </a:lnTo>
                  <a:lnTo>
                    <a:pt x="6616445" y="57531"/>
                  </a:lnTo>
                  <a:lnTo>
                    <a:pt x="6617589" y="60199"/>
                  </a:lnTo>
                  <a:lnTo>
                    <a:pt x="6618604" y="62865"/>
                  </a:lnTo>
                  <a:cubicBezTo>
                    <a:pt x="6618731" y="63796"/>
                    <a:pt x="6618859" y="64728"/>
                    <a:pt x="6618986" y="65659"/>
                  </a:cubicBezTo>
                  <a:lnTo>
                    <a:pt x="6619493" y="68200"/>
                  </a:lnTo>
                  <a:lnTo>
                    <a:pt x="6619493" y="70866"/>
                  </a:lnTo>
                  <a:cubicBezTo>
                    <a:pt x="6619409" y="71713"/>
                    <a:pt x="6619324" y="72559"/>
                    <a:pt x="6619240" y="73406"/>
                  </a:cubicBezTo>
                  <a:lnTo>
                    <a:pt x="6618859" y="75819"/>
                  </a:lnTo>
                  <a:lnTo>
                    <a:pt x="6618224" y="78106"/>
                  </a:lnTo>
                  <a:lnTo>
                    <a:pt x="6617335" y="80265"/>
                  </a:lnTo>
                  <a:lnTo>
                    <a:pt x="6616318" y="82550"/>
                  </a:lnTo>
                  <a:lnTo>
                    <a:pt x="6615176" y="84328"/>
                  </a:lnTo>
                  <a:lnTo>
                    <a:pt x="6613778" y="86106"/>
                  </a:lnTo>
                  <a:lnTo>
                    <a:pt x="6612381" y="87503"/>
                  </a:lnTo>
                  <a:lnTo>
                    <a:pt x="6610730" y="88900"/>
                  </a:lnTo>
                  <a:lnTo>
                    <a:pt x="6608952" y="89916"/>
                  </a:lnTo>
                  <a:lnTo>
                    <a:pt x="6607048" y="90678"/>
                  </a:lnTo>
                  <a:lnTo>
                    <a:pt x="6605015" y="91187"/>
                  </a:lnTo>
                  <a:lnTo>
                    <a:pt x="6602984" y="91440"/>
                  </a:lnTo>
                  <a:lnTo>
                    <a:pt x="6367272" y="91440"/>
                  </a:lnTo>
                  <a:lnTo>
                    <a:pt x="6366002" y="91187"/>
                  </a:lnTo>
                  <a:lnTo>
                    <a:pt x="6364731" y="91059"/>
                  </a:lnTo>
                  <a:lnTo>
                    <a:pt x="6363589" y="90678"/>
                  </a:lnTo>
                  <a:lnTo>
                    <a:pt x="6362445" y="89916"/>
                  </a:lnTo>
                  <a:lnTo>
                    <a:pt x="6361302" y="89281"/>
                  </a:lnTo>
                  <a:lnTo>
                    <a:pt x="6360287" y="88519"/>
                  </a:lnTo>
                  <a:lnTo>
                    <a:pt x="6359398" y="87503"/>
                  </a:lnTo>
                  <a:lnTo>
                    <a:pt x="6358509" y="86360"/>
                  </a:lnTo>
                  <a:lnTo>
                    <a:pt x="6357747" y="85218"/>
                  </a:lnTo>
                  <a:lnTo>
                    <a:pt x="6357112" y="83947"/>
                  </a:lnTo>
                  <a:lnTo>
                    <a:pt x="6356477" y="82550"/>
                  </a:lnTo>
                  <a:lnTo>
                    <a:pt x="6355968" y="81027"/>
                  </a:lnTo>
                  <a:lnTo>
                    <a:pt x="6355588" y="79629"/>
                  </a:lnTo>
                  <a:lnTo>
                    <a:pt x="6355206" y="77978"/>
                  </a:lnTo>
                  <a:cubicBezTo>
                    <a:pt x="6355164" y="77428"/>
                    <a:pt x="6355121" y="76878"/>
                    <a:pt x="6355079" y="76328"/>
                  </a:cubicBezTo>
                  <a:cubicBezTo>
                    <a:pt x="6355037" y="75778"/>
                    <a:pt x="6354994" y="75227"/>
                    <a:pt x="6354952" y="74677"/>
                  </a:cubicBezTo>
                  <a:lnTo>
                    <a:pt x="6354952" y="73153"/>
                  </a:lnTo>
                  <a:cubicBezTo>
                    <a:pt x="6354994" y="72518"/>
                    <a:pt x="6355037" y="71882"/>
                    <a:pt x="6355079" y="71247"/>
                  </a:cubicBezTo>
                  <a:cubicBezTo>
                    <a:pt x="6355206" y="70697"/>
                    <a:pt x="6355334" y="70147"/>
                    <a:pt x="6355461" y="69597"/>
                  </a:cubicBezTo>
                  <a:cubicBezTo>
                    <a:pt x="6355588" y="69047"/>
                    <a:pt x="6355714" y="68496"/>
                    <a:pt x="6355841" y="67946"/>
                  </a:cubicBezTo>
                  <a:lnTo>
                    <a:pt x="6356350" y="66168"/>
                  </a:lnTo>
                  <a:lnTo>
                    <a:pt x="6356985" y="64516"/>
                  </a:lnTo>
                  <a:lnTo>
                    <a:pt x="6357874" y="62865"/>
                  </a:lnTo>
                  <a:lnTo>
                    <a:pt x="6358763" y="61215"/>
                  </a:lnTo>
                  <a:lnTo>
                    <a:pt x="6359905" y="59818"/>
                  </a:lnTo>
                  <a:lnTo>
                    <a:pt x="6361176" y="58166"/>
                  </a:lnTo>
                  <a:lnTo>
                    <a:pt x="6362700" y="56897"/>
                  </a:lnTo>
                  <a:lnTo>
                    <a:pt x="6364224" y="55500"/>
                  </a:lnTo>
                  <a:lnTo>
                    <a:pt x="6366002" y="54356"/>
                  </a:lnTo>
                  <a:lnTo>
                    <a:pt x="6367906" y="53087"/>
                  </a:lnTo>
                  <a:lnTo>
                    <a:pt x="6370192" y="52071"/>
                  </a:lnTo>
                  <a:lnTo>
                    <a:pt x="6372352" y="51309"/>
                  </a:lnTo>
                  <a:lnTo>
                    <a:pt x="6375273" y="50293"/>
                  </a:lnTo>
                  <a:lnTo>
                    <a:pt x="6378448" y="49403"/>
                  </a:lnTo>
                  <a:lnTo>
                    <a:pt x="6381623" y="48896"/>
                  </a:lnTo>
                  <a:lnTo>
                    <a:pt x="6384925" y="48387"/>
                  </a:lnTo>
                  <a:lnTo>
                    <a:pt x="6388480" y="47879"/>
                  </a:lnTo>
                  <a:lnTo>
                    <a:pt x="6392164" y="47625"/>
                  </a:lnTo>
                  <a:lnTo>
                    <a:pt x="6395847" y="47372"/>
                  </a:lnTo>
                  <a:lnTo>
                    <a:pt x="6399784" y="47372"/>
                  </a:lnTo>
                  <a:lnTo>
                    <a:pt x="6405244" y="47372"/>
                  </a:lnTo>
                  <a:lnTo>
                    <a:pt x="6410198" y="48006"/>
                  </a:lnTo>
                  <a:lnTo>
                    <a:pt x="6415151" y="48641"/>
                  </a:lnTo>
                  <a:lnTo>
                    <a:pt x="6419723" y="49784"/>
                  </a:lnTo>
                  <a:lnTo>
                    <a:pt x="6422770" y="48006"/>
                  </a:lnTo>
                  <a:lnTo>
                    <a:pt x="6426327" y="46356"/>
                  </a:lnTo>
                  <a:lnTo>
                    <a:pt x="6430137" y="44831"/>
                  </a:lnTo>
                  <a:lnTo>
                    <a:pt x="6434201" y="43688"/>
                  </a:lnTo>
                  <a:cubicBezTo>
                    <a:pt x="6452615" y="41403"/>
                    <a:pt x="6437079" y="43011"/>
                    <a:pt x="6438518" y="42672"/>
                  </a:cubicBezTo>
                  <a:lnTo>
                    <a:pt x="6443090" y="41910"/>
                  </a:lnTo>
                  <a:lnTo>
                    <a:pt x="6447790" y="41656"/>
                  </a:lnTo>
                  <a:lnTo>
                    <a:pt x="6452615" y="41403"/>
                  </a:lnTo>
                  <a:close/>
                  <a:moveTo>
                    <a:pt x="449960" y="1898904"/>
                  </a:moveTo>
                  <a:moveTo>
                    <a:pt x="6412611" y="425451"/>
                  </a:moveTo>
                  <a:lnTo>
                    <a:pt x="6412611" y="397383"/>
                  </a:lnTo>
                  <a:lnTo>
                    <a:pt x="6422770" y="397383"/>
                  </a:lnTo>
                  <a:lnTo>
                    <a:pt x="6422770" y="425451"/>
                  </a:lnTo>
                  <a:lnTo>
                    <a:pt x="6412611" y="425451"/>
                  </a:lnTo>
                  <a:close/>
                  <a:moveTo>
                    <a:pt x="65912" y="1898904"/>
                  </a:moveTo>
                  <a:moveTo>
                    <a:pt x="6385814" y="425451"/>
                  </a:moveTo>
                  <a:lnTo>
                    <a:pt x="6385814" y="397383"/>
                  </a:lnTo>
                  <a:lnTo>
                    <a:pt x="6395974" y="397383"/>
                  </a:lnTo>
                  <a:lnTo>
                    <a:pt x="6395974" y="425451"/>
                  </a:lnTo>
                  <a:lnTo>
                    <a:pt x="6385814" y="425451"/>
                  </a:lnTo>
                  <a:close/>
                  <a:moveTo>
                    <a:pt x="65912" y="1898904"/>
                  </a:moveTo>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083" name="Rectangle 1083"/>
            <p:cNvSpPr/>
            <p:nvPr/>
          </p:nvSpPr>
          <p:spPr>
            <a:xfrm>
              <a:off x="7701209" y="5541244"/>
              <a:ext cx="618759" cy="340093"/>
            </a:xfrm>
            <a:prstGeom prst="rect">
              <a:avLst/>
            </a:prstGeom>
          </p:spPr>
          <p:txBody>
            <a:bodyPr wrap="none" lIns="0" tIns="0" rIns="0" bIns="0">
              <a:spAutoFit/>
            </a:bodyPr>
            <a:lstStyle/>
            <a:p>
              <a:pPr marL="0" marR="0" lvl="0" indent="0" algn="ctr" defTabSz="913486" rtl="0" eaLnBrk="1" fontAlgn="auto" latinLnBrk="0" hangingPunct="1">
                <a:lnSpc>
                  <a:spcPct val="100000"/>
                </a:lnSpc>
                <a:spcBef>
                  <a:spcPts val="0"/>
                </a:spcBef>
                <a:spcAft>
                  <a:spcPts val="0"/>
                </a:spcAft>
                <a:buClrTx/>
                <a:buSzTx/>
                <a:buFontTx/>
                <a:buNone/>
                <a:tabLst/>
                <a:defRPr/>
              </a:pPr>
              <a:r>
                <a:rPr kumimoji="0" lang="en-US" sz="1104" b="1" i="0" u="none" strike="noStrike" kern="0" cap="none" spc="0" normalizeH="0" baseline="0" noProof="0" dirty="0">
                  <a:ln>
                    <a:noFill/>
                  </a:ln>
                  <a:solidFill>
                    <a:prstClr val="white"/>
                  </a:solidFill>
                  <a:effectLst/>
                  <a:uLnTx/>
                  <a:uFillTx/>
                  <a:latin typeface="EYInterstate-LightBold"/>
                  <a:ea typeface="+mn-ea"/>
                  <a:cs typeface="+mn-cs"/>
                </a:rPr>
                <a:t>Industry </a:t>
              </a:r>
              <a:br>
                <a:rPr kumimoji="0" lang="en-US" sz="1104" b="1" i="0" u="none" strike="noStrike" kern="0" cap="none" spc="0" normalizeH="0" baseline="0" noProof="0" dirty="0">
                  <a:ln>
                    <a:noFill/>
                  </a:ln>
                  <a:solidFill>
                    <a:prstClr val="white"/>
                  </a:solidFill>
                  <a:effectLst/>
                  <a:uLnTx/>
                  <a:uFillTx/>
                  <a:latin typeface="EYInterstate-LightBold"/>
                  <a:ea typeface="+mn-ea"/>
                  <a:cs typeface="+mn-cs"/>
                </a:rPr>
              </a:br>
              <a:r>
                <a:rPr kumimoji="0" lang="en-US" sz="1104" b="1" i="0" u="none" strike="noStrike" kern="0" cap="none" spc="0" normalizeH="0" baseline="0" noProof="0" dirty="0">
                  <a:ln>
                    <a:noFill/>
                  </a:ln>
                  <a:solidFill>
                    <a:prstClr val="white"/>
                  </a:solidFill>
                  <a:effectLst/>
                  <a:uLnTx/>
                  <a:uFillTx/>
                  <a:latin typeface="EYInterstate-LightBold"/>
                  <a:ea typeface="+mn-ea"/>
                  <a:cs typeface="+mn-cs"/>
                </a:rPr>
                <a:t>energy</a:t>
              </a:r>
            </a:p>
          </p:txBody>
        </p:sp>
      </p:grpSp>
      <p:grpSp>
        <p:nvGrpSpPr>
          <p:cNvPr id="17" name="Group 16">
            <a:extLst>
              <a:ext uri="{FF2B5EF4-FFF2-40B4-BE49-F238E27FC236}">
                <a16:creationId xmlns:a16="http://schemas.microsoft.com/office/drawing/2014/main" id="{9150611E-BC5E-42A7-926F-7A535AE9B8F0}"/>
              </a:ext>
            </a:extLst>
          </p:cNvPr>
          <p:cNvGrpSpPr/>
          <p:nvPr/>
        </p:nvGrpSpPr>
        <p:grpSpPr>
          <a:xfrm>
            <a:off x="9102896" y="4957507"/>
            <a:ext cx="586394" cy="849640"/>
            <a:chOff x="9107637" y="4958302"/>
            <a:chExt cx="586699" cy="850083"/>
          </a:xfrm>
          <a:solidFill>
            <a:schemeClr val="bg1"/>
          </a:solidFill>
        </p:grpSpPr>
        <p:sp>
          <p:nvSpPr>
            <p:cNvPr id="804" name="Freeform 804"/>
            <p:cNvSpPr/>
            <p:nvPr/>
          </p:nvSpPr>
          <p:spPr>
            <a:xfrm>
              <a:off x="9282549" y="5010088"/>
              <a:ext cx="121858" cy="453916"/>
            </a:xfrm>
            <a:custGeom>
              <a:avLst/>
              <a:gdLst/>
              <a:ahLst/>
              <a:cxnLst/>
              <a:rect l="0" t="0" r="0" b="0"/>
              <a:pathLst>
                <a:path w="121921" h="454152">
                  <a:moveTo>
                    <a:pt x="121921" y="454152"/>
                  </a:moveTo>
                  <a:lnTo>
                    <a:pt x="0" y="454152"/>
                  </a:lnTo>
                  <a:lnTo>
                    <a:pt x="0" y="0"/>
                  </a:lnTo>
                  <a:lnTo>
                    <a:pt x="121921" y="0"/>
                  </a:lnTo>
                  <a:lnTo>
                    <a:pt x="121921" y="454152"/>
                  </a:lnTo>
                  <a:close/>
                  <a:moveTo>
                    <a:pt x="-7891271" y="1847088"/>
                  </a:moveTo>
                  <a:moveTo>
                    <a:pt x="8510" y="443103"/>
                  </a:moveTo>
                  <a:lnTo>
                    <a:pt x="113411" y="443103"/>
                  </a:lnTo>
                  <a:lnTo>
                    <a:pt x="113411" y="11049"/>
                  </a:lnTo>
                  <a:lnTo>
                    <a:pt x="8510" y="11049"/>
                  </a:lnTo>
                  <a:lnTo>
                    <a:pt x="8510" y="443103"/>
                  </a:lnTo>
                  <a:close/>
                  <a:moveTo>
                    <a:pt x="-7880222" y="1847088"/>
                  </a:moveTo>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05" name="Freeform 805"/>
            <p:cNvSpPr/>
            <p:nvPr/>
          </p:nvSpPr>
          <p:spPr>
            <a:xfrm>
              <a:off x="9163740" y="5226386"/>
              <a:ext cx="127950" cy="237619"/>
            </a:xfrm>
            <a:custGeom>
              <a:avLst/>
              <a:gdLst/>
              <a:ahLst/>
              <a:cxnLst/>
              <a:rect l="0" t="0" r="0" b="0"/>
              <a:pathLst>
                <a:path w="128017" h="237743">
                  <a:moveTo>
                    <a:pt x="128017" y="237743"/>
                  </a:moveTo>
                  <a:lnTo>
                    <a:pt x="0" y="237743"/>
                  </a:lnTo>
                  <a:lnTo>
                    <a:pt x="0" y="0"/>
                  </a:lnTo>
                  <a:lnTo>
                    <a:pt x="128017" y="0"/>
                  </a:lnTo>
                  <a:lnTo>
                    <a:pt x="128017" y="237743"/>
                  </a:lnTo>
                  <a:close/>
                  <a:moveTo>
                    <a:pt x="-7772399" y="1630679"/>
                  </a:moveTo>
                  <a:moveTo>
                    <a:pt x="8763" y="226694"/>
                  </a:moveTo>
                  <a:lnTo>
                    <a:pt x="119254" y="226694"/>
                  </a:lnTo>
                  <a:lnTo>
                    <a:pt x="119254" y="11049"/>
                  </a:lnTo>
                  <a:lnTo>
                    <a:pt x="8763" y="11049"/>
                  </a:lnTo>
                  <a:lnTo>
                    <a:pt x="8763" y="226694"/>
                  </a:lnTo>
                  <a:close/>
                  <a:moveTo>
                    <a:pt x="-7761350" y="1630679"/>
                  </a:moveTo>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06" name="Freeform 806"/>
            <p:cNvSpPr/>
            <p:nvPr/>
          </p:nvSpPr>
          <p:spPr>
            <a:xfrm>
              <a:off x="9188111" y="5262941"/>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07" name="Freeform 807"/>
            <p:cNvSpPr/>
            <p:nvPr/>
          </p:nvSpPr>
          <p:spPr>
            <a:xfrm>
              <a:off x="9209437" y="5262941"/>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08" name="Freeform 808"/>
            <p:cNvSpPr/>
            <p:nvPr/>
          </p:nvSpPr>
          <p:spPr>
            <a:xfrm>
              <a:off x="9233808" y="5262941"/>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09" name="Freeform 809"/>
            <p:cNvSpPr/>
            <p:nvPr/>
          </p:nvSpPr>
          <p:spPr>
            <a:xfrm>
              <a:off x="9258179" y="5262941"/>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10" name="Freeform 810"/>
            <p:cNvSpPr/>
            <p:nvPr/>
          </p:nvSpPr>
          <p:spPr>
            <a:xfrm>
              <a:off x="9188111" y="5293406"/>
              <a:ext cx="9139" cy="15232"/>
            </a:xfrm>
            <a:custGeom>
              <a:avLst/>
              <a:gdLst/>
              <a:ahLst/>
              <a:cxnLst/>
              <a:rect l="0" t="0" r="0" b="0"/>
              <a:pathLst>
                <a:path w="9144" h="15240">
                  <a:moveTo>
                    <a:pt x="0" y="15240"/>
                  </a:moveTo>
                  <a:lnTo>
                    <a:pt x="9144" y="15240"/>
                  </a:lnTo>
                  <a:lnTo>
                    <a:pt x="9144" y="0"/>
                  </a:lnTo>
                  <a:lnTo>
                    <a:pt x="0" y="0"/>
                  </a:lnTo>
                  <a:lnTo>
                    <a:pt x="0" y="1524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11" name="Freeform 811"/>
            <p:cNvSpPr/>
            <p:nvPr/>
          </p:nvSpPr>
          <p:spPr>
            <a:xfrm>
              <a:off x="9209437" y="5293406"/>
              <a:ext cx="9138" cy="15232"/>
            </a:xfrm>
            <a:custGeom>
              <a:avLst/>
              <a:gdLst/>
              <a:ahLst/>
              <a:cxnLst/>
              <a:rect l="0" t="0" r="0" b="0"/>
              <a:pathLst>
                <a:path w="9143" h="15240">
                  <a:moveTo>
                    <a:pt x="0" y="15240"/>
                  </a:moveTo>
                  <a:lnTo>
                    <a:pt x="9143" y="15240"/>
                  </a:lnTo>
                  <a:lnTo>
                    <a:pt x="9143" y="0"/>
                  </a:lnTo>
                  <a:lnTo>
                    <a:pt x="0" y="0"/>
                  </a:lnTo>
                  <a:lnTo>
                    <a:pt x="0" y="1524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12" name="Freeform 812"/>
            <p:cNvSpPr/>
            <p:nvPr/>
          </p:nvSpPr>
          <p:spPr>
            <a:xfrm>
              <a:off x="9233808" y="5293406"/>
              <a:ext cx="9138" cy="15232"/>
            </a:xfrm>
            <a:custGeom>
              <a:avLst/>
              <a:gdLst/>
              <a:ahLst/>
              <a:cxnLst/>
              <a:rect l="0" t="0" r="0" b="0"/>
              <a:pathLst>
                <a:path w="9143" h="15240">
                  <a:moveTo>
                    <a:pt x="0" y="15240"/>
                  </a:moveTo>
                  <a:lnTo>
                    <a:pt x="9143" y="15240"/>
                  </a:lnTo>
                  <a:lnTo>
                    <a:pt x="9143" y="0"/>
                  </a:lnTo>
                  <a:lnTo>
                    <a:pt x="0" y="0"/>
                  </a:lnTo>
                  <a:lnTo>
                    <a:pt x="0" y="1524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13" name="Freeform 813"/>
            <p:cNvSpPr/>
            <p:nvPr/>
          </p:nvSpPr>
          <p:spPr>
            <a:xfrm>
              <a:off x="9258179" y="5293406"/>
              <a:ext cx="9139" cy="15232"/>
            </a:xfrm>
            <a:custGeom>
              <a:avLst/>
              <a:gdLst/>
              <a:ahLst/>
              <a:cxnLst/>
              <a:rect l="0" t="0" r="0" b="0"/>
              <a:pathLst>
                <a:path w="9144" h="15240">
                  <a:moveTo>
                    <a:pt x="0" y="15240"/>
                  </a:moveTo>
                  <a:lnTo>
                    <a:pt x="9144" y="15240"/>
                  </a:lnTo>
                  <a:lnTo>
                    <a:pt x="9144" y="0"/>
                  </a:lnTo>
                  <a:lnTo>
                    <a:pt x="0" y="0"/>
                  </a:lnTo>
                  <a:lnTo>
                    <a:pt x="0" y="1524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14" name="Freeform 814"/>
            <p:cNvSpPr/>
            <p:nvPr/>
          </p:nvSpPr>
          <p:spPr>
            <a:xfrm>
              <a:off x="9188111" y="5320824"/>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15" name="Freeform 815"/>
            <p:cNvSpPr/>
            <p:nvPr/>
          </p:nvSpPr>
          <p:spPr>
            <a:xfrm>
              <a:off x="9209437" y="5320824"/>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16" name="Freeform 816"/>
            <p:cNvSpPr/>
            <p:nvPr/>
          </p:nvSpPr>
          <p:spPr>
            <a:xfrm>
              <a:off x="9233808" y="5320824"/>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17" name="Freeform 817"/>
            <p:cNvSpPr/>
            <p:nvPr/>
          </p:nvSpPr>
          <p:spPr>
            <a:xfrm>
              <a:off x="9258179" y="5320824"/>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18" name="Freeform 818"/>
            <p:cNvSpPr/>
            <p:nvPr/>
          </p:nvSpPr>
          <p:spPr>
            <a:xfrm>
              <a:off x="9188111" y="5351287"/>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19" name="Freeform 819"/>
            <p:cNvSpPr/>
            <p:nvPr/>
          </p:nvSpPr>
          <p:spPr>
            <a:xfrm>
              <a:off x="9209437" y="5351287"/>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20" name="Freeform 820"/>
            <p:cNvSpPr/>
            <p:nvPr/>
          </p:nvSpPr>
          <p:spPr>
            <a:xfrm>
              <a:off x="9233808" y="5351287"/>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21" name="Freeform 821"/>
            <p:cNvSpPr/>
            <p:nvPr/>
          </p:nvSpPr>
          <p:spPr>
            <a:xfrm>
              <a:off x="9258179" y="5351287"/>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22" name="Freeform 822"/>
            <p:cNvSpPr/>
            <p:nvPr/>
          </p:nvSpPr>
          <p:spPr>
            <a:xfrm>
              <a:off x="9188111" y="5384798"/>
              <a:ext cx="79208" cy="45696"/>
            </a:xfrm>
            <a:custGeom>
              <a:avLst/>
              <a:gdLst/>
              <a:ahLst/>
              <a:cxnLst/>
              <a:rect l="0" t="0" r="0" b="0"/>
              <a:pathLst>
                <a:path w="79249" h="45720">
                  <a:moveTo>
                    <a:pt x="79249" y="45720"/>
                  </a:moveTo>
                  <a:lnTo>
                    <a:pt x="0" y="45720"/>
                  </a:lnTo>
                  <a:lnTo>
                    <a:pt x="0" y="0"/>
                  </a:lnTo>
                  <a:lnTo>
                    <a:pt x="79249" y="0"/>
                  </a:lnTo>
                  <a:lnTo>
                    <a:pt x="79249" y="45720"/>
                  </a:lnTo>
                  <a:close/>
                  <a:moveTo>
                    <a:pt x="-7763256" y="1472183"/>
                  </a:moveTo>
                  <a:moveTo>
                    <a:pt x="8637" y="34289"/>
                  </a:moveTo>
                  <a:lnTo>
                    <a:pt x="70612" y="34289"/>
                  </a:lnTo>
                  <a:lnTo>
                    <a:pt x="70612" y="11430"/>
                  </a:lnTo>
                  <a:lnTo>
                    <a:pt x="8637" y="11430"/>
                  </a:lnTo>
                  <a:lnTo>
                    <a:pt x="8637" y="34289"/>
                  </a:lnTo>
                  <a:close/>
                  <a:moveTo>
                    <a:pt x="-7751825" y="1472183"/>
                  </a:moveTo>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23" name="Freeform 823"/>
            <p:cNvSpPr/>
            <p:nvPr/>
          </p:nvSpPr>
          <p:spPr>
            <a:xfrm>
              <a:off x="9398313" y="5156319"/>
              <a:ext cx="124904" cy="307687"/>
            </a:xfrm>
            <a:custGeom>
              <a:avLst/>
              <a:gdLst/>
              <a:ahLst/>
              <a:cxnLst/>
              <a:rect l="0" t="0" r="0" b="0"/>
              <a:pathLst>
                <a:path w="124969" h="307847">
                  <a:moveTo>
                    <a:pt x="124969" y="307847"/>
                  </a:moveTo>
                  <a:lnTo>
                    <a:pt x="0" y="307847"/>
                  </a:lnTo>
                  <a:lnTo>
                    <a:pt x="0" y="0"/>
                  </a:lnTo>
                  <a:lnTo>
                    <a:pt x="124969" y="0"/>
                  </a:lnTo>
                  <a:lnTo>
                    <a:pt x="124969" y="153923"/>
                  </a:lnTo>
                  <a:lnTo>
                    <a:pt x="116460" y="153923"/>
                  </a:lnTo>
                  <a:lnTo>
                    <a:pt x="116460" y="11048"/>
                  </a:lnTo>
                  <a:lnTo>
                    <a:pt x="8510" y="11048"/>
                  </a:lnTo>
                  <a:lnTo>
                    <a:pt x="8510" y="296798"/>
                  </a:lnTo>
                  <a:lnTo>
                    <a:pt x="124969" y="296798"/>
                  </a:lnTo>
                  <a:lnTo>
                    <a:pt x="124969" y="307847"/>
                  </a:lnTo>
                  <a:close/>
                  <a:moveTo>
                    <a:pt x="-8007095" y="1700783"/>
                  </a:moveTo>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24" name="Freeform 824"/>
            <p:cNvSpPr/>
            <p:nvPr/>
          </p:nvSpPr>
          <p:spPr>
            <a:xfrm>
              <a:off x="9422685" y="5262941"/>
              <a:ext cx="6092" cy="18278"/>
            </a:xfrm>
            <a:custGeom>
              <a:avLst/>
              <a:gdLst/>
              <a:ahLst/>
              <a:cxnLst/>
              <a:rect l="0" t="0" r="0" b="0"/>
              <a:pathLst>
                <a:path w="6095" h="18288">
                  <a:moveTo>
                    <a:pt x="0" y="18288"/>
                  </a:moveTo>
                  <a:lnTo>
                    <a:pt x="6095" y="18288"/>
                  </a:lnTo>
                  <a:lnTo>
                    <a:pt x="6095"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25" name="Freeform 825"/>
            <p:cNvSpPr/>
            <p:nvPr/>
          </p:nvSpPr>
          <p:spPr>
            <a:xfrm>
              <a:off x="9444011" y="5262941"/>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26" name="Freeform 826"/>
            <p:cNvSpPr/>
            <p:nvPr/>
          </p:nvSpPr>
          <p:spPr>
            <a:xfrm>
              <a:off x="9468381" y="5262941"/>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27" name="Freeform 827"/>
            <p:cNvSpPr/>
            <p:nvPr/>
          </p:nvSpPr>
          <p:spPr>
            <a:xfrm>
              <a:off x="9492752" y="5262941"/>
              <a:ext cx="6093" cy="18278"/>
            </a:xfrm>
            <a:custGeom>
              <a:avLst/>
              <a:gdLst/>
              <a:ahLst/>
              <a:cxnLst/>
              <a:rect l="0" t="0" r="0" b="0"/>
              <a:pathLst>
                <a:path w="6096" h="18288">
                  <a:moveTo>
                    <a:pt x="0" y="18288"/>
                  </a:moveTo>
                  <a:lnTo>
                    <a:pt x="6096" y="18288"/>
                  </a:lnTo>
                  <a:lnTo>
                    <a:pt x="6096"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28" name="Freeform 828"/>
            <p:cNvSpPr/>
            <p:nvPr/>
          </p:nvSpPr>
          <p:spPr>
            <a:xfrm>
              <a:off x="9422685" y="5229431"/>
              <a:ext cx="6092" cy="15232"/>
            </a:xfrm>
            <a:custGeom>
              <a:avLst/>
              <a:gdLst/>
              <a:ahLst/>
              <a:cxnLst/>
              <a:rect l="0" t="0" r="0" b="0"/>
              <a:pathLst>
                <a:path w="6095" h="15240">
                  <a:moveTo>
                    <a:pt x="0" y="15240"/>
                  </a:moveTo>
                  <a:lnTo>
                    <a:pt x="6095" y="15240"/>
                  </a:lnTo>
                  <a:lnTo>
                    <a:pt x="6095" y="0"/>
                  </a:lnTo>
                  <a:lnTo>
                    <a:pt x="0" y="0"/>
                  </a:lnTo>
                  <a:lnTo>
                    <a:pt x="0" y="1524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29" name="Freeform 829"/>
            <p:cNvSpPr/>
            <p:nvPr/>
          </p:nvSpPr>
          <p:spPr>
            <a:xfrm>
              <a:off x="9444011" y="5229431"/>
              <a:ext cx="9138" cy="15232"/>
            </a:xfrm>
            <a:custGeom>
              <a:avLst/>
              <a:gdLst/>
              <a:ahLst/>
              <a:cxnLst/>
              <a:rect l="0" t="0" r="0" b="0"/>
              <a:pathLst>
                <a:path w="9143" h="15240">
                  <a:moveTo>
                    <a:pt x="0" y="15240"/>
                  </a:moveTo>
                  <a:lnTo>
                    <a:pt x="9143" y="15240"/>
                  </a:lnTo>
                  <a:lnTo>
                    <a:pt x="9143" y="0"/>
                  </a:lnTo>
                  <a:lnTo>
                    <a:pt x="0" y="0"/>
                  </a:lnTo>
                  <a:lnTo>
                    <a:pt x="0" y="1524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30" name="Freeform 830"/>
            <p:cNvSpPr/>
            <p:nvPr/>
          </p:nvSpPr>
          <p:spPr>
            <a:xfrm>
              <a:off x="9468381" y="5229431"/>
              <a:ext cx="9139" cy="15232"/>
            </a:xfrm>
            <a:custGeom>
              <a:avLst/>
              <a:gdLst/>
              <a:ahLst/>
              <a:cxnLst/>
              <a:rect l="0" t="0" r="0" b="0"/>
              <a:pathLst>
                <a:path w="9144" h="15240">
                  <a:moveTo>
                    <a:pt x="0" y="15240"/>
                  </a:moveTo>
                  <a:lnTo>
                    <a:pt x="9144" y="15240"/>
                  </a:lnTo>
                  <a:lnTo>
                    <a:pt x="9144" y="0"/>
                  </a:lnTo>
                  <a:lnTo>
                    <a:pt x="0" y="0"/>
                  </a:lnTo>
                  <a:lnTo>
                    <a:pt x="0" y="1524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31" name="Freeform 831"/>
            <p:cNvSpPr/>
            <p:nvPr/>
          </p:nvSpPr>
          <p:spPr>
            <a:xfrm>
              <a:off x="9492752" y="5229431"/>
              <a:ext cx="6093" cy="15232"/>
            </a:xfrm>
            <a:custGeom>
              <a:avLst/>
              <a:gdLst/>
              <a:ahLst/>
              <a:cxnLst/>
              <a:rect l="0" t="0" r="0" b="0"/>
              <a:pathLst>
                <a:path w="6096" h="15240">
                  <a:moveTo>
                    <a:pt x="0" y="15240"/>
                  </a:moveTo>
                  <a:lnTo>
                    <a:pt x="6096" y="15240"/>
                  </a:lnTo>
                  <a:lnTo>
                    <a:pt x="6096" y="0"/>
                  </a:lnTo>
                  <a:lnTo>
                    <a:pt x="0" y="0"/>
                  </a:lnTo>
                  <a:lnTo>
                    <a:pt x="0" y="1524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32" name="Freeform 832"/>
            <p:cNvSpPr/>
            <p:nvPr/>
          </p:nvSpPr>
          <p:spPr>
            <a:xfrm>
              <a:off x="9422685" y="5192874"/>
              <a:ext cx="6092" cy="18278"/>
            </a:xfrm>
            <a:custGeom>
              <a:avLst/>
              <a:gdLst/>
              <a:ahLst/>
              <a:cxnLst/>
              <a:rect l="0" t="0" r="0" b="0"/>
              <a:pathLst>
                <a:path w="6095" h="18288">
                  <a:moveTo>
                    <a:pt x="0" y="18288"/>
                  </a:moveTo>
                  <a:lnTo>
                    <a:pt x="6095" y="18288"/>
                  </a:lnTo>
                  <a:lnTo>
                    <a:pt x="6095"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33" name="Freeform 833"/>
            <p:cNvSpPr/>
            <p:nvPr/>
          </p:nvSpPr>
          <p:spPr>
            <a:xfrm>
              <a:off x="9444011" y="5192874"/>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34" name="Freeform 834"/>
            <p:cNvSpPr/>
            <p:nvPr/>
          </p:nvSpPr>
          <p:spPr>
            <a:xfrm>
              <a:off x="9468381" y="5192874"/>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35" name="Freeform 835"/>
            <p:cNvSpPr/>
            <p:nvPr/>
          </p:nvSpPr>
          <p:spPr>
            <a:xfrm>
              <a:off x="9492752" y="5192874"/>
              <a:ext cx="6093" cy="18278"/>
            </a:xfrm>
            <a:custGeom>
              <a:avLst/>
              <a:gdLst/>
              <a:ahLst/>
              <a:cxnLst/>
              <a:rect l="0" t="0" r="0" b="0"/>
              <a:pathLst>
                <a:path w="6096" h="18288">
                  <a:moveTo>
                    <a:pt x="0" y="18288"/>
                  </a:moveTo>
                  <a:lnTo>
                    <a:pt x="6096" y="18288"/>
                  </a:lnTo>
                  <a:lnTo>
                    <a:pt x="6096"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36" name="Freeform 836"/>
            <p:cNvSpPr/>
            <p:nvPr/>
          </p:nvSpPr>
          <p:spPr>
            <a:xfrm>
              <a:off x="9422685" y="5293406"/>
              <a:ext cx="6092" cy="15232"/>
            </a:xfrm>
            <a:custGeom>
              <a:avLst/>
              <a:gdLst/>
              <a:ahLst/>
              <a:cxnLst/>
              <a:rect l="0" t="0" r="0" b="0"/>
              <a:pathLst>
                <a:path w="6095" h="15240">
                  <a:moveTo>
                    <a:pt x="0" y="15240"/>
                  </a:moveTo>
                  <a:lnTo>
                    <a:pt x="6095" y="15240"/>
                  </a:lnTo>
                  <a:lnTo>
                    <a:pt x="6095" y="0"/>
                  </a:lnTo>
                  <a:lnTo>
                    <a:pt x="0" y="0"/>
                  </a:lnTo>
                  <a:lnTo>
                    <a:pt x="0" y="1524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37" name="Freeform 837"/>
            <p:cNvSpPr/>
            <p:nvPr/>
          </p:nvSpPr>
          <p:spPr>
            <a:xfrm>
              <a:off x="9444011" y="5293406"/>
              <a:ext cx="9138" cy="15232"/>
            </a:xfrm>
            <a:custGeom>
              <a:avLst/>
              <a:gdLst/>
              <a:ahLst/>
              <a:cxnLst/>
              <a:rect l="0" t="0" r="0" b="0"/>
              <a:pathLst>
                <a:path w="9143" h="15240">
                  <a:moveTo>
                    <a:pt x="0" y="15240"/>
                  </a:moveTo>
                  <a:lnTo>
                    <a:pt x="9143" y="15240"/>
                  </a:lnTo>
                  <a:lnTo>
                    <a:pt x="9143" y="0"/>
                  </a:lnTo>
                  <a:lnTo>
                    <a:pt x="0" y="0"/>
                  </a:lnTo>
                  <a:lnTo>
                    <a:pt x="0" y="1524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38" name="Freeform 838"/>
            <p:cNvSpPr/>
            <p:nvPr/>
          </p:nvSpPr>
          <p:spPr>
            <a:xfrm>
              <a:off x="9468381" y="5293406"/>
              <a:ext cx="9139" cy="15232"/>
            </a:xfrm>
            <a:custGeom>
              <a:avLst/>
              <a:gdLst/>
              <a:ahLst/>
              <a:cxnLst/>
              <a:rect l="0" t="0" r="0" b="0"/>
              <a:pathLst>
                <a:path w="9144" h="15240">
                  <a:moveTo>
                    <a:pt x="0" y="15240"/>
                  </a:moveTo>
                  <a:lnTo>
                    <a:pt x="9144" y="15240"/>
                  </a:lnTo>
                  <a:lnTo>
                    <a:pt x="9144" y="0"/>
                  </a:lnTo>
                  <a:lnTo>
                    <a:pt x="0" y="0"/>
                  </a:lnTo>
                  <a:lnTo>
                    <a:pt x="0" y="1524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39" name="Freeform 839"/>
            <p:cNvSpPr/>
            <p:nvPr/>
          </p:nvSpPr>
          <p:spPr>
            <a:xfrm>
              <a:off x="9492752" y="5293406"/>
              <a:ext cx="6093" cy="15232"/>
            </a:xfrm>
            <a:custGeom>
              <a:avLst/>
              <a:gdLst/>
              <a:ahLst/>
              <a:cxnLst/>
              <a:rect l="0" t="0" r="0" b="0"/>
              <a:pathLst>
                <a:path w="6096" h="15240">
                  <a:moveTo>
                    <a:pt x="0" y="15240"/>
                  </a:moveTo>
                  <a:lnTo>
                    <a:pt x="6096" y="15240"/>
                  </a:lnTo>
                  <a:lnTo>
                    <a:pt x="6096" y="0"/>
                  </a:lnTo>
                  <a:lnTo>
                    <a:pt x="0" y="0"/>
                  </a:lnTo>
                  <a:lnTo>
                    <a:pt x="0" y="1524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40" name="Freeform 840"/>
            <p:cNvSpPr/>
            <p:nvPr/>
          </p:nvSpPr>
          <p:spPr>
            <a:xfrm>
              <a:off x="9422685" y="5320824"/>
              <a:ext cx="6092" cy="18278"/>
            </a:xfrm>
            <a:custGeom>
              <a:avLst/>
              <a:gdLst/>
              <a:ahLst/>
              <a:cxnLst/>
              <a:rect l="0" t="0" r="0" b="0"/>
              <a:pathLst>
                <a:path w="6095" h="18288">
                  <a:moveTo>
                    <a:pt x="0" y="18288"/>
                  </a:moveTo>
                  <a:lnTo>
                    <a:pt x="6095" y="18288"/>
                  </a:lnTo>
                  <a:lnTo>
                    <a:pt x="6095"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41" name="Freeform 841"/>
            <p:cNvSpPr/>
            <p:nvPr/>
          </p:nvSpPr>
          <p:spPr>
            <a:xfrm>
              <a:off x="9444011" y="5320824"/>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42" name="Freeform 842"/>
            <p:cNvSpPr/>
            <p:nvPr/>
          </p:nvSpPr>
          <p:spPr>
            <a:xfrm>
              <a:off x="9468381" y="5320824"/>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43" name="Freeform 843"/>
            <p:cNvSpPr/>
            <p:nvPr/>
          </p:nvSpPr>
          <p:spPr>
            <a:xfrm>
              <a:off x="9492752" y="5320824"/>
              <a:ext cx="6093" cy="18278"/>
            </a:xfrm>
            <a:custGeom>
              <a:avLst/>
              <a:gdLst/>
              <a:ahLst/>
              <a:cxnLst/>
              <a:rect l="0" t="0" r="0" b="0"/>
              <a:pathLst>
                <a:path w="6096" h="18288">
                  <a:moveTo>
                    <a:pt x="0" y="18288"/>
                  </a:moveTo>
                  <a:lnTo>
                    <a:pt x="6096" y="18288"/>
                  </a:lnTo>
                  <a:lnTo>
                    <a:pt x="6096"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44" name="Freeform 844"/>
            <p:cNvSpPr/>
            <p:nvPr/>
          </p:nvSpPr>
          <p:spPr>
            <a:xfrm>
              <a:off x="9422685" y="5351287"/>
              <a:ext cx="6092" cy="18278"/>
            </a:xfrm>
            <a:custGeom>
              <a:avLst/>
              <a:gdLst/>
              <a:ahLst/>
              <a:cxnLst/>
              <a:rect l="0" t="0" r="0" b="0"/>
              <a:pathLst>
                <a:path w="6095" h="18288">
                  <a:moveTo>
                    <a:pt x="0" y="18288"/>
                  </a:moveTo>
                  <a:lnTo>
                    <a:pt x="6095" y="18288"/>
                  </a:lnTo>
                  <a:lnTo>
                    <a:pt x="6095"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45" name="Freeform 845"/>
            <p:cNvSpPr/>
            <p:nvPr/>
          </p:nvSpPr>
          <p:spPr>
            <a:xfrm>
              <a:off x="9444011" y="5351287"/>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46" name="Freeform 846"/>
            <p:cNvSpPr/>
            <p:nvPr/>
          </p:nvSpPr>
          <p:spPr>
            <a:xfrm>
              <a:off x="9468381" y="5351287"/>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47" name="Freeform 847"/>
            <p:cNvSpPr/>
            <p:nvPr/>
          </p:nvSpPr>
          <p:spPr>
            <a:xfrm>
              <a:off x="9492752" y="5351287"/>
              <a:ext cx="6093" cy="18278"/>
            </a:xfrm>
            <a:custGeom>
              <a:avLst/>
              <a:gdLst/>
              <a:ahLst/>
              <a:cxnLst/>
              <a:rect l="0" t="0" r="0" b="0"/>
              <a:pathLst>
                <a:path w="6096" h="18288">
                  <a:moveTo>
                    <a:pt x="0" y="18288"/>
                  </a:moveTo>
                  <a:lnTo>
                    <a:pt x="6096" y="18288"/>
                  </a:lnTo>
                  <a:lnTo>
                    <a:pt x="6096"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48" name="Freeform 848"/>
            <p:cNvSpPr/>
            <p:nvPr/>
          </p:nvSpPr>
          <p:spPr>
            <a:xfrm>
              <a:off x="9303875" y="5262941"/>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49" name="Freeform 849"/>
            <p:cNvSpPr/>
            <p:nvPr/>
          </p:nvSpPr>
          <p:spPr>
            <a:xfrm>
              <a:off x="9328247" y="5262941"/>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50" name="Freeform 850"/>
            <p:cNvSpPr/>
            <p:nvPr/>
          </p:nvSpPr>
          <p:spPr>
            <a:xfrm>
              <a:off x="9349572" y="5262941"/>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51" name="Freeform 851"/>
            <p:cNvSpPr/>
            <p:nvPr/>
          </p:nvSpPr>
          <p:spPr>
            <a:xfrm>
              <a:off x="9373943" y="5262941"/>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52" name="Freeform 852"/>
            <p:cNvSpPr/>
            <p:nvPr/>
          </p:nvSpPr>
          <p:spPr>
            <a:xfrm>
              <a:off x="9303875" y="5229431"/>
              <a:ext cx="9139" cy="15232"/>
            </a:xfrm>
            <a:custGeom>
              <a:avLst/>
              <a:gdLst/>
              <a:ahLst/>
              <a:cxnLst/>
              <a:rect l="0" t="0" r="0" b="0"/>
              <a:pathLst>
                <a:path w="9144" h="15240">
                  <a:moveTo>
                    <a:pt x="0" y="15240"/>
                  </a:moveTo>
                  <a:lnTo>
                    <a:pt x="9144" y="15240"/>
                  </a:lnTo>
                  <a:lnTo>
                    <a:pt x="9144" y="0"/>
                  </a:lnTo>
                  <a:lnTo>
                    <a:pt x="0" y="0"/>
                  </a:lnTo>
                  <a:lnTo>
                    <a:pt x="0" y="1524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53" name="Freeform 853"/>
            <p:cNvSpPr/>
            <p:nvPr/>
          </p:nvSpPr>
          <p:spPr>
            <a:xfrm>
              <a:off x="9328247" y="5229431"/>
              <a:ext cx="9138" cy="15232"/>
            </a:xfrm>
            <a:custGeom>
              <a:avLst/>
              <a:gdLst/>
              <a:ahLst/>
              <a:cxnLst/>
              <a:rect l="0" t="0" r="0" b="0"/>
              <a:pathLst>
                <a:path w="9143" h="15240">
                  <a:moveTo>
                    <a:pt x="0" y="15240"/>
                  </a:moveTo>
                  <a:lnTo>
                    <a:pt x="9143" y="15240"/>
                  </a:lnTo>
                  <a:lnTo>
                    <a:pt x="9143" y="0"/>
                  </a:lnTo>
                  <a:lnTo>
                    <a:pt x="0" y="0"/>
                  </a:lnTo>
                  <a:lnTo>
                    <a:pt x="0" y="1524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54" name="Freeform 854"/>
            <p:cNvSpPr/>
            <p:nvPr/>
          </p:nvSpPr>
          <p:spPr>
            <a:xfrm>
              <a:off x="9349572" y="5229431"/>
              <a:ext cx="9138" cy="15232"/>
            </a:xfrm>
            <a:custGeom>
              <a:avLst/>
              <a:gdLst/>
              <a:ahLst/>
              <a:cxnLst/>
              <a:rect l="0" t="0" r="0" b="0"/>
              <a:pathLst>
                <a:path w="9143" h="15240">
                  <a:moveTo>
                    <a:pt x="0" y="15240"/>
                  </a:moveTo>
                  <a:lnTo>
                    <a:pt x="9143" y="15240"/>
                  </a:lnTo>
                  <a:lnTo>
                    <a:pt x="9143" y="0"/>
                  </a:lnTo>
                  <a:lnTo>
                    <a:pt x="0" y="0"/>
                  </a:lnTo>
                  <a:lnTo>
                    <a:pt x="0" y="1524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55" name="Freeform 855"/>
            <p:cNvSpPr/>
            <p:nvPr/>
          </p:nvSpPr>
          <p:spPr>
            <a:xfrm>
              <a:off x="9373943" y="5229431"/>
              <a:ext cx="9139" cy="15232"/>
            </a:xfrm>
            <a:custGeom>
              <a:avLst/>
              <a:gdLst/>
              <a:ahLst/>
              <a:cxnLst/>
              <a:rect l="0" t="0" r="0" b="0"/>
              <a:pathLst>
                <a:path w="9144" h="15240">
                  <a:moveTo>
                    <a:pt x="0" y="15240"/>
                  </a:moveTo>
                  <a:lnTo>
                    <a:pt x="9144" y="15240"/>
                  </a:lnTo>
                  <a:lnTo>
                    <a:pt x="9144" y="0"/>
                  </a:lnTo>
                  <a:lnTo>
                    <a:pt x="0" y="0"/>
                  </a:lnTo>
                  <a:lnTo>
                    <a:pt x="0" y="1524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56" name="Freeform 856"/>
            <p:cNvSpPr/>
            <p:nvPr/>
          </p:nvSpPr>
          <p:spPr>
            <a:xfrm>
              <a:off x="9303875" y="5192874"/>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57" name="Freeform 857"/>
            <p:cNvSpPr/>
            <p:nvPr/>
          </p:nvSpPr>
          <p:spPr>
            <a:xfrm>
              <a:off x="9328247" y="5192874"/>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58" name="Freeform 858"/>
            <p:cNvSpPr/>
            <p:nvPr/>
          </p:nvSpPr>
          <p:spPr>
            <a:xfrm>
              <a:off x="9349572" y="5192874"/>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59" name="Freeform 859"/>
            <p:cNvSpPr/>
            <p:nvPr/>
          </p:nvSpPr>
          <p:spPr>
            <a:xfrm>
              <a:off x="9373943" y="5192874"/>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60" name="Freeform 860"/>
            <p:cNvSpPr/>
            <p:nvPr/>
          </p:nvSpPr>
          <p:spPr>
            <a:xfrm>
              <a:off x="9303875" y="5159363"/>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61" name="Freeform 861"/>
            <p:cNvSpPr/>
            <p:nvPr/>
          </p:nvSpPr>
          <p:spPr>
            <a:xfrm>
              <a:off x="9328247" y="5159363"/>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62" name="Freeform 862"/>
            <p:cNvSpPr/>
            <p:nvPr/>
          </p:nvSpPr>
          <p:spPr>
            <a:xfrm>
              <a:off x="9349572" y="5159363"/>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63" name="Freeform 863"/>
            <p:cNvSpPr/>
            <p:nvPr/>
          </p:nvSpPr>
          <p:spPr>
            <a:xfrm>
              <a:off x="9373943" y="5159363"/>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64" name="Freeform 864"/>
            <p:cNvSpPr/>
            <p:nvPr/>
          </p:nvSpPr>
          <p:spPr>
            <a:xfrm>
              <a:off x="9303875" y="5122807"/>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65" name="Freeform 865"/>
            <p:cNvSpPr/>
            <p:nvPr/>
          </p:nvSpPr>
          <p:spPr>
            <a:xfrm>
              <a:off x="9328247" y="5122807"/>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66" name="Freeform 866"/>
            <p:cNvSpPr/>
            <p:nvPr/>
          </p:nvSpPr>
          <p:spPr>
            <a:xfrm>
              <a:off x="9349572" y="5122807"/>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67" name="Freeform 867"/>
            <p:cNvSpPr/>
            <p:nvPr/>
          </p:nvSpPr>
          <p:spPr>
            <a:xfrm>
              <a:off x="9373943" y="5122807"/>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68" name="Freeform 868"/>
            <p:cNvSpPr/>
            <p:nvPr/>
          </p:nvSpPr>
          <p:spPr>
            <a:xfrm>
              <a:off x="9303875" y="5089297"/>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69" name="Freeform 869"/>
            <p:cNvSpPr/>
            <p:nvPr/>
          </p:nvSpPr>
          <p:spPr>
            <a:xfrm>
              <a:off x="9328247" y="5089297"/>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70" name="Freeform 870"/>
            <p:cNvSpPr/>
            <p:nvPr/>
          </p:nvSpPr>
          <p:spPr>
            <a:xfrm>
              <a:off x="9349572" y="5089297"/>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71" name="Freeform 871"/>
            <p:cNvSpPr/>
            <p:nvPr/>
          </p:nvSpPr>
          <p:spPr>
            <a:xfrm>
              <a:off x="9373943" y="5089297"/>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72" name="Freeform 872"/>
            <p:cNvSpPr/>
            <p:nvPr/>
          </p:nvSpPr>
          <p:spPr>
            <a:xfrm>
              <a:off x="9303875" y="5055786"/>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73" name="Freeform 873"/>
            <p:cNvSpPr/>
            <p:nvPr/>
          </p:nvSpPr>
          <p:spPr>
            <a:xfrm>
              <a:off x="9328247" y="5055786"/>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74" name="Freeform 874"/>
            <p:cNvSpPr/>
            <p:nvPr/>
          </p:nvSpPr>
          <p:spPr>
            <a:xfrm>
              <a:off x="9349572" y="5055786"/>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75" name="Freeform 875"/>
            <p:cNvSpPr/>
            <p:nvPr/>
          </p:nvSpPr>
          <p:spPr>
            <a:xfrm>
              <a:off x="9373943" y="5055786"/>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76" name="Freeform 876"/>
            <p:cNvSpPr/>
            <p:nvPr/>
          </p:nvSpPr>
          <p:spPr>
            <a:xfrm>
              <a:off x="9303875" y="5293406"/>
              <a:ext cx="9139" cy="15232"/>
            </a:xfrm>
            <a:custGeom>
              <a:avLst/>
              <a:gdLst/>
              <a:ahLst/>
              <a:cxnLst/>
              <a:rect l="0" t="0" r="0" b="0"/>
              <a:pathLst>
                <a:path w="9144" h="15240">
                  <a:moveTo>
                    <a:pt x="0" y="15240"/>
                  </a:moveTo>
                  <a:lnTo>
                    <a:pt x="9144" y="15240"/>
                  </a:lnTo>
                  <a:lnTo>
                    <a:pt x="9144" y="0"/>
                  </a:lnTo>
                  <a:lnTo>
                    <a:pt x="0" y="0"/>
                  </a:lnTo>
                  <a:lnTo>
                    <a:pt x="0" y="1524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77" name="Freeform 877"/>
            <p:cNvSpPr/>
            <p:nvPr/>
          </p:nvSpPr>
          <p:spPr>
            <a:xfrm>
              <a:off x="9328247" y="5293406"/>
              <a:ext cx="9138" cy="15232"/>
            </a:xfrm>
            <a:custGeom>
              <a:avLst/>
              <a:gdLst/>
              <a:ahLst/>
              <a:cxnLst/>
              <a:rect l="0" t="0" r="0" b="0"/>
              <a:pathLst>
                <a:path w="9143" h="15240">
                  <a:moveTo>
                    <a:pt x="0" y="15240"/>
                  </a:moveTo>
                  <a:lnTo>
                    <a:pt x="9143" y="15240"/>
                  </a:lnTo>
                  <a:lnTo>
                    <a:pt x="9143" y="0"/>
                  </a:lnTo>
                  <a:lnTo>
                    <a:pt x="0" y="0"/>
                  </a:lnTo>
                  <a:lnTo>
                    <a:pt x="0" y="1524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78" name="Freeform 878"/>
            <p:cNvSpPr/>
            <p:nvPr/>
          </p:nvSpPr>
          <p:spPr>
            <a:xfrm>
              <a:off x="9349572" y="5293406"/>
              <a:ext cx="9138" cy="15232"/>
            </a:xfrm>
            <a:custGeom>
              <a:avLst/>
              <a:gdLst/>
              <a:ahLst/>
              <a:cxnLst/>
              <a:rect l="0" t="0" r="0" b="0"/>
              <a:pathLst>
                <a:path w="9143" h="15240">
                  <a:moveTo>
                    <a:pt x="0" y="15240"/>
                  </a:moveTo>
                  <a:lnTo>
                    <a:pt x="9143" y="15240"/>
                  </a:lnTo>
                  <a:lnTo>
                    <a:pt x="9143" y="0"/>
                  </a:lnTo>
                  <a:lnTo>
                    <a:pt x="0" y="0"/>
                  </a:lnTo>
                  <a:lnTo>
                    <a:pt x="0" y="1524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79" name="Freeform 879"/>
            <p:cNvSpPr/>
            <p:nvPr/>
          </p:nvSpPr>
          <p:spPr>
            <a:xfrm>
              <a:off x="9373943" y="5293406"/>
              <a:ext cx="9139" cy="15232"/>
            </a:xfrm>
            <a:custGeom>
              <a:avLst/>
              <a:gdLst/>
              <a:ahLst/>
              <a:cxnLst/>
              <a:rect l="0" t="0" r="0" b="0"/>
              <a:pathLst>
                <a:path w="9144" h="15240">
                  <a:moveTo>
                    <a:pt x="0" y="15240"/>
                  </a:moveTo>
                  <a:lnTo>
                    <a:pt x="9144" y="15240"/>
                  </a:lnTo>
                  <a:lnTo>
                    <a:pt x="9144" y="0"/>
                  </a:lnTo>
                  <a:lnTo>
                    <a:pt x="0" y="0"/>
                  </a:lnTo>
                  <a:lnTo>
                    <a:pt x="0" y="1524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80" name="Freeform 880"/>
            <p:cNvSpPr/>
            <p:nvPr/>
          </p:nvSpPr>
          <p:spPr>
            <a:xfrm>
              <a:off x="9303875" y="5320824"/>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81" name="Freeform 881"/>
            <p:cNvSpPr/>
            <p:nvPr/>
          </p:nvSpPr>
          <p:spPr>
            <a:xfrm>
              <a:off x="9328247" y="5320824"/>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82" name="Freeform 882"/>
            <p:cNvSpPr/>
            <p:nvPr/>
          </p:nvSpPr>
          <p:spPr>
            <a:xfrm>
              <a:off x="9349572" y="5320824"/>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83" name="Freeform 883"/>
            <p:cNvSpPr/>
            <p:nvPr/>
          </p:nvSpPr>
          <p:spPr>
            <a:xfrm>
              <a:off x="9373943" y="5320824"/>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84" name="Freeform 884"/>
            <p:cNvSpPr/>
            <p:nvPr/>
          </p:nvSpPr>
          <p:spPr>
            <a:xfrm>
              <a:off x="9303875" y="5351287"/>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85" name="Freeform 885"/>
            <p:cNvSpPr/>
            <p:nvPr/>
          </p:nvSpPr>
          <p:spPr>
            <a:xfrm>
              <a:off x="9328247" y="5351287"/>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86" name="Freeform 886"/>
            <p:cNvSpPr/>
            <p:nvPr/>
          </p:nvSpPr>
          <p:spPr>
            <a:xfrm>
              <a:off x="9349572" y="5351287"/>
              <a:ext cx="9138" cy="18278"/>
            </a:xfrm>
            <a:custGeom>
              <a:avLst/>
              <a:gdLst/>
              <a:ahLst/>
              <a:cxnLst/>
              <a:rect l="0" t="0" r="0" b="0"/>
              <a:pathLst>
                <a:path w="9143" h="18288">
                  <a:moveTo>
                    <a:pt x="0" y="18288"/>
                  </a:moveTo>
                  <a:lnTo>
                    <a:pt x="9143" y="18288"/>
                  </a:lnTo>
                  <a:lnTo>
                    <a:pt x="9143"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87" name="Freeform 887"/>
            <p:cNvSpPr/>
            <p:nvPr/>
          </p:nvSpPr>
          <p:spPr>
            <a:xfrm>
              <a:off x="9373943" y="5351287"/>
              <a:ext cx="9139" cy="18278"/>
            </a:xfrm>
            <a:custGeom>
              <a:avLst/>
              <a:gdLst/>
              <a:ahLst/>
              <a:cxnLst/>
              <a:rect l="0" t="0" r="0" b="0"/>
              <a:pathLst>
                <a:path w="9144" h="18288">
                  <a:moveTo>
                    <a:pt x="0" y="18288"/>
                  </a:moveTo>
                  <a:lnTo>
                    <a:pt x="9144" y="18288"/>
                  </a:lnTo>
                  <a:lnTo>
                    <a:pt x="9144" y="0"/>
                  </a:lnTo>
                  <a:lnTo>
                    <a:pt x="0" y="0"/>
                  </a:lnTo>
                  <a:lnTo>
                    <a:pt x="0" y="182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88" name="Freeform 888"/>
            <p:cNvSpPr/>
            <p:nvPr/>
          </p:nvSpPr>
          <p:spPr>
            <a:xfrm>
              <a:off x="9422685" y="5384798"/>
              <a:ext cx="76160" cy="45696"/>
            </a:xfrm>
            <a:custGeom>
              <a:avLst/>
              <a:gdLst/>
              <a:ahLst/>
              <a:cxnLst/>
              <a:rect l="0" t="0" r="0" b="0"/>
              <a:pathLst>
                <a:path w="76200" h="45720">
                  <a:moveTo>
                    <a:pt x="76200" y="45720"/>
                  </a:moveTo>
                  <a:lnTo>
                    <a:pt x="0" y="45720"/>
                  </a:lnTo>
                  <a:lnTo>
                    <a:pt x="0" y="0"/>
                  </a:lnTo>
                  <a:lnTo>
                    <a:pt x="76200" y="0"/>
                  </a:lnTo>
                  <a:lnTo>
                    <a:pt x="76200" y="45720"/>
                  </a:lnTo>
                  <a:close/>
                  <a:moveTo>
                    <a:pt x="-7997953" y="1472183"/>
                  </a:moveTo>
                  <a:moveTo>
                    <a:pt x="8381" y="34289"/>
                  </a:moveTo>
                  <a:lnTo>
                    <a:pt x="67817" y="34289"/>
                  </a:lnTo>
                  <a:lnTo>
                    <a:pt x="67817" y="11430"/>
                  </a:lnTo>
                  <a:lnTo>
                    <a:pt x="8381" y="11430"/>
                  </a:lnTo>
                  <a:lnTo>
                    <a:pt x="8381" y="34289"/>
                  </a:lnTo>
                  <a:close/>
                  <a:moveTo>
                    <a:pt x="-7986522" y="1472183"/>
                  </a:moveTo>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89" name="Freeform 889"/>
            <p:cNvSpPr/>
            <p:nvPr/>
          </p:nvSpPr>
          <p:spPr>
            <a:xfrm>
              <a:off x="9303874" y="5384799"/>
              <a:ext cx="79208" cy="79206"/>
            </a:xfrm>
            <a:custGeom>
              <a:avLst/>
              <a:gdLst/>
              <a:ahLst/>
              <a:cxnLst/>
              <a:rect l="0" t="0" r="0" b="0"/>
              <a:pathLst>
                <a:path w="79249" h="79247">
                  <a:moveTo>
                    <a:pt x="79249" y="79247"/>
                  </a:moveTo>
                  <a:lnTo>
                    <a:pt x="0" y="79247"/>
                  </a:lnTo>
                  <a:lnTo>
                    <a:pt x="0" y="0"/>
                  </a:lnTo>
                  <a:lnTo>
                    <a:pt x="79249" y="0"/>
                  </a:lnTo>
                  <a:lnTo>
                    <a:pt x="79249" y="79247"/>
                  </a:lnTo>
                  <a:close/>
                  <a:moveTo>
                    <a:pt x="-7912607" y="1472183"/>
                  </a:moveTo>
                  <a:moveTo>
                    <a:pt x="8763" y="67945"/>
                  </a:moveTo>
                  <a:lnTo>
                    <a:pt x="70486" y="67945"/>
                  </a:lnTo>
                  <a:lnTo>
                    <a:pt x="70486" y="11303"/>
                  </a:lnTo>
                  <a:lnTo>
                    <a:pt x="8763" y="11303"/>
                  </a:lnTo>
                  <a:lnTo>
                    <a:pt x="8763" y="67945"/>
                  </a:lnTo>
                  <a:close/>
                  <a:moveTo>
                    <a:pt x="-7901305" y="1472183"/>
                  </a:moveTo>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90" name="Freeform 890"/>
            <p:cNvSpPr/>
            <p:nvPr/>
          </p:nvSpPr>
          <p:spPr>
            <a:xfrm>
              <a:off x="9340432" y="5384798"/>
              <a:ext cx="9139" cy="79207"/>
            </a:xfrm>
            <a:custGeom>
              <a:avLst/>
              <a:gdLst/>
              <a:ahLst/>
              <a:cxnLst/>
              <a:rect l="0" t="0" r="0" b="0"/>
              <a:pathLst>
                <a:path w="9144" h="79248">
                  <a:moveTo>
                    <a:pt x="0" y="79248"/>
                  </a:moveTo>
                  <a:lnTo>
                    <a:pt x="9144" y="79248"/>
                  </a:lnTo>
                  <a:lnTo>
                    <a:pt x="9144" y="0"/>
                  </a:lnTo>
                  <a:lnTo>
                    <a:pt x="0" y="0"/>
                  </a:lnTo>
                  <a:lnTo>
                    <a:pt x="0" y="7924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91" name="Freeform 891"/>
            <p:cNvSpPr/>
            <p:nvPr/>
          </p:nvSpPr>
          <p:spPr>
            <a:xfrm>
              <a:off x="9297783" y="4985718"/>
              <a:ext cx="91393" cy="36558"/>
            </a:xfrm>
            <a:custGeom>
              <a:avLst/>
              <a:gdLst/>
              <a:ahLst/>
              <a:cxnLst/>
              <a:rect l="0" t="0" r="0" b="0"/>
              <a:pathLst>
                <a:path w="91441" h="36577">
                  <a:moveTo>
                    <a:pt x="91441" y="36577"/>
                  </a:moveTo>
                  <a:lnTo>
                    <a:pt x="0" y="36577"/>
                  </a:lnTo>
                  <a:lnTo>
                    <a:pt x="0" y="0"/>
                  </a:lnTo>
                  <a:lnTo>
                    <a:pt x="91441" y="0"/>
                  </a:lnTo>
                  <a:lnTo>
                    <a:pt x="91441" y="36577"/>
                  </a:lnTo>
                  <a:close/>
                  <a:moveTo>
                    <a:pt x="-7464552" y="1871472"/>
                  </a:moveTo>
                  <a:moveTo>
                    <a:pt x="8891" y="25274"/>
                  </a:moveTo>
                  <a:lnTo>
                    <a:pt x="82550" y="25274"/>
                  </a:lnTo>
                  <a:lnTo>
                    <a:pt x="82550" y="11303"/>
                  </a:lnTo>
                  <a:lnTo>
                    <a:pt x="8891" y="11303"/>
                  </a:lnTo>
                  <a:lnTo>
                    <a:pt x="8891" y="25274"/>
                  </a:lnTo>
                  <a:close/>
                  <a:moveTo>
                    <a:pt x="-7453249" y="1871472"/>
                  </a:moveTo>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92" name="Freeform 892"/>
            <p:cNvSpPr/>
            <p:nvPr/>
          </p:nvSpPr>
          <p:spPr>
            <a:xfrm>
              <a:off x="9340432" y="4958302"/>
              <a:ext cx="9139" cy="39603"/>
            </a:xfrm>
            <a:custGeom>
              <a:avLst/>
              <a:gdLst/>
              <a:ahLst/>
              <a:cxnLst/>
              <a:rect l="0" t="0" r="0" b="0"/>
              <a:pathLst>
                <a:path w="9144" h="39624">
                  <a:moveTo>
                    <a:pt x="0" y="39624"/>
                  </a:moveTo>
                  <a:lnTo>
                    <a:pt x="9144" y="39624"/>
                  </a:lnTo>
                  <a:lnTo>
                    <a:pt x="9144" y="0"/>
                  </a:lnTo>
                  <a:lnTo>
                    <a:pt x="0" y="0"/>
                  </a:lnTo>
                  <a:lnTo>
                    <a:pt x="0" y="396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93" name="Freeform 893"/>
            <p:cNvSpPr/>
            <p:nvPr/>
          </p:nvSpPr>
          <p:spPr>
            <a:xfrm>
              <a:off x="9504937" y="5308640"/>
              <a:ext cx="42650" cy="103577"/>
            </a:xfrm>
            <a:custGeom>
              <a:avLst/>
              <a:gdLst/>
              <a:ahLst/>
              <a:cxnLst/>
              <a:rect l="0" t="0" r="0" b="0"/>
              <a:pathLst>
                <a:path w="42672" h="103631">
                  <a:moveTo>
                    <a:pt x="24766" y="103631"/>
                  </a:moveTo>
                  <a:lnTo>
                    <a:pt x="24766" y="103631"/>
                  </a:lnTo>
                  <a:lnTo>
                    <a:pt x="20829" y="102489"/>
                  </a:lnTo>
                  <a:lnTo>
                    <a:pt x="16892" y="100075"/>
                  </a:lnTo>
                  <a:lnTo>
                    <a:pt x="12955" y="95250"/>
                  </a:lnTo>
                  <a:lnTo>
                    <a:pt x="8891" y="90423"/>
                  </a:lnTo>
                  <a:lnTo>
                    <a:pt x="5970" y="83184"/>
                  </a:lnTo>
                  <a:lnTo>
                    <a:pt x="2921" y="75945"/>
                  </a:lnTo>
                  <a:lnTo>
                    <a:pt x="1017" y="66294"/>
                  </a:lnTo>
                  <a:lnTo>
                    <a:pt x="0" y="57784"/>
                  </a:lnTo>
                  <a:lnTo>
                    <a:pt x="1017" y="45847"/>
                  </a:lnTo>
                  <a:lnTo>
                    <a:pt x="3937" y="34925"/>
                  </a:lnTo>
                  <a:lnTo>
                    <a:pt x="6985" y="25272"/>
                  </a:lnTo>
                  <a:lnTo>
                    <a:pt x="10922" y="18033"/>
                  </a:lnTo>
                  <a:lnTo>
                    <a:pt x="14859" y="10795"/>
                  </a:lnTo>
                  <a:lnTo>
                    <a:pt x="17907" y="7239"/>
                  </a:lnTo>
                  <a:lnTo>
                    <a:pt x="21845" y="2412"/>
                  </a:lnTo>
                  <a:lnTo>
                    <a:pt x="24766" y="0"/>
                  </a:lnTo>
                  <a:lnTo>
                    <a:pt x="27814" y="2412"/>
                  </a:lnTo>
                  <a:lnTo>
                    <a:pt x="31750" y="7239"/>
                  </a:lnTo>
                  <a:lnTo>
                    <a:pt x="35687" y="13208"/>
                  </a:lnTo>
                  <a:lnTo>
                    <a:pt x="39752" y="20447"/>
                  </a:lnTo>
                  <a:lnTo>
                    <a:pt x="41657" y="25272"/>
                  </a:lnTo>
                  <a:lnTo>
                    <a:pt x="34671" y="30098"/>
                  </a:lnTo>
                  <a:lnTo>
                    <a:pt x="31750" y="26542"/>
                  </a:lnTo>
                  <a:lnTo>
                    <a:pt x="27814" y="19303"/>
                  </a:lnTo>
                  <a:lnTo>
                    <a:pt x="24766" y="14478"/>
                  </a:lnTo>
                  <a:lnTo>
                    <a:pt x="19812" y="20447"/>
                  </a:lnTo>
                  <a:lnTo>
                    <a:pt x="14859" y="30098"/>
                  </a:lnTo>
                  <a:lnTo>
                    <a:pt x="12955" y="36195"/>
                  </a:lnTo>
                  <a:lnTo>
                    <a:pt x="10922" y="42164"/>
                  </a:lnTo>
                  <a:lnTo>
                    <a:pt x="9907" y="49403"/>
                  </a:lnTo>
                  <a:lnTo>
                    <a:pt x="8891" y="57784"/>
                  </a:lnTo>
                  <a:lnTo>
                    <a:pt x="9907" y="65023"/>
                  </a:lnTo>
                  <a:lnTo>
                    <a:pt x="10922" y="72262"/>
                  </a:lnTo>
                  <a:lnTo>
                    <a:pt x="12955" y="78358"/>
                  </a:lnTo>
                  <a:lnTo>
                    <a:pt x="15875" y="83184"/>
                  </a:lnTo>
                  <a:lnTo>
                    <a:pt x="20829" y="90423"/>
                  </a:lnTo>
                  <a:lnTo>
                    <a:pt x="24766" y="92836"/>
                  </a:lnTo>
                  <a:lnTo>
                    <a:pt x="25782" y="92836"/>
                  </a:lnTo>
                  <a:lnTo>
                    <a:pt x="27814" y="91567"/>
                  </a:lnTo>
                  <a:lnTo>
                    <a:pt x="32767" y="84328"/>
                  </a:lnTo>
                  <a:lnTo>
                    <a:pt x="34671" y="80772"/>
                  </a:lnTo>
                  <a:lnTo>
                    <a:pt x="42672" y="86741"/>
                  </a:lnTo>
                  <a:lnTo>
                    <a:pt x="39752" y="90423"/>
                  </a:lnTo>
                  <a:lnTo>
                    <a:pt x="35687" y="97662"/>
                  </a:lnTo>
                  <a:lnTo>
                    <a:pt x="31750" y="101219"/>
                  </a:lnTo>
                  <a:lnTo>
                    <a:pt x="27814" y="103631"/>
                  </a:lnTo>
                  <a:lnTo>
                    <a:pt x="24766" y="103631"/>
                  </a:lnTo>
                  <a:close/>
                  <a:moveTo>
                    <a:pt x="-8061959" y="1548383"/>
                  </a:moveTo>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94" name="Freeform 894"/>
            <p:cNvSpPr/>
            <p:nvPr/>
          </p:nvSpPr>
          <p:spPr>
            <a:xfrm>
              <a:off x="9114998" y="5451821"/>
              <a:ext cx="505705" cy="12185"/>
            </a:xfrm>
            <a:custGeom>
              <a:avLst/>
              <a:gdLst/>
              <a:ahLst/>
              <a:cxnLst/>
              <a:rect l="0" t="0" r="0" b="0"/>
              <a:pathLst>
                <a:path w="505968" h="12191">
                  <a:moveTo>
                    <a:pt x="0" y="12191"/>
                  </a:moveTo>
                  <a:lnTo>
                    <a:pt x="505968" y="12191"/>
                  </a:lnTo>
                  <a:lnTo>
                    <a:pt x="505968" y="0"/>
                  </a:lnTo>
                  <a:lnTo>
                    <a:pt x="0" y="0"/>
                  </a:lnTo>
                  <a:lnTo>
                    <a:pt x="0" y="12191"/>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95" name="Freeform 895"/>
            <p:cNvSpPr/>
            <p:nvPr/>
          </p:nvSpPr>
          <p:spPr>
            <a:xfrm>
              <a:off x="9523217" y="5403076"/>
              <a:ext cx="9138" cy="60928"/>
            </a:xfrm>
            <a:custGeom>
              <a:avLst/>
              <a:gdLst/>
              <a:ahLst/>
              <a:cxnLst/>
              <a:rect l="0" t="0" r="0" b="0"/>
              <a:pathLst>
                <a:path w="9143" h="60960">
                  <a:moveTo>
                    <a:pt x="0" y="60960"/>
                  </a:moveTo>
                  <a:lnTo>
                    <a:pt x="9143" y="60960"/>
                  </a:lnTo>
                  <a:lnTo>
                    <a:pt x="9143" y="0"/>
                  </a:lnTo>
                  <a:lnTo>
                    <a:pt x="0" y="0"/>
                  </a:lnTo>
                  <a:lnTo>
                    <a:pt x="0" y="6096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96" name="Freeform 896"/>
            <p:cNvSpPr/>
            <p:nvPr/>
          </p:nvSpPr>
          <p:spPr>
            <a:xfrm>
              <a:off x="9529310" y="5308640"/>
              <a:ext cx="42651" cy="103577"/>
            </a:xfrm>
            <a:custGeom>
              <a:avLst/>
              <a:gdLst/>
              <a:ahLst/>
              <a:cxnLst/>
              <a:rect l="0" t="0" r="0" b="0"/>
              <a:pathLst>
                <a:path w="42673" h="103631">
                  <a:moveTo>
                    <a:pt x="24765" y="103631"/>
                  </a:moveTo>
                  <a:lnTo>
                    <a:pt x="24765" y="103631"/>
                  </a:lnTo>
                  <a:lnTo>
                    <a:pt x="20828" y="102489"/>
                  </a:lnTo>
                  <a:lnTo>
                    <a:pt x="16891" y="100075"/>
                  </a:lnTo>
                  <a:lnTo>
                    <a:pt x="12955" y="95250"/>
                  </a:lnTo>
                  <a:lnTo>
                    <a:pt x="8890" y="90423"/>
                  </a:lnTo>
                  <a:lnTo>
                    <a:pt x="5970" y="83184"/>
                  </a:lnTo>
                  <a:lnTo>
                    <a:pt x="2922" y="75945"/>
                  </a:lnTo>
                  <a:lnTo>
                    <a:pt x="1016" y="66294"/>
                  </a:lnTo>
                  <a:lnTo>
                    <a:pt x="0" y="57784"/>
                  </a:lnTo>
                  <a:lnTo>
                    <a:pt x="1016" y="45847"/>
                  </a:lnTo>
                  <a:lnTo>
                    <a:pt x="3937" y="34925"/>
                  </a:lnTo>
                  <a:lnTo>
                    <a:pt x="6986" y="25272"/>
                  </a:lnTo>
                  <a:lnTo>
                    <a:pt x="10923" y="18033"/>
                  </a:lnTo>
                  <a:lnTo>
                    <a:pt x="14860" y="10795"/>
                  </a:lnTo>
                  <a:lnTo>
                    <a:pt x="17908" y="7239"/>
                  </a:lnTo>
                  <a:lnTo>
                    <a:pt x="21845" y="2412"/>
                  </a:lnTo>
                  <a:lnTo>
                    <a:pt x="24765" y="0"/>
                  </a:lnTo>
                  <a:lnTo>
                    <a:pt x="27813" y="2412"/>
                  </a:lnTo>
                  <a:lnTo>
                    <a:pt x="31750" y="7239"/>
                  </a:lnTo>
                  <a:lnTo>
                    <a:pt x="35687" y="13208"/>
                  </a:lnTo>
                  <a:lnTo>
                    <a:pt x="39751" y="20447"/>
                  </a:lnTo>
                  <a:lnTo>
                    <a:pt x="42673" y="25272"/>
                  </a:lnTo>
                  <a:lnTo>
                    <a:pt x="34672" y="31369"/>
                  </a:lnTo>
                  <a:lnTo>
                    <a:pt x="32766" y="26542"/>
                  </a:lnTo>
                  <a:lnTo>
                    <a:pt x="27813" y="19303"/>
                  </a:lnTo>
                  <a:lnTo>
                    <a:pt x="24765" y="14478"/>
                  </a:lnTo>
                  <a:lnTo>
                    <a:pt x="19812" y="20447"/>
                  </a:lnTo>
                  <a:lnTo>
                    <a:pt x="14860" y="30098"/>
                  </a:lnTo>
                  <a:lnTo>
                    <a:pt x="12955" y="36195"/>
                  </a:lnTo>
                  <a:lnTo>
                    <a:pt x="10923" y="42164"/>
                  </a:lnTo>
                  <a:lnTo>
                    <a:pt x="9907" y="49403"/>
                  </a:lnTo>
                  <a:lnTo>
                    <a:pt x="8890" y="57784"/>
                  </a:lnTo>
                  <a:lnTo>
                    <a:pt x="9907" y="65023"/>
                  </a:lnTo>
                  <a:lnTo>
                    <a:pt x="10923" y="72262"/>
                  </a:lnTo>
                  <a:lnTo>
                    <a:pt x="12955" y="78358"/>
                  </a:lnTo>
                  <a:lnTo>
                    <a:pt x="15875" y="83184"/>
                  </a:lnTo>
                  <a:lnTo>
                    <a:pt x="20828" y="90423"/>
                  </a:lnTo>
                  <a:lnTo>
                    <a:pt x="24765" y="92836"/>
                  </a:lnTo>
                  <a:lnTo>
                    <a:pt x="26798" y="91567"/>
                  </a:lnTo>
                  <a:lnTo>
                    <a:pt x="31750" y="85597"/>
                  </a:lnTo>
                  <a:lnTo>
                    <a:pt x="34672" y="80772"/>
                  </a:lnTo>
                  <a:lnTo>
                    <a:pt x="41657" y="86741"/>
                  </a:lnTo>
                  <a:lnTo>
                    <a:pt x="39751" y="91567"/>
                  </a:lnTo>
                  <a:lnTo>
                    <a:pt x="35687" y="96392"/>
                  </a:lnTo>
                  <a:lnTo>
                    <a:pt x="31750" y="100075"/>
                  </a:lnTo>
                  <a:lnTo>
                    <a:pt x="27813" y="102489"/>
                  </a:lnTo>
                  <a:lnTo>
                    <a:pt x="24765" y="103631"/>
                  </a:lnTo>
                  <a:close/>
                  <a:moveTo>
                    <a:pt x="-8086343" y="1548383"/>
                  </a:moveTo>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97" name="Freeform 897"/>
            <p:cNvSpPr/>
            <p:nvPr/>
          </p:nvSpPr>
          <p:spPr>
            <a:xfrm>
              <a:off x="9550634" y="5403076"/>
              <a:ext cx="6093" cy="60928"/>
            </a:xfrm>
            <a:custGeom>
              <a:avLst/>
              <a:gdLst/>
              <a:ahLst/>
              <a:cxnLst/>
              <a:rect l="0" t="0" r="0" b="0"/>
              <a:pathLst>
                <a:path w="6096" h="60960">
                  <a:moveTo>
                    <a:pt x="0" y="60960"/>
                  </a:moveTo>
                  <a:lnTo>
                    <a:pt x="6096" y="60960"/>
                  </a:lnTo>
                  <a:lnTo>
                    <a:pt x="6096" y="0"/>
                  </a:lnTo>
                  <a:lnTo>
                    <a:pt x="0" y="0"/>
                  </a:lnTo>
                  <a:lnTo>
                    <a:pt x="0" y="6096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98" name="Freeform 898"/>
            <p:cNvSpPr/>
            <p:nvPr/>
          </p:nvSpPr>
          <p:spPr>
            <a:xfrm>
              <a:off x="9553681" y="5308640"/>
              <a:ext cx="48742" cy="103577"/>
            </a:xfrm>
            <a:custGeom>
              <a:avLst/>
              <a:gdLst/>
              <a:ahLst/>
              <a:cxnLst/>
              <a:rect l="0" t="0" r="0" b="0"/>
              <a:pathLst>
                <a:path w="48767" h="103631">
                  <a:moveTo>
                    <a:pt x="24891" y="103631"/>
                  </a:moveTo>
                  <a:lnTo>
                    <a:pt x="24891" y="103631"/>
                  </a:lnTo>
                  <a:lnTo>
                    <a:pt x="20954" y="102489"/>
                  </a:lnTo>
                  <a:lnTo>
                    <a:pt x="16890" y="100075"/>
                  </a:lnTo>
                  <a:lnTo>
                    <a:pt x="12953" y="95250"/>
                  </a:lnTo>
                  <a:lnTo>
                    <a:pt x="9016" y="90423"/>
                  </a:lnTo>
                  <a:lnTo>
                    <a:pt x="5968" y="83184"/>
                  </a:lnTo>
                  <a:lnTo>
                    <a:pt x="3048" y="75945"/>
                  </a:lnTo>
                  <a:lnTo>
                    <a:pt x="1015" y="66294"/>
                  </a:lnTo>
                  <a:lnTo>
                    <a:pt x="0" y="57784"/>
                  </a:lnTo>
                  <a:lnTo>
                    <a:pt x="1015" y="45847"/>
                  </a:lnTo>
                  <a:lnTo>
                    <a:pt x="3937" y="34925"/>
                  </a:lnTo>
                  <a:lnTo>
                    <a:pt x="6985" y="25272"/>
                  </a:lnTo>
                  <a:lnTo>
                    <a:pt x="10922" y="18033"/>
                  </a:lnTo>
                  <a:lnTo>
                    <a:pt x="14986" y="10795"/>
                  </a:lnTo>
                  <a:lnTo>
                    <a:pt x="17906" y="7239"/>
                  </a:lnTo>
                  <a:lnTo>
                    <a:pt x="21843" y="2412"/>
                  </a:lnTo>
                  <a:lnTo>
                    <a:pt x="24891" y="0"/>
                  </a:lnTo>
                  <a:lnTo>
                    <a:pt x="27813" y="2412"/>
                  </a:lnTo>
                  <a:lnTo>
                    <a:pt x="30861" y="7239"/>
                  </a:lnTo>
                  <a:lnTo>
                    <a:pt x="34798" y="10795"/>
                  </a:lnTo>
                  <a:lnTo>
                    <a:pt x="38862" y="18033"/>
                  </a:lnTo>
                  <a:lnTo>
                    <a:pt x="41783" y="25272"/>
                  </a:lnTo>
                  <a:lnTo>
                    <a:pt x="45720" y="34925"/>
                  </a:lnTo>
                  <a:lnTo>
                    <a:pt x="47751" y="45847"/>
                  </a:lnTo>
                  <a:lnTo>
                    <a:pt x="48767" y="57784"/>
                  </a:lnTo>
                  <a:lnTo>
                    <a:pt x="47751" y="66294"/>
                  </a:lnTo>
                  <a:lnTo>
                    <a:pt x="46736" y="75945"/>
                  </a:lnTo>
                  <a:lnTo>
                    <a:pt x="43814" y="83184"/>
                  </a:lnTo>
                  <a:lnTo>
                    <a:pt x="39751" y="90423"/>
                  </a:lnTo>
                  <a:lnTo>
                    <a:pt x="36829" y="95250"/>
                  </a:lnTo>
                  <a:lnTo>
                    <a:pt x="31876" y="100075"/>
                  </a:lnTo>
                  <a:lnTo>
                    <a:pt x="27813" y="102489"/>
                  </a:lnTo>
                  <a:lnTo>
                    <a:pt x="24891" y="103631"/>
                  </a:lnTo>
                  <a:close/>
                  <a:moveTo>
                    <a:pt x="-8110728" y="1548383"/>
                  </a:moveTo>
                  <a:moveTo>
                    <a:pt x="24891" y="14478"/>
                  </a:moveTo>
                  <a:lnTo>
                    <a:pt x="24891" y="14478"/>
                  </a:lnTo>
                  <a:lnTo>
                    <a:pt x="19938" y="20447"/>
                  </a:lnTo>
                  <a:lnTo>
                    <a:pt x="14986" y="30098"/>
                  </a:lnTo>
                  <a:lnTo>
                    <a:pt x="12953" y="36195"/>
                  </a:lnTo>
                  <a:lnTo>
                    <a:pt x="10922" y="42164"/>
                  </a:lnTo>
                  <a:lnTo>
                    <a:pt x="9905" y="49403"/>
                  </a:lnTo>
                  <a:lnTo>
                    <a:pt x="9016" y="57784"/>
                  </a:lnTo>
                  <a:lnTo>
                    <a:pt x="9905" y="65023"/>
                  </a:lnTo>
                  <a:lnTo>
                    <a:pt x="10922" y="72262"/>
                  </a:lnTo>
                  <a:lnTo>
                    <a:pt x="12953" y="78358"/>
                  </a:lnTo>
                  <a:lnTo>
                    <a:pt x="15875" y="83184"/>
                  </a:lnTo>
                  <a:lnTo>
                    <a:pt x="20954" y="90423"/>
                  </a:lnTo>
                  <a:lnTo>
                    <a:pt x="24891" y="92836"/>
                  </a:lnTo>
                  <a:lnTo>
                    <a:pt x="27813" y="90423"/>
                  </a:lnTo>
                  <a:lnTo>
                    <a:pt x="33781" y="83184"/>
                  </a:lnTo>
                  <a:lnTo>
                    <a:pt x="35813" y="78358"/>
                  </a:lnTo>
                  <a:lnTo>
                    <a:pt x="37846" y="72262"/>
                  </a:lnTo>
                  <a:lnTo>
                    <a:pt x="38862" y="65023"/>
                  </a:lnTo>
                  <a:lnTo>
                    <a:pt x="39751" y="57784"/>
                  </a:lnTo>
                  <a:lnTo>
                    <a:pt x="39751" y="49403"/>
                  </a:lnTo>
                  <a:lnTo>
                    <a:pt x="37846" y="42164"/>
                  </a:lnTo>
                  <a:lnTo>
                    <a:pt x="36829" y="36195"/>
                  </a:lnTo>
                  <a:lnTo>
                    <a:pt x="33781" y="30098"/>
                  </a:lnTo>
                  <a:lnTo>
                    <a:pt x="28828" y="20447"/>
                  </a:lnTo>
                  <a:lnTo>
                    <a:pt x="24891" y="14478"/>
                  </a:lnTo>
                  <a:close/>
                  <a:moveTo>
                    <a:pt x="-8021575" y="1548383"/>
                  </a:moveTo>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899" name="Freeform 899"/>
            <p:cNvSpPr/>
            <p:nvPr/>
          </p:nvSpPr>
          <p:spPr>
            <a:xfrm>
              <a:off x="9575006" y="5403076"/>
              <a:ext cx="9138" cy="60928"/>
            </a:xfrm>
            <a:custGeom>
              <a:avLst/>
              <a:gdLst/>
              <a:ahLst/>
              <a:cxnLst/>
              <a:rect l="0" t="0" r="0" b="0"/>
              <a:pathLst>
                <a:path w="9143" h="60960">
                  <a:moveTo>
                    <a:pt x="0" y="60960"/>
                  </a:moveTo>
                  <a:lnTo>
                    <a:pt x="9143" y="60960"/>
                  </a:lnTo>
                  <a:lnTo>
                    <a:pt x="9143" y="0"/>
                  </a:lnTo>
                  <a:lnTo>
                    <a:pt x="0" y="0"/>
                  </a:lnTo>
                  <a:lnTo>
                    <a:pt x="0" y="6096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084" name="Rectangle 1084"/>
            <p:cNvSpPr/>
            <p:nvPr/>
          </p:nvSpPr>
          <p:spPr>
            <a:xfrm>
              <a:off x="9107637" y="5497723"/>
              <a:ext cx="586699" cy="310662"/>
            </a:xfrm>
            <a:prstGeom prst="rect">
              <a:avLst/>
            </a:prstGeom>
            <a:noFill/>
          </p:spPr>
          <p:txBody>
            <a:bodyPr wrap="none" lIns="0" tIns="0" rIns="0" bIns="0">
              <a:spAutoFit/>
            </a:bodyPr>
            <a:lstStyle/>
            <a:p>
              <a:pPr marL="0" marR="0" lvl="0" indent="0" algn="l" defTabSz="913486" rtl="0" eaLnBrk="1" fontAlgn="auto" latinLnBrk="0" hangingPunct="1">
                <a:lnSpc>
                  <a:spcPct val="100000"/>
                </a:lnSpc>
                <a:spcBef>
                  <a:spcPts val="0"/>
                </a:spcBef>
                <a:spcAft>
                  <a:spcPts val="0"/>
                </a:spcAft>
                <a:buClrTx/>
                <a:buSzTx/>
                <a:buFontTx/>
                <a:buNone/>
                <a:tabLst/>
                <a:defRPr/>
              </a:pPr>
              <a:r>
                <a:rPr kumimoji="0" lang="en-US" sz="1099" b="1" i="0" u="none" strike="noStrike" kern="0" cap="none" spc="0" normalizeH="0" baseline="0" noProof="0" dirty="0">
                  <a:ln>
                    <a:noFill/>
                  </a:ln>
                  <a:solidFill>
                    <a:prstClr val="white"/>
                  </a:solidFill>
                  <a:effectLst/>
                  <a:uLnTx/>
                  <a:uFillTx/>
                  <a:latin typeface="EYInterstate-LightBold"/>
                  <a:ea typeface="+mn-ea"/>
                  <a:cs typeface="+mn-cs"/>
                </a:rPr>
                <a:t>Building </a:t>
              </a:r>
            </a:p>
            <a:p>
              <a:pPr marL="18270" marR="0" lvl="0" indent="0" algn="l" defTabSz="913486" rtl="0" eaLnBrk="1" fontAlgn="auto" latinLnBrk="0" hangingPunct="1">
                <a:lnSpc>
                  <a:spcPts val="1102"/>
                </a:lnSpc>
                <a:spcBef>
                  <a:spcPts val="0"/>
                </a:spcBef>
                <a:spcAft>
                  <a:spcPts val="0"/>
                </a:spcAft>
                <a:buClrTx/>
                <a:buSzTx/>
                <a:buFontTx/>
                <a:buNone/>
                <a:tabLst/>
                <a:defRPr/>
              </a:pPr>
              <a:r>
                <a:rPr kumimoji="0" lang="en-US" sz="1099" b="1" i="0" u="none" strike="noStrike" kern="0" cap="none" spc="0" normalizeH="0" baseline="0" noProof="0" dirty="0">
                  <a:ln>
                    <a:noFill/>
                  </a:ln>
                  <a:solidFill>
                    <a:prstClr val="white"/>
                  </a:solidFill>
                  <a:effectLst/>
                  <a:uLnTx/>
                  <a:uFillTx/>
                  <a:latin typeface="EYInterstate-LightBold"/>
                  <a:ea typeface="+mn-ea"/>
                  <a:cs typeface="+mn-cs"/>
                </a:rPr>
                <a:t>heating</a:t>
              </a:r>
            </a:p>
          </p:txBody>
        </p:sp>
      </p:grpSp>
      <p:grpSp>
        <p:nvGrpSpPr>
          <p:cNvPr id="19" name="Group 18">
            <a:extLst>
              <a:ext uri="{FF2B5EF4-FFF2-40B4-BE49-F238E27FC236}">
                <a16:creationId xmlns:a16="http://schemas.microsoft.com/office/drawing/2014/main" id="{B721C857-FD8E-4A6D-9CE1-9A7834A61B45}"/>
              </a:ext>
            </a:extLst>
          </p:cNvPr>
          <p:cNvGrpSpPr/>
          <p:nvPr/>
        </p:nvGrpSpPr>
        <p:grpSpPr>
          <a:xfrm>
            <a:off x="10572657" y="5217837"/>
            <a:ext cx="664580" cy="589310"/>
            <a:chOff x="10578164" y="5218768"/>
            <a:chExt cx="664926" cy="589617"/>
          </a:xfrm>
          <a:solidFill>
            <a:schemeClr val="bg1"/>
          </a:solidFill>
        </p:grpSpPr>
        <p:sp>
          <p:nvSpPr>
            <p:cNvPr id="900" name="Freeform 900"/>
            <p:cNvSpPr/>
            <p:nvPr/>
          </p:nvSpPr>
          <p:spPr>
            <a:xfrm>
              <a:off x="10597077" y="5441158"/>
              <a:ext cx="612329" cy="24371"/>
            </a:xfrm>
            <a:custGeom>
              <a:avLst/>
              <a:gdLst/>
              <a:ahLst/>
              <a:cxnLst/>
              <a:rect l="0" t="0" r="0" b="0"/>
              <a:pathLst>
                <a:path w="612648" h="24384">
                  <a:moveTo>
                    <a:pt x="0" y="24384"/>
                  </a:moveTo>
                  <a:lnTo>
                    <a:pt x="612648" y="24384"/>
                  </a:lnTo>
                  <a:lnTo>
                    <a:pt x="612648" y="0"/>
                  </a:lnTo>
                  <a:lnTo>
                    <a:pt x="0" y="0"/>
                  </a:lnTo>
                  <a:lnTo>
                    <a:pt x="0" y="2438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901" name="Freeform 901"/>
            <p:cNvSpPr/>
            <p:nvPr/>
          </p:nvSpPr>
          <p:spPr>
            <a:xfrm>
              <a:off x="11005297" y="5322348"/>
              <a:ext cx="188878" cy="109671"/>
            </a:xfrm>
            <a:custGeom>
              <a:avLst/>
              <a:gdLst/>
              <a:ahLst/>
              <a:cxnLst/>
              <a:rect l="0" t="0" r="0" b="0"/>
              <a:pathLst>
                <a:path w="188976" h="109728">
                  <a:moveTo>
                    <a:pt x="0" y="0"/>
                  </a:moveTo>
                  <a:lnTo>
                    <a:pt x="0" y="109728"/>
                  </a:lnTo>
                  <a:lnTo>
                    <a:pt x="188976" y="109728"/>
                  </a:lnTo>
                  <a:lnTo>
                    <a:pt x="188976" y="0"/>
                  </a:lnTo>
                  <a:lnTo>
                    <a:pt x="0" y="0"/>
                  </a:lnTo>
                  <a:close/>
                  <a:moveTo>
                    <a:pt x="-9473185" y="1534667"/>
                  </a:moveTo>
                  <a:moveTo>
                    <a:pt x="95123" y="94615"/>
                  </a:moveTo>
                  <a:lnTo>
                    <a:pt x="20954" y="94615"/>
                  </a:lnTo>
                  <a:lnTo>
                    <a:pt x="20954" y="76581"/>
                  </a:lnTo>
                  <a:lnTo>
                    <a:pt x="95123" y="76581"/>
                  </a:lnTo>
                  <a:lnTo>
                    <a:pt x="95123" y="94615"/>
                  </a:lnTo>
                  <a:close/>
                  <a:moveTo>
                    <a:pt x="-9567800" y="1534667"/>
                  </a:moveTo>
                  <a:moveTo>
                    <a:pt x="95123" y="63881"/>
                  </a:moveTo>
                  <a:lnTo>
                    <a:pt x="20954" y="63881"/>
                  </a:lnTo>
                  <a:lnTo>
                    <a:pt x="20954" y="45846"/>
                  </a:lnTo>
                  <a:lnTo>
                    <a:pt x="95123" y="45846"/>
                  </a:lnTo>
                  <a:lnTo>
                    <a:pt x="95123" y="63881"/>
                  </a:lnTo>
                  <a:close/>
                  <a:moveTo>
                    <a:pt x="-9537066" y="1534667"/>
                  </a:moveTo>
                  <a:moveTo>
                    <a:pt x="95123" y="32131"/>
                  </a:moveTo>
                  <a:lnTo>
                    <a:pt x="20954" y="32131"/>
                  </a:lnTo>
                  <a:lnTo>
                    <a:pt x="20954" y="13715"/>
                  </a:lnTo>
                  <a:lnTo>
                    <a:pt x="95123" y="13715"/>
                  </a:lnTo>
                  <a:lnTo>
                    <a:pt x="95123" y="32131"/>
                  </a:lnTo>
                  <a:close/>
                  <a:moveTo>
                    <a:pt x="-9505316" y="1534667"/>
                  </a:moveTo>
                  <a:moveTo>
                    <a:pt x="165480" y="94615"/>
                  </a:moveTo>
                  <a:lnTo>
                    <a:pt x="116078" y="94615"/>
                  </a:lnTo>
                  <a:lnTo>
                    <a:pt x="116078" y="76581"/>
                  </a:lnTo>
                  <a:lnTo>
                    <a:pt x="165480" y="76581"/>
                  </a:lnTo>
                  <a:lnTo>
                    <a:pt x="165480" y="94615"/>
                  </a:lnTo>
                  <a:close/>
                  <a:moveTo>
                    <a:pt x="-9567800" y="1534667"/>
                  </a:moveTo>
                  <a:moveTo>
                    <a:pt x="165480" y="63881"/>
                  </a:moveTo>
                  <a:lnTo>
                    <a:pt x="116078" y="63881"/>
                  </a:lnTo>
                  <a:lnTo>
                    <a:pt x="116078" y="45846"/>
                  </a:lnTo>
                  <a:lnTo>
                    <a:pt x="165480" y="45846"/>
                  </a:lnTo>
                  <a:lnTo>
                    <a:pt x="165480" y="63881"/>
                  </a:lnTo>
                  <a:close/>
                  <a:moveTo>
                    <a:pt x="-9537066" y="1534667"/>
                  </a:moveTo>
                  <a:moveTo>
                    <a:pt x="165480" y="32131"/>
                  </a:moveTo>
                  <a:lnTo>
                    <a:pt x="116078" y="32131"/>
                  </a:lnTo>
                  <a:lnTo>
                    <a:pt x="116078" y="13715"/>
                  </a:lnTo>
                  <a:lnTo>
                    <a:pt x="165480" y="13715"/>
                  </a:lnTo>
                  <a:lnTo>
                    <a:pt x="165480" y="32131"/>
                  </a:lnTo>
                  <a:close/>
                  <a:moveTo>
                    <a:pt x="-9505316" y="1534667"/>
                  </a:moveTo>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902" name="Freeform 902"/>
            <p:cNvSpPr/>
            <p:nvPr/>
          </p:nvSpPr>
          <p:spPr>
            <a:xfrm>
              <a:off x="10956554" y="5386322"/>
              <a:ext cx="48743" cy="45696"/>
            </a:xfrm>
            <a:custGeom>
              <a:avLst/>
              <a:gdLst/>
              <a:ahLst/>
              <a:cxnLst/>
              <a:rect l="0" t="0" r="0" b="0"/>
              <a:pathLst>
                <a:path w="48768" h="45720">
                  <a:moveTo>
                    <a:pt x="0" y="45720"/>
                  </a:moveTo>
                  <a:lnTo>
                    <a:pt x="48768" y="45720"/>
                  </a:lnTo>
                  <a:lnTo>
                    <a:pt x="48768" y="0"/>
                  </a:lnTo>
                  <a:lnTo>
                    <a:pt x="0" y="0"/>
                  </a:lnTo>
                  <a:lnTo>
                    <a:pt x="0" y="4572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903" name="Freeform 903"/>
            <p:cNvSpPr/>
            <p:nvPr/>
          </p:nvSpPr>
          <p:spPr>
            <a:xfrm>
              <a:off x="10831651" y="5218768"/>
              <a:ext cx="134042" cy="213250"/>
            </a:xfrm>
            <a:custGeom>
              <a:avLst/>
              <a:gdLst/>
              <a:ahLst/>
              <a:cxnLst/>
              <a:rect l="0" t="0" r="0" b="0"/>
              <a:pathLst>
                <a:path w="134112" h="213361">
                  <a:moveTo>
                    <a:pt x="102615" y="48895"/>
                  </a:moveTo>
                  <a:lnTo>
                    <a:pt x="102615" y="0"/>
                  </a:lnTo>
                  <a:lnTo>
                    <a:pt x="31495" y="0"/>
                  </a:lnTo>
                  <a:lnTo>
                    <a:pt x="31495" y="48895"/>
                  </a:lnTo>
                  <a:lnTo>
                    <a:pt x="25018" y="50039"/>
                  </a:lnTo>
                  <a:lnTo>
                    <a:pt x="18668" y="51817"/>
                  </a:lnTo>
                  <a:lnTo>
                    <a:pt x="14097" y="53595"/>
                  </a:lnTo>
                  <a:lnTo>
                    <a:pt x="9016" y="55753"/>
                  </a:lnTo>
                  <a:lnTo>
                    <a:pt x="5079" y="57531"/>
                  </a:lnTo>
                  <a:lnTo>
                    <a:pt x="2540" y="60072"/>
                  </a:lnTo>
                  <a:lnTo>
                    <a:pt x="635" y="62612"/>
                  </a:lnTo>
                  <a:lnTo>
                    <a:pt x="0" y="64770"/>
                  </a:lnTo>
                  <a:lnTo>
                    <a:pt x="0" y="213361"/>
                  </a:lnTo>
                  <a:lnTo>
                    <a:pt x="134112" y="213361"/>
                  </a:lnTo>
                  <a:lnTo>
                    <a:pt x="134112" y="64770"/>
                  </a:lnTo>
                  <a:lnTo>
                    <a:pt x="133477" y="62612"/>
                  </a:lnTo>
                  <a:lnTo>
                    <a:pt x="132206" y="60072"/>
                  </a:lnTo>
                  <a:lnTo>
                    <a:pt x="129666" y="57531"/>
                  </a:lnTo>
                  <a:lnTo>
                    <a:pt x="125729" y="55753"/>
                  </a:lnTo>
                  <a:lnTo>
                    <a:pt x="121285" y="53595"/>
                  </a:lnTo>
                  <a:lnTo>
                    <a:pt x="115442" y="51817"/>
                  </a:lnTo>
                  <a:lnTo>
                    <a:pt x="109727" y="50039"/>
                  </a:lnTo>
                  <a:lnTo>
                    <a:pt x="102615" y="48895"/>
                  </a:lnTo>
                  <a:close/>
                  <a:moveTo>
                    <a:pt x="-9244711" y="1638300"/>
                  </a:moveTo>
                  <a:moveTo>
                    <a:pt x="115442" y="121286"/>
                  </a:moveTo>
                  <a:lnTo>
                    <a:pt x="115442" y="121286"/>
                  </a:lnTo>
                  <a:lnTo>
                    <a:pt x="111632" y="124842"/>
                  </a:lnTo>
                  <a:lnTo>
                    <a:pt x="107188" y="128143"/>
                  </a:lnTo>
                  <a:lnTo>
                    <a:pt x="104013" y="129922"/>
                  </a:lnTo>
                  <a:lnTo>
                    <a:pt x="101345" y="130937"/>
                  </a:lnTo>
                  <a:lnTo>
                    <a:pt x="97536" y="131700"/>
                  </a:lnTo>
                  <a:lnTo>
                    <a:pt x="94361" y="132081"/>
                  </a:lnTo>
                  <a:lnTo>
                    <a:pt x="88518" y="132462"/>
                  </a:lnTo>
                  <a:lnTo>
                    <a:pt x="82803" y="132081"/>
                  </a:lnTo>
                  <a:lnTo>
                    <a:pt x="79628" y="131318"/>
                  </a:lnTo>
                  <a:lnTo>
                    <a:pt x="76962" y="130556"/>
                  </a:lnTo>
                  <a:lnTo>
                    <a:pt x="71247" y="128143"/>
                  </a:lnTo>
                  <a:lnTo>
                    <a:pt x="60325" y="124842"/>
                  </a:lnTo>
                  <a:lnTo>
                    <a:pt x="55244" y="123445"/>
                  </a:lnTo>
                  <a:lnTo>
                    <a:pt x="49402" y="121667"/>
                  </a:lnTo>
                  <a:lnTo>
                    <a:pt x="46227" y="121286"/>
                  </a:lnTo>
                  <a:lnTo>
                    <a:pt x="41655" y="121286"/>
                  </a:lnTo>
                  <a:lnTo>
                    <a:pt x="37211" y="121667"/>
                  </a:lnTo>
                  <a:lnTo>
                    <a:pt x="34036" y="122301"/>
                  </a:lnTo>
                  <a:lnTo>
                    <a:pt x="29464" y="123825"/>
                  </a:lnTo>
                  <a:lnTo>
                    <a:pt x="26289" y="124842"/>
                  </a:lnTo>
                  <a:lnTo>
                    <a:pt x="18668" y="127762"/>
                  </a:lnTo>
                  <a:lnTo>
                    <a:pt x="18668" y="64770"/>
                  </a:lnTo>
                  <a:lnTo>
                    <a:pt x="19303" y="64009"/>
                  </a:lnTo>
                  <a:lnTo>
                    <a:pt x="23114" y="62612"/>
                  </a:lnTo>
                  <a:lnTo>
                    <a:pt x="28828" y="60453"/>
                  </a:lnTo>
                  <a:lnTo>
                    <a:pt x="37211" y="59056"/>
                  </a:lnTo>
                  <a:lnTo>
                    <a:pt x="50673" y="56515"/>
                  </a:lnTo>
                  <a:lnTo>
                    <a:pt x="50673" y="10415"/>
                  </a:lnTo>
                  <a:lnTo>
                    <a:pt x="84074" y="10415"/>
                  </a:lnTo>
                  <a:lnTo>
                    <a:pt x="84074" y="56515"/>
                  </a:lnTo>
                  <a:lnTo>
                    <a:pt x="96901" y="59056"/>
                  </a:lnTo>
                  <a:lnTo>
                    <a:pt x="105917" y="60453"/>
                  </a:lnTo>
                  <a:lnTo>
                    <a:pt x="111632" y="62612"/>
                  </a:lnTo>
                  <a:lnTo>
                    <a:pt x="114807" y="64009"/>
                  </a:lnTo>
                  <a:lnTo>
                    <a:pt x="115442" y="64770"/>
                  </a:lnTo>
                  <a:lnTo>
                    <a:pt x="115442" y="121286"/>
                  </a:lnTo>
                  <a:close/>
                  <a:moveTo>
                    <a:pt x="-9317102" y="1638300"/>
                  </a:moveTo>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904" name="Freeform 904"/>
            <p:cNvSpPr/>
            <p:nvPr/>
          </p:nvSpPr>
          <p:spPr>
            <a:xfrm>
              <a:off x="10801188" y="5249233"/>
              <a:ext cx="30465" cy="118810"/>
            </a:xfrm>
            <a:custGeom>
              <a:avLst/>
              <a:gdLst/>
              <a:ahLst/>
              <a:cxnLst/>
              <a:rect l="0" t="0" r="0" b="0"/>
              <a:pathLst>
                <a:path w="30481" h="118872">
                  <a:moveTo>
                    <a:pt x="30481" y="110997"/>
                  </a:moveTo>
                  <a:lnTo>
                    <a:pt x="30481" y="118872"/>
                  </a:lnTo>
                  <a:lnTo>
                    <a:pt x="25400" y="118872"/>
                  </a:lnTo>
                  <a:lnTo>
                    <a:pt x="21336" y="118109"/>
                  </a:lnTo>
                  <a:lnTo>
                    <a:pt x="18034" y="117094"/>
                  </a:lnTo>
                  <a:lnTo>
                    <a:pt x="15368" y="115697"/>
                  </a:lnTo>
                  <a:lnTo>
                    <a:pt x="13590" y="114300"/>
                  </a:lnTo>
                  <a:lnTo>
                    <a:pt x="12446" y="112522"/>
                  </a:lnTo>
                  <a:lnTo>
                    <a:pt x="11811" y="110744"/>
                  </a:lnTo>
                  <a:lnTo>
                    <a:pt x="10287" y="107187"/>
                  </a:lnTo>
                  <a:lnTo>
                    <a:pt x="10287" y="103886"/>
                  </a:lnTo>
                  <a:lnTo>
                    <a:pt x="10287" y="102489"/>
                  </a:lnTo>
                  <a:lnTo>
                    <a:pt x="10287" y="12827"/>
                  </a:lnTo>
                  <a:lnTo>
                    <a:pt x="9907" y="10286"/>
                  </a:lnTo>
                  <a:lnTo>
                    <a:pt x="9145" y="8889"/>
                  </a:lnTo>
                  <a:lnTo>
                    <a:pt x="7747" y="8128"/>
                  </a:lnTo>
                  <a:lnTo>
                    <a:pt x="5843" y="7492"/>
                  </a:lnTo>
                  <a:lnTo>
                    <a:pt x="2921" y="7111"/>
                  </a:lnTo>
                  <a:lnTo>
                    <a:pt x="2541" y="7111"/>
                  </a:lnTo>
                  <a:lnTo>
                    <a:pt x="0" y="7111"/>
                  </a:lnTo>
                  <a:lnTo>
                    <a:pt x="0" y="0"/>
                  </a:lnTo>
                  <a:lnTo>
                    <a:pt x="2541" y="0"/>
                  </a:lnTo>
                  <a:lnTo>
                    <a:pt x="4446" y="0"/>
                  </a:lnTo>
                  <a:lnTo>
                    <a:pt x="7367" y="381"/>
                  </a:lnTo>
                  <a:lnTo>
                    <a:pt x="11049" y="1397"/>
                  </a:lnTo>
                  <a:lnTo>
                    <a:pt x="12446" y="2539"/>
                  </a:lnTo>
                  <a:lnTo>
                    <a:pt x="14351" y="3556"/>
                  </a:lnTo>
                  <a:lnTo>
                    <a:pt x="15748" y="5714"/>
                  </a:lnTo>
                  <a:lnTo>
                    <a:pt x="16892" y="7492"/>
                  </a:lnTo>
                  <a:lnTo>
                    <a:pt x="18034" y="9906"/>
                  </a:lnTo>
                  <a:lnTo>
                    <a:pt x="18034" y="12827"/>
                  </a:lnTo>
                  <a:lnTo>
                    <a:pt x="18034" y="102869"/>
                  </a:lnTo>
                  <a:lnTo>
                    <a:pt x="18034" y="106044"/>
                  </a:lnTo>
                  <a:lnTo>
                    <a:pt x="18670" y="107442"/>
                  </a:lnTo>
                  <a:lnTo>
                    <a:pt x="19432" y="109600"/>
                  </a:lnTo>
                  <a:lnTo>
                    <a:pt x="20574" y="110362"/>
                  </a:lnTo>
                  <a:lnTo>
                    <a:pt x="21971" y="110744"/>
                  </a:lnTo>
                  <a:lnTo>
                    <a:pt x="23496" y="110997"/>
                  </a:lnTo>
                  <a:lnTo>
                    <a:pt x="25400" y="110997"/>
                  </a:lnTo>
                  <a:lnTo>
                    <a:pt x="30481" y="110997"/>
                  </a:lnTo>
                  <a:close/>
                  <a:moveTo>
                    <a:pt x="-9306813" y="1607819"/>
                  </a:moveTo>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905" name="Freeform 905"/>
            <p:cNvSpPr/>
            <p:nvPr/>
          </p:nvSpPr>
          <p:spPr>
            <a:xfrm>
              <a:off x="10801188" y="5380230"/>
              <a:ext cx="30465" cy="45695"/>
            </a:xfrm>
            <a:custGeom>
              <a:avLst/>
              <a:gdLst/>
              <a:ahLst/>
              <a:cxnLst/>
              <a:rect l="0" t="0" r="0" b="0"/>
              <a:pathLst>
                <a:path w="30481" h="45719">
                  <a:moveTo>
                    <a:pt x="30481" y="0"/>
                  </a:moveTo>
                  <a:lnTo>
                    <a:pt x="30481" y="7747"/>
                  </a:lnTo>
                  <a:lnTo>
                    <a:pt x="22353" y="7747"/>
                  </a:lnTo>
                  <a:lnTo>
                    <a:pt x="21336" y="7747"/>
                  </a:lnTo>
                  <a:lnTo>
                    <a:pt x="19812" y="8128"/>
                  </a:lnTo>
                  <a:lnTo>
                    <a:pt x="18670" y="9525"/>
                  </a:lnTo>
                  <a:lnTo>
                    <a:pt x="17272" y="11430"/>
                  </a:lnTo>
                  <a:lnTo>
                    <a:pt x="16510" y="14731"/>
                  </a:lnTo>
                  <a:lnTo>
                    <a:pt x="16130" y="16636"/>
                  </a:lnTo>
                  <a:lnTo>
                    <a:pt x="16130" y="29464"/>
                  </a:lnTo>
                  <a:lnTo>
                    <a:pt x="15748" y="33908"/>
                  </a:lnTo>
                  <a:lnTo>
                    <a:pt x="15113" y="37211"/>
                  </a:lnTo>
                  <a:lnTo>
                    <a:pt x="13590" y="40513"/>
                  </a:lnTo>
                  <a:lnTo>
                    <a:pt x="11811" y="42798"/>
                  </a:lnTo>
                  <a:lnTo>
                    <a:pt x="9525" y="44577"/>
                  </a:lnTo>
                  <a:lnTo>
                    <a:pt x="7367" y="45339"/>
                  </a:lnTo>
                  <a:lnTo>
                    <a:pt x="5461" y="45719"/>
                  </a:lnTo>
                  <a:lnTo>
                    <a:pt x="4446" y="45719"/>
                  </a:lnTo>
                  <a:lnTo>
                    <a:pt x="0" y="45719"/>
                  </a:lnTo>
                  <a:lnTo>
                    <a:pt x="0" y="38353"/>
                  </a:lnTo>
                  <a:lnTo>
                    <a:pt x="4446" y="38353"/>
                  </a:lnTo>
                  <a:lnTo>
                    <a:pt x="5081" y="37972"/>
                  </a:lnTo>
                  <a:lnTo>
                    <a:pt x="6605" y="37211"/>
                  </a:lnTo>
                  <a:lnTo>
                    <a:pt x="7747" y="35814"/>
                  </a:lnTo>
                  <a:lnTo>
                    <a:pt x="8129" y="34289"/>
                  </a:lnTo>
                  <a:lnTo>
                    <a:pt x="8383" y="32130"/>
                  </a:lnTo>
                  <a:lnTo>
                    <a:pt x="8763" y="29464"/>
                  </a:lnTo>
                  <a:lnTo>
                    <a:pt x="8763" y="16636"/>
                  </a:lnTo>
                  <a:lnTo>
                    <a:pt x="8763" y="13589"/>
                  </a:lnTo>
                  <a:lnTo>
                    <a:pt x="9145" y="11430"/>
                  </a:lnTo>
                  <a:lnTo>
                    <a:pt x="10287" y="8889"/>
                  </a:lnTo>
                  <a:lnTo>
                    <a:pt x="11431" y="6603"/>
                  </a:lnTo>
                  <a:lnTo>
                    <a:pt x="12446" y="5206"/>
                  </a:lnTo>
                  <a:lnTo>
                    <a:pt x="13590" y="3683"/>
                  </a:lnTo>
                  <a:lnTo>
                    <a:pt x="15113" y="2539"/>
                  </a:lnTo>
                  <a:lnTo>
                    <a:pt x="16510" y="1142"/>
                  </a:lnTo>
                  <a:lnTo>
                    <a:pt x="18670" y="761"/>
                  </a:lnTo>
                  <a:lnTo>
                    <a:pt x="20194" y="380"/>
                  </a:lnTo>
                  <a:lnTo>
                    <a:pt x="22353" y="0"/>
                  </a:lnTo>
                  <a:lnTo>
                    <a:pt x="30481" y="0"/>
                  </a:lnTo>
                  <a:close/>
                  <a:moveTo>
                    <a:pt x="-9326880" y="1476755"/>
                  </a:moveTo>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906" name="Freeform 906"/>
            <p:cNvSpPr/>
            <p:nvPr/>
          </p:nvSpPr>
          <p:spPr>
            <a:xfrm>
              <a:off x="10718934" y="5221816"/>
              <a:ext cx="82252" cy="210203"/>
            </a:xfrm>
            <a:custGeom>
              <a:avLst/>
              <a:gdLst/>
              <a:ahLst/>
              <a:cxnLst/>
              <a:rect l="0" t="0" r="0" b="0"/>
              <a:pathLst>
                <a:path w="82295" h="210312">
                  <a:moveTo>
                    <a:pt x="40893" y="0"/>
                  </a:moveTo>
                  <a:lnTo>
                    <a:pt x="40893" y="0"/>
                  </a:lnTo>
                  <a:lnTo>
                    <a:pt x="32639" y="381"/>
                  </a:lnTo>
                  <a:lnTo>
                    <a:pt x="25145" y="1397"/>
                  </a:lnTo>
                  <a:lnTo>
                    <a:pt x="18161" y="2921"/>
                  </a:lnTo>
                  <a:lnTo>
                    <a:pt x="12191" y="5460"/>
                  </a:lnTo>
                  <a:lnTo>
                    <a:pt x="7112" y="8381"/>
                  </a:lnTo>
                  <a:lnTo>
                    <a:pt x="5079" y="9397"/>
                  </a:lnTo>
                  <a:lnTo>
                    <a:pt x="3175" y="11557"/>
                  </a:lnTo>
                  <a:lnTo>
                    <a:pt x="1904" y="13080"/>
                  </a:lnTo>
                  <a:lnTo>
                    <a:pt x="380" y="14859"/>
                  </a:lnTo>
                  <a:lnTo>
                    <a:pt x="0" y="17018"/>
                  </a:lnTo>
                  <a:lnTo>
                    <a:pt x="0" y="18796"/>
                  </a:lnTo>
                  <a:lnTo>
                    <a:pt x="0" y="210312"/>
                  </a:lnTo>
                  <a:lnTo>
                    <a:pt x="82295" y="210312"/>
                  </a:lnTo>
                  <a:lnTo>
                    <a:pt x="82295" y="18796"/>
                  </a:lnTo>
                  <a:lnTo>
                    <a:pt x="81915" y="17018"/>
                  </a:lnTo>
                  <a:lnTo>
                    <a:pt x="81533" y="14859"/>
                  </a:lnTo>
                  <a:lnTo>
                    <a:pt x="80771" y="13080"/>
                  </a:lnTo>
                  <a:lnTo>
                    <a:pt x="79120" y="11557"/>
                  </a:lnTo>
                  <a:lnTo>
                    <a:pt x="77596" y="9397"/>
                  </a:lnTo>
                  <a:lnTo>
                    <a:pt x="75565" y="8381"/>
                  </a:lnTo>
                  <a:lnTo>
                    <a:pt x="70103" y="5460"/>
                  </a:lnTo>
                  <a:lnTo>
                    <a:pt x="64516" y="2921"/>
                  </a:lnTo>
                  <a:lnTo>
                    <a:pt x="57530" y="1397"/>
                  </a:lnTo>
                  <a:lnTo>
                    <a:pt x="49656" y="381"/>
                  </a:lnTo>
                  <a:lnTo>
                    <a:pt x="40893" y="0"/>
                  </a:lnTo>
                  <a:close/>
                  <a:moveTo>
                    <a:pt x="-9086089" y="1635251"/>
                  </a:moveTo>
                  <a:moveTo>
                    <a:pt x="70866" y="70230"/>
                  </a:moveTo>
                  <a:lnTo>
                    <a:pt x="70866" y="70230"/>
                  </a:lnTo>
                  <a:lnTo>
                    <a:pt x="66928" y="72009"/>
                  </a:lnTo>
                  <a:lnTo>
                    <a:pt x="62991" y="73151"/>
                  </a:lnTo>
                  <a:lnTo>
                    <a:pt x="59054" y="73151"/>
                  </a:lnTo>
                  <a:lnTo>
                    <a:pt x="55117" y="72771"/>
                  </a:lnTo>
                  <a:lnTo>
                    <a:pt x="51562" y="72009"/>
                  </a:lnTo>
                  <a:lnTo>
                    <a:pt x="47625" y="70612"/>
                  </a:lnTo>
                  <a:lnTo>
                    <a:pt x="38989" y="66929"/>
                  </a:lnTo>
                  <a:lnTo>
                    <a:pt x="35432" y="65532"/>
                  </a:lnTo>
                  <a:lnTo>
                    <a:pt x="31495" y="64769"/>
                  </a:lnTo>
                  <a:lnTo>
                    <a:pt x="27558" y="64769"/>
                  </a:lnTo>
                  <a:lnTo>
                    <a:pt x="24003" y="64769"/>
                  </a:lnTo>
                  <a:lnTo>
                    <a:pt x="20446" y="65532"/>
                  </a:lnTo>
                  <a:lnTo>
                    <a:pt x="17271" y="66929"/>
                  </a:lnTo>
                  <a:lnTo>
                    <a:pt x="14224" y="68834"/>
                  </a:lnTo>
                  <a:lnTo>
                    <a:pt x="11049" y="70993"/>
                  </a:lnTo>
                  <a:lnTo>
                    <a:pt x="11049" y="18796"/>
                  </a:lnTo>
                  <a:lnTo>
                    <a:pt x="11429" y="18160"/>
                  </a:lnTo>
                  <a:lnTo>
                    <a:pt x="12953" y="17399"/>
                  </a:lnTo>
                  <a:lnTo>
                    <a:pt x="14986" y="15621"/>
                  </a:lnTo>
                  <a:lnTo>
                    <a:pt x="18541" y="14096"/>
                  </a:lnTo>
                  <a:lnTo>
                    <a:pt x="23621" y="12318"/>
                  </a:lnTo>
                  <a:lnTo>
                    <a:pt x="29082" y="11176"/>
                  </a:lnTo>
                  <a:lnTo>
                    <a:pt x="35052" y="10540"/>
                  </a:lnTo>
                  <a:lnTo>
                    <a:pt x="40893" y="10540"/>
                  </a:lnTo>
                  <a:lnTo>
                    <a:pt x="47243" y="10540"/>
                  </a:lnTo>
                  <a:lnTo>
                    <a:pt x="53593" y="11176"/>
                  </a:lnTo>
                  <a:lnTo>
                    <a:pt x="58674" y="12318"/>
                  </a:lnTo>
                  <a:lnTo>
                    <a:pt x="63373" y="14096"/>
                  </a:lnTo>
                  <a:lnTo>
                    <a:pt x="66928" y="15621"/>
                  </a:lnTo>
                  <a:lnTo>
                    <a:pt x="69341" y="17399"/>
                  </a:lnTo>
                  <a:lnTo>
                    <a:pt x="70485" y="18160"/>
                  </a:lnTo>
                  <a:lnTo>
                    <a:pt x="70866" y="18796"/>
                  </a:lnTo>
                  <a:lnTo>
                    <a:pt x="70866" y="70230"/>
                  </a:lnTo>
                  <a:close/>
                  <a:moveTo>
                    <a:pt x="-9156319" y="1635251"/>
                  </a:moveTo>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907" name="Freeform 907"/>
            <p:cNvSpPr/>
            <p:nvPr/>
          </p:nvSpPr>
          <p:spPr>
            <a:xfrm>
              <a:off x="11005297" y="5285790"/>
              <a:ext cx="60928" cy="33511"/>
            </a:xfrm>
            <a:custGeom>
              <a:avLst/>
              <a:gdLst/>
              <a:ahLst/>
              <a:cxnLst/>
              <a:rect l="0" t="0" r="0" b="0"/>
              <a:pathLst>
                <a:path w="60960" h="33528">
                  <a:moveTo>
                    <a:pt x="0" y="33528"/>
                  </a:moveTo>
                  <a:lnTo>
                    <a:pt x="60960" y="33528"/>
                  </a:lnTo>
                  <a:lnTo>
                    <a:pt x="60960" y="0"/>
                  </a:lnTo>
                  <a:lnTo>
                    <a:pt x="0" y="0"/>
                  </a:lnTo>
                  <a:lnTo>
                    <a:pt x="0" y="3352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908" name="Freeform 908"/>
            <p:cNvSpPr/>
            <p:nvPr/>
          </p:nvSpPr>
          <p:spPr>
            <a:xfrm>
              <a:off x="11017482" y="5252280"/>
              <a:ext cx="48743" cy="27419"/>
            </a:xfrm>
            <a:custGeom>
              <a:avLst/>
              <a:gdLst/>
              <a:ahLst/>
              <a:cxnLst/>
              <a:rect l="0" t="0" r="0" b="0"/>
              <a:pathLst>
                <a:path w="48768" h="27433">
                  <a:moveTo>
                    <a:pt x="48768" y="13462"/>
                  </a:moveTo>
                  <a:lnTo>
                    <a:pt x="48768" y="13462"/>
                  </a:lnTo>
                  <a:lnTo>
                    <a:pt x="48768" y="16637"/>
                  </a:lnTo>
                  <a:lnTo>
                    <a:pt x="47752" y="18923"/>
                  </a:lnTo>
                  <a:lnTo>
                    <a:pt x="46610" y="21590"/>
                  </a:lnTo>
                  <a:lnTo>
                    <a:pt x="45593" y="23369"/>
                  </a:lnTo>
                  <a:lnTo>
                    <a:pt x="44070" y="25147"/>
                  </a:lnTo>
                  <a:lnTo>
                    <a:pt x="41911" y="26544"/>
                  </a:lnTo>
                  <a:lnTo>
                    <a:pt x="40387" y="27433"/>
                  </a:lnTo>
                  <a:lnTo>
                    <a:pt x="37720" y="27433"/>
                  </a:lnTo>
                  <a:lnTo>
                    <a:pt x="10541" y="27433"/>
                  </a:lnTo>
                  <a:lnTo>
                    <a:pt x="7875" y="27433"/>
                  </a:lnTo>
                  <a:lnTo>
                    <a:pt x="6350" y="26544"/>
                  </a:lnTo>
                  <a:lnTo>
                    <a:pt x="4700" y="25147"/>
                  </a:lnTo>
                  <a:lnTo>
                    <a:pt x="2667" y="23369"/>
                  </a:lnTo>
                  <a:lnTo>
                    <a:pt x="1525" y="21590"/>
                  </a:lnTo>
                  <a:lnTo>
                    <a:pt x="509" y="18923"/>
                  </a:lnTo>
                  <a:lnTo>
                    <a:pt x="0" y="16637"/>
                  </a:lnTo>
                  <a:lnTo>
                    <a:pt x="0" y="13462"/>
                  </a:lnTo>
                  <a:lnTo>
                    <a:pt x="0" y="10795"/>
                  </a:lnTo>
                  <a:lnTo>
                    <a:pt x="509" y="8509"/>
                  </a:lnTo>
                  <a:lnTo>
                    <a:pt x="1525" y="5842"/>
                  </a:lnTo>
                  <a:lnTo>
                    <a:pt x="2667" y="4064"/>
                  </a:lnTo>
                  <a:lnTo>
                    <a:pt x="4700" y="1778"/>
                  </a:lnTo>
                  <a:lnTo>
                    <a:pt x="6350" y="889"/>
                  </a:lnTo>
                  <a:lnTo>
                    <a:pt x="7875" y="0"/>
                  </a:lnTo>
                  <a:lnTo>
                    <a:pt x="10541" y="0"/>
                  </a:lnTo>
                  <a:lnTo>
                    <a:pt x="37720" y="0"/>
                  </a:lnTo>
                  <a:lnTo>
                    <a:pt x="40387" y="0"/>
                  </a:lnTo>
                  <a:lnTo>
                    <a:pt x="41911" y="889"/>
                  </a:lnTo>
                  <a:lnTo>
                    <a:pt x="44070" y="1778"/>
                  </a:lnTo>
                  <a:lnTo>
                    <a:pt x="45593" y="4064"/>
                  </a:lnTo>
                  <a:lnTo>
                    <a:pt x="46610" y="5842"/>
                  </a:lnTo>
                  <a:lnTo>
                    <a:pt x="47752" y="8509"/>
                  </a:lnTo>
                  <a:lnTo>
                    <a:pt x="48768" y="10795"/>
                  </a:lnTo>
                  <a:lnTo>
                    <a:pt x="48768" y="13462"/>
                  </a:lnTo>
                  <a:close/>
                  <a:moveTo>
                    <a:pt x="-9428733" y="1604772"/>
                  </a:moveTo>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909" name="Freeform 909"/>
            <p:cNvSpPr/>
            <p:nvPr/>
          </p:nvSpPr>
          <p:spPr>
            <a:xfrm>
              <a:off x="11069271" y="5285790"/>
              <a:ext cx="60928" cy="33511"/>
            </a:xfrm>
            <a:custGeom>
              <a:avLst/>
              <a:gdLst/>
              <a:ahLst/>
              <a:cxnLst/>
              <a:rect l="0" t="0" r="0" b="0"/>
              <a:pathLst>
                <a:path w="60960" h="33528">
                  <a:moveTo>
                    <a:pt x="0" y="33528"/>
                  </a:moveTo>
                  <a:lnTo>
                    <a:pt x="60960" y="33528"/>
                  </a:lnTo>
                  <a:lnTo>
                    <a:pt x="60960" y="0"/>
                  </a:lnTo>
                  <a:lnTo>
                    <a:pt x="0" y="0"/>
                  </a:lnTo>
                  <a:lnTo>
                    <a:pt x="0" y="3352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910" name="Freeform 910"/>
            <p:cNvSpPr/>
            <p:nvPr/>
          </p:nvSpPr>
          <p:spPr>
            <a:xfrm>
              <a:off x="11078411" y="5252280"/>
              <a:ext cx="51788" cy="27419"/>
            </a:xfrm>
            <a:custGeom>
              <a:avLst/>
              <a:gdLst/>
              <a:ahLst/>
              <a:cxnLst/>
              <a:rect l="0" t="0" r="0" b="0"/>
              <a:pathLst>
                <a:path w="51815" h="27433">
                  <a:moveTo>
                    <a:pt x="51815" y="13462"/>
                  </a:moveTo>
                  <a:lnTo>
                    <a:pt x="51815" y="13462"/>
                  </a:lnTo>
                  <a:lnTo>
                    <a:pt x="51815" y="16637"/>
                  </a:lnTo>
                  <a:lnTo>
                    <a:pt x="50673" y="18923"/>
                  </a:lnTo>
                  <a:lnTo>
                    <a:pt x="49529" y="21590"/>
                  </a:lnTo>
                  <a:lnTo>
                    <a:pt x="48514" y="23369"/>
                  </a:lnTo>
                  <a:lnTo>
                    <a:pt x="46863" y="25147"/>
                  </a:lnTo>
                  <a:lnTo>
                    <a:pt x="44577" y="26544"/>
                  </a:lnTo>
                  <a:lnTo>
                    <a:pt x="42926" y="27433"/>
                  </a:lnTo>
                  <a:lnTo>
                    <a:pt x="40131" y="27433"/>
                  </a:lnTo>
                  <a:lnTo>
                    <a:pt x="11176" y="27433"/>
                  </a:lnTo>
                  <a:lnTo>
                    <a:pt x="8381" y="27433"/>
                  </a:lnTo>
                  <a:lnTo>
                    <a:pt x="6730" y="26544"/>
                  </a:lnTo>
                  <a:lnTo>
                    <a:pt x="4952" y="25147"/>
                  </a:lnTo>
                  <a:lnTo>
                    <a:pt x="2793" y="23369"/>
                  </a:lnTo>
                  <a:lnTo>
                    <a:pt x="1651" y="21590"/>
                  </a:lnTo>
                  <a:lnTo>
                    <a:pt x="507" y="18923"/>
                  </a:lnTo>
                  <a:lnTo>
                    <a:pt x="0" y="16637"/>
                  </a:lnTo>
                  <a:lnTo>
                    <a:pt x="0" y="13462"/>
                  </a:lnTo>
                  <a:lnTo>
                    <a:pt x="0" y="10795"/>
                  </a:lnTo>
                  <a:lnTo>
                    <a:pt x="507" y="8509"/>
                  </a:lnTo>
                  <a:lnTo>
                    <a:pt x="1651" y="5842"/>
                  </a:lnTo>
                  <a:lnTo>
                    <a:pt x="2793" y="4064"/>
                  </a:lnTo>
                  <a:lnTo>
                    <a:pt x="4952" y="1778"/>
                  </a:lnTo>
                  <a:lnTo>
                    <a:pt x="6730" y="889"/>
                  </a:lnTo>
                  <a:lnTo>
                    <a:pt x="8381" y="0"/>
                  </a:lnTo>
                  <a:lnTo>
                    <a:pt x="11176" y="0"/>
                  </a:lnTo>
                  <a:lnTo>
                    <a:pt x="40131" y="0"/>
                  </a:lnTo>
                  <a:lnTo>
                    <a:pt x="42926" y="0"/>
                  </a:lnTo>
                  <a:lnTo>
                    <a:pt x="44577" y="889"/>
                  </a:lnTo>
                  <a:lnTo>
                    <a:pt x="46863" y="1778"/>
                  </a:lnTo>
                  <a:lnTo>
                    <a:pt x="48514" y="4064"/>
                  </a:lnTo>
                  <a:lnTo>
                    <a:pt x="49529" y="5842"/>
                  </a:lnTo>
                  <a:lnTo>
                    <a:pt x="50673" y="8509"/>
                  </a:lnTo>
                  <a:lnTo>
                    <a:pt x="51815" y="10795"/>
                  </a:lnTo>
                  <a:lnTo>
                    <a:pt x="51815" y="13462"/>
                  </a:lnTo>
                  <a:close/>
                  <a:moveTo>
                    <a:pt x="-9489694" y="1604772"/>
                  </a:moveTo>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911" name="Freeform 911"/>
            <p:cNvSpPr/>
            <p:nvPr/>
          </p:nvSpPr>
          <p:spPr>
            <a:xfrm>
              <a:off x="11133246" y="5285790"/>
              <a:ext cx="57882" cy="33511"/>
            </a:xfrm>
            <a:custGeom>
              <a:avLst/>
              <a:gdLst/>
              <a:ahLst/>
              <a:cxnLst/>
              <a:rect l="0" t="0" r="0" b="0"/>
              <a:pathLst>
                <a:path w="57912" h="33528">
                  <a:moveTo>
                    <a:pt x="0" y="33528"/>
                  </a:moveTo>
                  <a:lnTo>
                    <a:pt x="57912" y="33528"/>
                  </a:lnTo>
                  <a:lnTo>
                    <a:pt x="57912" y="0"/>
                  </a:lnTo>
                  <a:lnTo>
                    <a:pt x="0" y="0"/>
                  </a:lnTo>
                  <a:lnTo>
                    <a:pt x="0" y="3352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912" name="Freeform 912"/>
            <p:cNvSpPr/>
            <p:nvPr/>
          </p:nvSpPr>
          <p:spPr>
            <a:xfrm>
              <a:off x="11142385" y="5252280"/>
              <a:ext cx="51790" cy="27419"/>
            </a:xfrm>
            <a:custGeom>
              <a:avLst/>
              <a:gdLst/>
              <a:ahLst/>
              <a:cxnLst/>
              <a:rect l="0" t="0" r="0" b="0"/>
              <a:pathLst>
                <a:path w="51817" h="27433">
                  <a:moveTo>
                    <a:pt x="51817" y="13462"/>
                  </a:moveTo>
                  <a:lnTo>
                    <a:pt x="51817" y="13462"/>
                  </a:lnTo>
                  <a:lnTo>
                    <a:pt x="51817" y="16637"/>
                  </a:lnTo>
                  <a:lnTo>
                    <a:pt x="50673" y="18923"/>
                  </a:lnTo>
                  <a:lnTo>
                    <a:pt x="49531" y="21590"/>
                  </a:lnTo>
                  <a:lnTo>
                    <a:pt x="48515" y="23369"/>
                  </a:lnTo>
                  <a:lnTo>
                    <a:pt x="46864" y="25147"/>
                  </a:lnTo>
                  <a:lnTo>
                    <a:pt x="44578" y="26544"/>
                  </a:lnTo>
                  <a:lnTo>
                    <a:pt x="42927" y="27433"/>
                  </a:lnTo>
                  <a:lnTo>
                    <a:pt x="40132" y="27433"/>
                  </a:lnTo>
                  <a:lnTo>
                    <a:pt x="11177" y="27433"/>
                  </a:lnTo>
                  <a:lnTo>
                    <a:pt x="8382" y="27433"/>
                  </a:lnTo>
                  <a:lnTo>
                    <a:pt x="6732" y="26544"/>
                  </a:lnTo>
                  <a:lnTo>
                    <a:pt x="4954" y="25147"/>
                  </a:lnTo>
                  <a:lnTo>
                    <a:pt x="2795" y="23369"/>
                  </a:lnTo>
                  <a:lnTo>
                    <a:pt x="1652" y="21590"/>
                  </a:lnTo>
                  <a:lnTo>
                    <a:pt x="508" y="18923"/>
                  </a:lnTo>
                  <a:lnTo>
                    <a:pt x="0" y="16637"/>
                  </a:lnTo>
                  <a:lnTo>
                    <a:pt x="0" y="13462"/>
                  </a:lnTo>
                  <a:lnTo>
                    <a:pt x="0" y="10795"/>
                  </a:lnTo>
                  <a:lnTo>
                    <a:pt x="508" y="8509"/>
                  </a:lnTo>
                  <a:lnTo>
                    <a:pt x="1652" y="5842"/>
                  </a:lnTo>
                  <a:lnTo>
                    <a:pt x="2795" y="4064"/>
                  </a:lnTo>
                  <a:lnTo>
                    <a:pt x="4954" y="1778"/>
                  </a:lnTo>
                  <a:lnTo>
                    <a:pt x="6732" y="889"/>
                  </a:lnTo>
                  <a:lnTo>
                    <a:pt x="8382" y="0"/>
                  </a:lnTo>
                  <a:lnTo>
                    <a:pt x="11177" y="0"/>
                  </a:lnTo>
                  <a:lnTo>
                    <a:pt x="40132" y="0"/>
                  </a:lnTo>
                  <a:lnTo>
                    <a:pt x="42927" y="0"/>
                  </a:lnTo>
                  <a:lnTo>
                    <a:pt x="44578" y="889"/>
                  </a:lnTo>
                  <a:lnTo>
                    <a:pt x="46864" y="1778"/>
                  </a:lnTo>
                  <a:lnTo>
                    <a:pt x="48515" y="4064"/>
                  </a:lnTo>
                  <a:lnTo>
                    <a:pt x="49531" y="5842"/>
                  </a:lnTo>
                  <a:lnTo>
                    <a:pt x="50673" y="8509"/>
                  </a:lnTo>
                  <a:lnTo>
                    <a:pt x="51817" y="10795"/>
                  </a:lnTo>
                  <a:lnTo>
                    <a:pt x="51817" y="13462"/>
                  </a:lnTo>
                  <a:close/>
                  <a:moveTo>
                    <a:pt x="-9553701" y="1604772"/>
                  </a:moveTo>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913" name="Freeform 913"/>
            <p:cNvSpPr/>
            <p:nvPr/>
          </p:nvSpPr>
          <p:spPr>
            <a:xfrm>
              <a:off x="10694564" y="5249233"/>
              <a:ext cx="30463" cy="118810"/>
            </a:xfrm>
            <a:custGeom>
              <a:avLst/>
              <a:gdLst/>
              <a:ahLst/>
              <a:cxnLst/>
              <a:rect l="0" t="0" r="0" b="0"/>
              <a:pathLst>
                <a:path w="30479" h="118872">
                  <a:moveTo>
                    <a:pt x="30479" y="110997"/>
                  </a:moveTo>
                  <a:lnTo>
                    <a:pt x="30479" y="118872"/>
                  </a:lnTo>
                  <a:lnTo>
                    <a:pt x="25400" y="118872"/>
                  </a:lnTo>
                  <a:lnTo>
                    <a:pt x="21336" y="118109"/>
                  </a:lnTo>
                  <a:lnTo>
                    <a:pt x="18034" y="117094"/>
                  </a:lnTo>
                  <a:lnTo>
                    <a:pt x="15366" y="115697"/>
                  </a:lnTo>
                  <a:lnTo>
                    <a:pt x="13588" y="114300"/>
                  </a:lnTo>
                  <a:lnTo>
                    <a:pt x="12446" y="112522"/>
                  </a:lnTo>
                  <a:lnTo>
                    <a:pt x="11811" y="110744"/>
                  </a:lnTo>
                  <a:lnTo>
                    <a:pt x="10287" y="107187"/>
                  </a:lnTo>
                  <a:lnTo>
                    <a:pt x="10287" y="103886"/>
                  </a:lnTo>
                  <a:lnTo>
                    <a:pt x="10287" y="102489"/>
                  </a:lnTo>
                  <a:lnTo>
                    <a:pt x="10287" y="12827"/>
                  </a:lnTo>
                  <a:lnTo>
                    <a:pt x="9905" y="10286"/>
                  </a:lnTo>
                  <a:lnTo>
                    <a:pt x="9144" y="8889"/>
                  </a:lnTo>
                  <a:lnTo>
                    <a:pt x="7747" y="8128"/>
                  </a:lnTo>
                  <a:lnTo>
                    <a:pt x="5841" y="7492"/>
                  </a:lnTo>
                  <a:lnTo>
                    <a:pt x="2921" y="7111"/>
                  </a:lnTo>
                  <a:lnTo>
                    <a:pt x="2539" y="7111"/>
                  </a:lnTo>
                  <a:lnTo>
                    <a:pt x="0" y="7111"/>
                  </a:lnTo>
                  <a:lnTo>
                    <a:pt x="0" y="0"/>
                  </a:lnTo>
                  <a:lnTo>
                    <a:pt x="2539" y="0"/>
                  </a:lnTo>
                  <a:lnTo>
                    <a:pt x="4445" y="0"/>
                  </a:lnTo>
                  <a:lnTo>
                    <a:pt x="7365" y="381"/>
                  </a:lnTo>
                  <a:lnTo>
                    <a:pt x="11049" y="1397"/>
                  </a:lnTo>
                  <a:lnTo>
                    <a:pt x="12446" y="2539"/>
                  </a:lnTo>
                  <a:lnTo>
                    <a:pt x="14350" y="3556"/>
                  </a:lnTo>
                  <a:lnTo>
                    <a:pt x="15748" y="5714"/>
                  </a:lnTo>
                  <a:lnTo>
                    <a:pt x="16890" y="7492"/>
                  </a:lnTo>
                  <a:lnTo>
                    <a:pt x="18034" y="9906"/>
                  </a:lnTo>
                  <a:lnTo>
                    <a:pt x="18034" y="12827"/>
                  </a:lnTo>
                  <a:lnTo>
                    <a:pt x="18034" y="102869"/>
                  </a:lnTo>
                  <a:lnTo>
                    <a:pt x="18034" y="106044"/>
                  </a:lnTo>
                  <a:lnTo>
                    <a:pt x="18669" y="107442"/>
                  </a:lnTo>
                  <a:lnTo>
                    <a:pt x="19430" y="109600"/>
                  </a:lnTo>
                  <a:lnTo>
                    <a:pt x="20574" y="110362"/>
                  </a:lnTo>
                  <a:lnTo>
                    <a:pt x="21971" y="110744"/>
                  </a:lnTo>
                  <a:lnTo>
                    <a:pt x="23495" y="110997"/>
                  </a:lnTo>
                  <a:lnTo>
                    <a:pt x="25400" y="110997"/>
                  </a:lnTo>
                  <a:lnTo>
                    <a:pt x="30479" y="110997"/>
                  </a:lnTo>
                  <a:close/>
                  <a:moveTo>
                    <a:pt x="-9200134" y="1607819"/>
                  </a:moveTo>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914" name="Freeform 914"/>
            <p:cNvSpPr/>
            <p:nvPr/>
          </p:nvSpPr>
          <p:spPr>
            <a:xfrm>
              <a:off x="10694564" y="5380230"/>
              <a:ext cx="30463" cy="45695"/>
            </a:xfrm>
            <a:custGeom>
              <a:avLst/>
              <a:gdLst/>
              <a:ahLst/>
              <a:cxnLst/>
              <a:rect l="0" t="0" r="0" b="0"/>
              <a:pathLst>
                <a:path w="30479" h="45719">
                  <a:moveTo>
                    <a:pt x="30479" y="0"/>
                  </a:moveTo>
                  <a:lnTo>
                    <a:pt x="30479" y="7747"/>
                  </a:lnTo>
                  <a:lnTo>
                    <a:pt x="22351" y="7747"/>
                  </a:lnTo>
                  <a:lnTo>
                    <a:pt x="21336" y="7747"/>
                  </a:lnTo>
                  <a:lnTo>
                    <a:pt x="19812" y="8128"/>
                  </a:lnTo>
                  <a:lnTo>
                    <a:pt x="18669" y="9525"/>
                  </a:lnTo>
                  <a:lnTo>
                    <a:pt x="17272" y="11430"/>
                  </a:lnTo>
                  <a:lnTo>
                    <a:pt x="16510" y="14731"/>
                  </a:lnTo>
                  <a:lnTo>
                    <a:pt x="16128" y="16636"/>
                  </a:lnTo>
                  <a:lnTo>
                    <a:pt x="16128" y="29464"/>
                  </a:lnTo>
                  <a:lnTo>
                    <a:pt x="15748" y="33908"/>
                  </a:lnTo>
                  <a:lnTo>
                    <a:pt x="15112" y="37211"/>
                  </a:lnTo>
                  <a:lnTo>
                    <a:pt x="13588" y="40513"/>
                  </a:lnTo>
                  <a:lnTo>
                    <a:pt x="11811" y="42798"/>
                  </a:lnTo>
                  <a:lnTo>
                    <a:pt x="9525" y="44577"/>
                  </a:lnTo>
                  <a:lnTo>
                    <a:pt x="7365" y="45339"/>
                  </a:lnTo>
                  <a:lnTo>
                    <a:pt x="5461" y="45719"/>
                  </a:lnTo>
                  <a:lnTo>
                    <a:pt x="4445" y="45719"/>
                  </a:lnTo>
                  <a:lnTo>
                    <a:pt x="0" y="45719"/>
                  </a:lnTo>
                  <a:lnTo>
                    <a:pt x="0" y="38353"/>
                  </a:lnTo>
                  <a:lnTo>
                    <a:pt x="4445" y="38353"/>
                  </a:lnTo>
                  <a:lnTo>
                    <a:pt x="5079" y="37972"/>
                  </a:lnTo>
                  <a:lnTo>
                    <a:pt x="6603" y="37211"/>
                  </a:lnTo>
                  <a:lnTo>
                    <a:pt x="7747" y="35814"/>
                  </a:lnTo>
                  <a:lnTo>
                    <a:pt x="8127" y="34289"/>
                  </a:lnTo>
                  <a:lnTo>
                    <a:pt x="8509" y="32130"/>
                  </a:lnTo>
                  <a:lnTo>
                    <a:pt x="8762" y="29464"/>
                  </a:lnTo>
                  <a:lnTo>
                    <a:pt x="8762" y="16636"/>
                  </a:lnTo>
                  <a:lnTo>
                    <a:pt x="8762" y="13589"/>
                  </a:lnTo>
                  <a:lnTo>
                    <a:pt x="9144" y="11430"/>
                  </a:lnTo>
                  <a:lnTo>
                    <a:pt x="10287" y="8889"/>
                  </a:lnTo>
                  <a:lnTo>
                    <a:pt x="11429" y="6603"/>
                  </a:lnTo>
                  <a:lnTo>
                    <a:pt x="12446" y="5206"/>
                  </a:lnTo>
                  <a:lnTo>
                    <a:pt x="13588" y="3683"/>
                  </a:lnTo>
                  <a:lnTo>
                    <a:pt x="15112" y="2539"/>
                  </a:lnTo>
                  <a:lnTo>
                    <a:pt x="16510" y="1142"/>
                  </a:lnTo>
                  <a:lnTo>
                    <a:pt x="18669" y="761"/>
                  </a:lnTo>
                  <a:lnTo>
                    <a:pt x="20192" y="380"/>
                  </a:lnTo>
                  <a:lnTo>
                    <a:pt x="22351" y="0"/>
                  </a:lnTo>
                  <a:lnTo>
                    <a:pt x="30479" y="0"/>
                  </a:lnTo>
                  <a:close/>
                  <a:moveTo>
                    <a:pt x="-9220201" y="1476755"/>
                  </a:moveTo>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915" name="Freeform 915"/>
            <p:cNvSpPr/>
            <p:nvPr/>
          </p:nvSpPr>
          <p:spPr>
            <a:xfrm>
              <a:off x="10612309" y="5221816"/>
              <a:ext cx="82254" cy="210203"/>
            </a:xfrm>
            <a:custGeom>
              <a:avLst/>
              <a:gdLst/>
              <a:ahLst/>
              <a:cxnLst/>
              <a:rect l="0" t="0" r="0" b="0"/>
              <a:pathLst>
                <a:path w="82297" h="210312">
                  <a:moveTo>
                    <a:pt x="40895" y="0"/>
                  </a:moveTo>
                  <a:lnTo>
                    <a:pt x="40895" y="0"/>
                  </a:lnTo>
                  <a:lnTo>
                    <a:pt x="32639" y="381"/>
                  </a:lnTo>
                  <a:lnTo>
                    <a:pt x="25147" y="1397"/>
                  </a:lnTo>
                  <a:lnTo>
                    <a:pt x="18161" y="2921"/>
                  </a:lnTo>
                  <a:lnTo>
                    <a:pt x="12193" y="5460"/>
                  </a:lnTo>
                  <a:lnTo>
                    <a:pt x="7112" y="8381"/>
                  </a:lnTo>
                  <a:lnTo>
                    <a:pt x="5081" y="9397"/>
                  </a:lnTo>
                  <a:lnTo>
                    <a:pt x="3175" y="11557"/>
                  </a:lnTo>
                  <a:lnTo>
                    <a:pt x="1906" y="13080"/>
                  </a:lnTo>
                  <a:lnTo>
                    <a:pt x="382" y="14859"/>
                  </a:lnTo>
                  <a:lnTo>
                    <a:pt x="0" y="17018"/>
                  </a:lnTo>
                  <a:lnTo>
                    <a:pt x="0" y="18796"/>
                  </a:lnTo>
                  <a:lnTo>
                    <a:pt x="0" y="210312"/>
                  </a:lnTo>
                  <a:lnTo>
                    <a:pt x="82297" y="210312"/>
                  </a:lnTo>
                  <a:lnTo>
                    <a:pt x="82297" y="18796"/>
                  </a:lnTo>
                  <a:lnTo>
                    <a:pt x="81916" y="17018"/>
                  </a:lnTo>
                  <a:lnTo>
                    <a:pt x="81534" y="14859"/>
                  </a:lnTo>
                  <a:lnTo>
                    <a:pt x="80772" y="13080"/>
                  </a:lnTo>
                  <a:lnTo>
                    <a:pt x="79122" y="11557"/>
                  </a:lnTo>
                  <a:lnTo>
                    <a:pt x="77597" y="9397"/>
                  </a:lnTo>
                  <a:lnTo>
                    <a:pt x="75566" y="8381"/>
                  </a:lnTo>
                  <a:lnTo>
                    <a:pt x="70105" y="5460"/>
                  </a:lnTo>
                  <a:lnTo>
                    <a:pt x="64517" y="2921"/>
                  </a:lnTo>
                  <a:lnTo>
                    <a:pt x="57532" y="1397"/>
                  </a:lnTo>
                  <a:lnTo>
                    <a:pt x="49658" y="381"/>
                  </a:lnTo>
                  <a:lnTo>
                    <a:pt x="40895" y="0"/>
                  </a:lnTo>
                  <a:close/>
                  <a:moveTo>
                    <a:pt x="-8979408" y="1635251"/>
                  </a:moveTo>
                  <a:moveTo>
                    <a:pt x="70867" y="70230"/>
                  </a:moveTo>
                  <a:lnTo>
                    <a:pt x="70867" y="70230"/>
                  </a:lnTo>
                  <a:lnTo>
                    <a:pt x="66930" y="72009"/>
                  </a:lnTo>
                  <a:lnTo>
                    <a:pt x="62993" y="73151"/>
                  </a:lnTo>
                  <a:lnTo>
                    <a:pt x="59056" y="73151"/>
                  </a:lnTo>
                  <a:lnTo>
                    <a:pt x="55119" y="72771"/>
                  </a:lnTo>
                  <a:lnTo>
                    <a:pt x="51562" y="72009"/>
                  </a:lnTo>
                  <a:lnTo>
                    <a:pt x="47625" y="70612"/>
                  </a:lnTo>
                  <a:lnTo>
                    <a:pt x="38989" y="66929"/>
                  </a:lnTo>
                  <a:lnTo>
                    <a:pt x="35434" y="65532"/>
                  </a:lnTo>
                  <a:lnTo>
                    <a:pt x="31497" y="64769"/>
                  </a:lnTo>
                  <a:lnTo>
                    <a:pt x="27559" y="64769"/>
                  </a:lnTo>
                  <a:lnTo>
                    <a:pt x="24004" y="64769"/>
                  </a:lnTo>
                  <a:lnTo>
                    <a:pt x="20447" y="65532"/>
                  </a:lnTo>
                  <a:lnTo>
                    <a:pt x="17272" y="66929"/>
                  </a:lnTo>
                  <a:lnTo>
                    <a:pt x="14224" y="68834"/>
                  </a:lnTo>
                  <a:lnTo>
                    <a:pt x="11049" y="70993"/>
                  </a:lnTo>
                  <a:lnTo>
                    <a:pt x="11049" y="18796"/>
                  </a:lnTo>
                  <a:lnTo>
                    <a:pt x="11431" y="18160"/>
                  </a:lnTo>
                  <a:lnTo>
                    <a:pt x="12955" y="17399"/>
                  </a:lnTo>
                  <a:lnTo>
                    <a:pt x="14986" y="15621"/>
                  </a:lnTo>
                  <a:lnTo>
                    <a:pt x="18543" y="14096"/>
                  </a:lnTo>
                  <a:lnTo>
                    <a:pt x="23622" y="12318"/>
                  </a:lnTo>
                  <a:lnTo>
                    <a:pt x="29084" y="11176"/>
                  </a:lnTo>
                  <a:lnTo>
                    <a:pt x="35052" y="10540"/>
                  </a:lnTo>
                  <a:lnTo>
                    <a:pt x="40895" y="10540"/>
                  </a:lnTo>
                  <a:lnTo>
                    <a:pt x="47245" y="10540"/>
                  </a:lnTo>
                  <a:lnTo>
                    <a:pt x="53595" y="11176"/>
                  </a:lnTo>
                  <a:lnTo>
                    <a:pt x="58674" y="12318"/>
                  </a:lnTo>
                  <a:lnTo>
                    <a:pt x="63373" y="14096"/>
                  </a:lnTo>
                  <a:lnTo>
                    <a:pt x="66930" y="15621"/>
                  </a:lnTo>
                  <a:lnTo>
                    <a:pt x="69343" y="17399"/>
                  </a:lnTo>
                  <a:lnTo>
                    <a:pt x="70485" y="18160"/>
                  </a:lnTo>
                  <a:lnTo>
                    <a:pt x="70867" y="18796"/>
                  </a:lnTo>
                  <a:lnTo>
                    <a:pt x="70867" y="70230"/>
                  </a:lnTo>
                  <a:close/>
                  <a:moveTo>
                    <a:pt x="-9049638" y="1635251"/>
                  </a:moveTo>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085" name="Rectangle 1085"/>
            <p:cNvSpPr/>
            <p:nvPr/>
          </p:nvSpPr>
          <p:spPr>
            <a:xfrm>
              <a:off x="10578164" y="5497723"/>
              <a:ext cx="664926" cy="310662"/>
            </a:xfrm>
            <a:prstGeom prst="rect">
              <a:avLst/>
            </a:prstGeom>
            <a:noFill/>
          </p:spPr>
          <p:txBody>
            <a:bodyPr wrap="none" lIns="0" tIns="0" rIns="0" bIns="0">
              <a:spAutoFit/>
            </a:bodyPr>
            <a:lstStyle/>
            <a:p>
              <a:pPr marL="48720" marR="0" lvl="0" indent="0" algn="l" defTabSz="913486" rtl="0" eaLnBrk="1" fontAlgn="auto" latinLnBrk="0" hangingPunct="1">
                <a:lnSpc>
                  <a:spcPct val="100000"/>
                </a:lnSpc>
                <a:spcBef>
                  <a:spcPts val="0"/>
                </a:spcBef>
                <a:spcAft>
                  <a:spcPts val="0"/>
                </a:spcAft>
                <a:buClrTx/>
                <a:buSzTx/>
                <a:buFontTx/>
                <a:buNone/>
                <a:tabLst/>
                <a:defRPr/>
              </a:pPr>
              <a:r>
                <a:rPr kumimoji="0" lang="en-US" sz="1099" b="1" i="0" u="none" strike="noStrike" kern="0" cap="none" spc="0" normalizeH="0" baseline="0" noProof="0" dirty="0">
                  <a:ln>
                    <a:noFill/>
                  </a:ln>
                  <a:solidFill>
                    <a:prstClr val="white"/>
                  </a:solidFill>
                  <a:effectLst/>
                  <a:uLnTx/>
                  <a:uFillTx/>
                  <a:latin typeface="EYInterstate-LightBold"/>
                  <a:ea typeface="+mn-ea"/>
                  <a:cs typeface="+mn-cs"/>
                </a:rPr>
                <a:t>Industry </a:t>
              </a:r>
            </a:p>
            <a:p>
              <a:pPr marL="0" marR="0" lvl="0" indent="0" algn="l" defTabSz="913486" rtl="0" eaLnBrk="1" fontAlgn="auto" latinLnBrk="0" hangingPunct="1">
                <a:lnSpc>
                  <a:spcPts val="1102"/>
                </a:lnSpc>
                <a:spcBef>
                  <a:spcPts val="0"/>
                </a:spcBef>
                <a:spcAft>
                  <a:spcPts val="0"/>
                </a:spcAft>
                <a:buClrTx/>
                <a:buSzTx/>
                <a:buFontTx/>
                <a:buNone/>
                <a:tabLst/>
                <a:defRPr/>
              </a:pPr>
              <a:r>
                <a:rPr kumimoji="0" lang="en-US" sz="1099" b="1" i="0" u="none" strike="noStrike" kern="0" cap="none" spc="0" normalizeH="0" baseline="0" noProof="0" dirty="0">
                  <a:ln>
                    <a:noFill/>
                  </a:ln>
                  <a:solidFill>
                    <a:prstClr val="white"/>
                  </a:solidFill>
                  <a:effectLst/>
                  <a:uLnTx/>
                  <a:uFillTx/>
                  <a:latin typeface="EYInterstate-LightBold"/>
                  <a:ea typeface="+mn-ea"/>
                  <a:cs typeface="+mn-cs"/>
                </a:rPr>
                <a:t>feedstock</a:t>
              </a:r>
            </a:p>
          </p:txBody>
        </p:sp>
        <p:sp>
          <p:nvSpPr>
            <p:cNvPr id="1086" name="Rectangle 1086"/>
            <p:cNvSpPr/>
            <p:nvPr/>
          </p:nvSpPr>
          <p:spPr>
            <a:xfrm>
              <a:off x="10875569" y="5271440"/>
              <a:ext cx="59312" cy="62646"/>
            </a:xfrm>
            <a:prstGeom prst="rect">
              <a:avLst/>
            </a:prstGeom>
            <a:grpFill/>
            <a:ln>
              <a:noFill/>
            </a:ln>
          </p:spPr>
          <p:txBody>
            <a:bodyPr wrap="none" lIns="0" tIns="0" rIns="0" bIns="0">
              <a:spAutoFit/>
            </a:bodyPr>
            <a:lstStyle/>
            <a:p>
              <a:pPr marL="0" marR="0" lvl="0" indent="0" algn="l" defTabSz="913486" rtl="0" eaLnBrk="1" fontAlgn="auto" latinLnBrk="0" hangingPunct="1">
                <a:lnSpc>
                  <a:spcPct val="100000"/>
                </a:lnSpc>
                <a:spcBef>
                  <a:spcPts val="0"/>
                </a:spcBef>
                <a:spcAft>
                  <a:spcPts val="0"/>
                </a:spcAft>
                <a:buClrTx/>
                <a:buSzTx/>
                <a:buFontTx/>
                <a:buNone/>
                <a:tabLst/>
                <a:defRPr/>
              </a:pPr>
              <a:r>
                <a:rPr kumimoji="0" lang="en-US" sz="407" b="1" i="0" u="none" strike="noStrike" kern="0" cap="none" spc="0" normalizeH="0" baseline="0" noProof="0" dirty="0">
                  <a:ln>
                    <a:noFill/>
                  </a:ln>
                  <a:solidFill>
                    <a:srgbClr val="3D108A">
                      <a:lumMod val="40000"/>
                      <a:lumOff val="60000"/>
                    </a:srgbClr>
                  </a:solidFill>
                  <a:effectLst/>
                  <a:uLnTx/>
                  <a:uFillTx/>
                  <a:latin typeface="EYInterstate-LightBold"/>
                  <a:ea typeface="+mn-ea"/>
                  <a:cs typeface="+mn-cs"/>
                </a:rPr>
                <a:t>H</a:t>
              </a:r>
              <a:r>
                <a:rPr kumimoji="0" lang="en-US" sz="400" b="1" i="0" u="none" strike="noStrike" kern="0" cap="none" spc="0" normalizeH="0" baseline="-27272" noProof="0" dirty="0">
                  <a:ln>
                    <a:noFill/>
                  </a:ln>
                  <a:solidFill>
                    <a:srgbClr val="3D108A">
                      <a:lumMod val="40000"/>
                      <a:lumOff val="60000"/>
                    </a:srgbClr>
                  </a:solidFill>
                  <a:effectLst/>
                  <a:uLnTx/>
                  <a:uFillTx/>
                  <a:latin typeface="EYInterstate-LightBold"/>
                  <a:ea typeface="+mn-ea"/>
                  <a:cs typeface="+mn-cs"/>
                </a:rPr>
                <a:t>2</a:t>
              </a:r>
            </a:p>
          </p:txBody>
        </p:sp>
      </p:grpSp>
      <p:grpSp>
        <p:nvGrpSpPr>
          <p:cNvPr id="11" name="2.Hydrogen Generation Process">
            <a:extLst>
              <a:ext uri="{FF2B5EF4-FFF2-40B4-BE49-F238E27FC236}">
                <a16:creationId xmlns:a16="http://schemas.microsoft.com/office/drawing/2014/main" id="{CB82FE28-81F2-4AC6-AB13-1C4099F94C75}"/>
              </a:ext>
            </a:extLst>
          </p:cNvPr>
          <p:cNvGrpSpPr/>
          <p:nvPr/>
        </p:nvGrpSpPr>
        <p:grpSpPr>
          <a:xfrm>
            <a:off x="566808" y="3110436"/>
            <a:ext cx="11139539" cy="1395291"/>
            <a:chOff x="567103" y="3110270"/>
            <a:chExt cx="11145341" cy="1396018"/>
          </a:xfrm>
        </p:grpSpPr>
        <p:sp>
          <p:nvSpPr>
            <p:cNvPr id="695" name="Freeform 695"/>
            <p:cNvSpPr/>
            <p:nvPr/>
          </p:nvSpPr>
          <p:spPr>
            <a:xfrm>
              <a:off x="5305647" y="3304099"/>
              <a:ext cx="6406797" cy="1038826"/>
            </a:xfrm>
            <a:custGeom>
              <a:avLst/>
              <a:gdLst/>
              <a:ahLst/>
              <a:cxnLst/>
              <a:rect l="0" t="0" r="0" b="0"/>
              <a:pathLst>
                <a:path w="5541264" h="1039367">
                  <a:moveTo>
                    <a:pt x="0" y="1039367"/>
                  </a:moveTo>
                  <a:lnTo>
                    <a:pt x="5541264" y="1039367"/>
                  </a:lnTo>
                  <a:lnTo>
                    <a:pt x="5541264" y="0"/>
                  </a:lnTo>
                  <a:lnTo>
                    <a:pt x="0" y="0"/>
                  </a:lnTo>
                  <a:lnTo>
                    <a:pt x="0" y="1039367"/>
                  </a:lnTo>
                  <a:close/>
                </a:path>
              </a:pathLst>
            </a:custGeom>
            <a:solidFill>
              <a:schemeClr val="bg2">
                <a:lumMod val="65000"/>
                <a:lumOff val="35000"/>
              </a:schemeClr>
            </a:solidFill>
            <a:ln w="3175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699" name="Freeform 699"/>
            <p:cNvSpPr/>
            <p:nvPr/>
          </p:nvSpPr>
          <p:spPr>
            <a:xfrm>
              <a:off x="1374063" y="3304099"/>
              <a:ext cx="3963384" cy="1038826"/>
            </a:xfrm>
            <a:custGeom>
              <a:avLst/>
              <a:gdLst/>
              <a:ahLst/>
              <a:cxnLst/>
              <a:rect l="0" t="0" r="0" b="0"/>
              <a:pathLst>
                <a:path w="1185672" h="1039367">
                  <a:moveTo>
                    <a:pt x="0" y="1039367"/>
                  </a:moveTo>
                  <a:lnTo>
                    <a:pt x="1185672" y="1039367"/>
                  </a:lnTo>
                  <a:lnTo>
                    <a:pt x="1185672" y="0"/>
                  </a:lnTo>
                  <a:lnTo>
                    <a:pt x="0" y="0"/>
                  </a:lnTo>
                  <a:lnTo>
                    <a:pt x="0" y="1039367"/>
                  </a:lnTo>
                  <a:close/>
                </a:path>
              </a:pathLst>
            </a:custGeom>
            <a:solidFill>
              <a:schemeClr val="bg2">
                <a:lumMod val="65000"/>
                <a:lumOff val="35000"/>
              </a:scheme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703" name="Freeform 703"/>
            <p:cNvSpPr/>
            <p:nvPr/>
          </p:nvSpPr>
          <p:spPr>
            <a:xfrm>
              <a:off x="567103" y="3110270"/>
              <a:ext cx="1335890" cy="1396018"/>
            </a:xfrm>
            <a:custGeom>
              <a:avLst/>
              <a:gdLst/>
              <a:ahLst/>
              <a:cxnLst/>
              <a:rect l="0" t="0" r="0" b="0"/>
              <a:pathLst>
                <a:path w="1336586" h="1396745">
                  <a:moveTo>
                    <a:pt x="378016" y="143763"/>
                  </a:moveTo>
                  <a:cubicBezTo>
                    <a:pt x="684340" y="0"/>
                    <a:pt x="1049186" y="131825"/>
                    <a:pt x="1192823" y="438150"/>
                  </a:cubicBezTo>
                  <a:cubicBezTo>
                    <a:pt x="1336586" y="744473"/>
                    <a:pt x="1204760" y="1109345"/>
                    <a:pt x="898436" y="1252982"/>
                  </a:cubicBezTo>
                  <a:cubicBezTo>
                    <a:pt x="592087" y="1396745"/>
                    <a:pt x="227267" y="1264920"/>
                    <a:pt x="83566" y="958595"/>
                  </a:cubicBezTo>
                  <a:cubicBezTo>
                    <a:pt x="0" y="780414"/>
                    <a:pt x="7074" y="573023"/>
                    <a:pt x="102566" y="401066"/>
                  </a:cubicBezTo>
                  <a:lnTo>
                    <a:pt x="638214" y="698373"/>
                  </a:lnTo>
                  <a:close/>
                  <a:moveTo>
                    <a:pt x="3039911" y="3747896"/>
                  </a:moveTo>
                </a:path>
              </a:pathLst>
            </a:custGeom>
            <a:solidFill>
              <a:srgbClr val="2E2E38">
                <a:alpha val="100000"/>
              </a:srgbClr>
            </a:solidFill>
            <a:ln w="31750">
              <a:noFill/>
            </a:ln>
          </p:spPr>
          <p:style>
            <a:lnRef idx="2">
              <a:schemeClr val="accent1">
                <a:shade val="50000"/>
              </a:schemeClr>
            </a:lnRef>
            <a:fillRef idx="1">
              <a:schemeClr val="accent1"/>
            </a:fillRef>
            <a:effectRef idx="0">
              <a:schemeClr val="accent1"/>
            </a:effectRef>
            <a:fontRef idx="minor">
              <a:schemeClr val="lt1"/>
            </a:fontRef>
          </p:style>
        </p:sp>
        <p:pic>
          <p:nvPicPr>
            <p:cNvPr id="704" name="Picture 704"/>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573820" y="3176783"/>
              <a:ext cx="1262661" cy="1262992"/>
            </a:xfrm>
            <a:prstGeom prst="rect">
              <a:avLst/>
            </a:prstGeom>
            <a:noFill/>
          </p:spPr>
        </p:pic>
        <p:sp>
          <p:nvSpPr>
            <p:cNvPr id="1063" name="Rectangle 1063"/>
            <p:cNvSpPr/>
            <p:nvPr/>
          </p:nvSpPr>
          <p:spPr>
            <a:xfrm>
              <a:off x="722738" y="3121973"/>
              <a:ext cx="190659" cy="369012"/>
            </a:xfrm>
            <a:prstGeom prst="rect">
              <a:avLst/>
            </a:prstGeom>
          </p:spPr>
          <p:txBody>
            <a:bodyPr wrap="none" lIns="0" tIns="0" rIns="0" bIns="0">
              <a:spAutoFit/>
            </a:bodyPr>
            <a:lstStyle/>
            <a:p>
              <a:pPr marL="0" marR="0" lvl="0" indent="0" algn="l" defTabSz="913486" rtl="0" eaLnBrk="1" fontAlgn="auto" latinLnBrk="0" hangingPunct="1">
                <a:lnSpc>
                  <a:spcPct val="100000"/>
                </a:lnSpc>
                <a:spcBef>
                  <a:spcPts val="0"/>
                </a:spcBef>
                <a:spcAft>
                  <a:spcPts val="0"/>
                </a:spcAft>
                <a:buClrTx/>
                <a:buSzTx/>
                <a:buFontTx/>
                <a:buNone/>
                <a:tabLst/>
                <a:defRPr/>
              </a:pPr>
              <a:r>
                <a:rPr kumimoji="0" lang="en-US" sz="2398" b="1" i="0" u="none" strike="noStrike" kern="0" cap="none" spc="0" normalizeH="0" baseline="0" noProof="0" dirty="0">
                  <a:ln>
                    <a:noFill/>
                  </a:ln>
                  <a:solidFill>
                    <a:srgbClr val="FFE600"/>
                  </a:solidFill>
                  <a:effectLst/>
                  <a:uLnTx/>
                  <a:uFillTx/>
                  <a:latin typeface="EYInterstate-LightBold"/>
                  <a:ea typeface="+mn-ea"/>
                  <a:cs typeface="+mn-cs"/>
                </a:rPr>
                <a:t>2</a:t>
              </a:r>
            </a:p>
          </p:txBody>
        </p:sp>
        <p:sp>
          <p:nvSpPr>
            <p:cNvPr id="1066" name="Rectangle 1066"/>
            <p:cNvSpPr/>
            <p:nvPr/>
          </p:nvSpPr>
          <p:spPr>
            <a:xfrm>
              <a:off x="788845" y="3513434"/>
              <a:ext cx="888128" cy="598305"/>
            </a:xfrm>
            <a:prstGeom prst="rect">
              <a:avLst/>
            </a:prstGeom>
          </p:spPr>
          <p:txBody>
            <a:bodyPr wrap="none" lIns="0" tIns="0" rIns="0" bIns="0">
              <a:spAutoFit/>
            </a:bodyPr>
            <a:lstStyle/>
            <a:p>
              <a:pPr marL="42629" marR="0" lvl="0" indent="0" algn="l" defTabSz="913486" rtl="0" eaLnBrk="1" fontAlgn="auto" latinLnBrk="0" hangingPunct="1">
                <a:lnSpc>
                  <a:spcPct val="100000"/>
                </a:lnSpc>
                <a:spcBef>
                  <a:spcPts val="0"/>
                </a:spcBef>
                <a:spcAft>
                  <a:spcPts val="0"/>
                </a:spcAft>
                <a:buClrTx/>
                <a:buSzTx/>
                <a:buFontTx/>
                <a:buNone/>
                <a:tabLst/>
                <a:defRPr/>
              </a:pPr>
              <a:r>
                <a:rPr kumimoji="0" lang="en-US" sz="1294" b="1" i="0" u="none" strike="noStrike" kern="0" cap="none" spc="0" normalizeH="0" baseline="0" noProof="0" dirty="0">
                  <a:ln>
                    <a:noFill/>
                  </a:ln>
                  <a:solidFill>
                    <a:prstClr val="white"/>
                  </a:solidFill>
                  <a:effectLst/>
                  <a:uLnTx/>
                  <a:uFillTx/>
                  <a:latin typeface="EYInterstate-LightBold"/>
                  <a:ea typeface="+mn-ea"/>
                  <a:cs typeface="+mn-cs"/>
                </a:rPr>
                <a:t>H</a:t>
              </a:r>
              <a:r>
                <a:rPr kumimoji="0" lang="en-US" sz="1294" b="1" i="0" u="none" strike="noStrike" kern="0" cap="none" spc="-25" normalizeH="0" baseline="0" noProof="0" dirty="0">
                  <a:ln>
                    <a:noFill/>
                  </a:ln>
                  <a:solidFill>
                    <a:prstClr val="white"/>
                  </a:solidFill>
                  <a:effectLst/>
                  <a:uLnTx/>
                  <a:uFillTx/>
                  <a:latin typeface="EYInterstate-LightBold"/>
                  <a:ea typeface="+mn-ea"/>
                  <a:cs typeface="+mn-cs"/>
                </a:rPr>
                <a:t>y</a:t>
              </a:r>
              <a:r>
                <a:rPr kumimoji="0" lang="en-US" sz="1294" b="1" i="0" u="none" strike="noStrike" kern="0" cap="none" spc="0" normalizeH="0" baseline="0" noProof="0" dirty="0">
                  <a:ln>
                    <a:noFill/>
                  </a:ln>
                  <a:solidFill>
                    <a:prstClr val="white"/>
                  </a:solidFill>
                  <a:effectLst/>
                  <a:uLnTx/>
                  <a:uFillTx/>
                  <a:latin typeface="EYInterstate-LightBold"/>
                  <a:ea typeface="+mn-ea"/>
                  <a:cs typeface="+mn-cs"/>
                </a:rPr>
                <a:t>d</a:t>
              </a:r>
              <a:r>
                <a:rPr kumimoji="0" lang="en-US" sz="1294" b="1" i="0" u="none" strike="noStrike" kern="0" cap="none" spc="-15" normalizeH="0" baseline="0" noProof="0" dirty="0">
                  <a:ln>
                    <a:noFill/>
                  </a:ln>
                  <a:solidFill>
                    <a:prstClr val="white"/>
                  </a:solidFill>
                  <a:effectLst/>
                  <a:uLnTx/>
                  <a:uFillTx/>
                  <a:latin typeface="EYInterstate-LightBold"/>
                  <a:ea typeface="+mn-ea"/>
                  <a:cs typeface="+mn-cs"/>
                </a:rPr>
                <a:t>r</a:t>
              </a:r>
              <a:r>
                <a:rPr kumimoji="0" lang="en-US" sz="1294" b="1" i="0" u="none" strike="noStrike" kern="0" cap="none" spc="0" normalizeH="0" baseline="0" noProof="0" dirty="0">
                  <a:ln>
                    <a:noFill/>
                  </a:ln>
                  <a:solidFill>
                    <a:prstClr val="white"/>
                  </a:solidFill>
                  <a:effectLst/>
                  <a:uLnTx/>
                  <a:uFillTx/>
                  <a:latin typeface="EYInterstate-LightBold"/>
                  <a:ea typeface="+mn-ea"/>
                  <a:cs typeface="+mn-cs"/>
                </a:rPr>
                <a:t>ogen </a:t>
              </a:r>
            </a:p>
            <a:p>
              <a:pPr marL="0" marR="0" lvl="0" indent="0" algn="l" defTabSz="913486" rtl="0" eaLnBrk="1" fontAlgn="auto" latinLnBrk="0" hangingPunct="1">
                <a:lnSpc>
                  <a:spcPts val="1557"/>
                </a:lnSpc>
                <a:spcBef>
                  <a:spcPts val="0"/>
                </a:spcBef>
                <a:spcAft>
                  <a:spcPts val="0"/>
                </a:spcAft>
                <a:buClrTx/>
                <a:buSzTx/>
                <a:buFontTx/>
                <a:buNone/>
                <a:tabLst/>
                <a:defRPr/>
              </a:pPr>
              <a:r>
                <a:rPr kumimoji="0" lang="en-US" sz="1294" b="1" i="0" u="none" strike="noStrike" kern="0" cap="none" spc="0" normalizeH="0" baseline="0" noProof="0" dirty="0">
                  <a:ln>
                    <a:noFill/>
                  </a:ln>
                  <a:solidFill>
                    <a:prstClr val="white"/>
                  </a:solidFill>
                  <a:effectLst/>
                  <a:uLnTx/>
                  <a:uFillTx/>
                  <a:latin typeface="EYInterstate-LightBold"/>
                  <a:ea typeface="+mn-ea"/>
                  <a:cs typeface="+mn-cs"/>
                </a:rPr>
                <a:t>gene</a:t>
              </a:r>
              <a:r>
                <a:rPr kumimoji="0" lang="en-US" sz="1294" b="1" i="0" u="none" strike="noStrike" kern="0" cap="none" spc="-37" normalizeH="0" baseline="0" noProof="0" dirty="0">
                  <a:ln>
                    <a:noFill/>
                  </a:ln>
                  <a:solidFill>
                    <a:prstClr val="white"/>
                  </a:solidFill>
                  <a:effectLst/>
                  <a:uLnTx/>
                  <a:uFillTx/>
                  <a:latin typeface="EYInterstate-LightBold"/>
                  <a:ea typeface="+mn-ea"/>
                  <a:cs typeface="+mn-cs"/>
                </a:rPr>
                <a:t>r</a:t>
              </a:r>
              <a:r>
                <a:rPr kumimoji="0" lang="en-US" sz="1294" b="1" i="0" u="none" strike="noStrike" kern="0" cap="none" spc="0" normalizeH="0" baseline="0" noProof="0" dirty="0">
                  <a:ln>
                    <a:noFill/>
                  </a:ln>
                  <a:solidFill>
                    <a:prstClr val="white"/>
                  </a:solidFill>
                  <a:effectLst/>
                  <a:uLnTx/>
                  <a:uFillTx/>
                  <a:latin typeface="EYInterstate-LightBold"/>
                  <a:ea typeface="+mn-ea"/>
                  <a:cs typeface="+mn-cs"/>
                </a:rPr>
                <a:t>ation </a:t>
              </a:r>
            </a:p>
            <a:p>
              <a:pPr marL="118753" marR="0" lvl="0" indent="0" algn="l" defTabSz="913486" rtl="0" eaLnBrk="1" fontAlgn="auto" latinLnBrk="0" hangingPunct="1">
                <a:lnSpc>
                  <a:spcPts val="1558"/>
                </a:lnSpc>
                <a:spcBef>
                  <a:spcPts val="0"/>
                </a:spcBef>
                <a:spcAft>
                  <a:spcPts val="0"/>
                </a:spcAft>
                <a:buClrTx/>
                <a:buSzTx/>
                <a:buFontTx/>
                <a:buNone/>
                <a:tabLst/>
                <a:defRPr/>
              </a:pPr>
              <a:r>
                <a:rPr kumimoji="0" lang="en-US" sz="1296" b="1" i="0" u="none" strike="noStrike" kern="0" cap="none" spc="0" normalizeH="0" baseline="0" noProof="0" dirty="0">
                  <a:ln>
                    <a:noFill/>
                  </a:ln>
                  <a:solidFill>
                    <a:prstClr val="white"/>
                  </a:solidFill>
                  <a:effectLst/>
                  <a:uLnTx/>
                  <a:uFillTx/>
                  <a:latin typeface="EYInterstate-LightBold"/>
                  <a:ea typeface="+mn-ea"/>
                  <a:cs typeface="+mn-cs"/>
                </a:rPr>
                <a:t>p</a:t>
              </a:r>
              <a:r>
                <a:rPr kumimoji="0" lang="en-US" sz="1296" b="1" i="0" u="none" strike="noStrike" kern="0" cap="none" spc="-15" normalizeH="0" baseline="0" noProof="0" dirty="0">
                  <a:ln>
                    <a:noFill/>
                  </a:ln>
                  <a:solidFill>
                    <a:prstClr val="white"/>
                  </a:solidFill>
                  <a:effectLst/>
                  <a:uLnTx/>
                  <a:uFillTx/>
                  <a:latin typeface="EYInterstate-LightBold"/>
                  <a:ea typeface="+mn-ea"/>
                  <a:cs typeface="+mn-cs"/>
                </a:rPr>
                <a:t>r</a:t>
              </a:r>
              <a:r>
                <a:rPr kumimoji="0" lang="en-US" sz="1296" b="1" i="0" u="none" strike="noStrike" kern="0" cap="none" spc="0" normalizeH="0" baseline="0" noProof="0" dirty="0">
                  <a:ln>
                    <a:noFill/>
                  </a:ln>
                  <a:solidFill>
                    <a:prstClr val="white"/>
                  </a:solidFill>
                  <a:effectLst/>
                  <a:uLnTx/>
                  <a:uFillTx/>
                  <a:latin typeface="EYInterstate-LightBold"/>
                  <a:ea typeface="+mn-ea"/>
                  <a:cs typeface="+mn-cs"/>
                </a:rPr>
                <a:t>o</a:t>
              </a:r>
              <a:r>
                <a:rPr kumimoji="0" lang="en-US" sz="1296" b="1" i="0" u="none" strike="noStrike" kern="0" cap="none" spc="-28" normalizeH="0" baseline="0" noProof="0" dirty="0">
                  <a:ln>
                    <a:noFill/>
                  </a:ln>
                  <a:solidFill>
                    <a:prstClr val="white"/>
                  </a:solidFill>
                  <a:effectLst/>
                  <a:uLnTx/>
                  <a:uFillTx/>
                  <a:latin typeface="EYInterstate-LightBold"/>
                  <a:ea typeface="+mn-ea"/>
                  <a:cs typeface="+mn-cs"/>
                </a:rPr>
                <a:t>c</a:t>
              </a:r>
              <a:r>
                <a:rPr kumimoji="0" lang="en-US" sz="1296" b="1" i="0" u="none" strike="noStrike" kern="0" cap="none" spc="-21" normalizeH="0" baseline="0" noProof="0" dirty="0">
                  <a:ln>
                    <a:noFill/>
                  </a:ln>
                  <a:solidFill>
                    <a:prstClr val="white"/>
                  </a:solidFill>
                  <a:effectLst/>
                  <a:uLnTx/>
                  <a:uFillTx/>
                  <a:latin typeface="EYInterstate-LightBold"/>
                  <a:ea typeface="+mn-ea"/>
                  <a:cs typeface="+mn-cs"/>
                </a:rPr>
                <a:t>e</a:t>
              </a:r>
              <a:r>
                <a:rPr kumimoji="0" lang="en-US" sz="1296" b="1" i="0" u="none" strike="noStrike" kern="0" cap="none" spc="-23" normalizeH="0" baseline="0" noProof="0" dirty="0">
                  <a:ln>
                    <a:noFill/>
                  </a:ln>
                  <a:solidFill>
                    <a:prstClr val="white"/>
                  </a:solidFill>
                  <a:effectLst/>
                  <a:uLnTx/>
                  <a:uFillTx/>
                  <a:latin typeface="EYInterstate-LightBold"/>
                  <a:ea typeface="+mn-ea"/>
                  <a:cs typeface="+mn-cs"/>
                </a:rPr>
                <a:t>ss</a:t>
              </a:r>
            </a:p>
          </p:txBody>
        </p:sp>
      </p:grpSp>
      <p:grpSp>
        <p:nvGrpSpPr>
          <p:cNvPr id="12" name="1. Energy Source">
            <a:extLst>
              <a:ext uri="{FF2B5EF4-FFF2-40B4-BE49-F238E27FC236}">
                <a16:creationId xmlns:a16="http://schemas.microsoft.com/office/drawing/2014/main" id="{199E820A-66FF-4121-85ED-EC940C05F988}"/>
              </a:ext>
            </a:extLst>
          </p:cNvPr>
          <p:cNvGrpSpPr/>
          <p:nvPr/>
        </p:nvGrpSpPr>
        <p:grpSpPr>
          <a:xfrm>
            <a:off x="624813" y="1586543"/>
            <a:ext cx="11081535" cy="1396772"/>
            <a:chOff x="625138" y="1585583"/>
            <a:chExt cx="11087307" cy="1397499"/>
          </a:xfrm>
        </p:grpSpPr>
        <p:sp>
          <p:nvSpPr>
            <p:cNvPr id="1110" name="Freeform 694">
              <a:extLst>
                <a:ext uri="{FF2B5EF4-FFF2-40B4-BE49-F238E27FC236}">
                  <a16:creationId xmlns:a16="http://schemas.microsoft.com/office/drawing/2014/main" id="{1E8DD2B8-513B-4F6C-8FA4-D7667284D47E}"/>
                </a:ext>
              </a:extLst>
            </p:cNvPr>
            <p:cNvSpPr/>
            <p:nvPr/>
          </p:nvSpPr>
          <p:spPr>
            <a:xfrm>
              <a:off x="1477818" y="1759567"/>
              <a:ext cx="10234627" cy="1038827"/>
            </a:xfrm>
            <a:custGeom>
              <a:avLst/>
              <a:gdLst/>
              <a:ahLst/>
              <a:cxnLst/>
              <a:rect l="0" t="0" r="0" b="0"/>
              <a:pathLst>
                <a:path w="5526024" h="1039368">
                  <a:moveTo>
                    <a:pt x="0" y="1039368"/>
                  </a:moveTo>
                  <a:lnTo>
                    <a:pt x="5526024" y="1039368"/>
                  </a:lnTo>
                  <a:lnTo>
                    <a:pt x="5526024" y="0"/>
                  </a:lnTo>
                  <a:lnTo>
                    <a:pt x="0" y="0"/>
                  </a:lnTo>
                  <a:lnTo>
                    <a:pt x="0" y="1039368"/>
                  </a:lnTo>
                  <a:close/>
                </a:path>
              </a:pathLst>
            </a:custGeom>
            <a:solidFill>
              <a:srgbClr val="747480">
                <a:alpha val="100000"/>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701" name="Freeform 701"/>
            <p:cNvSpPr/>
            <p:nvPr/>
          </p:nvSpPr>
          <p:spPr>
            <a:xfrm>
              <a:off x="625138" y="1587064"/>
              <a:ext cx="1332564" cy="1396018"/>
            </a:xfrm>
            <a:custGeom>
              <a:avLst/>
              <a:gdLst/>
              <a:ahLst/>
              <a:cxnLst/>
              <a:rect l="0" t="0" r="0" b="0"/>
              <a:pathLst>
                <a:path w="1333258" h="1396745">
                  <a:moveTo>
                    <a:pt x="376466" y="144018"/>
                  </a:moveTo>
                  <a:cubicBezTo>
                    <a:pt x="681876" y="0"/>
                    <a:pt x="1045985" y="131444"/>
                    <a:pt x="1189621" y="437642"/>
                  </a:cubicBezTo>
                  <a:cubicBezTo>
                    <a:pt x="1333258" y="743838"/>
                    <a:pt x="1202067" y="1108837"/>
                    <a:pt x="896632" y="1252727"/>
                  </a:cubicBezTo>
                  <a:cubicBezTo>
                    <a:pt x="591185" y="1396745"/>
                    <a:pt x="227152" y="1265300"/>
                    <a:pt x="83515" y="959104"/>
                  </a:cubicBezTo>
                  <a:cubicBezTo>
                    <a:pt x="0" y="781050"/>
                    <a:pt x="6845" y="573658"/>
                    <a:pt x="101917" y="401574"/>
                  </a:cubicBezTo>
                  <a:lnTo>
                    <a:pt x="636537" y="698373"/>
                  </a:lnTo>
                  <a:close/>
                  <a:moveTo>
                    <a:pt x="4505591" y="5271896"/>
                  </a:moveTo>
                </a:path>
              </a:pathLst>
            </a:custGeom>
            <a:solidFill>
              <a:srgbClr val="2E2E38">
                <a:alpha val="100000"/>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14" name="Rectangle 1065">
              <a:extLst>
                <a:ext uri="{FF2B5EF4-FFF2-40B4-BE49-F238E27FC236}">
                  <a16:creationId xmlns:a16="http://schemas.microsoft.com/office/drawing/2014/main" id="{DEC701BB-A719-4F42-A45E-95F4EC25A1A6}"/>
                </a:ext>
              </a:extLst>
            </p:cNvPr>
            <p:cNvSpPr/>
            <p:nvPr/>
          </p:nvSpPr>
          <p:spPr>
            <a:xfrm>
              <a:off x="990822" y="2070449"/>
              <a:ext cx="599588" cy="393056"/>
            </a:xfrm>
            <a:prstGeom prst="rect">
              <a:avLst/>
            </a:prstGeom>
          </p:spPr>
          <p:txBody>
            <a:bodyPr wrap="none" lIns="0" tIns="0" rIns="0" bIns="0">
              <a:spAutoFit/>
            </a:bodyPr>
            <a:lstStyle/>
            <a:p>
              <a:pPr marL="0" marR="0" lvl="0" indent="0" algn="l" defTabSz="913486" rtl="0" eaLnBrk="1" fontAlgn="auto" latinLnBrk="0" hangingPunct="1">
                <a:lnSpc>
                  <a:spcPct val="100000"/>
                </a:lnSpc>
                <a:spcBef>
                  <a:spcPts val="0"/>
                </a:spcBef>
                <a:spcAft>
                  <a:spcPts val="0"/>
                </a:spcAft>
                <a:buClrTx/>
                <a:buSzTx/>
                <a:buFontTx/>
                <a:buNone/>
                <a:tabLst/>
                <a:defRPr/>
              </a:pPr>
              <a:r>
                <a:rPr kumimoji="0" lang="en-US" sz="1294" b="1" i="0" u="none" strike="noStrike" kern="0" cap="none" spc="0" normalizeH="0" baseline="0" noProof="0" dirty="0">
                  <a:ln>
                    <a:noFill/>
                  </a:ln>
                  <a:solidFill>
                    <a:prstClr val="white"/>
                  </a:solidFill>
                  <a:effectLst/>
                  <a:uLnTx/>
                  <a:uFillTx/>
                  <a:latin typeface="EYInterstate-LightBold"/>
                  <a:ea typeface="+mn-ea"/>
                  <a:cs typeface="+mn-cs"/>
                </a:rPr>
                <a:t>Ene</a:t>
              </a:r>
              <a:r>
                <a:rPr kumimoji="0" lang="en-US" sz="1294" b="1" i="0" u="none" strike="noStrike" kern="0" cap="none" spc="-37" normalizeH="0" baseline="0" noProof="0" dirty="0">
                  <a:ln>
                    <a:noFill/>
                  </a:ln>
                  <a:solidFill>
                    <a:prstClr val="white"/>
                  </a:solidFill>
                  <a:effectLst/>
                  <a:uLnTx/>
                  <a:uFillTx/>
                  <a:latin typeface="EYInterstate-LightBold"/>
                  <a:ea typeface="+mn-ea"/>
                  <a:cs typeface="+mn-cs"/>
                </a:rPr>
                <a:t>r</a:t>
              </a:r>
              <a:r>
                <a:rPr kumimoji="0" lang="en-US" sz="1294" b="1" i="0" u="none" strike="noStrike" kern="0" cap="none" spc="0" normalizeH="0" baseline="0" noProof="0" dirty="0">
                  <a:ln>
                    <a:noFill/>
                  </a:ln>
                  <a:solidFill>
                    <a:prstClr val="white"/>
                  </a:solidFill>
                  <a:effectLst/>
                  <a:uLnTx/>
                  <a:uFillTx/>
                  <a:latin typeface="EYInterstate-LightBold"/>
                  <a:ea typeface="+mn-ea"/>
                  <a:cs typeface="+mn-cs"/>
                </a:rPr>
                <a:t>gy </a:t>
              </a:r>
            </a:p>
            <a:p>
              <a:pPr marL="15224" marR="0" lvl="0" indent="0" algn="l" defTabSz="913486" rtl="0" eaLnBrk="1" fontAlgn="auto" latinLnBrk="0" hangingPunct="1">
                <a:lnSpc>
                  <a:spcPts val="1557"/>
                </a:lnSpc>
                <a:spcBef>
                  <a:spcPts val="0"/>
                </a:spcBef>
                <a:spcAft>
                  <a:spcPts val="0"/>
                </a:spcAft>
                <a:buClrTx/>
                <a:buSzTx/>
                <a:buFontTx/>
                <a:buNone/>
                <a:tabLst/>
                <a:defRPr/>
              </a:pPr>
              <a:r>
                <a:rPr kumimoji="0" lang="en-US" sz="1294" b="1" i="0" u="none" strike="noStrike" kern="0" cap="none" spc="-24" normalizeH="0" baseline="0" noProof="0" dirty="0">
                  <a:ln>
                    <a:noFill/>
                  </a:ln>
                  <a:solidFill>
                    <a:prstClr val="white"/>
                  </a:solidFill>
                  <a:effectLst/>
                  <a:uLnTx/>
                  <a:uFillTx/>
                  <a:latin typeface="EYInterstate-LightBold"/>
                  <a:ea typeface="+mn-ea"/>
                  <a:cs typeface="+mn-cs"/>
                </a:rPr>
                <a:t>s</a:t>
              </a:r>
              <a:r>
                <a:rPr kumimoji="0" lang="en-US" sz="1294" b="1" i="0" u="none" strike="noStrike" kern="0" cap="none" spc="0" normalizeH="0" baseline="0" noProof="0" dirty="0">
                  <a:ln>
                    <a:noFill/>
                  </a:ln>
                  <a:solidFill>
                    <a:prstClr val="white"/>
                  </a:solidFill>
                  <a:effectLst/>
                  <a:uLnTx/>
                  <a:uFillTx/>
                  <a:latin typeface="EYInterstate-LightBold"/>
                  <a:ea typeface="+mn-ea"/>
                  <a:cs typeface="+mn-cs"/>
                </a:rPr>
                <a:t>ou</a:t>
              </a:r>
              <a:r>
                <a:rPr kumimoji="0" lang="en-US" sz="1294" b="1" i="0" u="none" strike="noStrike" kern="0" cap="none" spc="-15" normalizeH="0" baseline="0" noProof="0" dirty="0">
                  <a:ln>
                    <a:noFill/>
                  </a:ln>
                  <a:solidFill>
                    <a:prstClr val="white"/>
                  </a:solidFill>
                  <a:effectLst/>
                  <a:uLnTx/>
                  <a:uFillTx/>
                  <a:latin typeface="EYInterstate-LightBold"/>
                  <a:ea typeface="+mn-ea"/>
                  <a:cs typeface="+mn-cs"/>
                </a:rPr>
                <a:t>r</a:t>
              </a:r>
              <a:r>
                <a:rPr kumimoji="0" lang="en-US" sz="1294" b="1" i="0" u="none" strike="noStrike" kern="0" cap="none" spc="-29" normalizeH="0" baseline="0" noProof="0" dirty="0">
                  <a:ln>
                    <a:noFill/>
                  </a:ln>
                  <a:solidFill>
                    <a:prstClr val="white"/>
                  </a:solidFill>
                  <a:effectLst/>
                  <a:uLnTx/>
                  <a:uFillTx/>
                  <a:latin typeface="EYInterstate-LightBold"/>
                  <a:ea typeface="+mn-ea"/>
                  <a:cs typeface="+mn-cs"/>
                </a:rPr>
                <a:t>ce</a:t>
              </a:r>
            </a:p>
          </p:txBody>
        </p:sp>
        <p:pic>
          <p:nvPicPr>
            <p:cNvPr id="1112" name="Picture 702">
              <a:extLst>
                <a:ext uri="{FF2B5EF4-FFF2-40B4-BE49-F238E27FC236}">
                  <a16:creationId xmlns:a16="http://schemas.microsoft.com/office/drawing/2014/main" id="{D790C5B3-AD43-4553-A79A-EE47E82F1B3B}"/>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631790" y="1653577"/>
              <a:ext cx="1259526" cy="1262992"/>
            </a:xfrm>
            <a:prstGeom prst="rect">
              <a:avLst/>
            </a:prstGeom>
            <a:noFill/>
          </p:spPr>
        </p:pic>
        <p:sp>
          <p:nvSpPr>
            <p:cNvPr id="1113" name="Rectangle 1062">
              <a:extLst>
                <a:ext uri="{FF2B5EF4-FFF2-40B4-BE49-F238E27FC236}">
                  <a16:creationId xmlns:a16="http://schemas.microsoft.com/office/drawing/2014/main" id="{E7EF8DD2-815D-4E3F-BF0A-1FC3F6302C00}"/>
                </a:ext>
              </a:extLst>
            </p:cNvPr>
            <p:cNvSpPr/>
            <p:nvPr/>
          </p:nvSpPr>
          <p:spPr>
            <a:xfrm>
              <a:off x="776660" y="1585583"/>
              <a:ext cx="190659" cy="369268"/>
            </a:xfrm>
            <a:prstGeom prst="rect">
              <a:avLst/>
            </a:prstGeom>
          </p:spPr>
          <p:txBody>
            <a:bodyPr wrap="none" lIns="0" tIns="0" rIns="0" bIns="0">
              <a:spAutoFit/>
            </a:bodyPr>
            <a:lstStyle/>
            <a:p>
              <a:pPr marL="0" marR="0" lvl="0" indent="0" algn="l" defTabSz="913486"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E600"/>
                  </a:solidFill>
                  <a:effectLst/>
                  <a:uLnTx/>
                  <a:uFillTx/>
                  <a:latin typeface="EYInterstate-LightBold"/>
                  <a:ea typeface="+mn-ea"/>
                  <a:cs typeface="+mn-cs"/>
                </a:rPr>
                <a:t>1</a:t>
              </a:r>
            </a:p>
          </p:txBody>
        </p:sp>
      </p:grpSp>
      <p:sp>
        <p:nvSpPr>
          <p:cNvPr id="1318" name="Rectangle 1317">
            <a:extLst>
              <a:ext uri="{FF2B5EF4-FFF2-40B4-BE49-F238E27FC236}">
                <a16:creationId xmlns:a16="http://schemas.microsoft.com/office/drawing/2014/main" id="{08EE1359-611F-4709-907A-32F79357D250}"/>
              </a:ext>
            </a:extLst>
          </p:cNvPr>
          <p:cNvSpPr/>
          <p:nvPr/>
        </p:nvSpPr>
        <p:spPr>
          <a:xfrm>
            <a:off x="4211419" y="4861879"/>
            <a:ext cx="7257874" cy="1038285"/>
          </a:xfrm>
          <a:prstGeom prst="rect">
            <a:avLst/>
          </a:prstGeom>
          <a:noFill/>
          <a:ln w="127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56" name="Connector: Elbow 55">
            <a:extLst>
              <a:ext uri="{FF2B5EF4-FFF2-40B4-BE49-F238E27FC236}">
                <a16:creationId xmlns:a16="http://schemas.microsoft.com/office/drawing/2014/main" id="{9F06B254-5D40-4CF6-BEA7-5AA10FB3D482}"/>
              </a:ext>
            </a:extLst>
          </p:cNvPr>
          <p:cNvCxnSpPr>
            <a:cxnSpLocks/>
          </p:cNvCxnSpPr>
          <p:nvPr/>
        </p:nvCxnSpPr>
        <p:spPr>
          <a:xfrm rot="16200000" flipH="1">
            <a:off x="3386534" y="4601832"/>
            <a:ext cx="875295" cy="683083"/>
          </a:xfrm>
          <a:prstGeom prst="bentConnector3">
            <a:avLst>
              <a:gd name="adj1" fmla="val 98752"/>
            </a:avLst>
          </a:prstGeom>
          <a:ln w="12700">
            <a:solidFill>
              <a:srgbClr val="188CE5"/>
            </a:solidFill>
            <a:tailEnd type="triangle"/>
          </a:ln>
        </p:spPr>
        <p:style>
          <a:lnRef idx="1">
            <a:schemeClr val="accent1"/>
          </a:lnRef>
          <a:fillRef idx="0">
            <a:schemeClr val="accent1"/>
          </a:fillRef>
          <a:effectRef idx="0">
            <a:schemeClr val="accent1"/>
          </a:effectRef>
          <a:fontRef idx="minor">
            <a:schemeClr val="tx1"/>
          </a:fontRef>
        </p:style>
      </p:cxnSp>
      <p:grpSp>
        <p:nvGrpSpPr>
          <p:cNvPr id="2" name="Grey to Blue H2">
            <a:extLst>
              <a:ext uri="{FF2B5EF4-FFF2-40B4-BE49-F238E27FC236}">
                <a16:creationId xmlns:a16="http://schemas.microsoft.com/office/drawing/2014/main" id="{7A377E82-D4C1-451F-A5C0-32B9991A7C61}"/>
              </a:ext>
            </a:extLst>
          </p:cNvPr>
          <p:cNvGrpSpPr/>
          <p:nvPr/>
        </p:nvGrpSpPr>
        <p:grpSpPr>
          <a:xfrm>
            <a:off x="1952091" y="4427624"/>
            <a:ext cx="1211344" cy="1446057"/>
            <a:chOff x="1953108" y="4611957"/>
            <a:chExt cx="1211975" cy="1261432"/>
          </a:xfrm>
          <a:solidFill>
            <a:schemeClr val="tx1"/>
          </a:solidFill>
        </p:grpSpPr>
        <p:sp>
          <p:nvSpPr>
            <p:cNvPr id="712" name="Freeform 712"/>
            <p:cNvSpPr/>
            <p:nvPr/>
          </p:nvSpPr>
          <p:spPr>
            <a:xfrm flipH="1">
              <a:off x="1953108" y="4611957"/>
              <a:ext cx="1211975" cy="1261432"/>
            </a:xfrm>
            <a:custGeom>
              <a:avLst/>
              <a:gdLst/>
              <a:ahLst/>
              <a:cxnLst/>
              <a:rect l="0" t="0" r="0" b="0"/>
              <a:pathLst>
                <a:path w="1027176" h="1392173">
                  <a:moveTo>
                    <a:pt x="0" y="441197"/>
                  </a:moveTo>
                  <a:lnTo>
                    <a:pt x="599186" y="441197"/>
                  </a:lnTo>
                  <a:lnTo>
                    <a:pt x="557403" y="0"/>
                  </a:lnTo>
                  <a:lnTo>
                    <a:pt x="855980" y="441197"/>
                  </a:lnTo>
                  <a:lnTo>
                    <a:pt x="1027176" y="441197"/>
                  </a:lnTo>
                  <a:lnTo>
                    <a:pt x="1027176" y="599694"/>
                  </a:lnTo>
                  <a:lnTo>
                    <a:pt x="1027176" y="837437"/>
                  </a:lnTo>
                  <a:lnTo>
                    <a:pt x="1027176" y="1392173"/>
                  </a:lnTo>
                  <a:lnTo>
                    <a:pt x="855980" y="1392173"/>
                  </a:lnTo>
                  <a:lnTo>
                    <a:pt x="599186" y="1392173"/>
                  </a:lnTo>
                  <a:lnTo>
                    <a:pt x="0" y="1392173"/>
                  </a:lnTo>
                  <a:lnTo>
                    <a:pt x="0" y="837437"/>
                  </a:lnTo>
                  <a:lnTo>
                    <a:pt x="0" y="599694"/>
                  </a:lnTo>
                  <a:close/>
                  <a:moveTo>
                    <a:pt x="-585216" y="2349245"/>
                  </a:moveTo>
                </a:path>
              </a:pathLst>
            </a:custGeom>
            <a:solidFill>
              <a:schemeClr val="bg2"/>
            </a:solidFill>
            <a:ln w="12700" cap="flat" cmpd="sng">
              <a:solidFill>
                <a:srgbClr val="188CE5">
                  <a:alpha val="100000"/>
                </a:srgbClr>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068" name="Rectangle 1068"/>
            <p:cNvSpPr/>
            <p:nvPr/>
          </p:nvSpPr>
          <p:spPr>
            <a:xfrm>
              <a:off x="1953743" y="5080847"/>
              <a:ext cx="1203503" cy="749286"/>
            </a:xfrm>
            <a:prstGeom prst="rect">
              <a:avLst/>
            </a:prstGeom>
            <a:noFill/>
          </p:spPr>
          <p:txBody>
            <a:bodyPr wrap="square" lIns="0" tIns="0" rIns="0" bIns="0">
              <a:spAutoFit/>
            </a:bodyPr>
            <a:lstStyle/>
            <a:p>
              <a:pPr marL="0" marR="0" lvl="0" indent="0" algn="ctr" defTabSz="913486" rtl="0" eaLnBrk="1" fontAlgn="auto" latinLnBrk="0" hangingPunct="1">
                <a:lnSpc>
                  <a:spcPct val="100000"/>
                </a:lnSpc>
                <a:spcBef>
                  <a:spcPts val="0"/>
                </a:spcBef>
                <a:spcAft>
                  <a:spcPts val="0"/>
                </a:spcAft>
                <a:buClrTx/>
                <a:buSzTx/>
                <a:buFontTx/>
                <a:buNone/>
                <a:tabLst/>
                <a:defRPr/>
              </a:pPr>
              <a:r>
                <a:rPr kumimoji="0" lang="en-US" sz="1005" b="0" i="0" u="none" strike="noStrike" kern="0" cap="none" spc="0" normalizeH="0" baseline="0" noProof="0" dirty="0">
                  <a:ln>
                    <a:noFill/>
                  </a:ln>
                  <a:solidFill>
                    <a:prstClr val="white"/>
                  </a:solidFill>
                  <a:effectLst/>
                  <a:uLnTx/>
                  <a:uFillTx/>
                  <a:latin typeface="EYInterstate-Light"/>
                  <a:ea typeface="+mn-ea"/>
                  <a:cs typeface="+mn-cs"/>
                </a:rPr>
                <a:t>When</a:t>
              </a:r>
              <a:r>
                <a:rPr kumimoji="0" lang="en-US" sz="1005" b="0" i="0" u="none" strike="noStrike" kern="0" cap="none" spc="-44" normalizeH="0" baseline="0" noProof="0" dirty="0">
                  <a:ln>
                    <a:noFill/>
                  </a:ln>
                  <a:solidFill>
                    <a:prstClr val="white"/>
                  </a:solidFill>
                  <a:effectLst/>
                  <a:uLnTx/>
                  <a:uFillTx/>
                  <a:latin typeface="EYInterstate-Light"/>
                  <a:ea typeface="+mn-ea"/>
                  <a:cs typeface="+mn-cs"/>
                </a:rPr>
                <a:t> </a:t>
              </a:r>
              <a:r>
                <a:rPr kumimoji="0" lang="en-US" sz="1005" b="0" i="0" u="none" strike="noStrike" kern="0" cap="none" spc="0" normalizeH="0" baseline="0" noProof="0" dirty="0">
                  <a:ln>
                    <a:noFill/>
                  </a:ln>
                  <a:solidFill>
                    <a:prstClr val="white"/>
                  </a:solidFill>
                  <a:effectLst/>
                  <a:uLnTx/>
                  <a:uFillTx/>
                  <a:latin typeface="EYInterstate-Light"/>
                  <a:ea typeface="+mn-ea"/>
                  <a:cs typeface="+mn-cs"/>
                </a:rPr>
                <a:t>CO</a:t>
              </a:r>
              <a:r>
                <a:rPr kumimoji="0" lang="en-US" sz="1016" b="0" i="0" u="none" strike="noStrike" kern="0" cap="none" spc="231" normalizeH="0" baseline="-32142" noProof="0" dirty="0">
                  <a:ln>
                    <a:noFill/>
                  </a:ln>
                  <a:solidFill>
                    <a:prstClr val="white"/>
                  </a:solidFill>
                  <a:effectLst/>
                  <a:uLnTx/>
                  <a:uFillTx/>
                  <a:latin typeface="EYInterstate-Light"/>
                  <a:ea typeface="+mn-ea"/>
                  <a:cs typeface="+mn-cs"/>
                </a:rPr>
                <a:t>2</a:t>
              </a:r>
              <a:r>
                <a:rPr kumimoji="0" lang="en-US" sz="1005" b="0" i="0" u="none" strike="noStrike" kern="0" cap="none" spc="0" normalizeH="0" baseline="0" noProof="0" dirty="0">
                  <a:ln>
                    <a:noFill/>
                  </a:ln>
                  <a:solidFill>
                    <a:prstClr val="white"/>
                  </a:solidFill>
                  <a:effectLst/>
                  <a:uLnTx/>
                  <a:uFillTx/>
                  <a:latin typeface="EYInterstate-Light"/>
                  <a:ea typeface="+mn-ea"/>
                  <a:cs typeface="+mn-cs"/>
                </a:rPr>
                <a:t>is </a:t>
              </a:r>
            </a:p>
            <a:p>
              <a:pPr marL="0" marR="0" lvl="0" indent="0" algn="ctr" defTabSz="913486" rtl="0" eaLnBrk="1" fontAlgn="auto" latinLnBrk="0" hangingPunct="1">
                <a:lnSpc>
                  <a:spcPts val="1399"/>
                </a:lnSpc>
                <a:spcBef>
                  <a:spcPts val="0"/>
                </a:spcBef>
                <a:spcAft>
                  <a:spcPts val="600"/>
                </a:spcAft>
                <a:buClrTx/>
                <a:buSzTx/>
                <a:buFontTx/>
                <a:buNone/>
                <a:tabLst/>
                <a:defRPr/>
              </a:pPr>
              <a:r>
                <a:rPr kumimoji="0" lang="en-US" sz="1005" b="0" i="0" u="none" strike="noStrike" kern="0" cap="none" spc="0" normalizeH="0" baseline="0" noProof="0" dirty="0">
                  <a:ln>
                    <a:noFill/>
                  </a:ln>
                  <a:solidFill>
                    <a:prstClr val="white"/>
                  </a:solidFill>
                  <a:effectLst/>
                  <a:uLnTx/>
                  <a:uFillTx/>
                  <a:latin typeface="EYInterstate-Light"/>
                  <a:ea typeface="+mn-ea"/>
                  <a:cs typeface="+mn-cs"/>
                </a:rPr>
                <a:t>Sequestered,</a:t>
              </a:r>
              <a:r>
                <a:rPr kumimoji="0" lang="en-US" sz="1005" b="0" i="0" u="none" strike="noStrike" kern="0" cap="none" spc="-23" normalizeH="0" baseline="0" noProof="0" dirty="0">
                  <a:ln>
                    <a:noFill/>
                  </a:ln>
                  <a:solidFill>
                    <a:prstClr val="white"/>
                  </a:solidFill>
                  <a:effectLst/>
                  <a:uLnTx/>
                  <a:uFillTx/>
                  <a:latin typeface="EYInterstate-Light"/>
                  <a:ea typeface="+mn-ea"/>
                  <a:cs typeface="+mn-cs"/>
                </a:rPr>
                <a:t> </a:t>
              </a:r>
              <a:br>
                <a:rPr kumimoji="0" lang="en-US" sz="1005" b="0" i="0" u="none" strike="noStrike" kern="0" cap="none" spc="-23" normalizeH="0" baseline="0" noProof="0" dirty="0">
                  <a:ln>
                    <a:noFill/>
                  </a:ln>
                  <a:solidFill>
                    <a:srgbClr val="000000"/>
                  </a:solidFill>
                  <a:effectLst/>
                  <a:uLnTx/>
                  <a:uFillTx/>
                  <a:latin typeface="EYInterstate-Light"/>
                  <a:ea typeface="+mn-ea"/>
                  <a:cs typeface="+mn-cs"/>
                </a:rPr>
              </a:br>
              <a:r>
                <a:rPr kumimoji="0" lang="en-US" sz="1005" b="1" i="0" u="none" strike="noStrike" kern="0" cap="none" spc="-23" normalizeH="0" baseline="0" noProof="0" dirty="0">
                  <a:ln>
                    <a:noFill/>
                  </a:ln>
                  <a:solidFill>
                    <a:srgbClr val="000000">
                      <a:lumMod val="65000"/>
                      <a:lumOff val="35000"/>
                    </a:srgbClr>
                  </a:solidFill>
                  <a:effectLst/>
                  <a:uLnTx/>
                  <a:uFillTx/>
                  <a:latin typeface="EYInterstate-Light"/>
                  <a:ea typeface="+mn-ea"/>
                  <a:cs typeface="+mn-cs"/>
                </a:rPr>
                <a:t>Carbon </a:t>
              </a:r>
              <a:r>
                <a:rPr kumimoji="0" lang="en-US" sz="1005" b="1" i="0" u="none" strike="noStrike" kern="0" cap="none" spc="0" normalizeH="0" baseline="0" noProof="0" dirty="0">
                  <a:ln>
                    <a:noFill/>
                  </a:ln>
                  <a:solidFill>
                    <a:srgbClr val="000000">
                      <a:lumMod val="65000"/>
                      <a:lumOff val="35000"/>
                    </a:srgbClr>
                  </a:solidFill>
                  <a:effectLst/>
                  <a:uLnTx/>
                  <a:uFillTx/>
                  <a:latin typeface="EYInterstate-Light"/>
                  <a:ea typeface="+mn-ea"/>
                  <a:cs typeface="+mn-cs"/>
                </a:rPr>
                <a:t>Intensive H</a:t>
              </a:r>
              <a:r>
                <a:rPr kumimoji="0" lang="en-US" sz="1005" b="1" i="0" u="none" strike="noStrike" kern="0" cap="none" spc="0" normalizeH="0" baseline="-25000" noProof="0" dirty="0">
                  <a:ln>
                    <a:noFill/>
                  </a:ln>
                  <a:solidFill>
                    <a:srgbClr val="000000">
                      <a:lumMod val="65000"/>
                      <a:lumOff val="35000"/>
                    </a:srgbClr>
                  </a:solidFill>
                  <a:effectLst/>
                  <a:uLnTx/>
                  <a:uFillTx/>
                  <a:latin typeface="EYInterstate-Light"/>
                  <a:ea typeface="+mn-ea"/>
                  <a:cs typeface="+mn-cs"/>
                </a:rPr>
                <a:t>2</a:t>
              </a:r>
              <a:br>
                <a:rPr kumimoji="0" lang="en-US" sz="1005" b="0" i="0" u="none" strike="noStrike" kern="0" cap="none" spc="0" normalizeH="0" baseline="0" noProof="0" dirty="0">
                  <a:ln>
                    <a:noFill/>
                  </a:ln>
                  <a:solidFill>
                    <a:srgbClr val="000000"/>
                  </a:solidFill>
                  <a:effectLst/>
                  <a:uLnTx/>
                  <a:uFillTx/>
                  <a:latin typeface="EYInterstate-Light"/>
                  <a:ea typeface="+mn-ea"/>
                  <a:cs typeface="+mn-cs"/>
                </a:rPr>
              </a:br>
              <a:r>
                <a:rPr kumimoji="0" lang="en-US" sz="1005" b="0" i="0" u="none" strike="noStrike" kern="0" cap="none" spc="0" normalizeH="0" baseline="0" noProof="0" dirty="0">
                  <a:ln>
                    <a:noFill/>
                  </a:ln>
                  <a:solidFill>
                    <a:prstClr val="white"/>
                  </a:solidFill>
                  <a:effectLst/>
                  <a:uLnTx/>
                  <a:uFillTx/>
                  <a:latin typeface="EYInterstate-Light"/>
                  <a:ea typeface="+mn-ea"/>
                  <a:cs typeface="+mn-cs"/>
                </a:rPr>
                <a:t>b</a:t>
              </a:r>
              <a:r>
                <a:rPr kumimoji="0" lang="en-US" sz="1008" b="0" i="0" u="none" strike="noStrike" kern="0" cap="none" spc="0" normalizeH="0" baseline="0" noProof="0" dirty="0">
                  <a:ln>
                    <a:noFill/>
                  </a:ln>
                  <a:solidFill>
                    <a:prstClr val="white"/>
                  </a:solidFill>
                  <a:effectLst/>
                  <a:uLnTx/>
                  <a:uFillTx/>
                  <a:latin typeface="EYInterstate-Light"/>
                  <a:ea typeface="+mn-ea"/>
                  <a:cs typeface="+mn-cs"/>
                </a:rPr>
                <a:t>ecomes</a:t>
              </a:r>
              <a:r>
                <a:rPr kumimoji="0" lang="en-US" sz="1008" b="0" i="0" u="none" strike="noStrike" kern="0" cap="none" spc="-71" normalizeH="0" baseline="0" noProof="0" dirty="0">
                  <a:ln>
                    <a:noFill/>
                  </a:ln>
                  <a:solidFill>
                    <a:srgbClr val="000000"/>
                  </a:solidFill>
                  <a:effectLst/>
                  <a:uLnTx/>
                  <a:uFillTx/>
                  <a:latin typeface="EYInterstate-Light"/>
                  <a:ea typeface="+mn-ea"/>
                  <a:cs typeface="+mn-cs"/>
                </a:rPr>
                <a:t> </a:t>
              </a:r>
              <a:br>
                <a:rPr kumimoji="0" lang="en-US" sz="1008" b="0" i="0" u="none" strike="noStrike" kern="0" cap="none" spc="-71" normalizeH="0" baseline="0" noProof="0" dirty="0">
                  <a:ln>
                    <a:noFill/>
                  </a:ln>
                  <a:solidFill>
                    <a:srgbClr val="FFFFFF"/>
                  </a:solidFill>
                  <a:effectLst/>
                  <a:uLnTx/>
                  <a:uFillTx/>
                  <a:latin typeface="EYInterstate-Light"/>
                  <a:ea typeface="+mn-ea"/>
                  <a:cs typeface="+mn-cs"/>
                </a:rPr>
              </a:br>
              <a:r>
                <a:rPr kumimoji="0" lang="en-US" sz="1008" b="0" i="0" u="none" strike="noStrike" kern="0" cap="none" spc="-71" normalizeH="0" baseline="0" noProof="0" dirty="0">
                  <a:ln>
                    <a:noFill/>
                  </a:ln>
                  <a:solidFill>
                    <a:srgbClr val="188CE5"/>
                  </a:solidFill>
                  <a:effectLst/>
                  <a:uLnTx/>
                  <a:uFillTx/>
                  <a:latin typeface="EYInterstate-Light"/>
                  <a:ea typeface="+mn-ea"/>
                  <a:cs typeface="+mn-cs"/>
                </a:rPr>
                <a:t>Low Carbon H</a:t>
              </a:r>
              <a:r>
                <a:rPr kumimoji="0" lang="en-US" sz="1008" b="0" i="0" u="none" strike="noStrike" kern="0" cap="none" spc="-71" normalizeH="0" baseline="-25000" noProof="0" dirty="0">
                  <a:ln>
                    <a:noFill/>
                  </a:ln>
                  <a:solidFill>
                    <a:srgbClr val="188CE5"/>
                  </a:solidFill>
                  <a:effectLst/>
                  <a:uLnTx/>
                  <a:uFillTx/>
                  <a:latin typeface="EYInterstate-Light"/>
                  <a:ea typeface="+mn-ea"/>
                  <a:cs typeface="+mn-cs"/>
                </a:rPr>
                <a:t>2</a:t>
              </a:r>
              <a:endParaRPr kumimoji="0" lang="en-US" sz="1008" b="0" i="0" u="none" strike="noStrike" kern="0" cap="none" spc="0" normalizeH="0" baseline="-25000" noProof="0" dirty="0">
                <a:ln>
                  <a:noFill/>
                </a:ln>
                <a:solidFill>
                  <a:srgbClr val="188CE5"/>
                </a:solidFill>
                <a:effectLst/>
                <a:uLnTx/>
                <a:uFillTx/>
                <a:latin typeface="EYInterstate-Light"/>
                <a:ea typeface="+mn-ea"/>
                <a:cs typeface="+mn-cs"/>
              </a:endParaRPr>
            </a:p>
          </p:txBody>
        </p:sp>
      </p:grpSp>
      <p:grpSp>
        <p:nvGrpSpPr>
          <p:cNvPr id="44" name="Green Hydrogen">
            <a:extLst>
              <a:ext uri="{FF2B5EF4-FFF2-40B4-BE49-F238E27FC236}">
                <a16:creationId xmlns:a16="http://schemas.microsoft.com/office/drawing/2014/main" id="{7DA99C33-1178-4067-8AD3-84139D06E291}"/>
              </a:ext>
            </a:extLst>
          </p:cNvPr>
          <p:cNvGrpSpPr/>
          <p:nvPr/>
        </p:nvGrpSpPr>
        <p:grpSpPr>
          <a:xfrm>
            <a:off x="5945446" y="1188008"/>
            <a:ext cx="3559111" cy="3633702"/>
            <a:chOff x="6447863" y="1186841"/>
            <a:chExt cx="3061644" cy="3635594"/>
          </a:xfrm>
        </p:grpSpPr>
        <p:sp>
          <p:nvSpPr>
            <p:cNvPr id="543" name="Freeform 696">
              <a:extLst>
                <a:ext uri="{FF2B5EF4-FFF2-40B4-BE49-F238E27FC236}">
                  <a16:creationId xmlns:a16="http://schemas.microsoft.com/office/drawing/2014/main" id="{C48F7EB3-69C3-4E53-AAB0-3519490B7F66}"/>
                </a:ext>
              </a:extLst>
            </p:cNvPr>
            <p:cNvSpPr/>
            <p:nvPr/>
          </p:nvSpPr>
          <p:spPr>
            <a:xfrm>
              <a:off x="6447863" y="1349229"/>
              <a:ext cx="3061644" cy="3104295"/>
            </a:xfrm>
            <a:custGeom>
              <a:avLst/>
              <a:gdLst/>
              <a:ahLst/>
              <a:cxnLst/>
              <a:rect l="0" t="0" r="0" b="0"/>
              <a:pathLst>
                <a:path w="3063239" h="3105912">
                  <a:moveTo>
                    <a:pt x="0" y="3105912"/>
                  </a:moveTo>
                  <a:lnTo>
                    <a:pt x="3063239" y="3105912"/>
                  </a:lnTo>
                  <a:lnTo>
                    <a:pt x="3063239" y="0"/>
                  </a:lnTo>
                  <a:lnTo>
                    <a:pt x="0" y="0"/>
                  </a:lnTo>
                  <a:lnTo>
                    <a:pt x="0" y="3105912"/>
                  </a:lnTo>
                  <a:close/>
                </a:path>
              </a:pathLst>
            </a:custGeom>
            <a:solidFill>
              <a:srgbClr val="2E2E38">
                <a:alpha val="100000"/>
              </a:srgbClr>
            </a:solidFill>
            <a:ln w="3175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544" name="Freeform 697">
              <a:extLst>
                <a:ext uri="{FF2B5EF4-FFF2-40B4-BE49-F238E27FC236}">
                  <a16:creationId xmlns:a16="http://schemas.microsoft.com/office/drawing/2014/main" id="{EC338735-A3C2-4A47-9142-CC60417D10F1}"/>
                </a:ext>
              </a:extLst>
            </p:cNvPr>
            <p:cNvSpPr/>
            <p:nvPr/>
          </p:nvSpPr>
          <p:spPr>
            <a:xfrm>
              <a:off x="6447863" y="1368102"/>
              <a:ext cx="3061644" cy="3160656"/>
            </a:xfrm>
            <a:custGeom>
              <a:avLst/>
              <a:gdLst/>
              <a:ahLst/>
              <a:cxnLst/>
              <a:rect l="0" t="0" r="0" b="0"/>
              <a:pathLst>
                <a:path w="3063239" h="3105912">
                  <a:moveTo>
                    <a:pt x="0" y="3105912"/>
                  </a:moveTo>
                  <a:lnTo>
                    <a:pt x="3063239" y="3105912"/>
                  </a:lnTo>
                  <a:lnTo>
                    <a:pt x="3063239" y="0"/>
                  </a:lnTo>
                  <a:lnTo>
                    <a:pt x="0" y="0"/>
                  </a:lnTo>
                  <a:lnTo>
                    <a:pt x="0" y="3105912"/>
                  </a:lnTo>
                  <a:close/>
                </a:path>
              </a:pathLst>
            </a:custGeom>
            <a:noFill/>
            <a:ln w="9525" cap="flat" cmpd="sng">
              <a:solidFill>
                <a:srgbClr val="2DB757">
                  <a:alpha val="100000"/>
                </a:srgbClr>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545" name="Freeform 729">
              <a:extLst>
                <a:ext uri="{FF2B5EF4-FFF2-40B4-BE49-F238E27FC236}">
                  <a16:creationId xmlns:a16="http://schemas.microsoft.com/office/drawing/2014/main" id="{D2FBCFD1-EDB9-41E6-A5E0-4F76D1DE8F09}"/>
                </a:ext>
              </a:extLst>
            </p:cNvPr>
            <p:cNvSpPr/>
            <p:nvPr/>
          </p:nvSpPr>
          <p:spPr>
            <a:xfrm>
              <a:off x="7591791" y="1186841"/>
              <a:ext cx="770743" cy="365570"/>
            </a:xfrm>
            <a:custGeom>
              <a:avLst/>
              <a:gdLst/>
              <a:ahLst/>
              <a:cxnLst/>
              <a:rect l="0" t="0" r="0" b="0"/>
              <a:pathLst>
                <a:path w="771144" h="365760">
                  <a:moveTo>
                    <a:pt x="0" y="365760"/>
                  </a:moveTo>
                  <a:lnTo>
                    <a:pt x="771144" y="365760"/>
                  </a:lnTo>
                  <a:lnTo>
                    <a:pt x="771144" y="0"/>
                  </a:lnTo>
                  <a:lnTo>
                    <a:pt x="0" y="0"/>
                  </a:lnTo>
                  <a:lnTo>
                    <a:pt x="0" y="365760"/>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46" name="Freeform 917">
              <a:extLst>
                <a:ext uri="{FF2B5EF4-FFF2-40B4-BE49-F238E27FC236}">
                  <a16:creationId xmlns:a16="http://schemas.microsoft.com/office/drawing/2014/main" id="{51AF2495-6A98-40D9-824B-26E58A34A34C}"/>
                </a:ext>
              </a:extLst>
            </p:cNvPr>
            <p:cNvSpPr/>
            <p:nvPr/>
          </p:nvSpPr>
          <p:spPr>
            <a:xfrm>
              <a:off x="6504221" y="1841819"/>
              <a:ext cx="1434861" cy="868228"/>
            </a:xfrm>
            <a:custGeom>
              <a:avLst/>
              <a:gdLst/>
              <a:ahLst/>
              <a:cxnLst/>
              <a:rect l="0" t="0" r="0" b="0"/>
              <a:pathLst>
                <a:path w="1435608" h="868680">
                  <a:moveTo>
                    <a:pt x="0" y="868680"/>
                  </a:moveTo>
                  <a:lnTo>
                    <a:pt x="1435608" y="868680"/>
                  </a:lnTo>
                  <a:lnTo>
                    <a:pt x="1435608" y="0"/>
                  </a:lnTo>
                  <a:lnTo>
                    <a:pt x="0" y="0"/>
                  </a:lnTo>
                  <a:lnTo>
                    <a:pt x="0" y="868680"/>
                  </a:lnTo>
                  <a:close/>
                </a:path>
              </a:pathLst>
            </a:custGeom>
            <a:solidFill>
              <a:srgbClr val="2DB757">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47" name="Freeform 918">
              <a:extLst>
                <a:ext uri="{FF2B5EF4-FFF2-40B4-BE49-F238E27FC236}">
                  <a16:creationId xmlns:a16="http://schemas.microsoft.com/office/drawing/2014/main" id="{15DC5077-041C-49F7-92DB-F4AEFBA85FA5}"/>
                </a:ext>
              </a:extLst>
            </p:cNvPr>
            <p:cNvSpPr/>
            <p:nvPr/>
          </p:nvSpPr>
          <p:spPr>
            <a:xfrm>
              <a:off x="7052575" y="2167786"/>
              <a:ext cx="109672" cy="146228"/>
            </a:xfrm>
            <a:custGeom>
              <a:avLst/>
              <a:gdLst/>
              <a:ahLst/>
              <a:cxnLst/>
              <a:rect l="0" t="0" r="0" b="0"/>
              <a:pathLst>
                <a:path w="109729" h="146304">
                  <a:moveTo>
                    <a:pt x="109729" y="146304"/>
                  </a:moveTo>
                  <a:lnTo>
                    <a:pt x="0" y="146304"/>
                  </a:lnTo>
                  <a:lnTo>
                    <a:pt x="19559" y="0"/>
                  </a:lnTo>
                  <a:lnTo>
                    <a:pt x="91313" y="0"/>
                  </a:lnTo>
                  <a:lnTo>
                    <a:pt x="109729" y="146304"/>
                  </a:lnTo>
                  <a:close/>
                  <a:moveTo>
                    <a:pt x="-2508504" y="4690871"/>
                  </a:moveTo>
                  <a:moveTo>
                    <a:pt x="11938" y="136270"/>
                  </a:moveTo>
                  <a:lnTo>
                    <a:pt x="98807" y="136270"/>
                  </a:lnTo>
                  <a:lnTo>
                    <a:pt x="82550" y="10032"/>
                  </a:lnTo>
                  <a:lnTo>
                    <a:pt x="28195" y="10032"/>
                  </a:lnTo>
                  <a:lnTo>
                    <a:pt x="11938" y="136270"/>
                  </a:lnTo>
                  <a:close/>
                  <a:moveTo>
                    <a:pt x="-2498470" y="4690871"/>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48" name="Freeform 919">
              <a:extLst>
                <a:ext uri="{FF2B5EF4-FFF2-40B4-BE49-F238E27FC236}">
                  <a16:creationId xmlns:a16="http://schemas.microsoft.com/office/drawing/2014/main" id="{8EC317C6-D9A9-4318-8EB7-8B0156DCBDD7}"/>
                </a:ext>
              </a:extLst>
            </p:cNvPr>
            <p:cNvSpPr/>
            <p:nvPr/>
          </p:nvSpPr>
          <p:spPr>
            <a:xfrm>
              <a:off x="7162247" y="2167786"/>
              <a:ext cx="109671" cy="146228"/>
            </a:xfrm>
            <a:custGeom>
              <a:avLst/>
              <a:gdLst/>
              <a:ahLst/>
              <a:cxnLst/>
              <a:rect l="0" t="0" r="0" b="0"/>
              <a:pathLst>
                <a:path w="109728" h="146304">
                  <a:moveTo>
                    <a:pt x="109728" y="146304"/>
                  </a:moveTo>
                  <a:lnTo>
                    <a:pt x="19557" y="146304"/>
                  </a:lnTo>
                  <a:lnTo>
                    <a:pt x="0" y="0"/>
                  </a:lnTo>
                  <a:lnTo>
                    <a:pt x="72770" y="0"/>
                  </a:lnTo>
                  <a:lnTo>
                    <a:pt x="109728" y="146304"/>
                  </a:lnTo>
                  <a:close/>
                  <a:moveTo>
                    <a:pt x="-2618233" y="4690871"/>
                  </a:moveTo>
                  <a:moveTo>
                    <a:pt x="27178" y="136270"/>
                  </a:moveTo>
                  <a:lnTo>
                    <a:pt x="97790" y="136270"/>
                  </a:lnTo>
                  <a:lnTo>
                    <a:pt x="65151" y="10032"/>
                  </a:lnTo>
                  <a:lnTo>
                    <a:pt x="10921" y="10032"/>
                  </a:lnTo>
                  <a:lnTo>
                    <a:pt x="27178" y="136270"/>
                  </a:lnTo>
                  <a:close/>
                  <a:moveTo>
                    <a:pt x="-2608199" y="4690871"/>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49" name="Freeform 920">
              <a:extLst>
                <a:ext uri="{FF2B5EF4-FFF2-40B4-BE49-F238E27FC236}">
                  <a16:creationId xmlns:a16="http://schemas.microsoft.com/office/drawing/2014/main" id="{CD777EAB-AB03-4D1F-B7D5-12F62E566B0B}"/>
                </a:ext>
              </a:extLst>
            </p:cNvPr>
            <p:cNvSpPr/>
            <p:nvPr/>
          </p:nvSpPr>
          <p:spPr>
            <a:xfrm>
              <a:off x="6939858" y="2167786"/>
              <a:ext cx="112717" cy="146228"/>
            </a:xfrm>
            <a:custGeom>
              <a:avLst/>
              <a:gdLst/>
              <a:ahLst/>
              <a:cxnLst/>
              <a:rect l="0" t="0" r="0" b="0"/>
              <a:pathLst>
                <a:path w="112776" h="146304">
                  <a:moveTo>
                    <a:pt x="93853" y="146304"/>
                  </a:moveTo>
                  <a:lnTo>
                    <a:pt x="0" y="146304"/>
                  </a:lnTo>
                  <a:lnTo>
                    <a:pt x="39116" y="0"/>
                  </a:lnTo>
                  <a:lnTo>
                    <a:pt x="112776" y="0"/>
                  </a:lnTo>
                  <a:lnTo>
                    <a:pt x="93853" y="146304"/>
                  </a:lnTo>
                  <a:close/>
                  <a:moveTo>
                    <a:pt x="-2395728" y="4690871"/>
                  </a:moveTo>
                  <a:moveTo>
                    <a:pt x="13462" y="136270"/>
                  </a:moveTo>
                  <a:lnTo>
                    <a:pt x="84836" y="136270"/>
                  </a:lnTo>
                  <a:lnTo>
                    <a:pt x="101600" y="10032"/>
                  </a:lnTo>
                  <a:lnTo>
                    <a:pt x="46863" y="10032"/>
                  </a:lnTo>
                  <a:lnTo>
                    <a:pt x="13462" y="136270"/>
                  </a:lnTo>
                  <a:close/>
                  <a:moveTo>
                    <a:pt x="-2385694" y="4690871"/>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50" name="Freeform 921">
              <a:extLst>
                <a:ext uri="{FF2B5EF4-FFF2-40B4-BE49-F238E27FC236}">
                  <a16:creationId xmlns:a16="http://schemas.microsoft.com/office/drawing/2014/main" id="{050FB9CB-919E-4B1D-8E55-6ACBCEED5418}"/>
                </a:ext>
              </a:extLst>
            </p:cNvPr>
            <p:cNvSpPr/>
            <p:nvPr/>
          </p:nvSpPr>
          <p:spPr>
            <a:xfrm>
              <a:off x="6982508" y="2304874"/>
              <a:ext cx="12186" cy="48743"/>
            </a:xfrm>
            <a:custGeom>
              <a:avLst/>
              <a:gdLst/>
              <a:ahLst/>
              <a:cxnLst/>
              <a:rect l="0" t="0" r="0" b="0"/>
              <a:pathLst>
                <a:path w="12192" h="48768">
                  <a:moveTo>
                    <a:pt x="0" y="48768"/>
                  </a:moveTo>
                  <a:lnTo>
                    <a:pt x="12192" y="48768"/>
                  </a:lnTo>
                  <a:lnTo>
                    <a:pt x="12192" y="0"/>
                  </a:lnTo>
                  <a:lnTo>
                    <a:pt x="0" y="0"/>
                  </a:lnTo>
                  <a:lnTo>
                    <a:pt x="0" y="48768"/>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51" name="Freeform 922">
              <a:extLst>
                <a:ext uri="{FF2B5EF4-FFF2-40B4-BE49-F238E27FC236}">
                  <a16:creationId xmlns:a16="http://schemas.microsoft.com/office/drawing/2014/main" id="{FEC7D883-B444-4530-8618-6D2AB58410C8}"/>
                </a:ext>
              </a:extLst>
            </p:cNvPr>
            <p:cNvSpPr/>
            <p:nvPr/>
          </p:nvSpPr>
          <p:spPr>
            <a:xfrm>
              <a:off x="7101319" y="2304874"/>
              <a:ext cx="9138" cy="48743"/>
            </a:xfrm>
            <a:custGeom>
              <a:avLst/>
              <a:gdLst/>
              <a:ahLst/>
              <a:cxnLst/>
              <a:rect l="0" t="0" r="0" b="0"/>
              <a:pathLst>
                <a:path w="9143" h="48768">
                  <a:moveTo>
                    <a:pt x="0" y="48768"/>
                  </a:moveTo>
                  <a:lnTo>
                    <a:pt x="9143" y="48768"/>
                  </a:lnTo>
                  <a:lnTo>
                    <a:pt x="9143" y="0"/>
                  </a:lnTo>
                  <a:lnTo>
                    <a:pt x="0" y="0"/>
                  </a:lnTo>
                  <a:lnTo>
                    <a:pt x="0" y="48768"/>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52" name="Freeform 923">
              <a:extLst>
                <a:ext uri="{FF2B5EF4-FFF2-40B4-BE49-F238E27FC236}">
                  <a16:creationId xmlns:a16="http://schemas.microsoft.com/office/drawing/2014/main" id="{D11A21DD-0AB9-436D-9259-2D415D675816}"/>
                </a:ext>
              </a:extLst>
            </p:cNvPr>
            <p:cNvSpPr/>
            <p:nvPr/>
          </p:nvSpPr>
          <p:spPr>
            <a:xfrm>
              <a:off x="7223175" y="2304874"/>
              <a:ext cx="9139" cy="48743"/>
            </a:xfrm>
            <a:custGeom>
              <a:avLst/>
              <a:gdLst/>
              <a:ahLst/>
              <a:cxnLst/>
              <a:rect l="0" t="0" r="0" b="0"/>
              <a:pathLst>
                <a:path w="9144" h="48768">
                  <a:moveTo>
                    <a:pt x="0" y="48768"/>
                  </a:moveTo>
                  <a:lnTo>
                    <a:pt x="9144" y="48768"/>
                  </a:lnTo>
                  <a:lnTo>
                    <a:pt x="9144" y="0"/>
                  </a:lnTo>
                  <a:lnTo>
                    <a:pt x="0" y="0"/>
                  </a:lnTo>
                  <a:lnTo>
                    <a:pt x="0" y="48768"/>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53" name="Freeform 924">
              <a:extLst>
                <a:ext uri="{FF2B5EF4-FFF2-40B4-BE49-F238E27FC236}">
                  <a16:creationId xmlns:a16="http://schemas.microsoft.com/office/drawing/2014/main" id="{81346815-9361-432B-A779-75A0D1D3E8EB}"/>
                </a:ext>
              </a:extLst>
            </p:cNvPr>
            <p:cNvSpPr/>
            <p:nvPr/>
          </p:nvSpPr>
          <p:spPr>
            <a:xfrm>
              <a:off x="6970322" y="2207390"/>
              <a:ext cx="73114" cy="9139"/>
            </a:xfrm>
            <a:custGeom>
              <a:avLst/>
              <a:gdLst/>
              <a:ahLst/>
              <a:cxnLst/>
              <a:rect l="0" t="0" r="0" b="0"/>
              <a:pathLst>
                <a:path w="73152" h="9144">
                  <a:moveTo>
                    <a:pt x="0" y="9144"/>
                  </a:moveTo>
                  <a:lnTo>
                    <a:pt x="73152" y="9144"/>
                  </a:lnTo>
                  <a:lnTo>
                    <a:pt x="73152"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54" name="Freeform 925">
              <a:extLst>
                <a:ext uri="{FF2B5EF4-FFF2-40B4-BE49-F238E27FC236}">
                  <a16:creationId xmlns:a16="http://schemas.microsoft.com/office/drawing/2014/main" id="{88A84FE5-ACE8-4512-A6DE-148527021007}"/>
                </a:ext>
              </a:extLst>
            </p:cNvPr>
            <p:cNvSpPr/>
            <p:nvPr/>
          </p:nvSpPr>
          <p:spPr>
            <a:xfrm>
              <a:off x="6961182" y="2237855"/>
              <a:ext cx="73114" cy="9139"/>
            </a:xfrm>
            <a:custGeom>
              <a:avLst/>
              <a:gdLst/>
              <a:ahLst/>
              <a:cxnLst/>
              <a:rect l="0" t="0" r="0" b="0"/>
              <a:pathLst>
                <a:path w="73152" h="9144">
                  <a:moveTo>
                    <a:pt x="0" y="9144"/>
                  </a:moveTo>
                  <a:lnTo>
                    <a:pt x="73152" y="9144"/>
                  </a:lnTo>
                  <a:lnTo>
                    <a:pt x="73152"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55" name="Freeform 926">
              <a:extLst>
                <a:ext uri="{FF2B5EF4-FFF2-40B4-BE49-F238E27FC236}">
                  <a16:creationId xmlns:a16="http://schemas.microsoft.com/office/drawing/2014/main" id="{3CADAE25-184A-48D5-B40D-D735EE904431}"/>
                </a:ext>
              </a:extLst>
            </p:cNvPr>
            <p:cNvSpPr/>
            <p:nvPr/>
          </p:nvSpPr>
          <p:spPr>
            <a:xfrm>
              <a:off x="6955090" y="2268318"/>
              <a:ext cx="79207" cy="9139"/>
            </a:xfrm>
            <a:custGeom>
              <a:avLst/>
              <a:gdLst/>
              <a:ahLst/>
              <a:cxnLst/>
              <a:rect l="0" t="0" r="0" b="0"/>
              <a:pathLst>
                <a:path w="79248" h="9144">
                  <a:moveTo>
                    <a:pt x="0" y="9144"/>
                  </a:moveTo>
                  <a:lnTo>
                    <a:pt x="79248" y="9144"/>
                  </a:lnTo>
                  <a:lnTo>
                    <a:pt x="79248"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56" name="Freeform 927">
              <a:extLst>
                <a:ext uri="{FF2B5EF4-FFF2-40B4-BE49-F238E27FC236}">
                  <a16:creationId xmlns:a16="http://schemas.microsoft.com/office/drawing/2014/main" id="{383EB393-535E-4C99-A7C5-E4EDCF1C646C}"/>
                </a:ext>
              </a:extLst>
            </p:cNvPr>
            <p:cNvSpPr/>
            <p:nvPr/>
          </p:nvSpPr>
          <p:spPr>
            <a:xfrm>
              <a:off x="7070853" y="2207390"/>
              <a:ext cx="73114" cy="9139"/>
            </a:xfrm>
            <a:custGeom>
              <a:avLst/>
              <a:gdLst/>
              <a:ahLst/>
              <a:cxnLst/>
              <a:rect l="0" t="0" r="0" b="0"/>
              <a:pathLst>
                <a:path w="73152" h="9144">
                  <a:moveTo>
                    <a:pt x="0" y="9144"/>
                  </a:moveTo>
                  <a:lnTo>
                    <a:pt x="73152" y="9144"/>
                  </a:lnTo>
                  <a:lnTo>
                    <a:pt x="73152"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57" name="Freeform 928">
              <a:extLst>
                <a:ext uri="{FF2B5EF4-FFF2-40B4-BE49-F238E27FC236}">
                  <a16:creationId xmlns:a16="http://schemas.microsoft.com/office/drawing/2014/main" id="{3EC9C82F-9FF2-4C07-A2D1-39003D8C85B5}"/>
                </a:ext>
              </a:extLst>
            </p:cNvPr>
            <p:cNvSpPr/>
            <p:nvPr/>
          </p:nvSpPr>
          <p:spPr>
            <a:xfrm>
              <a:off x="7064761" y="2237855"/>
              <a:ext cx="85300" cy="9139"/>
            </a:xfrm>
            <a:custGeom>
              <a:avLst/>
              <a:gdLst/>
              <a:ahLst/>
              <a:cxnLst/>
              <a:rect l="0" t="0" r="0" b="0"/>
              <a:pathLst>
                <a:path w="85344" h="9144">
                  <a:moveTo>
                    <a:pt x="0" y="9144"/>
                  </a:moveTo>
                  <a:lnTo>
                    <a:pt x="85344" y="9144"/>
                  </a:lnTo>
                  <a:lnTo>
                    <a:pt x="85344"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58" name="Freeform 929">
              <a:extLst>
                <a:ext uri="{FF2B5EF4-FFF2-40B4-BE49-F238E27FC236}">
                  <a16:creationId xmlns:a16="http://schemas.microsoft.com/office/drawing/2014/main" id="{C14B90B5-31B4-4D66-ADFF-8CBBAC30FED8}"/>
                </a:ext>
              </a:extLst>
            </p:cNvPr>
            <p:cNvSpPr/>
            <p:nvPr/>
          </p:nvSpPr>
          <p:spPr>
            <a:xfrm>
              <a:off x="7061715" y="2268318"/>
              <a:ext cx="91392" cy="9139"/>
            </a:xfrm>
            <a:custGeom>
              <a:avLst/>
              <a:gdLst/>
              <a:ahLst/>
              <a:cxnLst/>
              <a:rect l="0" t="0" r="0" b="0"/>
              <a:pathLst>
                <a:path w="91440" h="9144">
                  <a:moveTo>
                    <a:pt x="0" y="9144"/>
                  </a:moveTo>
                  <a:lnTo>
                    <a:pt x="91440" y="9144"/>
                  </a:lnTo>
                  <a:lnTo>
                    <a:pt x="91440"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59" name="Freeform 930">
              <a:extLst>
                <a:ext uri="{FF2B5EF4-FFF2-40B4-BE49-F238E27FC236}">
                  <a16:creationId xmlns:a16="http://schemas.microsoft.com/office/drawing/2014/main" id="{C022D5CC-1570-4B3E-AB52-F68B3F91BA86}"/>
                </a:ext>
              </a:extLst>
            </p:cNvPr>
            <p:cNvSpPr/>
            <p:nvPr/>
          </p:nvSpPr>
          <p:spPr>
            <a:xfrm>
              <a:off x="7171385" y="2207390"/>
              <a:ext cx="73114" cy="9139"/>
            </a:xfrm>
            <a:custGeom>
              <a:avLst/>
              <a:gdLst/>
              <a:ahLst/>
              <a:cxnLst/>
              <a:rect l="0" t="0" r="0" b="0"/>
              <a:pathLst>
                <a:path w="73152" h="9144">
                  <a:moveTo>
                    <a:pt x="0" y="9144"/>
                  </a:moveTo>
                  <a:lnTo>
                    <a:pt x="73152" y="9144"/>
                  </a:lnTo>
                  <a:lnTo>
                    <a:pt x="73152"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60" name="Freeform 931">
              <a:extLst>
                <a:ext uri="{FF2B5EF4-FFF2-40B4-BE49-F238E27FC236}">
                  <a16:creationId xmlns:a16="http://schemas.microsoft.com/office/drawing/2014/main" id="{255DE203-4391-494A-8D5B-4254E451D0AA}"/>
                </a:ext>
              </a:extLst>
            </p:cNvPr>
            <p:cNvSpPr/>
            <p:nvPr/>
          </p:nvSpPr>
          <p:spPr>
            <a:xfrm>
              <a:off x="7174432" y="2237855"/>
              <a:ext cx="73114" cy="9139"/>
            </a:xfrm>
            <a:custGeom>
              <a:avLst/>
              <a:gdLst/>
              <a:ahLst/>
              <a:cxnLst/>
              <a:rect l="0" t="0" r="0" b="0"/>
              <a:pathLst>
                <a:path w="73152" h="9144">
                  <a:moveTo>
                    <a:pt x="0" y="9144"/>
                  </a:moveTo>
                  <a:lnTo>
                    <a:pt x="73152" y="9144"/>
                  </a:lnTo>
                  <a:lnTo>
                    <a:pt x="73152"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61" name="Freeform 932">
              <a:extLst>
                <a:ext uri="{FF2B5EF4-FFF2-40B4-BE49-F238E27FC236}">
                  <a16:creationId xmlns:a16="http://schemas.microsoft.com/office/drawing/2014/main" id="{84E076CB-7F24-422F-9C66-FB86ED06F7C9}"/>
                </a:ext>
              </a:extLst>
            </p:cNvPr>
            <p:cNvSpPr/>
            <p:nvPr/>
          </p:nvSpPr>
          <p:spPr>
            <a:xfrm>
              <a:off x="7180526" y="2268318"/>
              <a:ext cx="79207" cy="9139"/>
            </a:xfrm>
            <a:custGeom>
              <a:avLst/>
              <a:gdLst/>
              <a:ahLst/>
              <a:cxnLst/>
              <a:rect l="0" t="0" r="0" b="0"/>
              <a:pathLst>
                <a:path w="79248" h="9144">
                  <a:moveTo>
                    <a:pt x="0" y="9144"/>
                  </a:moveTo>
                  <a:lnTo>
                    <a:pt x="79248" y="9144"/>
                  </a:lnTo>
                  <a:lnTo>
                    <a:pt x="79248"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62" name="Freeform 933">
              <a:extLst>
                <a:ext uri="{FF2B5EF4-FFF2-40B4-BE49-F238E27FC236}">
                  <a16:creationId xmlns:a16="http://schemas.microsoft.com/office/drawing/2014/main" id="{11E7998C-40B8-426B-B649-41D5EBAF881F}"/>
                </a:ext>
              </a:extLst>
            </p:cNvPr>
            <p:cNvSpPr/>
            <p:nvPr/>
          </p:nvSpPr>
          <p:spPr>
            <a:xfrm>
              <a:off x="6939857" y="2344478"/>
              <a:ext cx="469148" cy="9139"/>
            </a:xfrm>
            <a:custGeom>
              <a:avLst/>
              <a:gdLst/>
              <a:ahLst/>
              <a:cxnLst/>
              <a:rect l="0" t="0" r="0" b="0"/>
              <a:pathLst>
                <a:path w="469392" h="9144">
                  <a:moveTo>
                    <a:pt x="0" y="9144"/>
                  </a:moveTo>
                  <a:lnTo>
                    <a:pt x="469392" y="9144"/>
                  </a:lnTo>
                  <a:lnTo>
                    <a:pt x="469392"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63" name="Freeform 934">
              <a:extLst>
                <a:ext uri="{FF2B5EF4-FFF2-40B4-BE49-F238E27FC236}">
                  <a16:creationId xmlns:a16="http://schemas.microsoft.com/office/drawing/2014/main" id="{2F8942C5-2392-4C31-95F1-A481781313F4}"/>
                </a:ext>
              </a:extLst>
            </p:cNvPr>
            <p:cNvSpPr/>
            <p:nvPr/>
          </p:nvSpPr>
          <p:spPr>
            <a:xfrm>
              <a:off x="7028204" y="2027653"/>
              <a:ext cx="57882" cy="60927"/>
            </a:xfrm>
            <a:custGeom>
              <a:avLst/>
              <a:gdLst/>
              <a:ahLst/>
              <a:cxnLst/>
              <a:rect l="0" t="0" r="0" b="0"/>
              <a:pathLst>
                <a:path w="57912" h="60959">
                  <a:moveTo>
                    <a:pt x="29464" y="60959"/>
                  </a:moveTo>
                  <a:lnTo>
                    <a:pt x="29464" y="60959"/>
                  </a:lnTo>
                  <a:lnTo>
                    <a:pt x="23114" y="60959"/>
                  </a:lnTo>
                  <a:lnTo>
                    <a:pt x="17906" y="58674"/>
                  </a:lnTo>
                  <a:lnTo>
                    <a:pt x="12572" y="56388"/>
                  </a:lnTo>
                  <a:lnTo>
                    <a:pt x="8381" y="51943"/>
                  </a:lnTo>
                  <a:lnTo>
                    <a:pt x="5206" y="47370"/>
                  </a:lnTo>
                  <a:lnTo>
                    <a:pt x="3175" y="42926"/>
                  </a:lnTo>
                  <a:lnTo>
                    <a:pt x="1016" y="37210"/>
                  </a:lnTo>
                  <a:lnTo>
                    <a:pt x="0" y="30479"/>
                  </a:lnTo>
                  <a:lnTo>
                    <a:pt x="1016" y="24891"/>
                  </a:lnTo>
                  <a:lnTo>
                    <a:pt x="3175" y="19176"/>
                  </a:lnTo>
                  <a:lnTo>
                    <a:pt x="5206" y="13589"/>
                  </a:lnTo>
                  <a:lnTo>
                    <a:pt x="8381" y="9016"/>
                  </a:lnTo>
                  <a:lnTo>
                    <a:pt x="12572" y="5588"/>
                  </a:lnTo>
                  <a:lnTo>
                    <a:pt x="17906" y="2285"/>
                  </a:lnTo>
                  <a:lnTo>
                    <a:pt x="23114" y="1143"/>
                  </a:lnTo>
                  <a:lnTo>
                    <a:pt x="29464" y="0"/>
                  </a:lnTo>
                  <a:lnTo>
                    <a:pt x="34797" y="1143"/>
                  </a:lnTo>
                  <a:lnTo>
                    <a:pt x="40005" y="2285"/>
                  </a:lnTo>
                  <a:lnTo>
                    <a:pt x="45339" y="5588"/>
                  </a:lnTo>
                  <a:lnTo>
                    <a:pt x="49530" y="9016"/>
                  </a:lnTo>
                  <a:lnTo>
                    <a:pt x="52705" y="13589"/>
                  </a:lnTo>
                  <a:lnTo>
                    <a:pt x="54737" y="19176"/>
                  </a:lnTo>
                  <a:lnTo>
                    <a:pt x="56895" y="24891"/>
                  </a:lnTo>
                  <a:lnTo>
                    <a:pt x="57912" y="30479"/>
                  </a:lnTo>
                  <a:lnTo>
                    <a:pt x="56895" y="37210"/>
                  </a:lnTo>
                  <a:lnTo>
                    <a:pt x="54737" y="42926"/>
                  </a:lnTo>
                  <a:lnTo>
                    <a:pt x="52705" y="47370"/>
                  </a:lnTo>
                  <a:lnTo>
                    <a:pt x="49530" y="51943"/>
                  </a:lnTo>
                  <a:lnTo>
                    <a:pt x="45339" y="56388"/>
                  </a:lnTo>
                  <a:lnTo>
                    <a:pt x="40005" y="58674"/>
                  </a:lnTo>
                  <a:lnTo>
                    <a:pt x="34797" y="60959"/>
                  </a:lnTo>
                  <a:lnTo>
                    <a:pt x="29464" y="60959"/>
                  </a:lnTo>
                  <a:close/>
                  <a:moveTo>
                    <a:pt x="-2258568" y="4831079"/>
                  </a:moveTo>
                  <a:moveTo>
                    <a:pt x="29464" y="10159"/>
                  </a:moveTo>
                  <a:lnTo>
                    <a:pt x="29464" y="10159"/>
                  </a:lnTo>
                  <a:lnTo>
                    <a:pt x="25272" y="11302"/>
                  </a:lnTo>
                  <a:lnTo>
                    <a:pt x="22097" y="12445"/>
                  </a:lnTo>
                  <a:lnTo>
                    <a:pt x="17906" y="13589"/>
                  </a:lnTo>
                  <a:lnTo>
                    <a:pt x="15747" y="15747"/>
                  </a:lnTo>
                  <a:lnTo>
                    <a:pt x="13716" y="19176"/>
                  </a:lnTo>
                  <a:lnTo>
                    <a:pt x="11556" y="22606"/>
                  </a:lnTo>
                  <a:lnTo>
                    <a:pt x="10541" y="27051"/>
                  </a:lnTo>
                  <a:lnTo>
                    <a:pt x="9525" y="30479"/>
                  </a:lnTo>
                  <a:lnTo>
                    <a:pt x="10541" y="35051"/>
                  </a:lnTo>
                  <a:lnTo>
                    <a:pt x="11556" y="38353"/>
                  </a:lnTo>
                  <a:lnTo>
                    <a:pt x="13716" y="41783"/>
                  </a:lnTo>
                  <a:lnTo>
                    <a:pt x="15747" y="45212"/>
                  </a:lnTo>
                  <a:lnTo>
                    <a:pt x="17906" y="47370"/>
                  </a:lnTo>
                  <a:lnTo>
                    <a:pt x="22097" y="49657"/>
                  </a:lnTo>
                  <a:lnTo>
                    <a:pt x="25272" y="50800"/>
                  </a:lnTo>
                  <a:lnTo>
                    <a:pt x="29464" y="50800"/>
                  </a:lnTo>
                  <a:lnTo>
                    <a:pt x="32639" y="50800"/>
                  </a:lnTo>
                  <a:lnTo>
                    <a:pt x="36830" y="49657"/>
                  </a:lnTo>
                  <a:lnTo>
                    <a:pt x="40005" y="47370"/>
                  </a:lnTo>
                  <a:lnTo>
                    <a:pt x="42164" y="45212"/>
                  </a:lnTo>
                  <a:lnTo>
                    <a:pt x="44195" y="41783"/>
                  </a:lnTo>
                  <a:lnTo>
                    <a:pt x="46355" y="38353"/>
                  </a:lnTo>
                  <a:lnTo>
                    <a:pt x="47370" y="35051"/>
                  </a:lnTo>
                  <a:lnTo>
                    <a:pt x="48387" y="30479"/>
                  </a:lnTo>
                  <a:lnTo>
                    <a:pt x="47370" y="27051"/>
                  </a:lnTo>
                  <a:lnTo>
                    <a:pt x="46355" y="22606"/>
                  </a:lnTo>
                  <a:lnTo>
                    <a:pt x="44195" y="19176"/>
                  </a:lnTo>
                  <a:lnTo>
                    <a:pt x="42164" y="15747"/>
                  </a:lnTo>
                  <a:lnTo>
                    <a:pt x="40005" y="13589"/>
                  </a:lnTo>
                  <a:lnTo>
                    <a:pt x="36830" y="12445"/>
                  </a:lnTo>
                  <a:lnTo>
                    <a:pt x="32639" y="11302"/>
                  </a:lnTo>
                  <a:lnTo>
                    <a:pt x="29464" y="10159"/>
                  </a:lnTo>
                  <a:close/>
                  <a:moveTo>
                    <a:pt x="-2207768" y="4831079"/>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64" name="Freeform 935">
              <a:extLst>
                <a:ext uri="{FF2B5EF4-FFF2-40B4-BE49-F238E27FC236}">
                  <a16:creationId xmlns:a16="http://schemas.microsoft.com/office/drawing/2014/main" id="{44ECECB5-61B1-4502-B39F-76A085440725}"/>
                </a:ext>
              </a:extLst>
            </p:cNvPr>
            <p:cNvSpPr/>
            <p:nvPr/>
          </p:nvSpPr>
          <p:spPr>
            <a:xfrm>
              <a:off x="7052575" y="2000233"/>
              <a:ext cx="9140" cy="18278"/>
            </a:xfrm>
            <a:custGeom>
              <a:avLst/>
              <a:gdLst/>
              <a:ahLst/>
              <a:cxnLst/>
              <a:rect l="0" t="0" r="0" b="0"/>
              <a:pathLst>
                <a:path w="9145" h="18288">
                  <a:moveTo>
                    <a:pt x="5081" y="18288"/>
                  </a:moveTo>
                  <a:lnTo>
                    <a:pt x="5081" y="18288"/>
                  </a:lnTo>
                  <a:lnTo>
                    <a:pt x="3048" y="18288"/>
                  </a:lnTo>
                  <a:lnTo>
                    <a:pt x="2033" y="17271"/>
                  </a:lnTo>
                  <a:lnTo>
                    <a:pt x="1017" y="15366"/>
                  </a:lnTo>
                  <a:lnTo>
                    <a:pt x="0" y="13461"/>
                  </a:lnTo>
                  <a:lnTo>
                    <a:pt x="0" y="4826"/>
                  </a:lnTo>
                  <a:lnTo>
                    <a:pt x="1017" y="2921"/>
                  </a:lnTo>
                  <a:lnTo>
                    <a:pt x="2033" y="1904"/>
                  </a:lnTo>
                  <a:lnTo>
                    <a:pt x="3048" y="1015"/>
                  </a:lnTo>
                  <a:lnTo>
                    <a:pt x="5081" y="0"/>
                  </a:lnTo>
                  <a:lnTo>
                    <a:pt x="7112" y="1015"/>
                  </a:lnTo>
                  <a:lnTo>
                    <a:pt x="8129" y="1904"/>
                  </a:lnTo>
                  <a:lnTo>
                    <a:pt x="9145" y="2921"/>
                  </a:lnTo>
                  <a:lnTo>
                    <a:pt x="9145" y="4826"/>
                  </a:lnTo>
                  <a:lnTo>
                    <a:pt x="9145" y="13461"/>
                  </a:lnTo>
                  <a:lnTo>
                    <a:pt x="9145" y="15366"/>
                  </a:lnTo>
                  <a:lnTo>
                    <a:pt x="8129" y="17271"/>
                  </a:lnTo>
                  <a:lnTo>
                    <a:pt x="7112" y="18288"/>
                  </a:lnTo>
                  <a:lnTo>
                    <a:pt x="5081" y="18288"/>
                  </a:lnTo>
                  <a:close/>
                  <a:moveTo>
                    <a:pt x="-2212848" y="4858511"/>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65" name="Freeform 936">
              <a:extLst>
                <a:ext uri="{FF2B5EF4-FFF2-40B4-BE49-F238E27FC236}">
                  <a16:creationId xmlns:a16="http://schemas.microsoft.com/office/drawing/2014/main" id="{DBAD1AAC-79CA-4048-9177-994F99B6187A}"/>
                </a:ext>
              </a:extLst>
            </p:cNvPr>
            <p:cNvSpPr/>
            <p:nvPr/>
          </p:nvSpPr>
          <p:spPr>
            <a:xfrm>
              <a:off x="7052575" y="2094672"/>
              <a:ext cx="9140" cy="21324"/>
            </a:xfrm>
            <a:custGeom>
              <a:avLst/>
              <a:gdLst/>
              <a:ahLst/>
              <a:cxnLst/>
              <a:rect l="0" t="0" r="0" b="0"/>
              <a:pathLst>
                <a:path w="9145" h="21335">
                  <a:moveTo>
                    <a:pt x="5081" y="21335"/>
                  </a:moveTo>
                  <a:lnTo>
                    <a:pt x="5081" y="21335"/>
                  </a:lnTo>
                  <a:lnTo>
                    <a:pt x="3048" y="21335"/>
                  </a:lnTo>
                  <a:lnTo>
                    <a:pt x="2033" y="20193"/>
                  </a:lnTo>
                  <a:lnTo>
                    <a:pt x="1017" y="17907"/>
                  </a:lnTo>
                  <a:lnTo>
                    <a:pt x="0" y="16890"/>
                  </a:lnTo>
                  <a:lnTo>
                    <a:pt x="0" y="5588"/>
                  </a:lnTo>
                  <a:lnTo>
                    <a:pt x="1017" y="3428"/>
                  </a:lnTo>
                  <a:lnTo>
                    <a:pt x="2033" y="2285"/>
                  </a:lnTo>
                  <a:lnTo>
                    <a:pt x="3048" y="1143"/>
                  </a:lnTo>
                  <a:lnTo>
                    <a:pt x="5081" y="0"/>
                  </a:lnTo>
                  <a:lnTo>
                    <a:pt x="7112" y="1143"/>
                  </a:lnTo>
                  <a:lnTo>
                    <a:pt x="8129" y="2285"/>
                  </a:lnTo>
                  <a:lnTo>
                    <a:pt x="9145" y="3428"/>
                  </a:lnTo>
                  <a:lnTo>
                    <a:pt x="9145" y="5588"/>
                  </a:lnTo>
                  <a:lnTo>
                    <a:pt x="9145" y="16890"/>
                  </a:lnTo>
                  <a:lnTo>
                    <a:pt x="9145" y="17907"/>
                  </a:lnTo>
                  <a:lnTo>
                    <a:pt x="8129" y="20193"/>
                  </a:lnTo>
                  <a:lnTo>
                    <a:pt x="7112" y="21335"/>
                  </a:lnTo>
                  <a:lnTo>
                    <a:pt x="5081" y="21335"/>
                  </a:lnTo>
                  <a:close/>
                  <a:moveTo>
                    <a:pt x="-2310383" y="4764023"/>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66" name="Freeform 937">
              <a:extLst>
                <a:ext uri="{FF2B5EF4-FFF2-40B4-BE49-F238E27FC236}">
                  <a16:creationId xmlns:a16="http://schemas.microsoft.com/office/drawing/2014/main" id="{14581517-1117-4FC5-BB24-000B569E2E6B}"/>
                </a:ext>
              </a:extLst>
            </p:cNvPr>
            <p:cNvSpPr/>
            <p:nvPr/>
          </p:nvSpPr>
          <p:spPr>
            <a:xfrm>
              <a:off x="7095225" y="2052023"/>
              <a:ext cx="21326" cy="12187"/>
            </a:xfrm>
            <a:custGeom>
              <a:avLst/>
              <a:gdLst/>
              <a:ahLst/>
              <a:cxnLst/>
              <a:rect l="0" t="0" r="0" b="0"/>
              <a:pathLst>
                <a:path w="21337" h="12193">
                  <a:moveTo>
                    <a:pt x="15749" y="12193"/>
                  </a:moveTo>
                  <a:lnTo>
                    <a:pt x="5588" y="12193"/>
                  </a:lnTo>
                  <a:lnTo>
                    <a:pt x="3429" y="10795"/>
                  </a:lnTo>
                  <a:lnTo>
                    <a:pt x="1143" y="9525"/>
                  </a:lnTo>
                  <a:lnTo>
                    <a:pt x="0" y="8129"/>
                  </a:lnTo>
                  <a:lnTo>
                    <a:pt x="0" y="5462"/>
                  </a:lnTo>
                  <a:lnTo>
                    <a:pt x="0" y="2668"/>
                  </a:lnTo>
                  <a:lnTo>
                    <a:pt x="1143" y="1398"/>
                  </a:lnTo>
                  <a:lnTo>
                    <a:pt x="3429" y="0"/>
                  </a:lnTo>
                  <a:lnTo>
                    <a:pt x="5588" y="0"/>
                  </a:lnTo>
                  <a:lnTo>
                    <a:pt x="15749" y="0"/>
                  </a:lnTo>
                  <a:lnTo>
                    <a:pt x="17908" y="0"/>
                  </a:lnTo>
                  <a:lnTo>
                    <a:pt x="20193" y="1398"/>
                  </a:lnTo>
                  <a:lnTo>
                    <a:pt x="20193" y="2668"/>
                  </a:lnTo>
                  <a:lnTo>
                    <a:pt x="21337" y="5462"/>
                  </a:lnTo>
                  <a:lnTo>
                    <a:pt x="20193" y="8129"/>
                  </a:lnTo>
                  <a:lnTo>
                    <a:pt x="20193" y="9525"/>
                  </a:lnTo>
                  <a:lnTo>
                    <a:pt x="17908" y="10795"/>
                  </a:lnTo>
                  <a:lnTo>
                    <a:pt x="15749" y="12193"/>
                  </a:lnTo>
                  <a:close/>
                  <a:moveTo>
                    <a:pt x="-2301240" y="4806696"/>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67" name="Freeform 938">
              <a:extLst>
                <a:ext uri="{FF2B5EF4-FFF2-40B4-BE49-F238E27FC236}">
                  <a16:creationId xmlns:a16="http://schemas.microsoft.com/office/drawing/2014/main" id="{C0F1133B-FB0D-45F5-BE82-30A6F7D1737E}"/>
                </a:ext>
              </a:extLst>
            </p:cNvPr>
            <p:cNvSpPr/>
            <p:nvPr/>
          </p:nvSpPr>
          <p:spPr>
            <a:xfrm>
              <a:off x="7000787" y="2052023"/>
              <a:ext cx="21325" cy="12187"/>
            </a:xfrm>
            <a:custGeom>
              <a:avLst/>
              <a:gdLst/>
              <a:ahLst/>
              <a:cxnLst/>
              <a:rect l="0" t="0" r="0" b="0"/>
              <a:pathLst>
                <a:path w="21336" h="12193">
                  <a:moveTo>
                    <a:pt x="15748" y="12193"/>
                  </a:moveTo>
                  <a:lnTo>
                    <a:pt x="4445" y="12193"/>
                  </a:lnTo>
                  <a:lnTo>
                    <a:pt x="3428" y="10795"/>
                  </a:lnTo>
                  <a:lnTo>
                    <a:pt x="1142" y="9525"/>
                  </a:lnTo>
                  <a:lnTo>
                    <a:pt x="0" y="8129"/>
                  </a:lnTo>
                  <a:lnTo>
                    <a:pt x="0" y="5462"/>
                  </a:lnTo>
                  <a:lnTo>
                    <a:pt x="0" y="2668"/>
                  </a:lnTo>
                  <a:lnTo>
                    <a:pt x="1142" y="1398"/>
                  </a:lnTo>
                  <a:lnTo>
                    <a:pt x="3428" y="0"/>
                  </a:lnTo>
                  <a:lnTo>
                    <a:pt x="4445" y="0"/>
                  </a:lnTo>
                  <a:lnTo>
                    <a:pt x="15748" y="0"/>
                  </a:lnTo>
                  <a:lnTo>
                    <a:pt x="17907" y="0"/>
                  </a:lnTo>
                  <a:lnTo>
                    <a:pt x="19050" y="1398"/>
                  </a:lnTo>
                  <a:lnTo>
                    <a:pt x="20192" y="2668"/>
                  </a:lnTo>
                  <a:lnTo>
                    <a:pt x="21336" y="5462"/>
                  </a:lnTo>
                  <a:lnTo>
                    <a:pt x="20192" y="8129"/>
                  </a:lnTo>
                  <a:lnTo>
                    <a:pt x="19050" y="9525"/>
                  </a:lnTo>
                  <a:lnTo>
                    <a:pt x="17907" y="10795"/>
                  </a:lnTo>
                  <a:lnTo>
                    <a:pt x="15748" y="12193"/>
                  </a:lnTo>
                  <a:close/>
                  <a:moveTo>
                    <a:pt x="-2206753" y="4806696"/>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68" name="Freeform 939">
              <a:extLst>
                <a:ext uri="{FF2B5EF4-FFF2-40B4-BE49-F238E27FC236}">
                  <a16:creationId xmlns:a16="http://schemas.microsoft.com/office/drawing/2014/main" id="{95C0D247-57CC-4BAD-A693-8B5327866308}"/>
                </a:ext>
              </a:extLst>
            </p:cNvPr>
            <p:cNvSpPr/>
            <p:nvPr/>
          </p:nvSpPr>
          <p:spPr>
            <a:xfrm>
              <a:off x="7083040" y="2082488"/>
              <a:ext cx="18278" cy="18277"/>
            </a:xfrm>
            <a:custGeom>
              <a:avLst/>
              <a:gdLst/>
              <a:ahLst/>
              <a:cxnLst/>
              <a:rect l="0" t="0" r="0" b="0"/>
              <a:pathLst>
                <a:path w="18288" h="18287">
                  <a:moveTo>
                    <a:pt x="12573" y="18287"/>
                  </a:moveTo>
                  <a:lnTo>
                    <a:pt x="12573" y="18287"/>
                  </a:lnTo>
                  <a:lnTo>
                    <a:pt x="10287" y="18287"/>
                  </a:lnTo>
                  <a:lnTo>
                    <a:pt x="9143" y="17144"/>
                  </a:lnTo>
                  <a:lnTo>
                    <a:pt x="1142" y="9144"/>
                  </a:lnTo>
                  <a:lnTo>
                    <a:pt x="0" y="6857"/>
                  </a:lnTo>
                  <a:lnTo>
                    <a:pt x="0" y="5714"/>
                  </a:lnTo>
                  <a:lnTo>
                    <a:pt x="0" y="3429"/>
                  </a:lnTo>
                  <a:lnTo>
                    <a:pt x="1142" y="1143"/>
                  </a:lnTo>
                  <a:lnTo>
                    <a:pt x="3429" y="0"/>
                  </a:lnTo>
                  <a:lnTo>
                    <a:pt x="4571" y="0"/>
                  </a:lnTo>
                  <a:lnTo>
                    <a:pt x="6857" y="0"/>
                  </a:lnTo>
                  <a:lnTo>
                    <a:pt x="8001" y="1143"/>
                  </a:lnTo>
                  <a:lnTo>
                    <a:pt x="16002" y="9144"/>
                  </a:lnTo>
                  <a:lnTo>
                    <a:pt x="17144" y="11430"/>
                  </a:lnTo>
                  <a:lnTo>
                    <a:pt x="18288" y="12573"/>
                  </a:lnTo>
                  <a:lnTo>
                    <a:pt x="17144" y="14858"/>
                  </a:lnTo>
                  <a:lnTo>
                    <a:pt x="16002" y="17144"/>
                  </a:lnTo>
                  <a:lnTo>
                    <a:pt x="14858" y="18287"/>
                  </a:lnTo>
                  <a:lnTo>
                    <a:pt x="12573" y="18287"/>
                  </a:lnTo>
                  <a:close/>
                  <a:moveTo>
                    <a:pt x="-2325624" y="4776215"/>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69" name="Freeform 940">
              <a:extLst>
                <a:ext uri="{FF2B5EF4-FFF2-40B4-BE49-F238E27FC236}">
                  <a16:creationId xmlns:a16="http://schemas.microsoft.com/office/drawing/2014/main" id="{287BD1F7-1F06-4F04-8971-977CBDACA7CD}"/>
                </a:ext>
              </a:extLst>
            </p:cNvPr>
            <p:cNvSpPr/>
            <p:nvPr/>
          </p:nvSpPr>
          <p:spPr>
            <a:xfrm>
              <a:off x="7016018" y="2015467"/>
              <a:ext cx="18278" cy="15231"/>
            </a:xfrm>
            <a:custGeom>
              <a:avLst/>
              <a:gdLst/>
              <a:ahLst/>
              <a:cxnLst/>
              <a:rect l="0" t="0" r="0" b="0"/>
              <a:pathLst>
                <a:path w="18288" h="15239">
                  <a:moveTo>
                    <a:pt x="12573" y="15239"/>
                  </a:moveTo>
                  <a:lnTo>
                    <a:pt x="12573" y="15239"/>
                  </a:lnTo>
                  <a:lnTo>
                    <a:pt x="11431" y="15239"/>
                  </a:lnTo>
                  <a:lnTo>
                    <a:pt x="9145" y="14224"/>
                  </a:lnTo>
                  <a:lnTo>
                    <a:pt x="1144" y="7619"/>
                  </a:lnTo>
                  <a:lnTo>
                    <a:pt x="0" y="6604"/>
                  </a:lnTo>
                  <a:lnTo>
                    <a:pt x="0" y="4699"/>
                  </a:lnTo>
                  <a:lnTo>
                    <a:pt x="0" y="2793"/>
                  </a:lnTo>
                  <a:lnTo>
                    <a:pt x="1144" y="1905"/>
                  </a:lnTo>
                  <a:lnTo>
                    <a:pt x="3430" y="888"/>
                  </a:lnTo>
                  <a:lnTo>
                    <a:pt x="5715" y="0"/>
                  </a:lnTo>
                  <a:lnTo>
                    <a:pt x="6859" y="888"/>
                  </a:lnTo>
                  <a:lnTo>
                    <a:pt x="9145" y="1905"/>
                  </a:lnTo>
                  <a:lnTo>
                    <a:pt x="17146" y="8508"/>
                  </a:lnTo>
                  <a:lnTo>
                    <a:pt x="18288" y="9525"/>
                  </a:lnTo>
                  <a:lnTo>
                    <a:pt x="18288" y="11430"/>
                  </a:lnTo>
                  <a:lnTo>
                    <a:pt x="18288" y="12318"/>
                  </a:lnTo>
                  <a:lnTo>
                    <a:pt x="17146" y="14224"/>
                  </a:lnTo>
                  <a:lnTo>
                    <a:pt x="14860" y="15239"/>
                  </a:lnTo>
                  <a:lnTo>
                    <a:pt x="12573" y="15239"/>
                  </a:lnTo>
                  <a:close/>
                  <a:moveTo>
                    <a:pt x="-2188463" y="4843271"/>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70" name="Freeform 941">
              <a:extLst>
                <a:ext uri="{FF2B5EF4-FFF2-40B4-BE49-F238E27FC236}">
                  <a16:creationId xmlns:a16="http://schemas.microsoft.com/office/drawing/2014/main" id="{E67D7F53-7C90-4F56-A67B-859A5F3F050E}"/>
                </a:ext>
              </a:extLst>
            </p:cNvPr>
            <p:cNvSpPr/>
            <p:nvPr/>
          </p:nvSpPr>
          <p:spPr>
            <a:xfrm>
              <a:off x="7083040" y="2015467"/>
              <a:ext cx="18278" cy="15231"/>
            </a:xfrm>
            <a:custGeom>
              <a:avLst/>
              <a:gdLst/>
              <a:ahLst/>
              <a:cxnLst/>
              <a:rect l="0" t="0" r="0" b="0"/>
              <a:pathLst>
                <a:path w="18288" h="15239">
                  <a:moveTo>
                    <a:pt x="4571" y="15239"/>
                  </a:moveTo>
                  <a:lnTo>
                    <a:pt x="4571" y="15239"/>
                  </a:lnTo>
                  <a:lnTo>
                    <a:pt x="3429" y="15239"/>
                  </a:lnTo>
                  <a:lnTo>
                    <a:pt x="1142" y="14224"/>
                  </a:lnTo>
                  <a:lnTo>
                    <a:pt x="0" y="12318"/>
                  </a:lnTo>
                  <a:lnTo>
                    <a:pt x="0" y="11430"/>
                  </a:lnTo>
                  <a:lnTo>
                    <a:pt x="0" y="9525"/>
                  </a:lnTo>
                  <a:lnTo>
                    <a:pt x="1142" y="8508"/>
                  </a:lnTo>
                  <a:lnTo>
                    <a:pt x="9143" y="1905"/>
                  </a:lnTo>
                  <a:lnTo>
                    <a:pt x="10287" y="888"/>
                  </a:lnTo>
                  <a:lnTo>
                    <a:pt x="12573" y="0"/>
                  </a:lnTo>
                  <a:lnTo>
                    <a:pt x="14858" y="888"/>
                  </a:lnTo>
                  <a:lnTo>
                    <a:pt x="16002" y="1905"/>
                  </a:lnTo>
                  <a:lnTo>
                    <a:pt x="17144" y="2793"/>
                  </a:lnTo>
                  <a:lnTo>
                    <a:pt x="18288" y="4699"/>
                  </a:lnTo>
                  <a:lnTo>
                    <a:pt x="17144" y="6604"/>
                  </a:lnTo>
                  <a:lnTo>
                    <a:pt x="16002" y="7619"/>
                  </a:lnTo>
                  <a:lnTo>
                    <a:pt x="8001" y="14224"/>
                  </a:lnTo>
                  <a:lnTo>
                    <a:pt x="6857" y="15239"/>
                  </a:lnTo>
                  <a:lnTo>
                    <a:pt x="4571" y="15239"/>
                  </a:lnTo>
                  <a:close/>
                  <a:moveTo>
                    <a:pt x="-2255520" y="4843271"/>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71" name="Freeform 942">
              <a:extLst>
                <a:ext uri="{FF2B5EF4-FFF2-40B4-BE49-F238E27FC236}">
                  <a16:creationId xmlns:a16="http://schemas.microsoft.com/office/drawing/2014/main" id="{9E1A0744-9A82-43BB-BA49-64FE30B3246B}"/>
                </a:ext>
              </a:extLst>
            </p:cNvPr>
            <p:cNvSpPr/>
            <p:nvPr/>
          </p:nvSpPr>
          <p:spPr>
            <a:xfrm>
              <a:off x="7016018" y="2082488"/>
              <a:ext cx="18278" cy="18277"/>
            </a:xfrm>
            <a:custGeom>
              <a:avLst/>
              <a:gdLst/>
              <a:ahLst/>
              <a:cxnLst/>
              <a:rect l="0" t="0" r="0" b="0"/>
              <a:pathLst>
                <a:path w="18288" h="18287">
                  <a:moveTo>
                    <a:pt x="5715" y="18287"/>
                  </a:moveTo>
                  <a:lnTo>
                    <a:pt x="5715" y="18287"/>
                  </a:lnTo>
                  <a:lnTo>
                    <a:pt x="3430" y="18287"/>
                  </a:lnTo>
                  <a:lnTo>
                    <a:pt x="1144" y="17144"/>
                  </a:lnTo>
                  <a:lnTo>
                    <a:pt x="0" y="14858"/>
                  </a:lnTo>
                  <a:lnTo>
                    <a:pt x="0" y="12573"/>
                  </a:lnTo>
                  <a:lnTo>
                    <a:pt x="0" y="11430"/>
                  </a:lnTo>
                  <a:lnTo>
                    <a:pt x="1144" y="9144"/>
                  </a:lnTo>
                  <a:lnTo>
                    <a:pt x="9145" y="1143"/>
                  </a:lnTo>
                  <a:lnTo>
                    <a:pt x="11431" y="0"/>
                  </a:lnTo>
                  <a:lnTo>
                    <a:pt x="12573" y="0"/>
                  </a:lnTo>
                  <a:lnTo>
                    <a:pt x="14860" y="0"/>
                  </a:lnTo>
                  <a:lnTo>
                    <a:pt x="17146" y="1143"/>
                  </a:lnTo>
                  <a:lnTo>
                    <a:pt x="18288" y="3429"/>
                  </a:lnTo>
                  <a:lnTo>
                    <a:pt x="18288" y="5714"/>
                  </a:lnTo>
                  <a:lnTo>
                    <a:pt x="18288" y="6857"/>
                  </a:lnTo>
                  <a:lnTo>
                    <a:pt x="17146" y="9144"/>
                  </a:lnTo>
                  <a:lnTo>
                    <a:pt x="9145" y="17144"/>
                  </a:lnTo>
                  <a:lnTo>
                    <a:pt x="6859" y="18287"/>
                  </a:lnTo>
                  <a:lnTo>
                    <a:pt x="5715" y="18287"/>
                  </a:lnTo>
                  <a:close/>
                  <a:moveTo>
                    <a:pt x="-2258567" y="4776215"/>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72" name="Freeform 943">
              <a:extLst>
                <a:ext uri="{FF2B5EF4-FFF2-40B4-BE49-F238E27FC236}">
                  <a16:creationId xmlns:a16="http://schemas.microsoft.com/office/drawing/2014/main" id="{22DC0CC0-374A-4886-9E91-8BD1BA4CF477}"/>
                </a:ext>
              </a:extLst>
            </p:cNvPr>
            <p:cNvSpPr/>
            <p:nvPr/>
          </p:nvSpPr>
          <p:spPr>
            <a:xfrm>
              <a:off x="7320660" y="2036791"/>
              <a:ext cx="45697" cy="316826"/>
            </a:xfrm>
            <a:custGeom>
              <a:avLst/>
              <a:gdLst/>
              <a:ahLst/>
              <a:cxnLst/>
              <a:rect l="0" t="0" r="0" b="0"/>
              <a:pathLst>
                <a:path w="45721" h="316991">
                  <a:moveTo>
                    <a:pt x="45721" y="316991"/>
                  </a:moveTo>
                  <a:lnTo>
                    <a:pt x="0" y="316991"/>
                  </a:lnTo>
                  <a:lnTo>
                    <a:pt x="8256" y="4445"/>
                  </a:lnTo>
                  <a:lnTo>
                    <a:pt x="8256" y="3301"/>
                  </a:lnTo>
                  <a:lnTo>
                    <a:pt x="9398" y="1143"/>
                  </a:lnTo>
                  <a:lnTo>
                    <a:pt x="11431" y="0"/>
                  </a:lnTo>
                  <a:lnTo>
                    <a:pt x="13462" y="0"/>
                  </a:lnTo>
                  <a:lnTo>
                    <a:pt x="14606" y="0"/>
                  </a:lnTo>
                  <a:lnTo>
                    <a:pt x="16637" y="1143"/>
                  </a:lnTo>
                  <a:lnTo>
                    <a:pt x="17653" y="3301"/>
                  </a:lnTo>
                  <a:lnTo>
                    <a:pt x="17653" y="5460"/>
                  </a:lnTo>
                  <a:lnTo>
                    <a:pt x="9398" y="307085"/>
                  </a:lnTo>
                  <a:lnTo>
                    <a:pt x="36323" y="307085"/>
                  </a:lnTo>
                  <a:lnTo>
                    <a:pt x="28068" y="5460"/>
                  </a:lnTo>
                  <a:lnTo>
                    <a:pt x="28068" y="3301"/>
                  </a:lnTo>
                  <a:lnTo>
                    <a:pt x="29084" y="2158"/>
                  </a:lnTo>
                  <a:lnTo>
                    <a:pt x="31115" y="1143"/>
                  </a:lnTo>
                  <a:lnTo>
                    <a:pt x="32259" y="0"/>
                  </a:lnTo>
                  <a:lnTo>
                    <a:pt x="34290" y="1143"/>
                  </a:lnTo>
                  <a:lnTo>
                    <a:pt x="36323" y="2158"/>
                  </a:lnTo>
                  <a:lnTo>
                    <a:pt x="37465" y="3301"/>
                  </a:lnTo>
                  <a:lnTo>
                    <a:pt x="37465" y="5460"/>
                  </a:lnTo>
                  <a:lnTo>
                    <a:pt x="45721" y="316991"/>
                  </a:lnTo>
                  <a:close/>
                  <a:moveTo>
                    <a:pt x="-2816351" y="4821935"/>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73" name="Freeform 944">
              <a:extLst>
                <a:ext uri="{FF2B5EF4-FFF2-40B4-BE49-F238E27FC236}">
                  <a16:creationId xmlns:a16="http://schemas.microsoft.com/office/drawing/2014/main" id="{D3B69BE7-3951-4412-9A41-4C9E47F692AC}"/>
                </a:ext>
              </a:extLst>
            </p:cNvPr>
            <p:cNvSpPr/>
            <p:nvPr/>
          </p:nvSpPr>
          <p:spPr>
            <a:xfrm>
              <a:off x="7348078" y="2003279"/>
              <a:ext cx="152321" cy="30464"/>
            </a:xfrm>
            <a:custGeom>
              <a:avLst/>
              <a:gdLst/>
              <a:ahLst/>
              <a:cxnLst/>
              <a:rect l="0" t="0" r="0" b="0"/>
              <a:pathLst>
                <a:path w="152400" h="30480">
                  <a:moveTo>
                    <a:pt x="14224" y="30480"/>
                  </a:moveTo>
                  <a:lnTo>
                    <a:pt x="14224" y="30480"/>
                  </a:lnTo>
                  <a:lnTo>
                    <a:pt x="10922" y="29464"/>
                  </a:lnTo>
                  <a:lnTo>
                    <a:pt x="8763" y="26289"/>
                  </a:lnTo>
                  <a:lnTo>
                    <a:pt x="8763" y="24130"/>
                  </a:lnTo>
                  <a:lnTo>
                    <a:pt x="9905" y="23114"/>
                  </a:lnTo>
                  <a:lnTo>
                    <a:pt x="10922" y="22099"/>
                  </a:lnTo>
                  <a:lnTo>
                    <a:pt x="13207" y="21082"/>
                  </a:lnTo>
                  <a:lnTo>
                    <a:pt x="85470" y="10542"/>
                  </a:lnTo>
                  <a:lnTo>
                    <a:pt x="4444" y="9399"/>
                  </a:lnTo>
                  <a:lnTo>
                    <a:pt x="2158" y="9399"/>
                  </a:lnTo>
                  <a:lnTo>
                    <a:pt x="1142" y="8382"/>
                  </a:lnTo>
                  <a:lnTo>
                    <a:pt x="0" y="7367"/>
                  </a:lnTo>
                  <a:lnTo>
                    <a:pt x="0" y="5207"/>
                  </a:lnTo>
                  <a:lnTo>
                    <a:pt x="0" y="3175"/>
                  </a:lnTo>
                  <a:lnTo>
                    <a:pt x="1142" y="2160"/>
                  </a:lnTo>
                  <a:lnTo>
                    <a:pt x="2158" y="1017"/>
                  </a:lnTo>
                  <a:lnTo>
                    <a:pt x="4444" y="0"/>
                  </a:lnTo>
                  <a:lnTo>
                    <a:pt x="147954" y="1017"/>
                  </a:lnTo>
                  <a:lnTo>
                    <a:pt x="150240" y="2160"/>
                  </a:lnTo>
                  <a:lnTo>
                    <a:pt x="151256" y="3175"/>
                  </a:lnTo>
                  <a:lnTo>
                    <a:pt x="152400" y="4192"/>
                  </a:lnTo>
                  <a:lnTo>
                    <a:pt x="152400" y="6350"/>
                  </a:lnTo>
                  <a:lnTo>
                    <a:pt x="152400" y="7367"/>
                  </a:lnTo>
                  <a:lnTo>
                    <a:pt x="151256" y="9399"/>
                  </a:lnTo>
                  <a:lnTo>
                    <a:pt x="150240" y="10542"/>
                  </a:lnTo>
                  <a:lnTo>
                    <a:pt x="147954" y="10542"/>
                  </a:lnTo>
                  <a:lnTo>
                    <a:pt x="14224" y="30480"/>
                  </a:lnTo>
                  <a:close/>
                  <a:moveTo>
                    <a:pt x="-2523744" y="4855464"/>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74" name="Freeform 945">
              <a:extLst>
                <a:ext uri="{FF2B5EF4-FFF2-40B4-BE49-F238E27FC236}">
                  <a16:creationId xmlns:a16="http://schemas.microsoft.com/office/drawing/2014/main" id="{B229E88C-6C54-4533-B23C-A447D64B92EE}"/>
                </a:ext>
              </a:extLst>
            </p:cNvPr>
            <p:cNvSpPr/>
            <p:nvPr/>
          </p:nvSpPr>
          <p:spPr>
            <a:xfrm>
              <a:off x="7226221" y="2018512"/>
              <a:ext cx="109671" cy="121857"/>
            </a:xfrm>
            <a:custGeom>
              <a:avLst/>
              <a:gdLst/>
              <a:ahLst/>
              <a:cxnLst/>
              <a:rect l="0" t="0" r="0" b="0"/>
              <a:pathLst>
                <a:path w="109728" h="121920">
                  <a:moveTo>
                    <a:pt x="4446" y="121920"/>
                  </a:moveTo>
                  <a:lnTo>
                    <a:pt x="4446" y="121920"/>
                  </a:lnTo>
                  <a:lnTo>
                    <a:pt x="3302" y="121920"/>
                  </a:lnTo>
                  <a:lnTo>
                    <a:pt x="1144" y="120777"/>
                  </a:lnTo>
                  <a:lnTo>
                    <a:pt x="0" y="118618"/>
                  </a:lnTo>
                  <a:lnTo>
                    <a:pt x="0" y="117602"/>
                  </a:lnTo>
                  <a:lnTo>
                    <a:pt x="0" y="115443"/>
                  </a:lnTo>
                  <a:lnTo>
                    <a:pt x="1144" y="113157"/>
                  </a:lnTo>
                  <a:lnTo>
                    <a:pt x="93219" y="1143"/>
                  </a:lnTo>
                  <a:lnTo>
                    <a:pt x="94361" y="0"/>
                  </a:lnTo>
                  <a:lnTo>
                    <a:pt x="96521" y="0"/>
                  </a:lnTo>
                  <a:lnTo>
                    <a:pt x="98807" y="0"/>
                  </a:lnTo>
                  <a:lnTo>
                    <a:pt x="99823" y="1143"/>
                  </a:lnTo>
                  <a:lnTo>
                    <a:pt x="100965" y="2158"/>
                  </a:lnTo>
                  <a:lnTo>
                    <a:pt x="102109" y="4318"/>
                  </a:lnTo>
                  <a:lnTo>
                    <a:pt x="102109" y="6477"/>
                  </a:lnTo>
                  <a:lnTo>
                    <a:pt x="100965" y="7620"/>
                  </a:lnTo>
                  <a:lnTo>
                    <a:pt x="48261" y="71882"/>
                  </a:lnTo>
                  <a:lnTo>
                    <a:pt x="100965" y="25019"/>
                  </a:lnTo>
                  <a:lnTo>
                    <a:pt x="103124" y="24002"/>
                  </a:lnTo>
                  <a:lnTo>
                    <a:pt x="104268" y="24002"/>
                  </a:lnTo>
                  <a:lnTo>
                    <a:pt x="106426" y="24002"/>
                  </a:lnTo>
                  <a:lnTo>
                    <a:pt x="107570" y="26162"/>
                  </a:lnTo>
                  <a:lnTo>
                    <a:pt x="108586" y="27177"/>
                  </a:lnTo>
                  <a:lnTo>
                    <a:pt x="109728" y="29337"/>
                  </a:lnTo>
                  <a:lnTo>
                    <a:pt x="108586" y="30479"/>
                  </a:lnTo>
                  <a:lnTo>
                    <a:pt x="107570" y="32639"/>
                  </a:lnTo>
                  <a:lnTo>
                    <a:pt x="7621" y="120777"/>
                  </a:lnTo>
                  <a:lnTo>
                    <a:pt x="6604" y="121920"/>
                  </a:lnTo>
                  <a:lnTo>
                    <a:pt x="4446" y="121920"/>
                  </a:lnTo>
                  <a:close/>
                  <a:moveTo>
                    <a:pt x="-2508504" y="4840223"/>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75" name="Freeform 946">
              <a:extLst>
                <a:ext uri="{FF2B5EF4-FFF2-40B4-BE49-F238E27FC236}">
                  <a16:creationId xmlns:a16="http://schemas.microsoft.com/office/drawing/2014/main" id="{EE092599-F3C7-443F-B787-F87E775CBE2D}"/>
                </a:ext>
              </a:extLst>
            </p:cNvPr>
            <p:cNvSpPr/>
            <p:nvPr/>
          </p:nvSpPr>
          <p:spPr>
            <a:xfrm>
              <a:off x="7265825" y="1875332"/>
              <a:ext cx="85301" cy="146227"/>
            </a:xfrm>
            <a:custGeom>
              <a:avLst/>
              <a:gdLst/>
              <a:ahLst/>
              <a:cxnLst/>
              <a:rect l="0" t="0" r="0" b="0"/>
              <a:pathLst>
                <a:path w="85345" h="146303">
                  <a:moveTo>
                    <a:pt x="60452" y="146303"/>
                  </a:moveTo>
                  <a:lnTo>
                    <a:pt x="60452" y="146303"/>
                  </a:lnTo>
                  <a:lnTo>
                    <a:pt x="57277" y="145160"/>
                  </a:lnTo>
                  <a:lnTo>
                    <a:pt x="56135" y="143001"/>
                  </a:lnTo>
                  <a:lnTo>
                    <a:pt x="1144" y="7746"/>
                  </a:lnTo>
                  <a:lnTo>
                    <a:pt x="0" y="5588"/>
                  </a:lnTo>
                  <a:lnTo>
                    <a:pt x="1144" y="3301"/>
                  </a:lnTo>
                  <a:lnTo>
                    <a:pt x="1144" y="2158"/>
                  </a:lnTo>
                  <a:lnTo>
                    <a:pt x="3302" y="1143"/>
                  </a:lnTo>
                  <a:lnTo>
                    <a:pt x="4319" y="0"/>
                  </a:lnTo>
                  <a:lnTo>
                    <a:pt x="6477" y="0"/>
                  </a:lnTo>
                  <a:lnTo>
                    <a:pt x="8637" y="1143"/>
                  </a:lnTo>
                  <a:lnTo>
                    <a:pt x="9779" y="2158"/>
                  </a:lnTo>
                  <a:lnTo>
                    <a:pt x="84201" y="128524"/>
                  </a:lnTo>
                  <a:lnTo>
                    <a:pt x="85345" y="129666"/>
                  </a:lnTo>
                  <a:lnTo>
                    <a:pt x="85345" y="131952"/>
                  </a:lnTo>
                  <a:lnTo>
                    <a:pt x="84201" y="134112"/>
                  </a:lnTo>
                  <a:lnTo>
                    <a:pt x="83186" y="135254"/>
                  </a:lnTo>
                  <a:lnTo>
                    <a:pt x="81026" y="136270"/>
                  </a:lnTo>
                  <a:lnTo>
                    <a:pt x="78867" y="135254"/>
                  </a:lnTo>
                  <a:lnTo>
                    <a:pt x="77725" y="135254"/>
                  </a:lnTo>
                  <a:lnTo>
                    <a:pt x="76709" y="132969"/>
                  </a:lnTo>
                  <a:lnTo>
                    <a:pt x="33528" y="60959"/>
                  </a:lnTo>
                  <a:lnTo>
                    <a:pt x="64771" y="139700"/>
                  </a:lnTo>
                  <a:lnTo>
                    <a:pt x="64771" y="141858"/>
                  </a:lnTo>
                  <a:lnTo>
                    <a:pt x="64771" y="143001"/>
                  </a:lnTo>
                  <a:lnTo>
                    <a:pt x="63754" y="145160"/>
                  </a:lnTo>
                  <a:lnTo>
                    <a:pt x="61596" y="146303"/>
                  </a:lnTo>
                  <a:lnTo>
                    <a:pt x="60452" y="146303"/>
                  </a:lnTo>
                  <a:close/>
                  <a:moveTo>
                    <a:pt x="-2429255" y="4983479"/>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76" name="Freeform 947">
              <a:extLst>
                <a:ext uri="{FF2B5EF4-FFF2-40B4-BE49-F238E27FC236}">
                  <a16:creationId xmlns:a16="http://schemas.microsoft.com/office/drawing/2014/main" id="{F3135D2A-2111-42CD-A1A8-4E6EA58E0A46}"/>
                </a:ext>
              </a:extLst>
            </p:cNvPr>
            <p:cNvSpPr/>
            <p:nvPr/>
          </p:nvSpPr>
          <p:spPr>
            <a:xfrm>
              <a:off x="7320660" y="2000233"/>
              <a:ext cx="45697" cy="45696"/>
            </a:xfrm>
            <a:custGeom>
              <a:avLst/>
              <a:gdLst/>
              <a:ahLst/>
              <a:cxnLst/>
              <a:rect l="0" t="0" r="0" b="0"/>
              <a:pathLst>
                <a:path w="45721" h="45720">
                  <a:moveTo>
                    <a:pt x="22861" y="45720"/>
                  </a:moveTo>
                  <a:lnTo>
                    <a:pt x="22861" y="45720"/>
                  </a:lnTo>
                  <a:lnTo>
                    <a:pt x="18543" y="45720"/>
                  </a:lnTo>
                  <a:lnTo>
                    <a:pt x="14098" y="44577"/>
                  </a:lnTo>
                  <a:lnTo>
                    <a:pt x="9780" y="42417"/>
                  </a:lnTo>
                  <a:lnTo>
                    <a:pt x="6477" y="39242"/>
                  </a:lnTo>
                  <a:lnTo>
                    <a:pt x="4319" y="35940"/>
                  </a:lnTo>
                  <a:lnTo>
                    <a:pt x="2160" y="32639"/>
                  </a:lnTo>
                  <a:lnTo>
                    <a:pt x="0" y="28321"/>
                  </a:lnTo>
                  <a:lnTo>
                    <a:pt x="0" y="22859"/>
                  </a:lnTo>
                  <a:lnTo>
                    <a:pt x="0" y="18541"/>
                  </a:lnTo>
                  <a:lnTo>
                    <a:pt x="2160" y="14096"/>
                  </a:lnTo>
                  <a:lnTo>
                    <a:pt x="4319" y="10921"/>
                  </a:lnTo>
                  <a:lnTo>
                    <a:pt x="6477" y="7620"/>
                  </a:lnTo>
                  <a:lnTo>
                    <a:pt x="9780" y="4317"/>
                  </a:lnTo>
                  <a:lnTo>
                    <a:pt x="14098" y="2158"/>
                  </a:lnTo>
                  <a:lnTo>
                    <a:pt x="18543" y="1142"/>
                  </a:lnTo>
                  <a:lnTo>
                    <a:pt x="22861" y="0"/>
                  </a:lnTo>
                  <a:lnTo>
                    <a:pt x="27178" y="1142"/>
                  </a:lnTo>
                  <a:lnTo>
                    <a:pt x="31623" y="2158"/>
                  </a:lnTo>
                  <a:lnTo>
                    <a:pt x="35941" y="4317"/>
                  </a:lnTo>
                  <a:lnTo>
                    <a:pt x="39244" y="7620"/>
                  </a:lnTo>
                  <a:lnTo>
                    <a:pt x="41402" y="10921"/>
                  </a:lnTo>
                  <a:lnTo>
                    <a:pt x="43561" y="14096"/>
                  </a:lnTo>
                  <a:lnTo>
                    <a:pt x="45721" y="18541"/>
                  </a:lnTo>
                  <a:lnTo>
                    <a:pt x="45721" y="22859"/>
                  </a:lnTo>
                  <a:lnTo>
                    <a:pt x="45721" y="28321"/>
                  </a:lnTo>
                  <a:lnTo>
                    <a:pt x="43561" y="32639"/>
                  </a:lnTo>
                  <a:lnTo>
                    <a:pt x="41402" y="35940"/>
                  </a:lnTo>
                  <a:lnTo>
                    <a:pt x="39244" y="39242"/>
                  </a:lnTo>
                  <a:lnTo>
                    <a:pt x="35941" y="42417"/>
                  </a:lnTo>
                  <a:lnTo>
                    <a:pt x="31623" y="44577"/>
                  </a:lnTo>
                  <a:lnTo>
                    <a:pt x="27178" y="45720"/>
                  </a:lnTo>
                  <a:lnTo>
                    <a:pt x="22861" y="45720"/>
                  </a:lnTo>
                  <a:close/>
                  <a:moveTo>
                    <a:pt x="-2508504" y="4858511"/>
                  </a:moveTo>
                  <a:moveTo>
                    <a:pt x="22861" y="9778"/>
                  </a:moveTo>
                  <a:lnTo>
                    <a:pt x="22861" y="9778"/>
                  </a:lnTo>
                  <a:lnTo>
                    <a:pt x="17399" y="10921"/>
                  </a:lnTo>
                  <a:lnTo>
                    <a:pt x="13082" y="14096"/>
                  </a:lnTo>
                  <a:lnTo>
                    <a:pt x="10923" y="18541"/>
                  </a:lnTo>
                  <a:lnTo>
                    <a:pt x="9780" y="22859"/>
                  </a:lnTo>
                  <a:lnTo>
                    <a:pt x="10923" y="28321"/>
                  </a:lnTo>
                  <a:lnTo>
                    <a:pt x="13082" y="32639"/>
                  </a:lnTo>
                  <a:lnTo>
                    <a:pt x="17399" y="34797"/>
                  </a:lnTo>
                  <a:lnTo>
                    <a:pt x="22861" y="35940"/>
                  </a:lnTo>
                  <a:lnTo>
                    <a:pt x="28322" y="34797"/>
                  </a:lnTo>
                  <a:lnTo>
                    <a:pt x="31623" y="32639"/>
                  </a:lnTo>
                  <a:lnTo>
                    <a:pt x="34798" y="28321"/>
                  </a:lnTo>
                  <a:lnTo>
                    <a:pt x="35941" y="22859"/>
                  </a:lnTo>
                  <a:lnTo>
                    <a:pt x="34798" y="18541"/>
                  </a:lnTo>
                  <a:lnTo>
                    <a:pt x="31623" y="14096"/>
                  </a:lnTo>
                  <a:lnTo>
                    <a:pt x="28322" y="10921"/>
                  </a:lnTo>
                  <a:lnTo>
                    <a:pt x="22861" y="9778"/>
                  </a:lnTo>
                  <a:close/>
                  <a:moveTo>
                    <a:pt x="-2472562" y="4858511"/>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77" name="Freeform 948">
              <a:extLst>
                <a:ext uri="{FF2B5EF4-FFF2-40B4-BE49-F238E27FC236}">
                  <a16:creationId xmlns:a16="http://schemas.microsoft.com/office/drawing/2014/main" id="{3B2EFCA3-9AB9-4CBA-81E2-FA657FAA65BE}"/>
                </a:ext>
              </a:extLst>
            </p:cNvPr>
            <p:cNvSpPr/>
            <p:nvPr/>
          </p:nvSpPr>
          <p:spPr>
            <a:xfrm>
              <a:off x="8018289" y="1841819"/>
              <a:ext cx="1434861" cy="868228"/>
            </a:xfrm>
            <a:custGeom>
              <a:avLst/>
              <a:gdLst/>
              <a:ahLst/>
              <a:cxnLst/>
              <a:rect l="0" t="0" r="0" b="0"/>
              <a:pathLst>
                <a:path w="1435608" h="868680">
                  <a:moveTo>
                    <a:pt x="0" y="868680"/>
                  </a:moveTo>
                  <a:lnTo>
                    <a:pt x="1435608" y="868680"/>
                  </a:lnTo>
                  <a:lnTo>
                    <a:pt x="1435608" y="0"/>
                  </a:lnTo>
                  <a:lnTo>
                    <a:pt x="0" y="0"/>
                  </a:lnTo>
                  <a:lnTo>
                    <a:pt x="0" y="868680"/>
                  </a:lnTo>
                  <a:close/>
                </a:path>
              </a:pathLst>
            </a:custGeom>
            <a:solidFill>
              <a:srgbClr val="2DB757">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pic>
          <p:nvPicPr>
            <p:cNvPr id="578" name="Picture 949">
              <a:extLst>
                <a:ext uri="{FF2B5EF4-FFF2-40B4-BE49-F238E27FC236}">
                  <a16:creationId xmlns:a16="http://schemas.microsoft.com/office/drawing/2014/main" id="{7E4CD969-E78C-47D5-84D4-B5FE8C440A21}"/>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8549633" y="1964818"/>
              <a:ext cx="507228" cy="374582"/>
            </a:xfrm>
            <a:prstGeom prst="rect">
              <a:avLst/>
            </a:prstGeom>
            <a:noFill/>
          </p:spPr>
        </p:pic>
        <p:sp>
          <p:nvSpPr>
            <p:cNvPr id="579" name="Freeform 952">
              <a:extLst>
                <a:ext uri="{FF2B5EF4-FFF2-40B4-BE49-F238E27FC236}">
                  <a16:creationId xmlns:a16="http://schemas.microsoft.com/office/drawing/2014/main" id="{22C0809B-C73E-49A4-9A7D-40FF79FF30EE}"/>
                </a:ext>
              </a:extLst>
            </p:cNvPr>
            <p:cNvSpPr/>
            <p:nvPr/>
          </p:nvSpPr>
          <p:spPr>
            <a:xfrm>
              <a:off x="6504221" y="3499067"/>
              <a:ext cx="682397" cy="603190"/>
            </a:xfrm>
            <a:custGeom>
              <a:avLst/>
              <a:gdLst/>
              <a:ahLst/>
              <a:cxnLst/>
              <a:rect l="0" t="0" r="0" b="0"/>
              <a:pathLst>
                <a:path w="682752" h="603504">
                  <a:moveTo>
                    <a:pt x="0" y="603504"/>
                  </a:moveTo>
                  <a:lnTo>
                    <a:pt x="682752" y="603504"/>
                  </a:lnTo>
                  <a:lnTo>
                    <a:pt x="682752" y="0"/>
                  </a:lnTo>
                  <a:lnTo>
                    <a:pt x="0" y="0"/>
                  </a:lnTo>
                  <a:lnTo>
                    <a:pt x="0" y="603504"/>
                  </a:lnTo>
                  <a:close/>
                </a:path>
              </a:pathLst>
            </a:custGeom>
            <a:solidFill>
              <a:srgbClr val="2DB757">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80" name="Freeform 953">
              <a:extLst>
                <a:ext uri="{FF2B5EF4-FFF2-40B4-BE49-F238E27FC236}">
                  <a16:creationId xmlns:a16="http://schemas.microsoft.com/office/drawing/2014/main" id="{34782197-D067-46E3-90C8-BA34CC90FD22}"/>
                </a:ext>
              </a:extLst>
            </p:cNvPr>
            <p:cNvSpPr/>
            <p:nvPr/>
          </p:nvSpPr>
          <p:spPr>
            <a:xfrm>
              <a:off x="6723564" y="3730595"/>
              <a:ext cx="243713" cy="6094"/>
            </a:xfrm>
            <a:custGeom>
              <a:avLst/>
              <a:gdLst/>
              <a:ahLst/>
              <a:cxnLst/>
              <a:rect l="0" t="0" r="0" b="0"/>
              <a:pathLst>
                <a:path w="243840" h="6097">
                  <a:moveTo>
                    <a:pt x="0" y="6097"/>
                  </a:moveTo>
                  <a:lnTo>
                    <a:pt x="243840" y="6097"/>
                  </a:lnTo>
                  <a:lnTo>
                    <a:pt x="243840" y="0"/>
                  </a:lnTo>
                  <a:lnTo>
                    <a:pt x="0" y="0"/>
                  </a:lnTo>
                  <a:lnTo>
                    <a:pt x="0" y="6097"/>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81" name="Freeform 954">
              <a:extLst>
                <a:ext uri="{FF2B5EF4-FFF2-40B4-BE49-F238E27FC236}">
                  <a16:creationId xmlns:a16="http://schemas.microsoft.com/office/drawing/2014/main" id="{51C9C140-3670-4116-9034-6D4BF3E05A2D}"/>
                </a:ext>
              </a:extLst>
            </p:cNvPr>
            <p:cNvSpPr/>
            <p:nvPr/>
          </p:nvSpPr>
          <p:spPr>
            <a:xfrm>
              <a:off x="6723563" y="3648343"/>
              <a:ext cx="42650" cy="6093"/>
            </a:xfrm>
            <a:custGeom>
              <a:avLst/>
              <a:gdLst/>
              <a:ahLst/>
              <a:cxnLst/>
              <a:rect l="0" t="0" r="0" b="0"/>
              <a:pathLst>
                <a:path w="42672" h="6096">
                  <a:moveTo>
                    <a:pt x="0" y="6096"/>
                  </a:moveTo>
                  <a:lnTo>
                    <a:pt x="42672" y="6096"/>
                  </a:lnTo>
                  <a:lnTo>
                    <a:pt x="42672" y="0"/>
                  </a:lnTo>
                  <a:lnTo>
                    <a:pt x="0" y="0"/>
                  </a:lnTo>
                  <a:lnTo>
                    <a:pt x="0" y="6096"/>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82" name="Freeform 955">
              <a:extLst>
                <a:ext uri="{FF2B5EF4-FFF2-40B4-BE49-F238E27FC236}">
                  <a16:creationId xmlns:a16="http://schemas.microsoft.com/office/drawing/2014/main" id="{C8659C5D-660F-47D3-85C0-F21A6AE83745}"/>
                </a:ext>
              </a:extLst>
            </p:cNvPr>
            <p:cNvSpPr/>
            <p:nvPr/>
          </p:nvSpPr>
          <p:spPr>
            <a:xfrm>
              <a:off x="6927674" y="3648343"/>
              <a:ext cx="39603" cy="6093"/>
            </a:xfrm>
            <a:custGeom>
              <a:avLst/>
              <a:gdLst/>
              <a:ahLst/>
              <a:cxnLst/>
              <a:rect l="0" t="0" r="0" b="0"/>
              <a:pathLst>
                <a:path w="39624" h="6096">
                  <a:moveTo>
                    <a:pt x="0" y="6096"/>
                  </a:moveTo>
                  <a:lnTo>
                    <a:pt x="39624" y="6096"/>
                  </a:lnTo>
                  <a:lnTo>
                    <a:pt x="39624" y="0"/>
                  </a:lnTo>
                  <a:lnTo>
                    <a:pt x="0" y="0"/>
                  </a:lnTo>
                  <a:lnTo>
                    <a:pt x="0" y="6096"/>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83" name="Freeform 956">
              <a:extLst>
                <a:ext uri="{FF2B5EF4-FFF2-40B4-BE49-F238E27FC236}">
                  <a16:creationId xmlns:a16="http://schemas.microsoft.com/office/drawing/2014/main" id="{8B404EF8-46FC-4E10-9A0C-CC65C9334070}"/>
                </a:ext>
              </a:extLst>
            </p:cNvPr>
            <p:cNvSpPr/>
            <p:nvPr/>
          </p:nvSpPr>
          <p:spPr>
            <a:xfrm>
              <a:off x="6863697" y="3648343"/>
              <a:ext cx="30464" cy="6093"/>
            </a:xfrm>
            <a:custGeom>
              <a:avLst/>
              <a:gdLst/>
              <a:ahLst/>
              <a:cxnLst/>
              <a:rect l="0" t="0" r="0" b="0"/>
              <a:pathLst>
                <a:path w="30480" h="6096">
                  <a:moveTo>
                    <a:pt x="0" y="6096"/>
                  </a:moveTo>
                  <a:lnTo>
                    <a:pt x="30480" y="6096"/>
                  </a:lnTo>
                  <a:lnTo>
                    <a:pt x="30480" y="0"/>
                  </a:lnTo>
                  <a:lnTo>
                    <a:pt x="0" y="0"/>
                  </a:lnTo>
                  <a:lnTo>
                    <a:pt x="0" y="6096"/>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84" name="Freeform 957">
              <a:extLst>
                <a:ext uri="{FF2B5EF4-FFF2-40B4-BE49-F238E27FC236}">
                  <a16:creationId xmlns:a16="http://schemas.microsoft.com/office/drawing/2014/main" id="{13B49F94-B046-4AC5-AA68-94F3A0B3E9EB}"/>
                </a:ext>
              </a:extLst>
            </p:cNvPr>
            <p:cNvSpPr/>
            <p:nvPr/>
          </p:nvSpPr>
          <p:spPr>
            <a:xfrm>
              <a:off x="6799723" y="3648343"/>
              <a:ext cx="30464" cy="6093"/>
            </a:xfrm>
            <a:custGeom>
              <a:avLst/>
              <a:gdLst/>
              <a:ahLst/>
              <a:cxnLst/>
              <a:rect l="0" t="0" r="0" b="0"/>
              <a:pathLst>
                <a:path w="30480" h="6096">
                  <a:moveTo>
                    <a:pt x="0" y="6096"/>
                  </a:moveTo>
                  <a:lnTo>
                    <a:pt x="30480" y="6096"/>
                  </a:lnTo>
                  <a:lnTo>
                    <a:pt x="30480" y="0"/>
                  </a:lnTo>
                  <a:lnTo>
                    <a:pt x="0" y="0"/>
                  </a:lnTo>
                  <a:lnTo>
                    <a:pt x="0" y="6096"/>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85" name="Freeform 958">
              <a:extLst>
                <a:ext uri="{FF2B5EF4-FFF2-40B4-BE49-F238E27FC236}">
                  <a16:creationId xmlns:a16="http://schemas.microsoft.com/office/drawing/2014/main" id="{927FF125-1C86-46B9-AA49-2971AB103CC7}"/>
                </a:ext>
              </a:extLst>
            </p:cNvPr>
            <p:cNvSpPr/>
            <p:nvPr/>
          </p:nvSpPr>
          <p:spPr>
            <a:xfrm>
              <a:off x="6723564" y="3761060"/>
              <a:ext cx="243713" cy="6093"/>
            </a:xfrm>
            <a:custGeom>
              <a:avLst/>
              <a:gdLst/>
              <a:ahLst/>
              <a:cxnLst/>
              <a:rect l="0" t="0" r="0" b="0"/>
              <a:pathLst>
                <a:path w="243840" h="6096">
                  <a:moveTo>
                    <a:pt x="0" y="6096"/>
                  </a:moveTo>
                  <a:lnTo>
                    <a:pt x="243840" y="6096"/>
                  </a:lnTo>
                  <a:lnTo>
                    <a:pt x="243840" y="0"/>
                  </a:lnTo>
                  <a:lnTo>
                    <a:pt x="0" y="0"/>
                  </a:lnTo>
                  <a:lnTo>
                    <a:pt x="0" y="6096"/>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86" name="Freeform 959">
              <a:extLst>
                <a:ext uri="{FF2B5EF4-FFF2-40B4-BE49-F238E27FC236}">
                  <a16:creationId xmlns:a16="http://schemas.microsoft.com/office/drawing/2014/main" id="{A8DF28D2-E802-4133-926F-35A2A162D4DA}"/>
                </a:ext>
              </a:extLst>
            </p:cNvPr>
            <p:cNvSpPr/>
            <p:nvPr/>
          </p:nvSpPr>
          <p:spPr>
            <a:xfrm>
              <a:off x="6732702" y="3630064"/>
              <a:ext cx="225435" cy="137089"/>
            </a:xfrm>
            <a:custGeom>
              <a:avLst/>
              <a:gdLst/>
              <a:ahLst/>
              <a:cxnLst/>
              <a:rect l="0" t="0" r="0" b="0"/>
              <a:pathLst>
                <a:path w="225552" h="137160">
                  <a:moveTo>
                    <a:pt x="225552" y="137160"/>
                  </a:moveTo>
                  <a:lnTo>
                    <a:pt x="0" y="137160"/>
                  </a:lnTo>
                  <a:lnTo>
                    <a:pt x="0" y="0"/>
                  </a:lnTo>
                  <a:lnTo>
                    <a:pt x="31370" y="0"/>
                  </a:lnTo>
                  <a:lnTo>
                    <a:pt x="31370" y="67184"/>
                  </a:lnTo>
                  <a:lnTo>
                    <a:pt x="31370" y="70612"/>
                  </a:lnTo>
                  <a:lnTo>
                    <a:pt x="32132" y="73406"/>
                  </a:lnTo>
                  <a:lnTo>
                    <a:pt x="34163" y="76200"/>
                  </a:lnTo>
                  <a:lnTo>
                    <a:pt x="36323" y="78994"/>
                  </a:lnTo>
                  <a:lnTo>
                    <a:pt x="38354" y="81027"/>
                  </a:lnTo>
                  <a:lnTo>
                    <a:pt x="41911" y="82424"/>
                  </a:lnTo>
                  <a:lnTo>
                    <a:pt x="44704" y="83821"/>
                  </a:lnTo>
                  <a:lnTo>
                    <a:pt x="48134" y="83821"/>
                  </a:lnTo>
                  <a:lnTo>
                    <a:pt x="51689" y="83821"/>
                  </a:lnTo>
                  <a:lnTo>
                    <a:pt x="55119" y="82424"/>
                  </a:lnTo>
                  <a:lnTo>
                    <a:pt x="57912" y="81027"/>
                  </a:lnTo>
                  <a:lnTo>
                    <a:pt x="60072" y="78994"/>
                  </a:lnTo>
                  <a:lnTo>
                    <a:pt x="62103" y="76200"/>
                  </a:lnTo>
                  <a:lnTo>
                    <a:pt x="64262" y="73406"/>
                  </a:lnTo>
                  <a:lnTo>
                    <a:pt x="64898" y="70612"/>
                  </a:lnTo>
                  <a:lnTo>
                    <a:pt x="65660" y="67184"/>
                  </a:lnTo>
                  <a:lnTo>
                    <a:pt x="65660" y="0"/>
                  </a:lnTo>
                  <a:lnTo>
                    <a:pt x="95632" y="0"/>
                  </a:lnTo>
                  <a:lnTo>
                    <a:pt x="95632" y="67184"/>
                  </a:lnTo>
                  <a:lnTo>
                    <a:pt x="95632" y="70612"/>
                  </a:lnTo>
                  <a:lnTo>
                    <a:pt x="97028" y="73406"/>
                  </a:lnTo>
                  <a:lnTo>
                    <a:pt x="98425" y="76200"/>
                  </a:lnTo>
                  <a:lnTo>
                    <a:pt x="100585" y="78994"/>
                  </a:lnTo>
                  <a:lnTo>
                    <a:pt x="103378" y="81027"/>
                  </a:lnTo>
                  <a:lnTo>
                    <a:pt x="106173" y="82424"/>
                  </a:lnTo>
                  <a:lnTo>
                    <a:pt x="108966" y="83821"/>
                  </a:lnTo>
                  <a:lnTo>
                    <a:pt x="112396" y="83821"/>
                  </a:lnTo>
                  <a:lnTo>
                    <a:pt x="115951" y="83821"/>
                  </a:lnTo>
                  <a:lnTo>
                    <a:pt x="119380" y="82424"/>
                  </a:lnTo>
                  <a:lnTo>
                    <a:pt x="122175" y="81027"/>
                  </a:lnTo>
                  <a:lnTo>
                    <a:pt x="124969" y="78994"/>
                  </a:lnTo>
                  <a:lnTo>
                    <a:pt x="127127" y="76200"/>
                  </a:lnTo>
                  <a:lnTo>
                    <a:pt x="128525" y="73406"/>
                  </a:lnTo>
                  <a:lnTo>
                    <a:pt x="129160" y="70612"/>
                  </a:lnTo>
                  <a:lnTo>
                    <a:pt x="129922" y="67184"/>
                  </a:lnTo>
                  <a:lnTo>
                    <a:pt x="129922" y="0"/>
                  </a:lnTo>
                  <a:lnTo>
                    <a:pt x="159894" y="0"/>
                  </a:lnTo>
                  <a:lnTo>
                    <a:pt x="159894" y="67184"/>
                  </a:lnTo>
                  <a:lnTo>
                    <a:pt x="159894" y="70612"/>
                  </a:lnTo>
                  <a:lnTo>
                    <a:pt x="161290" y="73406"/>
                  </a:lnTo>
                  <a:lnTo>
                    <a:pt x="162687" y="76200"/>
                  </a:lnTo>
                  <a:lnTo>
                    <a:pt x="164847" y="78994"/>
                  </a:lnTo>
                  <a:lnTo>
                    <a:pt x="167640" y="81027"/>
                  </a:lnTo>
                  <a:lnTo>
                    <a:pt x="170435" y="82424"/>
                  </a:lnTo>
                  <a:lnTo>
                    <a:pt x="173228" y="83821"/>
                  </a:lnTo>
                  <a:lnTo>
                    <a:pt x="176658" y="83821"/>
                  </a:lnTo>
                  <a:lnTo>
                    <a:pt x="180213" y="83821"/>
                  </a:lnTo>
                  <a:lnTo>
                    <a:pt x="183642" y="82424"/>
                  </a:lnTo>
                  <a:lnTo>
                    <a:pt x="186437" y="81027"/>
                  </a:lnTo>
                  <a:lnTo>
                    <a:pt x="189230" y="78994"/>
                  </a:lnTo>
                  <a:lnTo>
                    <a:pt x="191389" y="76200"/>
                  </a:lnTo>
                  <a:lnTo>
                    <a:pt x="192787" y="73406"/>
                  </a:lnTo>
                  <a:lnTo>
                    <a:pt x="193422" y="70612"/>
                  </a:lnTo>
                  <a:lnTo>
                    <a:pt x="194184" y="67184"/>
                  </a:lnTo>
                  <a:lnTo>
                    <a:pt x="194184" y="0"/>
                  </a:lnTo>
                  <a:lnTo>
                    <a:pt x="225552" y="0"/>
                  </a:lnTo>
                  <a:lnTo>
                    <a:pt x="225552" y="137160"/>
                  </a:lnTo>
                  <a:close/>
                  <a:moveTo>
                    <a:pt x="-3642359" y="3227832"/>
                  </a:moveTo>
                  <a:moveTo>
                    <a:pt x="6224" y="130937"/>
                  </a:moveTo>
                  <a:lnTo>
                    <a:pt x="219329" y="130937"/>
                  </a:lnTo>
                  <a:lnTo>
                    <a:pt x="219329" y="6224"/>
                  </a:lnTo>
                  <a:lnTo>
                    <a:pt x="200407" y="6224"/>
                  </a:lnTo>
                  <a:lnTo>
                    <a:pt x="200407" y="67184"/>
                  </a:lnTo>
                  <a:lnTo>
                    <a:pt x="199772" y="71375"/>
                  </a:lnTo>
                  <a:lnTo>
                    <a:pt x="198375" y="76200"/>
                  </a:lnTo>
                  <a:lnTo>
                    <a:pt x="196215" y="79630"/>
                  </a:lnTo>
                  <a:lnTo>
                    <a:pt x="193422" y="83185"/>
                  </a:lnTo>
                  <a:lnTo>
                    <a:pt x="189992" y="86615"/>
                  </a:lnTo>
                  <a:lnTo>
                    <a:pt x="185801" y="88647"/>
                  </a:lnTo>
                  <a:lnTo>
                    <a:pt x="181611" y="90043"/>
                  </a:lnTo>
                  <a:lnTo>
                    <a:pt x="176658" y="90043"/>
                  </a:lnTo>
                  <a:lnTo>
                    <a:pt x="172466" y="90043"/>
                  </a:lnTo>
                  <a:lnTo>
                    <a:pt x="167640" y="88647"/>
                  </a:lnTo>
                  <a:lnTo>
                    <a:pt x="164085" y="86615"/>
                  </a:lnTo>
                  <a:lnTo>
                    <a:pt x="160655" y="83185"/>
                  </a:lnTo>
                  <a:lnTo>
                    <a:pt x="157862" y="79630"/>
                  </a:lnTo>
                  <a:lnTo>
                    <a:pt x="155067" y="76200"/>
                  </a:lnTo>
                  <a:lnTo>
                    <a:pt x="154305" y="71375"/>
                  </a:lnTo>
                  <a:lnTo>
                    <a:pt x="153671" y="67184"/>
                  </a:lnTo>
                  <a:lnTo>
                    <a:pt x="153671" y="6224"/>
                  </a:lnTo>
                  <a:lnTo>
                    <a:pt x="136145" y="6224"/>
                  </a:lnTo>
                  <a:lnTo>
                    <a:pt x="136145" y="67184"/>
                  </a:lnTo>
                  <a:lnTo>
                    <a:pt x="135510" y="71375"/>
                  </a:lnTo>
                  <a:lnTo>
                    <a:pt x="134112" y="76200"/>
                  </a:lnTo>
                  <a:lnTo>
                    <a:pt x="131953" y="79630"/>
                  </a:lnTo>
                  <a:lnTo>
                    <a:pt x="129160" y="83185"/>
                  </a:lnTo>
                  <a:lnTo>
                    <a:pt x="125730" y="86615"/>
                  </a:lnTo>
                  <a:lnTo>
                    <a:pt x="121539" y="88647"/>
                  </a:lnTo>
                  <a:lnTo>
                    <a:pt x="117349" y="90043"/>
                  </a:lnTo>
                  <a:lnTo>
                    <a:pt x="112396" y="90043"/>
                  </a:lnTo>
                  <a:lnTo>
                    <a:pt x="107570" y="90043"/>
                  </a:lnTo>
                  <a:lnTo>
                    <a:pt x="103378" y="88647"/>
                  </a:lnTo>
                  <a:lnTo>
                    <a:pt x="99187" y="86615"/>
                  </a:lnTo>
                  <a:lnTo>
                    <a:pt x="96394" y="83185"/>
                  </a:lnTo>
                  <a:lnTo>
                    <a:pt x="92837" y="79630"/>
                  </a:lnTo>
                  <a:lnTo>
                    <a:pt x="90805" y="76200"/>
                  </a:lnTo>
                  <a:lnTo>
                    <a:pt x="89409" y="71375"/>
                  </a:lnTo>
                  <a:lnTo>
                    <a:pt x="89409" y="67184"/>
                  </a:lnTo>
                  <a:lnTo>
                    <a:pt x="89409" y="6224"/>
                  </a:lnTo>
                  <a:lnTo>
                    <a:pt x="71883" y="6224"/>
                  </a:lnTo>
                  <a:lnTo>
                    <a:pt x="71883" y="67184"/>
                  </a:lnTo>
                  <a:lnTo>
                    <a:pt x="71248" y="71375"/>
                  </a:lnTo>
                  <a:lnTo>
                    <a:pt x="69850" y="76200"/>
                  </a:lnTo>
                  <a:lnTo>
                    <a:pt x="67691" y="79630"/>
                  </a:lnTo>
                  <a:lnTo>
                    <a:pt x="64898" y="83185"/>
                  </a:lnTo>
                  <a:lnTo>
                    <a:pt x="61469" y="86615"/>
                  </a:lnTo>
                  <a:lnTo>
                    <a:pt x="57277" y="88647"/>
                  </a:lnTo>
                  <a:lnTo>
                    <a:pt x="53087" y="90043"/>
                  </a:lnTo>
                  <a:lnTo>
                    <a:pt x="48134" y="90043"/>
                  </a:lnTo>
                  <a:lnTo>
                    <a:pt x="43308" y="90043"/>
                  </a:lnTo>
                  <a:lnTo>
                    <a:pt x="39116" y="88647"/>
                  </a:lnTo>
                  <a:lnTo>
                    <a:pt x="34925" y="86615"/>
                  </a:lnTo>
                  <a:lnTo>
                    <a:pt x="31370" y="83185"/>
                  </a:lnTo>
                  <a:lnTo>
                    <a:pt x="28575" y="79630"/>
                  </a:lnTo>
                  <a:lnTo>
                    <a:pt x="26544" y="76200"/>
                  </a:lnTo>
                  <a:lnTo>
                    <a:pt x="25147" y="71375"/>
                  </a:lnTo>
                  <a:lnTo>
                    <a:pt x="25147" y="67184"/>
                  </a:lnTo>
                  <a:lnTo>
                    <a:pt x="25147" y="6224"/>
                  </a:lnTo>
                  <a:lnTo>
                    <a:pt x="6224" y="6224"/>
                  </a:lnTo>
                  <a:lnTo>
                    <a:pt x="6224" y="130937"/>
                  </a:lnTo>
                  <a:close/>
                  <a:moveTo>
                    <a:pt x="-3636136" y="3227832"/>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87" name="Freeform 960">
              <a:extLst>
                <a:ext uri="{FF2B5EF4-FFF2-40B4-BE49-F238E27FC236}">
                  <a16:creationId xmlns:a16="http://schemas.microsoft.com/office/drawing/2014/main" id="{0915CBEA-389B-4CFF-A528-06715AD1BB34}"/>
                </a:ext>
              </a:extLst>
            </p:cNvPr>
            <p:cNvSpPr/>
            <p:nvPr/>
          </p:nvSpPr>
          <p:spPr>
            <a:xfrm>
              <a:off x="6760121" y="3575229"/>
              <a:ext cx="45695" cy="60929"/>
            </a:xfrm>
            <a:custGeom>
              <a:avLst/>
              <a:gdLst/>
              <a:ahLst/>
              <a:cxnLst/>
              <a:rect l="0" t="0" r="0" b="0"/>
              <a:pathLst>
                <a:path w="45719" h="60961">
                  <a:moveTo>
                    <a:pt x="45719" y="60961"/>
                  </a:moveTo>
                  <a:lnTo>
                    <a:pt x="39624" y="60961"/>
                  </a:lnTo>
                  <a:lnTo>
                    <a:pt x="39624" y="6477"/>
                  </a:lnTo>
                  <a:lnTo>
                    <a:pt x="6095" y="6477"/>
                  </a:lnTo>
                  <a:lnTo>
                    <a:pt x="6095" y="60961"/>
                  </a:lnTo>
                  <a:lnTo>
                    <a:pt x="0" y="60961"/>
                  </a:lnTo>
                  <a:lnTo>
                    <a:pt x="0" y="0"/>
                  </a:lnTo>
                  <a:lnTo>
                    <a:pt x="45719" y="0"/>
                  </a:lnTo>
                  <a:lnTo>
                    <a:pt x="45719" y="60961"/>
                  </a:lnTo>
                  <a:close/>
                  <a:moveTo>
                    <a:pt x="-3538729" y="3282696"/>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88" name="Freeform 961">
              <a:extLst>
                <a:ext uri="{FF2B5EF4-FFF2-40B4-BE49-F238E27FC236}">
                  <a16:creationId xmlns:a16="http://schemas.microsoft.com/office/drawing/2014/main" id="{50868B69-CE41-49D2-9E96-C4F870B7DFEF}"/>
                </a:ext>
              </a:extLst>
            </p:cNvPr>
            <p:cNvSpPr/>
            <p:nvPr/>
          </p:nvSpPr>
          <p:spPr>
            <a:xfrm>
              <a:off x="6824095" y="3575229"/>
              <a:ext cx="45697" cy="60929"/>
            </a:xfrm>
            <a:custGeom>
              <a:avLst/>
              <a:gdLst/>
              <a:ahLst/>
              <a:cxnLst/>
              <a:rect l="0" t="0" r="0" b="0"/>
              <a:pathLst>
                <a:path w="45721" h="60961">
                  <a:moveTo>
                    <a:pt x="45721" y="60961"/>
                  </a:moveTo>
                  <a:lnTo>
                    <a:pt x="39624" y="60961"/>
                  </a:lnTo>
                  <a:lnTo>
                    <a:pt x="39624" y="6477"/>
                  </a:lnTo>
                  <a:lnTo>
                    <a:pt x="6097" y="6477"/>
                  </a:lnTo>
                  <a:lnTo>
                    <a:pt x="6097" y="60961"/>
                  </a:lnTo>
                  <a:lnTo>
                    <a:pt x="0" y="60961"/>
                  </a:lnTo>
                  <a:lnTo>
                    <a:pt x="0" y="0"/>
                  </a:lnTo>
                  <a:lnTo>
                    <a:pt x="45721" y="0"/>
                  </a:lnTo>
                  <a:lnTo>
                    <a:pt x="45721" y="60961"/>
                  </a:lnTo>
                  <a:close/>
                  <a:moveTo>
                    <a:pt x="-3602736" y="3282696"/>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89" name="Freeform 962">
              <a:extLst>
                <a:ext uri="{FF2B5EF4-FFF2-40B4-BE49-F238E27FC236}">
                  <a16:creationId xmlns:a16="http://schemas.microsoft.com/office/drawing/2014/main" id="{FDA49CD4-21D6-4962-8A3A-5D42126E6630}"/>
                </a:ext>
              </a:extLst>
            </p:cNvPr>
            <p:cNvSpPr/>
            <p:nvPr/>
          </p:nvSpPr>
          <p:spPr>
            <a:xfrm>
              <a:off x="6885022" y="3575229"/>
              <a:ext cx="48744" cy="60929"/>
            </a:xfrm>
            <a:custGeom>
              <a:avLst/>
              <a:gdLst/>
              <a:ahLst/>
              <a:cxnLst/>
              <a:rect l="0" t="0" r="0" b="0"/>
              <a:pathLst>
                <a:path w="48769" h="60961">
                  <a:moveTo>
                    <a:pt x="48769" y="60961"/>
                  </a:moveTo>
                  <a:lnTo>
                    <a:pt x="42164" y="60961"/>
                  </a:lnTo>
                  <a:lnTo>
                    <a:pt x="42164" y="6477"/>
                  </a:lnTo>
                  <a:lnTo>
                    <a:pt x="6604" y="6477"/>
                  </a:lnTo>
                  <a:lnTo>
                    <a:pt x="6604" y="60961"/>
                  </a:lnTo>
                  <a:lnTo>
                    <a:pt x="0" y="60961"/>
                  </a:lnTo>
                  <a:lnTo>
                    <a:pt x="0" y="0"/>
                  </a:lnTo>
                  <a:lnTo>
                    <a:pt x="48769" y="0"/>
                  </a:lnTo>
                  <a:lnTo>
                    <a:pt x="48769" y="60961"/>
                  </a:lnTo>
                  <a:close/>
                  <a:moveTo>
                    <a:pt x="-3663696" y="3282696"/>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90" name="Freeform 963">
              <a:extLst>
                <a:ext uri="{FF2B5EF4-FFF2-40B4-BE49-F238E27FC236}">
                  <a16:creationId xmlns:a16="http://schemas.microsoft.com/office/drawing/2014/main" id="{CCEE5C4E-AE69-4F7C-BD47-D31371264AE8}"/>
                </a:ext>
              </a:extLst>
            </p:cNvPr>
            <p:cNvSpPr/>
            <p:nvPr/>
          </p:nvSpPr>
          <p:spPr>
            <a:xfrm>
              <a:off x="6833235" y="3523440"/>
              <a:ext cx="27417" cy="27418"/>
            </a:xfrm>
            <a:custGeom>
              <a:avLst/>
              <a:gdLst/>
              <a:ahLst/>
              <a:cxnLst/>
              <a:rect l="0" t="0" r="0" b="0"/>
              <a:pathLst>
                <a:path w="27431" h="27432">
                  <a:moveTo>
                    <a:pt x="13715" y="27432"/>
                  </a:moveTo>
                  <a:lnTo>
                    <a:pt x="13715" y="27432"/>
                  </a:lnTo>
                  <a:lnTo>
                    <a:pt x="10922" y="26796"/>
                  </a:lnTo>
                  <a:lnTo>
                    <a:pt x="8254" y="26034"/>
                  </a:lnTo>
                  <a:lnTo>
                    <a:pt x="6223" y="24638"/>
                  </a:lnTo>
                  <a:lnTo>
                    <a:pt x="4064" y="23367"/>
                  </a:lnTo>
                  <a:lnTo>
                    <a:pt x="2793" y="21208"/>
                  </a:lnTo>
                  <a:lnTo>
                    <a:pt x="1397" y="18541"/>
                  </a:lnTo>
                  <a:lnTo>
                    <a:pt x="635" y="16509"/>
                  </a:lnTo>
                  <a:lnTo>
                    <a:pt x="0" y="13715"/>
                  </a:lnTo>
                  <a:lnTo>
                    <a:pt x="635" y="10286"/>
                  </a:lnTo>
                  <a:lnTo>
                    <a:pt x="1397" y="8254"/>
                  </a:lnTo>
                  <a:lnTo>
                    <a:pt x="2793" y="5460"/>
                  </a:lnTo>
                  <a:lnTo>
                    <a:pt x="4064" y="3428"/>
                  </a:lnTo>
                  <a:lnTo>
                    <a:pt x="6223" y="2032"/>
                  </a:lnTo>
                  <a:lnTo>
                    <a:pt x="8254" y="634"/>
                  </a:lnTo>
                  <a:lnTo>
                    <a:pt x="10922" y="0"/>
                  </a:lnTo>
                  <a:lnTo>
                    <a:pt x="13715" y="0"/>
                  </a:lnTo>
                  <a:lnTo>
                    <a:pt x="16510" y="0"/>
                  </a:lnTo>
                  <a:lnTo>
                    <a:pt x="19177" y="634"/>
                  </a:lnTo>
                  <a:lnTo>
                    <a:pt x="21209" y="2032"/>
                  </a:lnTo>
                  <a:lnTo>
                    <a:pt x="23367" y="3428"/>
                  </a:lnTo>
                  <a:lnTo>
                    <a:pt x="25400" y="5460"/>
                  </a:lnTo>
                  <a:lnTo>
                    <a:pt x="26797" y="8254"/>
                  </a:lnTo>
                  <a:lnTo>
                    <a:pt x="27431" y="10286"/>
                  </a:lnTo>
                  <a:lnTo>
                    <a:pt x="27431" y="13715"/>
                  </a:lnTo>
                  <a:lnTo>
                    <a:pt x="27431" y="16509"/>
                  </a:lnTo>
                  <a:lnTo>
                    <a:pt x="26797" y="18541"/>
                  </a:lnTo>
                  <a:lnTo>
                    <a:pt x="25400" y="21208"/>
                  </a:lnTo>
                  <a:lnTo>
                    <a:pt x="23367" y="23367"/>
                  </a:lnTo>
                  <a:lnTo>
                    <a:pt x="21209" y="24638"/>
                  </a:lnTo>
                  <a:lnTo>
                    <a:pt x="19177" y="26034"/>
                  </a:lnTo>
                  <a:lnTo>
                    <a:pt x="16510" y="26796"/>
                  </a:lnTo>
                  <a:lnTo>
                    <a:pt x="13715" y="27432"/>
                  </a:lnTo>
                  <a:close/>
                  <a:moveTo>
                    <a:pt x="-3526537" y="3334511"/>
                  </a:moveTo>
                  <a:moveTo>
                    <a:pt x="13715" y="6222"/>
                  </a:moveTo>
                  <a:lnTo>
                    <a:pt x="13715" y="6222"/>
                  </a:lnTo>
                  <a:lnTo>
                    <a:pt x="10922" y="6222"/>
                  </a:lnTo>
                  <a:lnTo>
                    <a:pt x="8254" y="8254"/>
                  </a:lnTo>
                  <a:lnTo>
                    <a:pt x="6857" y="10286"/>
                  </a:lnTo>
                  <a:lnTo>
                    <a:pt x="6223" y="13715"/>
                  </a:lnTo>
                  <a:lnTo>
                    <a:pt x="6857" y="16509"/>
                  </a:lnTo>
                  <a:lnTo>
                    <a:pt x="8254" y="18541"/>
                  </a:lnTo>
                  <a:lnTo>
                    <a:pt x="10922" y="20573"/>
                  </a:lnTo>
                  <a:lnTo>
                    <a:pt x="13715" y="21208"/>
                  </a:lnTo>
                  <a:lnTo>
                    <a:pt x="17144" y="20573"/>
                  </a:lnTo>
                  <a:lnTo>
                    <a:pt x="19177" y="18541"/>
                  </a:lnTo>
                  <a:lnTo>
                    <a:pt x="20574" y="16509"/>
                  </a:lnTo>
                  <a:lnTo>
                    <a:pt x="21209" y="13715"/>
                  </a:lnTo>
                  <a:lnTo>
                    <a:pt x="20574" y="10286"/>
                  </a:lnTo>
                  <a:lnTo>
                    <a:pt x="19177" y="8254"/>
                  </a:lnTo>
                  <a:lnTo>
                    <a:pt x="17144" y="6222"/>
                  </a:lnTo>
                  <a:lnTo>
                    <a:pt x="13715" y="6222"/>
                  </a:lnTo>
                  <a:close/>
                  <a:moveTo>
                    <a:pt x="-3505327" y="3334511"/>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91" name="Freeform 964">
              <a:extLst>
                <a:ext uri="{FF2B5EF4-FFF2-40B4-BE49-F238E27FC236}">
                  <a16:creationId xmlns:a16="http://schemas.microsoft.com/office/drawing/2014/main" id="{98524758-90E5-452B-9D19-F911E6BE1CEF}"/>
                </a:ext>
              </a:extLst>
            </p:cNvPr>
            <p:cNvSpPr/>
            <p:nvPr/>
          </p:nvSpPr>
          <p:spPr>
            <a:xfrm>
              <a:off x="6769259" y="3544764"/>
              <a:ext cx="27419" cy="27418"/>
            </a:xfrm>
            <a:custGeom>
              <a:avLst/>
              <a:gdLst/>
              <a:ahLst/>
              <a:cxnLst/>
              <a:rect l="0" t="0" r="0" b="0"/>
              <a:pathLst>
                <a:path w="27433" h="27432">
                  <a:moveTo>
                    <a:pt x="13716" y="27432"/>
                  </a:moveTo>
                  <a:lnTo>
                    <a:pt x="13716" y="27432"/>
                  </a:lnTo>
                  <a:lnTo>
                    <a:pt x="10923" y="27432"/>
                  </a:lnTo>
                  <a:lnTo>
                    <a:pt x="8256" y="26798"/>
                  </a:lnTo>
                  <a:lnTo>
                    <a:pt x="6224" y="25400"/>
                  </a:lnTo>
                  <a:lnTo>
                    <a:pt x="4064" y="24004"/>
                  </a:lnTo>
                  <a:lnTo>
                    <a:pt x="2033" y="21972"/>
                  </a:lnTo>
                  <a:lnTo>
                    <a:pt x="1398" y="19178"/>
                  </a:lnTo>
                  <a:lnTo>
                    <a:pt x="0" y="16511"/>
                  </a:lnTo>
                  <a:lnTo>
                    <a:pt x="0" y="13717"/>
                  </a:lnTo>
                  <a:lnTo>
                    <a:pt x="0" y="10923"/>
                  </a:lnTo>
                  <a:lnTo>
                    <a:pt x="1398" y="8891"/>
                  </a:lnTo>
                  <a:lnTo>
                    <a:pt x="2033" y="6223"/>
                  </a:lnTo>
                  <a:lnTo>
                    <a:pt x="4064" y="4065"/>
                  </a:lnTo>
                  <a:lnTo>
                    <a:pt x="6224" y="2794"/>
                  </a:lnTo>
                  <a:lnTo>
                    <a:pt x="8256" y="1398"/>
                  </a:lnTo>
                  <a:lnTo>
                    <a:pt x="10923" y="636"/>
                  </a:lnTo>
                  <a:lnTo>
                    <a:pt x="13716" y="0"/>
                  </a:lnTo>
                  <a:lnTo>
                    <a:pt x="16511" y="636"/>
                  </a:lnTo>
                  <a:lnTo>
                    <a:pt x="19177" y="1398"/>
                  </a:lnTo>
                  <a:lnTo>
                    <a:pt x="21210" y="2794"/>
                  </a:lnTo>
                  <a:lnTo>
                    <a:pt x="23369" y="4065"/>
                  </a:lnTo>
                  <a:lnTo>
                    <a:pt x="25400" y="6223"/>
                  </a:lnTo>
                  <a:lnTo>
                    <a:pt x="26798" y="8891"/>
                  </a:lnTo>
                  <a:lnTo>
                    <a:pt x="27433" y="10923"/>
                  </a:lnTo>
                  <a:lnTo>
                    <a:pt x="27433" y="13717"/>
                  </a:lnTo>
                  <a:lnTo>
                    <a:pt x="27433" y="16511"/>
                  </a:lnTo>
                  <a:lnTo>
                    <a:pt x="26798" y="19178"/>
                  </a:lnTo>
                  <a:lnTo>
                    <a:pt x="25400" y="21972"/>
                  </a:lnTo>
                  <a:lnTo>
                    <a:pt x="23369" y="24004"/>
                  </a:lnTo>
                  <a:lnTo>
                    <a:pt x="21210" y="25400"/>
                  </a:lnTo>
                  <a:lnTo>
                    <a:pt x="19177" y="26798"/>
                  </a:lnTo>
                  <a:lnTo>
                    <a:pt x="16511" y="27432"/>
                  </a:lnTo>
                  <a:lnTo>
                    <a:pt x="13716" y="27432"/>
                  </a:lnTo>
                  <a:close/>
                  <a:moveTo>
                    <a:pt x="-3483863" y="3313176"/>
                  </a:moveTo>
                  <a:moveTo>
                    <a:pt x="13716" y="6223"/>
                  </a:moveTo>
                  <a:lnTo>
                    <a:pt x="13716" y="6223"/>
                  </a:lnTo>
                  <a:lnTo>
                    <a:pt x="10923" y="6859"/>
                  </a:lnTo>
                  <a:lnTo>
                    <a:pt x="8256" y="8891"/>
                  </a:lnTo>
                  <a:lnTo>
                    <a:pt x="6859" y="10923"/>
                  </a:lnTo>
                  <a:lnTo>
                    <a:pt x="6224" y="13717"/>
                  </a:lnTo>
                  <a:lnTo>
                    <a:pt x="6859" y="17146"/>
                  </a:lnTo>
                  <a:lnTo>
                    <a:pt x="8256" y="19178"/>
                  </a:lnTo>
                  <a:lnTo>
                    <a:pt x="10923" y="21210"/>
                  </a:lnTo>
                  <a:lnTo>
                    <a:pt x="13716" y="21210"/>
                  </a:lnTo>
                  <a:lnTo>
                    <a:pt x="16511" y="21210"/>
                  </a:lnTo>
                  <a:lnTo>
                    <a:pt x="19177" y="19178"/>
                  </a:lnTo>
                  <a:lnTo>
                    <a:pt x="20574" y="17146"/>
                  </a:lnTo>
                  <a:lnTo>
                    <a:pt x="21210" y="13717"/>
                  </a:lnTo>
                  <a:lnTo>
                    <a:pt x="20574" y="10923"/>
                  </a:lnTo>
                  <a:lnTo>
                    <a:pt x="19177" y="8891"/>
                  </a:lnTo>
                  <a:lnTo>
                    <a:pt x="16511" y="6859"/>
                  </a:lnTo>
                  <a:lnTo>
                    <a:pt x="13716" y="6223"/>
                  </a:lnTo>
                  <a:close/>
                  <a:moveTo>
                    <a:pt x="-3462654" y="3313176"/>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92" name="Freeform 965">
              <a:extLst>
                <a:ext uri="{FF2B5EF4-FFF2-40B4-BE49-F238E27FC236}">
                  <a16:creationId xmlns:a16="http://schemas.microsoft.com/office/drawing/2014/main" id="{63336CC6-E914-4691-8376-EE0316523226}"/>
                </a:ext>
              </a:extLst>
            </p:cNvPr>
            <p:cNvSpPr/>
            <p:nvPr/>
          </p:nvSpPr>
          <p:spPr>
            <a:xfrm>
              <a:off x="6900254" y="3529534"/>
              <a:ext cx="24372" cy="27417"/>
            </a:xfrm>
            <a:custGeom>
              <a:avLst/>
              <a:gdLst/>
              <a:ahLst/>
              <a:cxnLst/>
              <a:rect l="0" t="0" r="0" b="0"/>
              <a:pathLst>
                <a:path w="24385" h="27431">
                  <a:moveTo>
                    <a:pt x="12193" y="27431"/>
                  </a:moveTo>
                  <a:lnTo>
                    <a:pt x="12193" y="27431"/>
                  </a:lnTo>
                  <a:lnTo>
                    <a:pt x="9652" y="26669"/>
                  </a:lnTo>
                  <a:lnTo>
                    <a:pt x="7112" y="26035"/>
                  </a:lnTo>
                  <a:lnTo>
                    <a:pt x="5081" y="24637"/>
                  </a:lnTo>
                  <a:lnTo>
                    <a:pt x="3175" y="23240"/>
                  </a:lnTo>
                  <a:lnTo>
                    <a:pt x="1906" y="21081"/>
                  </a:lnTo>
                  <a:lnTo>
                    <a:pt x="635" y="19050"/>
                  </a:lnTo>
                  <a:lnTo>
                    <a:pt x="0" y="16129"/>
                  </a:lnTo>
                  <a:lnTo>
                    <a:pt x="0" y="13335"/>
                  </a:lnTo>
                  <a:lnTo>
                    <a:pt x="0" y="10540"/>
                  </a:lnTo>
                  <a:lnTo>
                    <a:pt x="635" y="8381"/>
                  </a:lnTo>
                  <a:lnTo>
                    <a:pt x="1906" y="6350"/>
                  </a:lnTo>
                  <a:lnTo>
                    <a:pt x="3175" y="4190"/>
                  </a:lnTo>
                  <a:lnTo>
                    <a:pt x="5081" y="2158"/>
                  </a:lnTo>
                  <a:lnTo>
                    <a:pt x="7112" y="762"/>
                  </a:lnTo>
                  <a:lnTo>
                    <a:pt x="9652" y="0"/>
                  </a:lnTo>
                  <a:lnTo>
                    <a:pt x="12193" y="0"/>
                  </a:lnTo>
                  <a:lnTo>
                    <a:pt x="14733" y="0"/>
                  </a:lnTo>
                  <a:lnTo>
                    <a:pt x="16637" y="762"/>
                  </a:lnTo>
                  <a:lnTo>
                    <a:pt x="19305" y="2158"/>
                  </a:lnTo>
                  <a:lnTo>
                    <a:pt x="21210" y="4190"/>
                  </a:lnTo>
                  <a:lnTo>
                    <a:pt x="22480" y="6350"/>
                  </a:lnTo>
                  <a:lnTo>
                    <a:pt x="23749" y="8381"/>
                  </a:lnTo>
                  <a:lnTo>
                    <a:pt x="24385" y="10540"/>
                  </a:lnTo>
                  <a:lnTo>
                    <a:pt x="24385" y="13335"/>
                  </a:lnTo>
                  <a:lnTo>
                    <a:pt x="24385" y="16129"/>
                  </a:lnTo>
                  <a:lnTo>
                    <a:pt x="23749" y="19050"/>
                  </a:lnTo>
                  <a:lnTo>
                    <a:pt x="22480" y="21081"/>
                  </a:lnTo>
                  <a:lnTo>
                    <a:pt x="21210" y="23240"/>
                  </a:lnTo>
                  <a:lnTo>
                    <a:pt x="19305" y="24637"/>
                  </a:lnTo>
                  <a:lnTo>
                    <a:pt x="16637" y="26035"/>
                  </a:lnTo>
                  <a:lnTo>
                    <a:pt x="14733" y="26669"/>
                  </a:lnTo>
                  <a:lnTo>
                    <a:pt x="12193" y="27431"/>
                  </a:lnTo>
                  <a:close/>
                  <a:moveTo>
                    <a:pt x="-3599687" y="3328415"/>
                  </a:moveTo>
                  <a:moveTo>
                    <a:pt x="12193" y="6350"/>
                  </a:moveTo>
                  <a:lnTo>
                    <a:pt x="12193" y="6350"/>
                  </a:lnTo>
                  <a:lnTo>
                    <a:pt x="9652" y="6985"/>
                  </a:lnTo>
                  <a:lnTo>
                    <a:pt x="7747" y="8381"/>
                  </a:lnTo>
                  <a:lnTo>
                    <a:pt x="5715" y="10540"/>
                  </a:lnTo>
                  <a:lnTo>
                    <a:pt x="5715" y="13335"/>
                  </a:lnTo>
                  <a:lnTo>
                    <a:pt x="5715" y="16129"/>
                  </a:lnTo>
                  <a:lnTo>
                    <a:pt x="7747" y="19050"/>
                  </a:lnTo>
                  <a:lnTo>
                    <a:pt x="9652" y="20446"/>
                  </a:lnTo>
                  <a:lnTo>
                    <a:pt x="12193" y="21081"/>
                  </a:lnTo>
                  <a:lnTo>
                    <a:pt x="14733" y="20446"/>
                  </a:lnTo>
                  <a:lnTo>
                    <a:pt x="16637" y="19050"/>
                  </a:lnTo>
                  <a:lnTo>
                    <a:pt x="17908" y="16129"/>
                  </a:lnTo>
                  <a:lnTo>
                    <a:pt x="18670" y="13335"/>
                  </a:lnTo>
                  <a:lnTo>
                    <a:pt x="17908" y="10540"/>
                  </a:lnTo>
                  <a:lnTo>
                    <a:pt x="16637" y="8381"/>
                  </a:lnTo>
                  <a:lnTo>
                    <a:pt x="14733" y="6985"/>
                  </a:lnTo>
                  <a:lnTo>
                    <a:pt x="12193" y="6350"/>
                  </a:lnTo>
                  <a:close/>
                  <a:moveTo>
                    <a:pt x="-3578606" y="3328415"/>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93" name="Freeform 966">
              <a:extLst>
                <a:ext uri="{FF2B5EF4-FFF2-40B4-BE49-F238E27FC236}">
                  <a16:creationId xmlns:a16="http://schemas.microsoft.com/office/drawing/2014/main" id="{5D834A85-B09D-4DF5-B2DA-14F899A1795C}"/>
                </a:ext>
              </a:extLst>
            </p:cNvPr>
            <p:cNvSpPr/>
            <p:nvPr/>
          </p:nvSpPr>
          <p:spPr>
            <a:xfrm>
              <a:off x="6787537" y="3532580"/>
              <a:ext cx="6093" cy="6093"/>
            </a:xfrm>
            <a:custGeom>
              <a:avLst/>
              <a:gdLst/>
              <a:ahLst/>
              <a:cxnLst/>
              <a:rect l="0" t="0" r="0" b="0"/>
              <a:pathLst>
                <a:path w="6096" h="6096">
                  <a:moveTo>
                    <a:pt x="0" y="6096"/>
                  </a:moveTo>
                  <a:lnTo>
                    <a:pt x="6096" y="6096"/>
                  </a:lnTo>
                  <a:lnTo>
                    <a:pt x="6096" y="0"/>
                  </a:lnTo>
                  <a:lnTo>
                    <a:pt x="0" y="0"/>
                  </a:lnTo>
                  <a:lnTo>
                    <a:pt x="0" y="6096"/>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94" name="Freeform 967">
              <a:extLst>
                <a:ext uri="{FF2B5EF4-FFF2-40B4-BE49-F238E27FC236}">
                  <a16:creationId xmlns:a16="http://schemas.microsoft.com/office/drawing/2014/main" id="{AAB46D75-77E8-4533-ACDD-2CEED4ED7CAA}"/>
                </a:ext>
              </a:extLst>
            </p:cNvPr>
            <p:cNvSpPr/>
            <p:nvPr/>
          </p:nvSpPr>
          <p:spPr>
            <a:xfrm>
              <a:off x="6897208" y="3559997"/>
              <a:ext cx="6093" cy="6093"/>
            </a:xfrm>
            <a:custGeom>
              <a:avLst/>
              <a:gdLst/>
              <a:ahLst/>
              <a:cxnLst/>
              <a:rect l="0" t="0" r="0" b="0"/>
              <a:pathLst>
                <a:path w="6096" h="6096">
                  <a:moveTo>
                    <a:pt x="0" y="6096"/>
                  </a:moveTo>
                  <a:lnTo>
                    <a:pt x="6096" y="6096"/>
                  </a:lnTo>
                  <a:lnTo>
                    <a:pt x="6096" y="0"/>
                  </a:lnTo>
                  <a:lnTo>
                    <a:pt x="0" y="0"/>
                  </a:lnTo>
                  <a:lnTo>
                    <a:pt x="0" y="6096"/>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95" name="Freeform 968">
              <a:extLst>
                <a:ext uri="{FF2B5EF4-FFF2-40B4-BE49-F238E27FC236}">
                  <a16:creationId xmlns:a16="http://schemas.microsoft.com/office/drawing/2014/main" id="{56C52C7B-0267-4FCD-8883-07C33F7EF9CC}"/>
                </a:ext>
              </a:extLst>
            </p:cNvPr>
            <p:cNvSpPr/>
            <p:nvPr/>
          </p:nvSpPr>
          <p:spPr>
            <a:xfrm>
              <a:off x="6772306" y="3520393"/>
              <a:ext cx="6093" cy="6093"/>
            </a:xfrm>
            <a:custGeom>
              <a:avLst/>
              <a:gdLst/>
              <a:ahLst/>
              <a:cxnLst/>
              <a:rect l="0" t="0" r="0" b="0"/>
              <a:pathLst>
                <a:path w="6096" h="6096">
                  <a:moveTo>
                    <a:pt x="0" y="6096"/>
                  </a:moveTo>
                  <a:lnTo>
                    <a:pt x="6096" y="6096"/>
                  </a:lnTo>
                  <a:lnTo>
                    <a:pt x="6096" y="0"/>
                  </a:lnTo>
                  <a:lnTo>
                    <a:pt x="0" y="0"/>
                  </a:lnTo>
                  <a:lnTo>
                    <a:pt x="0" y="6096"/>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96" name="Freeform 969">
              <a:extLst>
                <a:ext uri="{FF2B5EF4-FFF2-40B4-BE49-F238E27FC236}">
                  <a16:creationId xmlns:a16="http://schemas.microsoft.com/office/drawing/2014/main" id="{75D970F0-398A-47FC-A45B-8FDDA1DBF8B7}"/>
                </a:ext>
              </a:extLst>
            </p:cNvPr>
            <p:cNvSpPr/>
            <p:nvPr/>
          </p:nvSpPr>
          <p:spPr>
            <a:xfrm>
              <a:off x="6924627" y="3517346"/>
              <a:ext cx="6093" cy="6094"/>
            </a:xfrm>
            <a:custGeom>
              <a:avLst/>
              <a:gdLst/>
              <a:ahLst/>
              <a:cxnLst/>
              <a:rect l="0" t="0" r="0" b="0"/>
              <a:pathLst>
                <a:path w="6096" h="6097">
                  <a:moveTo>
                    <a:pt x="0" y="6097"/>
                  </a:moveTo>
                  <a:lnTo>
                    <a:pt x="6096" y="6097"/>
                  </a:lnTo>
                  <a:lnTo>
                    <a:pt x="6096" y="0"/>
                  </a:lnTo>
                  <a:lnTo>
                    <a:pt x="0" y="0"/>
                  </a:lnTo>
                  <a:lnTo>
                    <a:pt x="0" y="6097"/>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97" name="Freeform 970">
              <a:extLst>
                <a:ext uri="{FF2B5EF4-FFF2-40B4-BE49-F238E27FC236}">
                  <a16:creationId xmlns:a16="http://schemas.microsoft.com/office/drawing/2014/main" id="{33430AB0-7D54-470A-BBD2-3BEF3D85C78E}"/>
                </a:ext>
              </a:extLst>
            </p:cNvPr>
            <p:cNvSpPr/>
            <p:nvPr/>
          </p:nvSpPr>
          <p:spPr>
            <a:xfrm>
              <a:off x="6833234" y="3559997"/>
              <a:ext cx="6092" cy="6093"/>
            </a:xfrm>
            <a:custGeom>
              <a:avLst/>
              <a:gdLst/>
              <a:ahLst/>
              <a:cxnLst/>
              <a:rect l="0" t="0" r="0" b="0"/>
              <a:pathLst>
                <a:path w="6095" h="6096">
                  <a:moveTo>
                    <a:pt x="0" y="6096"/>
                  </a:moveTo>
                  <a:lnTo>
                    <a:pt x="6095" y="6096"/>
                  </a:lnTo>
                  <a:lnTo>
                    <a:pt x="6095" y="0"/>
                  </a:lnTo>
                  <a:lnTo>
                    <a:pt x="0" y="0"/>
                  </a:lnTo>
                  <a:lnTo>
                    <a:pt x="0" y="6096"/>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98" name="Freeform 971">
              <a:extLst>
                <a:ext uri="{FF2B5EF4-FFF2-40B4-BE49-F238E27FC236}">
                  <a16:creationId xmlns:a16="http://schemas.microsoft.com/office/drawing/2014/main" id="{C97BC59B-1E84-4B12-9182-FCD84EF5D70D}"/>
                </a:ext>
              </a:extLst>
            </p:cNvPr>
            <p:cNvSpPr/>
            <p:nvPr/>
          </p:nvSpPr>
          <p:spPr>
            <a:xfrm>
              <a:off x="6851513" y="3553904"/>
              <a:ext cx="6092" cy="9139"/>
            </a:xfrm>
            <a:custGeom>
              <a:avLst/>
              <a:gdLst/>
              <a:ahLst/>
              <a:cxnLst/>
              <a:rect l="0" t="0" r="0" b="0"/>
              <a:pathLst>
                <a:path w="6095" h="9144">
                  <a:moveTo>
                    <a:pt x="0" y="9144"/>
                  </a:moveTo>
                  <a:lnTo>
                    <a:pt x="6095" y="9144"/>
                  </a:lnTo>
                  <a:lnTo>
                    <a:pt x="6095"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pic>
          <p:nvPicPr>
            <p:cNvPr id="599" name="Picture 1026">
              <a:extLst>
                <a:ext uri="{FF2B5EF4-FFF2-40B4-BE49-F238E27FC236}">
                  <a16:creationId xmlns:a16="http://schemas.microsoft.com/office/drawing/2014/main" id="{504E6D15-6BD8-48D6-87E1-317C540F14BF}"/>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7202612" y="2698878"/>
              <a:ext cx="445919" cy="815422"/>
            </a:xfrm>
            <a:prstGeom prst="rect">
              <a:avLst/>
            </a:prstGeom>
            <a:noFill/>
          </p:spPr>
        </p:pic>
        <p:sp>
          <p:nvSpPr>
            <p:cNvPr id="600" name="Freeform 1027">
              <a:extLst>
                <a:ext uri="{FF2B5EF4-FFF2-40B4-BE49-F238E27FC236}">
                  <a16:creationId xmlns:a16="http://schemas.microsoft.com/office/drawing/2014/main" id="{07DAC1C2-E1D4-4C75-8562-1FBA0127FECE}"/>
                </a:ext>
              </a:extLst>
            </p:cNvPr>
            <p:cNvSpPr/>
            <p:nvPr/>
          </p:nvSpPr>
          <p:spPr>
            <a:xfrm>
              <a:off x="7256686" y="3499067"/>
              <a:ext cx="682397" cy="603190"/>
            </a:xfrm>
            <a:custGeom>
              <a:avLst/>
              <a:gdLst/>
              <a:ahLst/>
              <a:cxnLst/>
              <a:rect l="0" t="0" r="0" b="0"/>
              <a:pathLst>
                <a:path w="682752" h="603504">
                  <a:moveTo>
                    <a:pt x="0" y="603504"/>
                  </a:moveTo>
                  <a:lnTo>
                    <a:pt x="682752" y="603504"/>
                  </a:lnTo>
                  <a:lnTo>
                    <a:pt x="682752" y="0"/>
                  </a:lnTo>
                  <a:lnTo>
                    <a:pt x="0" y="0"/>
                  </a:lnTo>
                  <a:lnTo>
                    <a:pt x="0" y="603504"/>
                  </a:lnTo>
                  <a:close/>
                </a:path>
              </a:pathLst>
            </a:custGeom>
            <a:solidFill>
              <a:srgbClr val="2DB757">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01" name="Freeform 1028">
              <a:extLst>
                <a:ext uri="{FF2B5EF4-FFF2-40B4-BE49-F238E27FC236}">
                  <a16:creationId xmlns:a16="http://schemas.microsoft.com/office/drawing/2014/main" id="{D8E673E7-6331-49CD-A2DD-35D95388E50E}"/>
                </a:ext>
              </a:extLst>
            </p:cNvPr>
            <p:cNvSpPr/>
            <p:nvPr/>
          </p:nvSpPr>
          <p:spPr>
            <a:xfrm>
              <a:off x="7515632" y="3578275"/>
              <a:ext cx="164505" cy="164506"/>
            </a:xfrm>
            <a:custGeom>
              <a:avLst/>
              <a:gdLst/>
              <a:ahLst/>
              <a:cxnLst/>
              <a:rect l="0" t="0" r="0" b="0"/>
              <a:pathLst>
                <a:path w="164591" h="164592">
                  <a:moveTo>
                    <a:pt x="82296" y="0"/>
                  </a:moveTo>
                  <a:cubicBezTo>
                    <a:pt x="128524" y="0"/>
                    <a:pt x="164591" y="36195"/>
                    <a:pt x="164591" y="82296"/>
                  </a:cubicBezTo>
                  <a:cubicBezTo>
                    <a:pt x="164591" y="128524"/>
                    <a:pt x="128397" y="164592"/>
                    <a:pt x="82296" y="164592"/>
                  </a:cubicBezTo>
                  <a:cubicBezTo>
                    <a:pt x="36195" y="164592"/>
                    <a:pt x="0" y="128396"/>
                    <a:pt x="0" y="82296"/>
                  </a:cubicBezTo>
                  <a:cubicBezTo>
                    <a:pt x="0" y="36195"/>
                    <a:pt x="36195" y="0"/>
                    <a:pt x="82296" y="0"/>
                  </a:cubicBezTo>
                  <a:close/>
                  <a:moveTo>
                    <a:pt x="-4236721" y="3279647"/>
                  </a:moveTo>
                  <a:moveTo>
                    <a:pt x="159003" y="82168"/>
                  </a:moveTo>
                  <a:cubicBezTo>
                    <a:pt x="158876" y="40386"/>
                    <a:pt x="123698" y="5333"/>
                    <a:pt x="82041" y="5588"/>
                  </a:cubicBezTo>
                  <a:cubicBezTo>
                    <a:pt x="40386" y="5842"/>
                    <a:pt x="5841" y="40386"/>
                    <a:pt x="5714" y="82042"/>
                  </a:cubicBezTo>
                  <a:cubicBezTo>
                    <a:pt x="5461" y="123697"/>
                    <a:pt x="40386" y="158877"/>
                    <a:pt x="82168" y="159003"/>
                  </a:cubicBezTo>
                  <a:cubicBezTo>
                    <a:pt x="123951" y="159003"/>
                    <a:pt x="159130" y="123952"/>
                    <a:pt x="159003" y="82168"/>
                  </a:cubicBezTo>
                  <a:close/>
                  <a:moveTo>
                    <a:pt x="-4318889" y="3279647"/>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02" name="Freeform 1029">
              <a:extLst>
                <a:ext uri="{FF2B5EF4-FFF2-40B4-BE49-F238E27FC236}">
                  <a16:creationId xmlns:a16="http://schemas.microsoft.com/office/drawing/2014/main" id="{CBDEDCC3-C4CB-455F-9516-5007779A8E5F}"/>
                </a:ext>
              </a:extLst>
            </p:cNvPr>
            <p:cNvSpPr/>
            <p:nvPr/>
          </p:nvSpPr>
          <p:spPr>
            <a:xfrm>
              <a:off x="7503446" y="3566088"/>
              <a:ext cx="27417" cy="27418"/>
            </a:xfrm>
            <a:custGeom>
              <a:avLst/>
              <a:gdLst/>
              <a:ahLst/>
              <a:cxnLst/>
              <a:rect l="0" t="0" r="0" b="0"/>
              <a:pathLst>
                <a:path w="27431" h="27432">
                  <a:moveTo>
                    <a:pt x="2285" y="0"/>
                  </a:moveTo>
                  <a:cubicBezTo>
                    <a:pt x="3555" y="889"/>
                    <a:pt x="4699" y="1525"/>
                    <a:pt x="5588" y="2413"/>
                  </a:cubicBezTo>
                  <a:cubicBezTo>
                    <a:pt x="12445" y="9018"/>
                    <a:pt x="19304" y="15494"/>
                    <a:pt x="25907" y="22352"/>
                  </a:cubicBezTo>
                  <a:cubicBezTo>
                    <a:pt x="26924" y="23495"/>
                    <a:pt x="26924" y="25655"/>
                    <a:pt x="27431" y="27432"/>
                  </a:cubicBezTo>
                  <a:cubicBezTo>
                    <a:pt x="25527" y="27051"/>
                    <a:pt x="22987" y="27306"/>
                    <a:pt x="21717" y="26162"/>
                  </a:cubicBezTo>
                  <a:cubicBezTo>
                    <a:pt x="14731" y="19812"/>
                    <a:pt x="8001" y="13081"/>
                    <a:pt x="1396" y="6350"/>
                  </a:cubicBezTo>
                  <a:cubicBezTo>
                    <a:pt x="380" y="5335"/>
                    <a:pt x="127" y="3302"/>
                    <a:pt x="0" y="1779"/>
                  </a:cubicBezTo>
                  <a:cubicBezTo>
                    <a:pt x="0" y="1270"/>
                    <a:pt x="1396" y="636"/>
                    <a:pt x="2285" y="0"/>
                  </a:cubicBezTo>
                  <a:close/>
                  <a:moveTo>
                    <a:pt x="-4212336" y="3291840"/>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03" name="Freeform 1030">
              <a:extLst>
                <a:ext uri="{FF2B5EF4-FFF2-40B4-BE49-F238E27FC236}">
                  <a16:creationId xmlns:a16="http://schemas.microsoft.com/office/drawing/2014/main" id="{2E6FEE48-440B-4ED7-AC96-F6112CA392E5}"/>
                </a:ext>
              </a:extLst>
            </p:cNvPr>
            <p:cNvSpPr/>
            <p:nvPr/>
          </p:nvSpPr>
          <p:spPr>
            <a:xfrm>
              <a:off x="7664905" y="3565962"/>
              <a:ext cx="27419" cy="27544"/>
            </a:xfrm>
            <a:custGeom>
              <a:avLst/>
              <a:gdLst/>
              <a:ahLst/>
              <a:cxnLst/>
              <a:rect l="0" t="0" r="0" b="0"/>
              <a:pathLst>
                <a:path w="27433" h="27558">
                  <a:moveTo>
                    <a:pt x="27433" y="2413"/>
                  </a:moveTo>
                  <a:cubicBezTo>
                    <a:pt x="26416" y="3809"/>
                    <a:pt x="25782" y="5207"/>
                    <a:pt x="24765" y="6222"/>
                  </a:cubicBezTo>
                  <a:cubicBezTo>
                    <a:pt x="18415" y="12953"/>
                    <a:pt x="12065" y="19557"/>
                    <a:pt x="5588" y="26034"/>
                  </a:cubicBezTo>
                  <a:cubicBezTo>
                    <a:pt x="4319" y="27177"/>
                    <a:pt x="1906" y="27051"/>
                    <a:pt x="0" y="27558"/>
                  </a:cubicBezTo>
                  <a:cubicBezTo>
                    <a:pt x="509" y="25653"/>
                    <a:pt x="509" y="23113"/>
                    <a:pt x="1778" y="21844"/>
                  </a:cubicBezTo>
                  <a:cubicBezTo>
                    <a:pt x="7874" y="14986"/>
                    <a:pt x="14351" y="8508"/>
                    <a:pt x="20828" y="2032"/>
                  </a:cubicBezTo>
                  <a:cubicBezTo>
                    <a:pt x="21845" y="888"/>
                    <a:pt x="23749" y="381"/>
                    <a:pt x="25274" y="126"/>
                  </a:cubicBezTo>
                  <a:cubicBezTo>
                    <a:pt x="25782" y="0"/>
                    <a:pt x="26544" y="1396"/>
                    <a:pt x="27433" y="2413"/>
                  </a:cubicBezTo>
                  <a:close/>
                  <a:moveTo>
                    <a:pt x="-4376166" y="3291966"/>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04" name="Freeform 1031">
              <a:extLst>
                <a:ext uri="{FF2B5EF4-FFF2-40B4-BE49-F238E27FC236}">
                  <a16:creationId xmlns:a16="http://schemas.microsoft.com/office/drawing/2014/main" id="{222D768D-D122-42C6-9D65-F2E9ABA24430}"/>
                </a:ext>
              </a:extLst>
            </p:cNvPr>
            <p:cNvSpPr/>
            <p:nvPr/>
          </p:nvSpPr>
          <p:spPr>
            <a:xfrm>
              <a:off x="7503446" y="3727551"/>
              <a:ext cx="27417" cy="27417"/>
            </a:xfrm>
            <a:custGeom>
              <a:avLst/>
              <a:gdLst/>
              <a:ahLst/>
              <a:cxnLst/>
              <a:rect l="0" t="0" r="0" b="0"/>
              <a:pathLst>
                <a:path w="27431" h="27431">
                  <a:moveTo>
                    <a:pt x="27431" y="2413"/>
                  </a:moveTo>
                  <a:cubicBezTo>
                    <a:pt x="26542" y="3682"/>
                    <a:pt x="25907" y="4825"/>
                    <a:pt x="25018" y="5588"/>
                  </a:cubicBezTo>
                  <a:cubicBezTo>
                    <a:pt x="18415" y="12445"/>
                    <a:pt x="11938" y="19303"/>
                    <a:pt x="5080" y="25781"/>
                  </a:cubicBezTo>
                  <a:cubicBezTo>
                    <a:pt x="3937" y="26923"/>
                    <a:pt x="1778" y="26923"/>
                    <a:pt x="0" y="27431"/>
                  </a:cubicBezTo>
                  <a:cubicBezTo>
                    <a:pt x="380" y="25526"/>
                    <a:pt x="127" y="22860"/>
                    <a:pt x="1269" y="21716"/>
                  </a:cubicBezTo>
                  <a:cubicBezTo>
                    <a:pt x="7619" y="14731"/>
                    <a:pt x="14351" y="8000"/>
                    <a:pt x="21081" y="1397"/>
                  </a:cubicBezTo>
                  <a:cubicBezTo>
                    <a:pt x="22097" y="381"/>
                    <a:pt x="24003" y="126"/>
                    <a:pt x="25654" y="0"/>
                  </a:cubicBezTo>
                  <a:cubicBezTo>
                    <a:pt x="26162" y="0"/>
                    <a:pt x="26669" y="1397"/>
                    <a:pt x="27431" y="2413"/>
                  </a:cubicBezTo>
                  <a:close/>
                  <a:moveTo>
                    <a:pt x="-4376294" y="3130295"/>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05" name="Freeform 1032">
              <a:extLst>
                <a:ext uri="{FF2B5EF4-FFF2-40B4-BE49-F238E27FC236}">
                  <a16:creationId xmlns:a16="http://schemas.microsoft.com/office/drawing/2014/main" id="{1D326634-55C8-4FE8-BEFA-7321603AB7AF}"/>
                </a:ext>
              </a:extLst>
            </p:cNvPr>
            <p:cNvSpPr/>
            <p:nvPr/>
          </p:nvSpPr>
          <p:spPr>
            <a:xfrm>
              <a:off x="7664650" y="3727294"/>
              <a:ext cx="27672" cy="27800"/>
            </a:xfrm>
            <a:custGeom>
              <a:avLst/>
              <a:gdLst/>
              <a:ahLst/>
              <a:cxnLst/>
              <a:rect l="0" t="0" r="0" b="0"/>
              <a:pathLst>
                <a:path w="27686" h="27814">
                  <a:moveTo>
                    <a:pt x="27686" y="25146"/>
                  </a:moveTo>
                  <a:cubicBezTo>
                    <a:pt x="27304" y="25908"/>
                    <a:pt x="26924" y="27178"/>
                    <a:pt x="26289" y="27433"/>
                  </a:cubicBezTo>
                  <a:cubicBezTo>
                    <a:pt x="25273" y="27814"/>
                    <a:pt x="23494" y="27814"/>
                    <a:pt x="22987" y="27305"/>
                  </a:cubicBezTo>
                  <a:cubicBezTo>
                    <a:pt x="15366" y="19812"/>
                    <a:pt x="7874" y="12446"/>
                    <a:pt x="635" y="4699"/>
                  </a:cubicBezTo>
                  <a:cubicBezTo>
                    <a:pt x="0" y="4065"/>
                    <a:pt x="253" y="1905"/>
                    <a:pt x="762" y="890"/>
                  </a:cubicBezTo>
                  <a:cubicBezTo>
                    <a:pt x="1142" y="381"/>
                    <a:pt x="3428" y="0"/>
                    <a:pt x="3937" y="508"/>
                  </a:cubicBezTo>
                  <a:cubicBezTo>
                    <a:pt x="11684" y="8128"/>
                    <a:pt x="19303" y="15749"/>
                    <a:pt x="26797" y="23496"/>
                  </a:cubicBezTo>
                  <a:cubicBezTo>
                    <a:pt x="27177" y="23877"/>
                    <a:pt x="27304" y="24384"/>
                    <a:pt x="27686" y="25146"/>
                  </a:cubicBezTo>
                  <a:close/>
                  <a:moveTo>
                    <a:pt x="-4560062" y="3130550"/>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06" name="Freeform 1033">
              <a:extLst>
                <a:ext uri="{FF2B5EF4-FFF2-40B4-BE49-F238E27FC236}">
                  <a16:creationId xmlns:a16="http://schemas.microsoft.com/office/drawing/2014/main" id="{B7D0EAD6-D891-4E2E-81A2-AD9930C6F1DF}"/>
                </a:ext>
              </a:extLst>
            </p:cNvPr>
            <p:cNvSpPr/>
            <p:nvPr/>
          </p:nvSpPr>
          <p:spPr>
            <a:xfrm>
              <a:off x="7594837" y="3526486"/>
              <a:ext cx="6220" cy="39603"/>
            </a:xfrm>
            <a:custGeom>
              <a:avLst/>
              <a:gdLst/>
              <a:ahLst/>
              <a:cxnLst/>
              <a:rect l="0" t="0" r="0" b="0"/>
              <a:pathLst>
                <a:path w="6223" h="39624">
                  <a:moveTo>
                    <a:pt x="5968" y="20448"/>
                  </a:moveTo>
                  <a:cubicBezTo>
                    <a:pt x="5968" y="25655"/>
                    <a:pt x="6223" y="30861"/>
                    <a:pt x="5841" y="35942"/>
                  </a:cubicBezTo>
                  <a:cubicBezTo>
                    <a:pt x="5841" y="37211"/>
                    <a:pt x="4190" y="38355"/>
                    <a:pt x="3302" y="39624"/>
                  </a:cubicBezTo>
                  <a:cubicBezTo>
                    <a:pt x="2286" y="38355"/>
                    <a:pt x="253" y="37085"/>
                    <a:pt x="253" y="35814"/>
                  </a:cubicBezTo>
                  <a:cubicBezTo>
                    <a:pt x="0" y="25274"/>
                    <a:pt x="0" y="14605"/>
                    <a:pt x="127" y="3937"/>
                  </a:cubicBezTo>
                  <a:cubicBezTo>
                    <a:pt x="253" y="2668"/>
                    <a:pt x="2031" y="1270"/>
                    <a:pt x="3048" y="0"/>
                  </a:cubicBezTo>
                  <a:cubicBezTo>
                    <a:pt x="4064" y="1398"/>
                    <a:pt x="5841" y="2668"/>
                    <a:pt x="5968" y="4192"/>
                  </a:cubicBezTo>
                  <a:cubicBezTo>
                    <a:pt x="6223" y="9525"/>
                    <a:pt x="6095" y="14986"/>
                    <a:pt x="5968" y="20448"/>
                  </a:cubicBezTo>
                  <a:close/>
                  <a:moveTo>
                    <a:pt x="-4284600" y="3331464"/>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07" name="Freeform 1034">
              <a:extLst>
                <a:ext uri="{FF2B5EF4-FFF2-40B4-BE49-F238E27FC236}">
                  <a16:creationId xmlns:a16="http://schemas.microsoft.com/office/drawing/2014/main" id="{84DAAC32-7967-448E-AFF1-3B5F100A5D2A}"/>
                </a:ext>
              </a:extLst>
            </p:cNvPr>
            <p:cNvSpPr/>
            <p:nvPr/>
          </p:nvSpPr>
          <p:spPr>
            <a:xfrm>
              <a:off x="7463842" y="3657356"/>
              <a:ext cx="36557" cy="6347"/>
            </a:xfrm>
            <a:custGeom>
              <a:avLst/>
              <a:gdLst/>
              <a:ahLst/>
              <a:cxnLst/>
              <a:rect l="0" t="0" r="0" b="0"/>
              <a:pathLst>
                <a:path w="36576" h="6350">
                  <a:moveTo>
                    <a:pt x="18033" y="6096"/>
                  </a:moveTo>
                  <a:cubicBezTo>
                    <a:pt x="13334" y="6096"/>
                    <a:pt x="8508" y="6350"/>
                    <a:pt x="3682" y="5969"/>
                  </a:cubicBezTo>
                  <a:cubicBezTo>
                    <a:pt x="2413" y="5969"/>
                    <a:pt x="1269" y="4191"/>
                    <a:pt x="0" y="3175"/>
                  </a:cubicBezTo>
                  <a:cubicBezTo>
                    <a:pt x="1269" y="2159"/>
                    <a:pt x="2540" y="381"/>
                    <a:pt x="3809" y="253"/>
                  </a:cubicBezTo>
                  <a:cubicBezTo>
                    <a:pt x="13589" y="0"/>
                    <a:pt x="23367" y="126"/>
                    <a:pt x="33146" y="253"/>
                  </a:cubicBezTo>
                  <a:cubicBezTo>
                    <a:pt x="34290" y="253"/>
                    <a:pt x="35432" y="1904"/>
                    <a:pt x="36576" y="2794"/>
                  </a:cubicBezTo>
                  <a:cubicBezTo>
                    <a:pt x="35432" y="3937"/>
                    <a:pt x="34416" y="5841"/>
                    <a:pt x="33146" y="5969"/>
                  </a:cubicBezTo>
                  <a:cubicBezTo>
                    <a:pt x="28193" y="6350"/>
                    <a:pt x="23114" y="6096"/>
                    <a:pt x="18033" y="6096"/>
                  </a:cubicBezTo>
                  <a:close/>
                  <a:moveTo>
                    <a:pt x="-4270122" y="3200526"/>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08" name="Freeform 1035">
              <a:extLst>
                <a:ext uri="{FF2B5EF4-FFF2-40B4-BE49-F238E27FC236}">
                  <a16:creationId xmlns:a16="http://schemas.microsoft.com/office/drawing/2014/main" id="{7E823989-4CC1-430B-9874-0C6755C7137A}"/>
                </a:ext>
              </a:extLst>
            </p:cNvPr>
            <p:cNvSpPr/>
            <p:nvPr/>
          </p:nvSpPr>
          <p:spPr>
            <a:xfrm>
              <a:off x="7692323" y="3657356"/>
              <a:ext cx="39603" cy="6347"/>
            </a:xfrm>
            <a:custGeom>
              <a:avLst/>
              <a:gdLst/>
              <a:ahLst/>
              <a:cxnLst/>
              <a:rect l="0" t="0" r="0" b="0"/>
              <a:pathLst>
                <a:path w="39624" h="6350">
                  <a:moveTo>
                    <a:pt x="19430" y="6096"/>
                  </a:moveTo>
                  <a:cubicBezTo>
                    <a:pt x="14604" y="6096"/>
                    <a:pt x="9652" y="6350"/>
                    <a:pt x="4826" y="5969"/>
                  </a:cubicBezTo>
                  <a:cubicBezTo>
                    <a:pt x="3048" y="5841"/>
                    <a:pt x="1524" y="4063"/>
                    <a:pt x="0" y="2921"/>
                  </a:cubicBezTo>
                  <a:cubicBezTo>
                    <a:pt x="1396" y="2031"/>
                    <a:pt x="2920" y="381"/>
                    <a:pt x="4317" y="253"/>
                  </a:cubicBezTo>
                  <a:cubicBezTo>
                    <a:pt x="14731" y="0"/>
                    <a:pt x="25018" y="126"/>
                    <a:pt x="35432" y="253"/>
                  </a:cubicBezTo>
                  <a:cubicBezTo>
                    <a:pt x="36829" y="381"/>
                    <a:pt x="38227" y="2031"/>
                    <a:pt x="39624" y="2921"/>
                  </a:cubicBezTo>
                  <a:cubicBezTo>
                    <a:pt x="38100" y="3937"/>
                    <a:pt x="36576" y="5841"/>
                    <a:pt x="34925" y="5969"/>
                  </a:cubicBezTo>
                  <a:cubicBezTo>
                    <a:pt x="29844" y="6350"/>
                    <a:pt x="24638" y="6096"/>
                    <a:pt x="19430" y="6096"/>
                  </a:cubicBezTo>
                  <a:close/>
                  <a:moveTo>
                    <a:pt x="-4498722" y="3200526"/>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09" name="Freeform 1036">
              <a:extLst>
                <a:ext uri="{FF2B5EF4-FFF2-40B4-BE49-F238E27FC236}">
                  <a16:creationId xmlns:a16="http://schemas.microsoft.com/office/drawing/2014/main" id="{C41063F2-B9B9-443F-8346-62D1B43BFE4F}"/>
                </a:ext>
              </a:extLst>
            </p:cNvPr>
            <p:cNvSpPr/>
            <p:nvPr/>
          </p:nvSpPr>
          <p:spPr>
            <a:xfrm>
              <a:off x="7594711" y="3758013"/>
              <a:ext cx="6347" cy="36558"/>
            </a:xfrm>
            <a:custGeom>
              <a:avLst/>
              <a:gdLst/>
              <a:ahLst/>
              <a:cxnLst/>
              <a:rect l="0" t="0" r="0" b="0"/>
              <a:pathLst>
                <a:path w="6350" h="36577">
                  <a:moveTo>
                    <a:pt x="6095" y="18289"/>
                  </a:moveTo>
                  <a:cubicBezTo>
                    <a:pt x="6095" y="23241"/>
                    <a:pt x="6222" y="28321"/>
                    <a:pt x="5968" y="33274"/>
                  </a:cubicBezTo>
                  <a:cubicBezTo>
                    <a:pt x="5968" y="34418"/>
                    <a:pt x="4317" y="35434"/>
                    <a:pt x="3429" y="36577"/>
                  </a:cubicBezTo>
                  <a:cubicBezTo>
                    <a:pt x="2413" y="35434"/>
                    <a:pt x="380" y="34290"/>
                    <a:pt x="380" y="33147"/>
                  </a:cubicBezTo>
                  <a:cubicBezTo>
                    <a:pt x="127" y="23368"/>
                    <a:pt x="0" y="13590"/>
                    <a:pt x="254" y="3811"/>
                  </a:cubicBezTo>
                  <a:cubicBezTo>
                    <a:pt x="380" y="2540"/>
                    <a:pt x="2158" y="1271"/>
                    <a:pt x="3175" y="0"/>
                  </a:cubicBezTo>
                  <a:cubicBezTo>
                    <a:pt x="4191" y="1271"/>
                    <a:pt x="5968" y="2540"/>
                    <a:pt x="5968" y="3937"/>
                  </a:cubicBezTo>
                  <a:cubicBezTo>
                    <a:pt x="6350" y="8637"/>
                    <a:pt x="6095" y="13462"/>
                    <a:pt x="6095" y="18289"/>
                  </a:cubicBezTo>
                  <a:cubicBezTo>
                    <a:pt x="6095" y="18289"/>
                    <a:pt x="6095" y="18289"/>
                    <a:pt x="6095" y="18289"/>
                  </a:cubicBezTo>
                  <a:close/>
                  <a:moveTo>
                    <a:pt x="-4513962" y="3099816"/>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10" name="Freeform 1037">
              <a:extLst>
                <a:ext uri="{FF2B5EF4-FFF2-40B4-BE49-F238E27FC236}">
                  <a16:creationId xmlns:a16="http://schemas.microsoft.com/office/drawing/2014/main" id="{49719306-0940-4F0D-8360-8CE23C853C12}"/>
                </a:ext>
              </a:extLst>
            </p:cNvPr>
            <p:cNvSpPr/>
            <p:nvPr/>
          </p:nvSpPr>
          <p:spPr>
            <a:xfrm>
              <a:off x="7549140" y="3550858"/>
              <a:ext cx="15232" cy="21324"/>
            </a:xfrm>
            <a:custGeom>
              <a:avLst/>
              <a:gdLst/>
              <a:ahLst/>
              <a:cxnLst/>
              <a:rect l="0" t="0" r="0" b="0"/>
              <a:pathLst>
                <a:path w="15240" h="21335">
                  <a:moveTo>
                    <a:pt x="15240" y="21335"/>
                  </a:moveTo>
                  <a:cubicBezTo>
                    <a:pt x="5461" y="20574"/>
                    <a:pt x="0" y="8635"/>
                    <a:pt x="4953" y="0"/>
                  </a:cubicBezTo>
                  <a:cubicBezTo>
                    <a:pt x="8890" y="8254"/>
                    <a:pt x="12065" y="14732"/>
                    <a:pt x="15240" y="21335"/>
                  </a:cubicBezTo>
                  <a:close/>
                  <a:moveTo>
                    <a:pt x="-4264151" y="3307079"/>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11" name="Freeform 1038">
              <a:extLst>
                <a:ext uri="{FF2B5EF4-FFF2-40B4-BE49-F238E27FC236}">
                  <a16:creationId xmlns:a16="http://schemas.microsoft.com/office/drawing/2014/main" id="{BB2B7F7E-0076-456F-B285-A7FE8CD2C1D9}"/>
                </a:ext>
              </a:extLst>
            </p:cNvPr>
            <p:cNvSpPr/>
            <p:nvPr/>
          </p:nvSpPr>
          <p:spPr>
            <a:xfrm>
              <a:off x="7686231" y="3615212"/>
              <a:ext cx="18277" cy="11806"/>
            </a:xfrm>
            <a:custGeom>
              <a:avLst/>
              <a:gdLst/>
              <a:ahLst/>
              <a:cxnLst/>
              <a:rect l="0" t="0" r="0" b="0"/>
              <a:pathLst>
                <a:path w="18287" h="11812">
                  <a:moveTo>
                    <a:pt x="18287" y="4572"/>
                  </a:moveTo>
                  <a:cubicBezTo>
                    <a:pt x="12573" y="6859"/>
                    <a:pt x="6985" y="9018"/>
                    <a:pt x="0" y="11812"/>
                  </a:cubicBezTo>
                  <a:cubicBezTo>
                    <a:pt x="2159" y="4191"/>
                    <a:pt x="12064" y="0"/>
                    <a:pt x="18287" y="4572"/>
                  </a:cubicBezTo>
                  <a:close/>
                  <a:moveTo>
                    <a:pt x="-4448937" y="3242691"/>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12" name="Freeform 1039">
              <a:extLst>
                <a:ext uri="{FF2B5EF4-FFF2-40B4-BE49-F238E27FC236}">
                  <a16:creationId xmlns:a16="http://schemas.microsoft.com/office/drawing/2014/main" id="{746B1FF8-FE58-4F88-8375-24E8E814B66E}"/>
                </a:ext>
              </a:extLst>
            </p:cNvPr>
            <p:cNvSpPr/>
            <p:nvPr/>
          </p:nvSpPr>
          <p:spPr>
            <a:xfrm>
              <a:off x="7686230" y="3694040"/>
              <a:ext cx="21325" cy="15613"/>
            </a:xfrm>
            <a:custGeom>
              <a:avLst/>
              <a:gdLst/>
              <a:ahLst/>
              <a:cxnLst/>
              <a:rect l="0" t="0" r="0" b="0"/>
              <a:pathLst>
                <a:path w="21336" h="15621">
                  <a:moveTo>
                    <a:pt x="0" y="0"/>
                  </a:moveTo>
                  <a:cubicBezTo>
                    <a:pt x="7492" y="3556"/>
                    <a:pt x="13842" y="6476"/>
                    <a:pt x="21336" y="9906"/>
                  </a:cubicBezTo>
                  <a:cubicBezTo>
                    <a:pt x="14224" y="15621"/>
                    <a:pt x="1904" y="10032"/>
                    <a:pt x="0" y="0"/>
                  </a:cubicBezTo>
                  <a:close/>
                  <a:moveTo>
                    <a:pt x="-4523233" y="3163823"/>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13" name="Freeform 1040">
              <a:extLst>
                <a:ext uri="{FF2B5EF4-FFF2-40B4-BE49-F238E27FC236}">
                  <a16:creationId xmlns:a16="http://schemas.microsoft.com/office/drawing/2014/main" id="{2BED96A9-1979-41FC-A993-426541C12AA8}"/>
                </a:ext>
              </a:extLst>
            </p:cNvPr>
            <p:cNvSpPr/>
            <p:nvPr/>
          </p:nvSpPr>
          <p:spPr>
            <a:xfrm>
              <a:off x="7548634" y="3748874"/>
              <a:ext cx="15739" cy="21326"/>
            </a:xfrm>
            <a:custGeom>
              <a:avLst/>
              <a:gdLst/>
              <a:ahLst/>
              <a:cxnLst/>
              <a:rect l="0" t="0" r="0" b="0"/>
              <a:pathLst>
                <a:path w="15747" h="21337">
                  <a:moveTo>
                    <a:pt x="6095" y="21337"/>
                  </a:moveTo>
                  <a:cubicBezTo>
                    <a:pt x="0" y="14606"/>
                    <a:pt x="5460" y="2794"/>
                    <a:pt x="15747" y="0"/>
                  </a:cubicBezTo>
                  <a:cubicBezTo>
                    <a:pt x="12065" y="8256"/>
                    <a:pt x="9143" y="14733"/>
                    <a:pt x="6095" y="21337"/>
                  </a:cubicBezTo>
                  <a:close/>
                  <a:moveTo>
                    <a:pt x="-4461765" y="3108960"/>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14" name="Freeform 1041">
              <a:extLst>
                <a:ext uri="{FF2B5EF4-FFF2-40B4-BE49-F238E27FC236}">
                  <a16:creationId xmlns:a16="http://schemas.microsoft.com/office/drawing/2014/main" id="{12666DBE-726F-444B-98A7-8A40A93F6A42}"/>
                </a:ext>
              </a:extLst>
            </p:cNvPr>
            <p:cNvSpPr/>
            <p:nvPr/>
          </p:nvSpPr>
          <p:spPr>
            <a:xfrm>
              <a:off x="7631268" y="3553903"/>
              <a:ext cx="11805" cy="18532"/>
            </a:xfrm>
            <a:custGeom>
              <a:avLst/>
              <a:gdLst/>
              <a:ahLst/>
              <a:cxnLst/>
              <a:rect l="0" t="0" r="0" b="0"/>
              <a:pathLst>
                <a:path w="11811" h="18542">
                  <a:moveTo>
                    <a:pt x="7239" y="0"/>
                  </a:moveTo>
                  <a:cubicBezTo>
                    <a:pt x="11811" y="4192"/>
                    <a:pt x="7746" y="17399"/>
                    <a:pt x="3937" y="18288"/>
                  </a:cubicBezTo>
                  <a:cubicBezTo>
                    <a:pt x="2920" y="18542"/>
                    <a:pt x="0" y="16256"/>
                    <a:pt x="127" y="15748"/>
                  </a:cubicBezTo>
                  <a:cubicBezTo>
                    <a:pt x="2286" y="10415"/>
                    <a:pt x="4826" y="5207"/>
                    <a:pt x="7239" y="0"/>
                  </a:cubicBezTo>
                  <a:close/>
                  <a:moveTo>
                    <a:pt x="-4328033" y="3304032"/>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15" name="Freeform 1042">
              <a:extLst>
                <a:ext uri="{FF2B5EF4-FFF2-40B4-BE49-F238E27FC236}">
                  <a16:creationId xmlns:a16="http://schemas.microsoft.com/office/drawing/2014/main" id="{AF5E903F-12B2-4702-9F78-CB586C6EAEFD}"/>
                </a:ext>
              </a:extLst>
            </p:cNvPr>
            <p:cNvSpPr/>
            <p:nvPr/>
          </p:nvSpPr>
          <p:spPr>
            <a:xfrm>
              <a:off x="7488212" y="3615340"/>
              <a:ext cx="21325" cy="11679"/>
            </a:xfrm>
            <a:custGeom>
              <a:avLst/>
              <a:gdLst/>
              <a:ahLst/>
              <a:cxnLst/>
              <a:rect l="0" t="0" r="0" b="0"/>
              <a:pathLst>
                <a:path w="21336" h="11685">
                  <a:moveTo>
                    <a:pt x="21336" y="11685"/>
                  </a:moveTo>
                  <a:cubicBezTo>
                    <a:pt x="13717" y="9017"/>
                    <a:pt x="7367" y="6859"/>
                    <a:pt x="0" y="4319"/>
                  </a:cubicBezTo>
                  <a:cubicBezTo>
                    <a:pt x="6985" y="0"/>
                    <a:pt x="19305" y="4191"/>
                    <a:pt x="21336" y="11685"/>
                  </a:cubicBezTo>
                  <a:close/>
                  <a:moveTo>
                    <a:pt x="-4258056" y="3242564"/>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16" name="Freeform 1043">
              <a:extLst>
                <a:ext uri="{FF2B5EF4-FFF2-40B4-BE49-F238E27FC236}">
                  <a16:creationId xmlns:a16="http://schemas.microsoft.com/office/drawing/2014/main" id="{E0F56806-142F-4D80-98A6-4E5CB4527C72}"/>
                </a:ext>
              </a:extLst>
            </p:cNvPr>
            <p:cNvSpPr/>
            <p:nvPr/>
          </p:nvSpPr>
          <p:spPr>
            <a:xfrm>
              <a:off x="7488212" y="3696960"/>
              <a:ext cx="21580" cy="11423"/>
            </a:xfrm>
            <a:custGeom>
              <a:avLst/>
              <a:gdLst/>
              <a:ahLst/>
              <a:cxnLst/>
              <a:rect l="0" t="0" r="0" b="0"/>
              <a:pathLst>
                <a:path w="21591" h="11429">
                  <a:moveTo>
                    <a:pt x="0" y="7747"/>
                  </a:moveTo>
                  <a:cubicBezTo>
                    <a:pt x="7240" y="4826"/>
                    <a:pt x="13082" y="2285"/>
                    <a:pt x="19178" y="126"/>
                  </a:cubicBezTo>
                  <a:cubicBezTo>
                    <a:pt x="19432" y="0"/>
                    <a:pt x="21591" y="2794"/>
                    <a:pt x="21336" y="3810"/>
                  </a:cubicBezTo>
                  <a:cubicBezTo>
                    <a:pt x="20321" y="7620"/>
                    <a:pt x="5843" y="11429"/>
                    <a:pt x="0" y="7747"/>
                  </a:cubicBezTo>
                  <a:close/>
                  <a:moveTo>
                    <a:pt x="-4335780" y="3160902"/>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17" name="Freeform 1044">
              <a:extLst>
                <a:ext uri="{FF2B5EF4-FFF2-40B4-BE49-F238E27FC236}">
                  <a16:creationId xmlns:a16="http://schemas.microsoft.com/office/drawing/2014/main" id="{107AF00F-4591-4BBD-A688-AF1ECB2398D9}"/>
                </a:ext>
              </a:extLst>
            </p:cNvPr>
            <p:cNvSpPr/>
            <p:nvPr/>
          </p:nvSpPr>
          <p:spPr>
            <a:xfrm>
              <a:off x="7631396" y="3748874"/>
              <a:ext cx="14723" cy="21326"/>
            </a:xfrm>
            <a:custGeom>
              <a:avLst/>
              <a:gdLst/>
              <a:ahLst/>
              <a:cxnLst/>
              <a:rect l="0" t="0" r="0" b="0"/>
              <a:pathLst>
                <a:path w="14731" h="21337">
                  <a:moveTo>
                    <a:pt x="7874" y="21337"/>
                  </a:moveTo>
                  <a:cubicBezTo>
                    <a:pt x="5206" y="14859"/>
                    <a:pt x="2666" y="8383"/>
                    <a:pt x="0" y="1906"/>
                  </a:cubicBezTo>
                  <a:cubicBezTo>
                    <a:pt x="762" y="1271"/>
                    <a:pt x="1651" y="635"/>
                    <a:pt x="2413" y="0"/>
                  </a:cubicBezTo>
                  <a:cubicBezTo>
                    <a:pt x="4064" y="1271"/>
                    <a:pt x="6730" y="2287"/>
                    <a:pt x="7112" y="3937"/>
                  </a:cubicBezTo>
                  <a:cubicBezTo>
                    <a:pt x="8509" y="9525"/>
                    <a:pt x="14731" y="14352"/>
                    <a:pt x="11049" y="20702"/>
                  </a:cubicBezTo>
                  <a:cubicBezTo>
                    <a:pt x="9905" y="20956"/>
                    <a:pt x="8889" y="21083"/>
                    <a:pt x="7874" y="21337"/>
                  </a:cubicBezTo>
                  <a:close/>
                  <a:moveTo>
                    <a:pt x="-4544569" y="3108960"/>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pic>
          <p:nvPicPr>
            <p:cNvPr id="618" name="Picture 1045">
              <a:extLst>
                <a:ext uri="{FF2B5EF4-FFF2-40B4-BE49-F238E27FC236}">
                  <a16:creationId xmlns:a16="http://schemas.microsoft.com/office/drawing/2014/main" id="{1CDAB5F2-FD78-4809-9074-7B32DC7C5BBE}"/>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6796170" y="2698878"/>
              <a:ext cx="445029" cy="815422"/>
            </a:xfrm>
            <a:prstGeom prst="rect">
              <a:avLst/>
            </a:prstGeom>
            <a:noFill/>
          </p:spPr>
        </p:pic>
        <p:sp>
          <p:nvSpPr>
            <p:cNvPr id="621" name="Freeform 1048">
              <a:extLst>
                <a:ext uri="{FF2B5EF4-FFF2-40B4-BE49-F238E27FC236}">
                  <a16:creationId xmlns:a16="http://schemas.microsoft.com/office/drawing/2014/main" id="{54E5941D-8901-4A73-98C2-14C273529F88}"/>
                </a:ext>
              </a:extLst>
            </p:cNvPr>
            <p:cNvSpPr/>
            <p:nvPr/>
          </p:nvSpPr>
          <p:spPr>
            <a:xfrm>
              <a:off x="8027427" y="3499067"/>
              <a:ext cx="682397" cy="603190"/>
            </a:xfrm>
            <a:custGeom>
              <a:avLst/>
              <a:gdLst/>
              <a:ahLst/>
              <a:cxnLst/>
              <a:rect l="0" t="0" r="0" b="0"/>
              <a:pathLst>
                <a:path w="682752" h="603504">
                  <a:moveTo>
                    <a:pt x="0" y="603504"/>
                  </a:moveTo>
                  <a:lnTo>
                    <a:pt x="682752" y="603504"/>
                  </a:lnTo>
                  <a:lnTo>
                    <a:pt x="682752" y="0"/>
                  </a:lnTo>
                  <a:lnTo>
                    <a:pt x="0" y="0"/>
                  </a:lnTo>
                  <a:lnTo>
                    <a:pt x="0" y="603504"/>
                  </a:lnTo>
                  <a:close/>
                </a:path>
              </a:pathLst>
            </a:custGeom>
            <a:solidFill>
              <a:srgbClr val="2DB757">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EYInterstate Light"/>
                <a:ea typeface="+mn-ea"/>
                <a:cs typeface="+mn-cs"/>
              </a:endParaRPr>
            </a:p>
          </p:txBody>
        </p:sp>
        <p:pic>
          <p:nvPicPr>
            <p:cNvPr id="622" name="Picture 1049">
              <a:extLst>
                <a:ext uri="{FF2B5EF4-FFF2-40B4-BE49-F238E27FC236}">
                  <a16:creationId xmlns:a16="http://schemas.microsoft.com/office/drawing/2014/main" id="{E7CEB22F-9930-4670-AC9F-93F11596A37B}"/>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8725818" y="2698878"/>
              <a:ext cx="445919" cy="815422"/>
            </a:xfrm>
            <a:prstGeom prst="rect">
              <a:avLst/>
            </a:prstGeom>
            <a:noFill/>
          </p:spPr>
        </p:pic>
        <p:sp>
          <p:nvSpPr>
            <p:cNvPr id="623" name="Freeform 1050">
              <a:extLst>
                <a:ext uri="{FF2B5EF4-FFF2-40B4-BE49-F238E27FC236}">
                  <a16:creationId xmlns:a16="http://schemas.microsoft.com/office/drawing/2014/main" id="{1E504737-8BE1-4620-AE7E-C587CAC25265}"/>
                </a:ext>
              </a:extLst>
            </p:cNvPr>
            <p:cNvSpPr/>
            <p:nvPr/>
          </p:nvSpPr>
          <p:spPr>
            <a:xfrm>
              <a:off x="8779893" y="3499067"/>
              <a:ext cx="682397" cy="603190"/>
            </a:xfrm>
            <a:custGeom>
              <a:avLst/>
              <a:gdLst/>
              <a:ahLst/>
              <a:cxnLst/>
              <a:rect l="0" t="0" r="0" b="0"/>
              <a:pathLst>
                <a:path w="682752" h="603504">
                  <a:moveTo>
                    <a:pt x="0" y="603504"/>
                  </a:moveTo>
                  <a:lnTo>
                    <a:pt x="682752" y="603504"/>
                  </a:lnTo>
                  <a:lnTo>
                    <a:pt x="682752" y="0"/>
                  </a:lnTo>
                  <a:lnTo>
                    <a:pt x="0" y="0"/>
                  </a:lnTo>
                  <a:lnTo>
                    <a:pt x="0" y="603504"/>
                  </a:lnTo>
                  <a:close/>
                </a:path>
              </a:pathLst>
            </a:custGeom>
            <a:solidFill>
              <a:srgbClr val="2DB757">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pic>
          <p:nvPicPr>
            <p:cNvPr id="624" name="Picture 1051">
              <a:extLst>
                <a:ext uri="{FF2B5EF4-FFF2-40B4-BE49-F238E27FC236}">
                  <a16:creationId xmlns:a16="http://schemas.microsoft.com/office/drawing/2014/main" id="{B2D43C80-6FC6-4326-9CA7-919429E67C93}"/>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8319376" y="2698878"/>
              <a:ext cx="445029" cy="815422"/>
            </a:xfrm>
            <a:prstGeom prst="rect">
              <a:avLst/>
            </a:prstGeom>
            <a:noFill/>
          </p:spPr>
        </p:pic>
        <p:pic>
          <p:nvPicPr>
            <p:cNvPr id="627" name="Picture 1054">
              <a:extLst>
                <a:ext uri="{FF2B5EF4-FFF2-40B4-BE49-F238E27FC236}">
                  <a16:creationId xmlns:a16="http://schemas.microsoft.com/office/drawing/2014/main" id="{1FA513EF-5C6A-4A54-B03C-CF1372B62F32}"/>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8246771" y="3532579"/>
              <a:ext cx="246759" cy="252852"/>
            </a:xfrm>
            <a:prstGeom prst="rect">
              <a:avLst/>
            </a:prstGeom>
            <a:noFill/>
          </p:spPr>
        </p:pic>
        <p:pic>
          <p:nvPicPr>
            <p:cNvPr id="628" name="Picture 1055">
              <a:extLst>
                <a:ext uri="{FF2B5EF4-FFF2-40B4-BE49-F238E27FC236}">
                  <a16:creationId xmlns:a16="http://schemas.microsoft.com/office/drawing/2014/main" id="{F6AC229B-9A46-493B-A32B-4863AC20D6DD}"/>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8962677" y="3499068"/>
              <a:ext cx="313780" cy="316826"/>
            </a:xfrm>
            <a:prstGeom prst="rect">
              <a:avLst/>
            </a:prstGeom>
            <a:noFill/>
          </p:spPr>
        </p:pic>
        <p:sp>
          <p:nvSpPr>
            <p:cNvPr id="629" name="Rectangle 1075">
              <a:extLst>
                <a:ext uri="{FF2B5EF4-FFF2-40B4-BE49-F238E27FC236}">
                  <a16:creationId xmlns:a16="http://schemas.microsoft.com/office/drawing/2014/main" id="{03A72708-7ACF-4896-AD88-AE12DB3752CB}"/>
                </a:ext>
              </a:extLst>
            </p:cNvPr>
            <p:cNvSpPr/>
            <p:nvPr/>
          </p:nvSpPr>
          <p:spPr>
            <a:xfrm>
              <a:off x="6997114" y="1264357"/>
              <a:ext cx="1971869" cy="184442"/>
            </a:xfrm>
            <a:prstGeom prst="rect">
              <a:avLst/>
            </a:prstGeom>
            <a:solidFill>
              <a:srgbClr val="2E2E38"/>
            </a:solidFill>
          </p:spPr>
          <p:txBody>
            <a:bodyPr wrap="square" lIns="0" tIns="0" rIns="0" bIns="0">
              <a:spAutoFit/>
            </a:bodyPr>
            <a:lstStyle/>
            <a:p>
              <a:pPr marL="115708" marR="0" lvl="0" indent="0" algn="ctr" defTabSz="913486" rtl="0" eaLnBrk="1" fontAlgn="auto" latinLnBrk="0" hangingPunct="1">
                <a:lnSpc>
                  <a:spcPct val="100000"/>
                </a:lnSpc>
                <a:spcBef>
                  <a:spcPts val="0"/>
                </a:spcBef>
                <a:spcAft>
                  <a:spcPts val="300"/>
                </a:spcAft>
                <a:buClrTx/>
                <a:buSzTx/>
                <a:buFontTx/>
                <a:buNone/>
                <a:tabLst/>
                <a:defRPr/>
              </a:pPr>
              <a:r>
                <a:rPr kumimoji="0" lang="en-US" sz="1198" b="1" i="0" u="none" strike="noStrike" kern="0" cap="none" spc="0" normalizeH="0" baseline="0" noProof="0" dirty="0">
                  <a:ln>
                    <a:noFill/>
                  </a:ln>
                  <a:solidFill>
                    <a:srgbClr val="2DB757"/>
                  </a:solidFill>
                  <a:effectLst/>
                  <a:uLnTx/>
                  <a:uFillTx/>
                  <a:latin typeface="EYInterstate-LightBold"/>
                  <a:ea typeface="+mn-ea"/>
                  <a:cs typeface="+mn-cs"/>
                </a:rPr>
                <a:t>Green </a:t>
              </a:r>
              <a:r>
                <a:rPr kumimoji="0" lang="en-US" sz="1198" b="1" i="0" u="none" strike="noStrike" kern="0" cap="none" spc="-37" normalizeH="0" baseline="0" noProof="0" dirty="0">
                  <a:ln>
                    <a:noFill/>
                  </a:ln>
                  <a:solidFill>
                    <a:srgbClr val="2DB757"/>
                  </a:solidFill>
                  <a:effectLst/>
                  <a:uLnTx/>
                  <a:uFillTx/>
                  <a:latin typeface="EYInterstate-LightBold"/>
                  <a:ea typeface="+mn-ea"/>
                  <a:cs typeface="+mn-cs"/>
                </a:rPr>
                <a:t>H</a:t>
              </a:r>
              <a:r>
                <a:rPr kumimoji="0" lang="en-US" sz="1198" b="1" i="0" u="none" strike="noStrike" kern="0" cap="none" spc="-20" normalizeH="0" baseline="0" noProof="0" dirty="0">
                  <a:ln>
                    <a:noFill/>
                  </a:ln>
                  <a:solidFill>
                    <a:srgbClr val="2DB757"/>
                  </a:solidFill>
                  <a:effectLst/>
                  <a:uLnTx/>
                  <a:uFillTx/>
                  <a:latin typeface="EYInterstate-LightBold"/>
                  <a:ea typeface="+mn-ea"/>
                  <a:cs typeface="+mn-cs"/>
                </a:rPr>
                <a:t>y</a:t>
              </a:r>
              <a:r>
                <a:rPr kumimoji="0" lang="en-US" sz="1198" b="1" i="0" u="none" strike="noStrike" kern="0" cap="none" spc="-12" normalizeH="0" baseline="0" noProof="0" dirty="0">
                  <a:ln>
                    <a:noFill/>
                  </a:ln>
                  <a:solidFill>
                    <a:srgbClr val="2DB757"/>
                  </a:solidFill>
                  <a:effectLst/>
                  <a:uLnTx/>
                  <a:uFillTx/>
                  <a:latin typeface="EYInterstate-LightBold"/>
                  <a:ea typeface="+mn-ea"/>
                  <a:cs typeface="+mn-cs"/>
                </a:rPr>
                <a:t>d</a:t>
              </a:r>
              <a:r>
                <a:rPr kumimoji="0" lang="en-US" sz="1198" b="1" i="0" u="none" strike="noStrike" kern="0" cap="none" spc="-22" normalizeH="0" baseline="0" noProof="0" dirty="0">
                  <a:ln>
                    <a:noFill/>
                  </a:ln>
                  <a:solidFill>
                    <a:srgbClr val="2DB757"/>
                  </a:solidFill>
                  <a:effectLst/>
                  <a:uLnTx/>
                  <a:uFillTx/>
                  <a:latin typeface="EYInterstate-LightBold"/>
                  <a:ea typeface="+mn-ea"/>
                  <a:cs typeface="+mn-cs"/>
                </a:rPr>
                <a:t>r</a:t>
              </a:r>
              <a:r>
                <a:rPr kumimoji="0" lang="en-US" sz="1198" b="1" i="0" u="none" strike="noStrike" kern="0" cap="none" spc="-12" normalizeH="0" baseline="0" noProof="0" dirty="0">
                  <a:ln>
                    <a:noFill/>
                  </a:ln>
                  <a:solidFill>
                    <a:srgbClr val="2DB757"/>
                  </a:solidFill>
                  <a:effectLst/>
                  <a:uLnTx/>
                  <a:uFillTx/>
                  <a:latin typeface="EYInterstate-LightBold"/>
                  <a:ea typeface="+mn-ea"/>
                  <a:cs typeface="+mn-cs"/>
                </a:rPr>
                <a:t>o</a:t>
              </a:r>
              <a:r>
                <a:rPr kumimoji="0" lang="en-US" sz="1198" b="1" i="0" u="none" strike="noStrike" kern="0" cap="none" spc="-13" normalizeH="0" baseline="0" noProof="0" dirty="0">
                  <a:ln>
                    <a:noFill/>
                  </a:ln>
                  <a:solidFill>
                    <a:srgbClr val="2DB757"/>
                  </a:solidFill>
                  <a:effectLst/>
                  <a:uLnTx/>
                  <a:uFillTx/>
                  <a:latin typeface="EYInterstate-LightBold"/>
                  <a:ea typeface="+mn-ea"/>
                  <a:cs typeface="+mn-cs"/>
                </a:rPr>
                <a:t>g</a:t>
              </a:r>
              <a:r>
                <a:rPr kumimoji="0" lang="en-US" sz="1198" b="1" i="0" u="none" strike="noStrike" kern="0" cap="none" spc="0" normalizeH="0" baseline="0" noProof="0" dirty="0">
                  <a:ln>
                    <a:noFill/>
                  </a:ln>
                  <a:solidFill>
                    <a:srgbClr val="2DB757"/>
                  </a:solidFill>
                  <a:effectLst/>
                  <a:uLnTx/>
                  <a:uFillTx/>
                  <a:latin typeface="EYInterstate-LightBold"/>
                  <a:ea typeface="+mn-ea"/>
                  <a:cs typeface="+mn-cs"/>
                </a:rPr>
                <a:t>en | </a:t>
              </a:r>
              <a:r>
                <a:rPr kumimoji="0" lang="en-US" sz="1198" b="1" i="0" u="none" strike="noStrike" kern="0" cap="none" spc="0" normalizeH="0" baseline="0" noProof="0" dirty="0">
                  <a:ln>
                    <a:noFill/>
                  </a:ln>
                  <a:solidFill>
                    <a:prstClr val="white"/>
                  </a:solidFill>
                  <a:effectLst/>
                  <a:uLnTx/>
                  <a:uFillTx/>
                  <a:latin typeface="EYInterstate-LightBold"/>
                  <a:ea typeface="+mn-ea"/>
                  <a:cs typeface="+mn-cs"/>
                </a:rPr>
                <a:t>Zero Carbon </a:t>
              </a:r>
            </a:p>
          </p:txBody>
        </p:sp>
        <p:sp>
          <p:nvSpPr>
            <p:cNvPr id="630" name="Rectangle 1087">
              <a:extLst>
                <a:ext uri="{FF2B5EF4-FFF2-40B4-BE49-F238E27FC236}">
                  <a16:creationId xmlns:a16="http://schemas.microsoft.com/office/drawing/2014/main" id="{985DC3E2-8475-495F-A7F5-08932396D382}"/>
                </a:ext>
              </a:extLst>
            </p:cNvPr>
            <p:cNvSpPr/>
            <p:nvPr/>
          </p:nvSpPr>
          <p:spPr>
            <a:xfrm>
              <a:off x="6589522" y="2413270"/>
              <a:ext cx="1332481" cy="224485"/>
            </a:xfrm>
            <a:prstGeom prst="rect">
              <a:avLst/>
            </a:prstGeom>
          </p:spPr>
          <p:txBody>
            <a:bodyPr wrap="none" lIns="0" tIns="0" rIns="0" bIns="0">
              <a:spAutoFit/>
            </a:bodyPr>
            <a:lstStyle/>
            <a:p>
              <a:pPr marL="0" marR="0" lvl="0" indent="0" algn="l" defTabSz="913486" rtl="0" eaLnBrk="1" fontAlgn="auto" latinLnBrk="0" hangingPunct="1">
                <a:lnSpc>
                  <a:spcPct val="100000"/>
                </a:lnSpc>
                <a:spcBef>
                  <a:spcPts val="0"/>
                </a:spcBef>
                <a:spcAft>
                  <a:spcPts val="0"/>
                </a:spcAft>
                <a:buClrTx/>
                <a:buSzTx/>
                <a:buFontTx/>
                <a:buNone/>
                <a:tabLst/>
                <a:defRPr/>
              </a:pP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Electricity generation fro</a:t>
              </a:r>
              <a:r>
                <a:rPr kumimoji="0" lang="en-US" sz="792" b="1" i="0" u="none" strike="noStrike" kern="0" cap="none" spc="-11" normalizeH="0" baseline="0" noProof="0" dirty="0">
                  <a:ln>
                    <a:noFill/>
                  </a:ln>
                  <a:solidFill>
                    <a:srgbClr val="2E2E38"/>
                  </a:solidFill>
                  <a:effectLst/>
                  <a:uLnTx/>
                  <a:uFillTx/>
                  <a:latin typeface="EYInterstate-LightBold"/>
                  <a:ea typeface="+mn-ea"/>
                  <a:cs typeface="+mn-cs"/>
                </a:rPr>
                <a:t>m </a:t>
              </a:r>
            </a:p>
            <a:p>
              <a:pPr marL="121797" marR="0" lvl="0" indent="0" algn="l" defTabSz="913486" rtl="0" eaLnBrk="1" fontAlgn="auto" latinLnBrk="0" hangingPunct="1">
                <a:lnSpc>
                  <a:spcPts val="815"/>
                </a:lnSpc>
                <a:spcBef>
                  <a:spcPts val="0"/>
                </a:spcBef>
                <a:spcAft>
                  <a:spcPts val="0"/>
                </a:spcAft>
                <a:buClrTx/>
                <a:buSzTx/>
                <a:buFontTx/>
                <a:buNone/>
                <a:tabLst/>
                <a:defRPr/>
              </a:pPr>
              <a:r>
                <a:rPr kumimoji="0" lang="en-US" sz="792" b="1" i="0" u="none" strike="noStrike" kern="0" cap="none" spc="-12" normalizeH="0" baseline="0" noProof="0" dirty="0">
                  <a:ln>
                    <a:noFill/>
                  </a:ln>
                  <a:solidFill>
                    <a:srgbClr val="2E2E38"/>
                  </a:solidFill>
                  <a:effectLst/>
                  <a:uLnTx/>
                  <a:uFillTx/>
                  <a:latin typeface="EYInterstate-LightBold"/>
                  <a:ea typeface="+mn-ea"/>
                  <a:cs typeface="+mn-cs"/>
                </a:rPr>
                <a:t>w</a:t>
              </a: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ind and</a:t>
              </a:r>
              <a:r>
                <a:rPr kumimoji="0" lang="en-US" sz="792" b="1" i="0" u="none" strike="noStrike" kern="0" cap="none" spc="-23" normalizeH="0" baseline="0" noProof="0" dirty="0">
                  <a:ln>
                    <a:noFill/>
                  </a:ln>
                  <a:solidFill>
                    <a:srgbClr val="2E2E38"/>
                  </a:solidFill>
                  <a:effectLst/>
                  <a:uLnTx/>
                  <a:uFillTx/>
                  <a:latin typeface="EYInterstate-LightBold"/>
                  <a:ea typeface="+mn-ea"/>
                  <a:cs typeface="+mn-cs"/>
                </a:rPr>
                <a:t> </a:t>
              </a:r>
              <a:r>
                <a:rPr kumimoji="0" lang="en-US" sz="792" b="1" i="0" u="none" strike="noStrike" kern="0" cap="none" spc="-12" normalizeH="0" baseline="0" noProof="0" dirty="0">
                  <a:ln>
                    <a:noFill/>
                  </a:ln>
                  <a:solidFill>
                    <a:srgbClr val="2E2E38"/>
                  </a:solidFill>
                  <a:effectLst/>
                  <a:uLnTx/>
                  <a:uFillTx/>
                  <a:latin typeface="EYInterstate-LightBold"/>
                  <a:ea typeface="+mn-ea"/>
                  <a:cs typeface="+mn-cs"/>
                </a:rPr>
                <a:t>s</a:t>
              </a: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olar energy</a:t>
              </a:r>
            </a:p>
          </p:txBody>
        </p:sp>
        <p:sp>
          <p:nvSpPr>
            <p:cNvPr id="631" name="Rectangle 1088">
              <a:extLst>
                <a:ext uri="{FF2B5EF4-FFF2-40B4-BE49-F238E27FC236}">
                  <a16:creationId xmlns:a16="http://schemas.microsoft.com/office/drawing/2014/main" id="{5C5B0D85-BA5D-4D8B-B746-5CFD32382CBA}"/>
                </a:ext>
              </a:extLst>
            </p:cNvPr>
            <p:cNvSpPr/>
            <p:nvPr/>
          </p:nvSpPr>
          <p:spPr>
            <a:xfrm>
              <a:off x="8197138" y="2413270"/>
              <a:ext cx="1127296" cy="224485"/>
            </a:xfrm>
            <a:prstGeom prst="rect">
              <a:avLst/>
            </a:prstGeom>
          </p:spPr>
          <p:txBody>
            <a:bodyPr wrap="none" lIns="0" tIns="0" rIns="0" bIns="0">
              <a:spAutoFit/>
            </a:bodyPr>
            <a:lstStyle/>
            <a:p>
              <a:pPr marL="0" marR="0" lvl="0" indent="0" algn="l" defTabSz="913486" rtl="0" eaLnBrk="1" fontAlgn="auto" latinLnBrk="0" hangingPunct="1">
                <a:lnSpc>
                  <a:spcPct val="100000"/>
                </a:lnSpc>
                <a:spcBef>
                  <a:spcPts val="0"/>
                </a:spcBef>
                <a:spcAft>
                  <a:spcPts val="0"/>
                </a:spcAft>
                <a:buClrTx/>
                <a:buSzTx/>
                <a:buFontTx/>
                <a:buNone/>
                <a:tabLst/>
                <a:defRPr/>
              </a:pP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Hydrogen derived fro</a:t>
              </a:r>
              <a:r>
                <a:rPr kumimoji="0" lang="en-US" sz="792" b="1" i="0" u="none" strike="noStrike" kern="0" cap="none" spc="-11" normalizeH="0" baseline="0" noProof="0" dirty="0">
                  <a:ln>
                    <a:noFill/>
                  </a:ln>
                  <a:solidFill>
                    <a:srgbClr val="2E2E38"/>
                  </a:solidFill>
                  <a:effectLst/>
                  <a:uLnTx/>
                  <a:uFillTx/>
                  <a:latin typeface="EYInterstate-LightBold"/>
                  <a:ea typeface="+mn-ea"/>
                  <a:cs typeface="+mn-cs"/>
                </a:rPr>
                <a:t>m </a:t>
              </a:r>
            </a:p>
            <a:p>
              <a:pPr marL="197921" marR="0" lvl="0" indent="0" algn="l" defTabSz="913486" rtl="0" eaLnBrk="1" fontAlgn="auto" latinLnBrk="0" hangingPunct="1">
                <a:lnSpc>
                  <a:spcPts val="815"/>
                </a:lnSpc>
                <a:spcBef>
                  <a:spcPts val="0"/>
                </a:spcBef>
                <a:spcAft>
                  <a:spcPts val="0"/>
                </a:spcAft>
                <a:buClrTx/>
                <a:buSzTx/>
                <a:buFontTx/>
                <a:buNone/>
                <a:tabLst/>
                <a:defRPr/>
              </a:pP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organic</a:t>
              </a:r>
              <a:r>
                <a:rPr kumimoji="0" lang="en-US" sz="792" b="1" i="0" u="none" strike="noStrike" kern="0" cap="none" spc="-23" normalizeH="0" baseline="0" noProof="0" dirty="0">
                  <a:ln>
                    <a:noFill/>
                  </a:ln>
                  <a:solidFill>
                    <a:srgbClr val="2E2E38"/>
                  </a:solidFill>
                  <a:effectLst/>
                  <a:uLnTx/>
                  <a:uFillTx/>
                  <a:latin typeface="EYInterstate-LightBold"/>
                  <a:ea typeface="+mn-ea"/>
                  <a:cs typeface="+mn-cs"/>
                </a:rPr>
                <a:t> </a:t>
              </a:r>
              <a:r>
                <a:rPr kumimoji="0" lang="en-US" sz="792" b="1" i="0" u="none" strike="noStrike" kern="0" cap="none" spc="-11" normalizeH="0" baseline="0" noProof="0" dirty="0">
                  <a:ln>
                    <a:noFill/>
                  </a:ln>
                  <a:solidFill>
                    <a:srgbClr val="2E2E38"/>
                  </a:solidFill>
                  <a:effectLst/>
                  <a:uLnTx/>
                  <a:uFillTx/>
                  <a:latin typeface="EYInterstate-LightBold"/>
                  <a:ea typeface="+mn-ea"/>
                  <a:cs typeface="+mn-cs"/>
                </a:rPr>
                <a:t>m</a:t>
              </a: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atter</a:t>
              </a:r>
            </a:p>
          </p:txBody>
        </p:sp>
        <p:sp>
          <p:nvSpPr>
            <p:cNvPr id="632" name="Rectangle 1089">
              <a:extLst>
                <a:ext uri="{FF2B5EF4-FFF2-40B4-BE49-F238E27FC236}">
                  <a16:creationId xmlns:a16="http://schemas.microsoft.com/office/drawing/2014/main" id="{28A35EE7-B5D4-4C49-AA1A-EDD3B45D64EE}"/>
                </a:ext>
              </a:extLst>
            </p:cNvPr>
            <p:cNvSpPr/>
            <p:nvPr/>
          </p:nvSpPr>
          <p:spPr>
            <a:xfrm>
              <a:off x="6574288" y="3822936"/>
              <a:ext cx="597728" cy="186333"/>
            </a:xfrm>
            <a:prstGeom prst="rect">
              <a:avLst/>
            </a:prstGeom>
          </p:spPr>
          <p:txBody>
            <a:bodyPr wrap="none" lIns="0" tIns="0" rIns="0" bIns="0">
              <a:spAutoFit/>
            </a:bodyPr>
            <a:lstStyle/>
            <a:p>
              <a:pPr marL="0" marR="0" lvl="0" indent="0" algn="l" defTabSz="913486" rtl="0" eaLnBrk="1" fontAlgn="auto" latinLnBrk="0" hangingPunct="1">
                <a:lnSpc>
                  <a:spcPct val="100000"/>
                </a:lnSpc>
                <a:spcBef>
                  <a:spcPts val="0"/>
                </a:spcBef>
                <a:spcAft>
                  <a:spcPts val="0"/>
                </a:spcAft>
                <a:buClrTx/>
                <a:buSzTx/>
                <a:buFontTx/>
                <a:buNone/>
                <a:tabLst/>
                <a:defRPr/>
              </a:pPr>
              <a:r>
                <a:rPr kumimoji="0" lang="en-US" sz="794" b="1" i="0" u="none" strike="noStrike" kern="0" cap="none" spc="0" normalizeH="0" baseline="0" noProof="0" dirty="0">
                  <a:ln>
                    <a:noFill/>
                  </a:ln>
                  <a:solidFill>
                    <a:srgbClr val="2E2E38"/>
                  </a:solidFill>
                  <a:effectLst/>
                  <a:uLnTx/>
                  <a:uFillTx/>
                  <a:latin typeface="EYInterstate-LightBold"/>
                  <a:ea typeface="+mn-ea"/>
                  <a:cs typeface="+mn-cs"/>
                </a:rPr>
                <a:t>Electroly</a:t>
              </a:r>
              <a:r>
                <a:rPr kumimoji="0" lang="en-US" sz="794" b="1" i="0" u="none" strike="noStrike" kern="0" cap="none" spc="-13" normalizeH="0" baseline="0" noProof="0" dirty="0">
                  <a:ln>
                    <a:noFill/>
                  </a:ln>
                  <a:solidFill>
                    <a:srgbClr val="2E2E38"/>
                  </a:solidFill>
                  <a:effectLst/>
                  <a:uLnTx/>
                  <a:uFillTx/>
                  <a:latin typeface="EYInterstate-LightBold"/>
                  <a:ea typeface="+mn-ea"/>
                  <a:cs typeface="+mn-cs"/>
                </a:rPr>
                <a:t>s</a:t>
              </a:r>
              <a:r>
                <a:rPr kumimoji="0" lang="en-US" sz="794" b="1" i="0" u="none" strike="noStrike" kern="0" cap="none" spc="0" normalizeH="0" baseline="0" noProof="0" dirty="0">
                  <a:ln>
                    <a:noFill/>
                  </a:ln>
                  <a:solidFill>
                    <a:srgbClr val="2E2E38"/>
                  </a:solidFill>
                  <a:effectLst/>
                  <a:uLnTx/>
                  <a:uFillTx/>
                  <a:latin typeface="EYInterstate-LightBold"/>
                  <a:ea typeface="+mn-ea"/>
                  <a:cs typeface="+mn-cs"/>
                </a:rPr>
                <a:t>i</a:t>
              </a:r>
              <a:r>
                <a:rPr kumimoji="0" lang="en-US" sz="794" b="1" i="0" u="none" strike="noStrike" kern="0" cap="none" spc="-13" normalizeH="0" baseline="0" noProof="0" dirty="0">
                  <a:ln>
                    <a:noFill/>
                  </a:ln>
                  <a:solidFill>
                    <a:srgbClr val="2E2E38"/>
                  </a:solidFill>
                  <a:effectLst/>
                  <a:uLnTx/>
                  <a:uFillTx/>
                  <a:latin typeface="EYInterstate-LightBold"/>
                  <a:ea typeface="+mn-ea"/>
                  <a:cs typeface="+mn-cs"/>
                </a:rPr>
                <a:t>s </a:t>
              </a:r>
            </a:p>
            <a:p>
              <a:pPr marL="9134" marR="0" lvl="0" indent="0" algn="l" defTabSz="913486" rtl="0" eaLnBrk="1" fontAlgn="auto" latinLnBrk="0" hangingPunct="1">
                <a:lnSpc>
                  <a:spcPts val="519"/>
                </a:lnSpc>
                <a:spcBef>
                  <a:spcPts val="0"/>
                </a:spcBef>
                <a:spcAft>
                  <a:spcPts val="0"/>
                </a:spcAft>
                <a:buClrTx/>
                <a:buSzTx/>
                <a:buFontTx/>
                <a:buNone/>
                <a:tabLst/>
                <a:defRPr/>
              </a:pPr>
              <a:r>
                <a:rPr kumimoji="0" lang="en-US" sz="503" b="1" i="0" u="none" strike="noStrike" kern="0" cap="none" spc="-11" normalizeH="0" baseline="0" noProof="0" dirty="0">
                  <a:ln>
                    <a:noFill/>
                  </a:ln>
                  <a:solidFill>
                    <a:srgbClr val="2E2E38"/>
                  </a:solidFill>
                  <a:effectLst/>
                  <a:uLnTx/>
                  <a:uFillTx/>
                  <a:latin typeface="EYInterstate-LightBold"/>
                  <a:ea typeface="+mn-ea"/>
                  <a:cs typeface="+mn-cs"/>
                </a:rPr>
                <a:t>(</a:t>
              </a:r>
              <a:r>
                <a:rPr kumimoji="0" lang="en-US" sz="503" b="1" i="0" u="none" strike="noStrike" kern="0" cap="none" spc="0" normalizeH="0" baseline="0" noProof="0" dirty="0">
                  <a:ln>
                    <a:noFill/>
                  </a:ln>
                  <a:solidFill>
                    <a:srgbClr val="2E2E38"/>
                  </a:solidFill>
                  <a:effectLst/>
                  <a:uLnTx/>
                  <a:uFillTx/>
                  <a:latin typeface="EYInterstate-LightBold"/>
                  <a:ea typeface="+mn-ea"/>
                  <a:cs typeface="+mn-cs"/>
                </a:rPr>
                <a:t>ALK/PEM/SOEC)</a:t>
              </a:r>
            </a:p>
          </p:txBody>
        </p:sp>
        <p:sp>
          <p:nvSpPr>
            <p:cNvPr id="633" name="Rectangle 1094">
              <a:extLst>
                <a:ext uri="{FF2B5EF4-FFF2-40B4-BE49-F238E27FC236}">
                  <a16:creationId xmlns:a16="http://schemas.microsoft.com/office/drawing/2014/main" id="{D26AC4D3-B1C3-43A7-A5C4-5CF24BD618A3}"/>
                </a:ext>
              </a:extLst>
            </p:cNvPr>
            <p:cNvSpPr/>
            <p:nvPr/>
          </p:nvSpPr>
          <p:spPr>
            <a:xfrm>
              <a:off x="7350871" y="3822936"/>
              <a:ext cx="509820" cy="121893"/>
            </a:xfrm>
            <a:prstGeom prst="rect">
              <a:avLst/>
            </a:prstGeom>
          </p:spPr>
          <p:txBody>
            <a:bodyPr wrap="none" lIns="0" tIns="0" rIns="0" bIns="0">
              <a:spAutoFit/>
            </a:bodyPr>
            <a:lstStyle/>
            <a:p>
              <a:pPr marL="0" marR="0" lvl="0" indent="0" algn="l" defTabSz="913486" rtl="0" eaLnBrk="1" fontAlgn="auto" latinLnBrk="0" hangingPunct="1">
                <a:lnSpc>
                  <a:spcPct val="100000"/>
                </a:lnSpc>
                <a:spcBef>
                  <a:spcPts val="0"/>
                </a:spcBef>
                <a:spcAft>
                  <a:spcPts val="0"/>
                </a:spcAft>
                <a:buClrTx/>
                <a:buSzTx/>
                <a:buFontTx/>
                <a:buNone/>
                <a:tabLst>
                  <a:tab pos="804754" algn="l"/>
                </a:tabLst>
                <a:defRPr/>
              </a:pP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Photoly</a:t>
              </a:r>
              <a:r>
                <a:rPr kumimoji="0" lang="en-US" sz="792" b="1" i="0" u="none" strike="noStrike" kern="0" cap="none" spc="-12" normalizeH="0" baseline="0" noProof="0" dirty="0">
                  <a:ln>
                    <a:noFill/>
                  </a:ln>
                  <a:solidFill>
                    <a:srgbClr val="2E2E38"/>
                  </a:solidFill>
                  <a:effectLst/>
                  <a:uLnTx/>
                  <a:uFillTx/>
                  <a:latin typeface="EYInterstate-LightBold"/>
                  <a:ea typeface="+mn-ea"/>
                  <a:cs typeface="+mn-cs"/>
                </a:rPr>
                <a:t>s</a:t>
              </a: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is</a:t>
              </a:r>
              <a:endParaRPr kumimoji="0" lang="en-US" sz="1198" b="1" i="0" u="none" strike="noStrike" kern="0" cap="none" spc="0" normalizeH="0" baseline="67803" noProof="0" dirty="0">
                <a:ln>
                  <a:noFill/>
                </a:ln>
                <a:solidFill>
                  <a:srgbClr val="2E2E38"/>
                </a:solidFill>
                <a:effectLst/>
                <a:uLnTx/>
                <a:uFillTx/>
                <a:latin typeface="EYInterstate-LightBold"/>
                <a:ea typeface="+mn-ea"/>
                <a:cs typeface="+mn-cs"/>
              </a:endParaRPr>
            </a:p>
          </p:txBody>
        </p:sp>
        <p:sp>
          <p:nvSpPr>
            <p:cNvPr id="634" name="Rectangle 1095">
              <a:extLst>
                <a:ext uri="{FF2B5EF4-FFF2-40B4-BE49-F238E27FC236}">
                  <a16:creationId xmlns:a16="http://schemas.microsoft.com/office/drawing/2014/main" id="{A14C7E7F-E456-46B4-B2CB-A9AACDC82807}"/>
                </a:ext>
              </a:extLst>
            </p:cNvPr>
            <p:cNvSpPr/>
            <p:nvPr/>
          </p:nvSpPr>
          <p:spPr>
            <a:xfrm>
              <a:off x="8116408" y="3822936"/>
              <a:ext cx="528991" cy="243785"/>
            </a:xfrm>
            <a:prstGeom prst="rect">
              <a:avLst/>
            </a:prstGeom>
          </p:spPr>
          <p:txBody>
            <a:bodyPr wrap="none" lIns="0" tIns="0" rIns="0" bIns="0">
              <a:spAutoFit/>
            </a:bodyPr>
            <a:lstStyle/>
            <a:p>
              <a:pPr marL="0" marR="0" lvl="0" indent="0" algn="ctr" defTabSz="913486" rtl="0" eaLnBrk="1" fontAlgn="auto" latinLnBrk="0" hangingPunct="1">
                <a:lnSpc>
                  <a:spcPct val="100000"/>
                </a:lnSpc>
                <a:spcBef>
                  <a:spcPts val="0"/>
                </a:spcBef>
                <a:spcAft>
                  <a:spcPts val="0"/>
                </a:spcAft>
                <a:buClrTx/>
                <a:buSzTx/>
                <a:buFontTx/>
                <a:buNone/>
                <a:tabLst/>
                <a:defRPr/>
              </a:pP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Microbial </a:t>
              </a:r>
            </a:p>
            <a:p>
              <a:pPr marL="0" marR="0" lvl="0" indent="0" algn="ctr" defTabSz="913486" rtl="0" eaLnBrk="1" fontAlgn="auto" latinLnBrk="0" hangingPunct="1">
                <a:lnSpc>
                  <a:spcPct val="100000"/>
                </a:lnSpc>
                <a:spcBef>
                  <a:spcPts val="0"/>
                </a:spcBef>
                <a:spcAft>
                  <a:spcPts val="0"/>
                </a:spcAft>
                <a:buClrTx/>
                <a:buSzTx/>
                <a:buFontTx/>
                <a:buNone/>
                <a:tabLst/>
                <a:defRPr/>
              </a:pP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Production</a:t>
              </a:r>
            </a:p>
          </p:txBody>
        </p:sp>
        <p:sp>
          <p:nvSpPr>
            <p:cNvPr id="635" name="Rectangle 1096">
              <a:extLst>
                <a:ext uri="{FF2B5EF4-FFF2-40B4-BE49-F238E27FC236}">
                  <a16:creationId xmlns:a16="http://schemas.microsoft.com/office/drawing/2014/main" id="{959D7A14-7266-46F2-8179-D4DE5DB20E10}"/>
                </a:ext>
              </a:extLst>
            </p:cNvPr>
            <p:cNvSpPr/>
            <p:nvPr/>
          </p:nvSpPr>
          <p:spPr>
            <a:xfrm>
              <a:off x="8852371" y="3822936"/>
              <a:ext cx="561116" cy="224485"/>
            </a:xfrm>
            <a:prstGeom prst="rect">
              <a:avLst/>
            </a:prstGeom>
          </p:spPr>
          <p:txBody>
            <a:bodyPr wrap="none" lIns="0" tIns="0" rIns="0" bIns="0">
              <a:spAutoFit/>
            </a:bodyPr>
            <a:lstStyle/>
            <a:p>
              <a:pPr marL="76124" marR="0" lvl="0" indent="0" algn="l" defTabSz="913486" rtl="0" eaLnBrk="1" fontAlgn="auto" latinLnBrk="0" hangingPunct="1">
                <a:lnSpc>
                  <a:spcPct val="100000"/>
                </a:lnSpc>
                <a:spcBef>
                  <a:spcPts val="0"/>
                </a:spcBef>
                <a:spcAft>
                  <a:spcPts val="0"/>
                </a:spcAft>
                <a:buClrTx/>
                <a:buSzTx/>
                <a:buFontTx/>
                <a:buNone/>
                <a:tabLst/>
                <a:defRPr/>
              </a:pP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Bio</a:t>
              </a:r>
              <a:r>
                <a:rPr kumimoji="0" lang="en-US" sz="792" b="1" i="0" u="none" strike="noStrike" kern="0" cap="none" spc="-11" normalizeH="0" baseline="0" noProof="0" dirty="0">
                  <a:ln>
                    <a:noFill/>
                  </a:ln>
                  <a:solidFill>
                    <a:srgbClr val="2E2E38"/>
                  </a:solidFill>
                  <a:effectLst/>
                  <a:uLnTx/>
                  <a:uFillTx/>
                  <a:latin typeface="EYInterstate-LightBold"/>
                  <a:ea typeface="+mn-ea"/>
                  <a:cs typeface="+mn-cs"/>
                </a:rPr>
                <a:t>m</a:t>
              </a: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a</a:t>
              </a:r>
              <a:r>
                <a:rPr kumimoji="0" lang="en-US" sz="792" b="1" i="0" u="none" strike="noStrike" kern="0" cap="none" spc="-12" normalizeH="0" baseline="0" noProof="0" dirty="0">
                  <a:ln>
                    <a:noFill/>
                  </a:ln>
                  <a:solidFill>
                    <a:srgbClr val="2E2E38"/>
                  </a:solidFill>
                  <a:effectLst/>
                  <a:uLnTx/>
                  <a:uFillTx/>
                  <a:latin typeface="EYInterstate-LightBold"/>
                  <a:ea typeface="+mn-ea"/>
                  <a:cs typeface="+mn-cs"/>
                </a:rPr>
                <a:t>ss </a:t>
              </a:r>
            </a:p>
            <a:p>
              <a:pPr marL="0" marR="0" lvl="0" indent="0" algn="l" defTabSz="913486" rtl="0" eaLnBrk="1" fontAlgn="auto" latinLnBrk="0" hangingPunct="1">
                <a:lnSpc>
                  <a:spcPts val="815"/>
                </a:lnSpc>
                <a:spcBef>
                  <a:spcPts val="0"/>
                </a:spcBef>
                <a:spcAft>
                  <a:spcPts val="0"/>
                </a:spcAft>
                <a:buClrTx/>
                <a:buSzTx/>
                <a:buFontTx/>
                <a:buNone/>
                <a:tabLst/>
                <a:defRPr/>
              </a:pP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ga</a:t>
              </a:r>
              <a:r>
                <a:rPr kumimoji="0" lang="en-US" sz="792" b="1" i="0" u="none" strike="noStrike" kern="0" cap="none" spc="-12" normalizeH="0" baseline="0" noProof="0" dirty="0">
                  <a:ln>
                    <a:noFill/>
                  </a:ln>
                  <a:solidFill>
                    <a:srgbClr val="2E2E38"/>
                  </a:solidFill>
                  <a:effectLst/>
                  <a:uLnTx/>
                  <a:uFillTx/>
                  <a:latin typeface="EYInterstate-LightBold"/>
                  <a:ea typeface="+mn-ea"/>
                  <a:cs typeface="+mn-cs"/>
                </a:rPr>
                <a:t>s</a:t>
              </a: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ification</a:t>
              </a:r>
            </a:p>
          </p:txBody>
        </p:sp>
        <p:cxnSp>
          <p:nvCxnSpPr>
            <p:cNvPr id="28" name="Straight Connector 27">
              <a:extLst>
                <a:ext uri="{FF2B5EF4-FFF2-40B4-BE49-F238E27FC236}">
                  <a16:creationId xmlns:a16="http://schemas.microsoft.com/office/drawing/2014/main" id="{F2B2EEA2-E3A8-4CD7-B734-8D36DB48EFE4}"/>
                </a:ext>
              </a:extLst>
            </p:cNvPr>
            <p:cNvCxnSpPr>
              <a:cxnSpLocks/>
            </p:cNvCxnSpPr>
            <p:nvPr/>
          </p:nvCxnSpPr>
          <p:spPr>
            <a:xfrm>
              <a:off x="6839606" y="4328479"/>
              <a:ext cx="2275392"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0CB0C1C-D820-477E-8394-0E8B1B8FF5CC}"/>
                </a:ext>
              </a:extLst>
            </p:cNvPr>
            <p:cNvCxnSpPr>
              <a:cxnSpLocks/>
            </p:cNvCxnSpPr>
            <p:nvPr/>
          </p:nvCxnSpPr>
          <p:spPr>
            <a:xfrm flipV="1">
              <a:off x="6839327" y="4104638"/>
              <a:ext cx="0" cy="229147"/>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449" name="Straight Connector 448">
              <a:extLst>
                <a:ext uri="{FF2B5EF4-FFF2-40B4-BE49-F238E27FC236}">
                  <a16:creationId xmlns:a16="http://schemas.microsoft.com/office/drawing/2014/main" id="{9AD12609-004D-4513-AFCC-39531E1F0D92}"/>
                </a:ext>
              </a:extLst>
            </p:cNvPr>
            <p:cNvCxnSpPr>
              <a:cxnSpLocks/>
            </p:cNvCxnSpPr>
            <p:nvPr/>
          </p:nvCxnSpPr>
          <p:spPr>
            <a:xfrm flipV="1">
              <a:off x="7593915" y="4092020"/>
              <a:ext cx="0" cy="229147"/>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450" name="Straight Connector 449">
              <a:extLst>
                <a:ext uri="{FF2B5EF4-FFF2-40B4-BE49-F238E27FC236}">
                  <a16:creationId xmlns:a16="http://schemas.microsoft.com/office/drawing/2014/main" id="{1429DBF0-C5C1-474D-9726-CC342FAFCD9B}"/>
                </a:ext>
              </a:extLst>
            </p:cNvPr>
            <p:cNvCxnSpPr>
              <a:cxnSpLocks/>
            </p:cNvCxnSpPr>
            <p:nvPr/>
          </p:nvCxnSpPr>
          <p:spPr>
            <a:xfrm flipV="1">
              <a:off x="8376821" y="4092020"/>
              <a:ext cx="0" cy="229147"/>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D740A18B-506F-46B6-9B21-C0611EE03AB0}"/>
                </a:ext>
              </a:extLst>
            </p:cNvPr>
            <p:cNvCxnSpPr>
              <a:cxnSpLocks/>
            </p:cNvCxnSpPr>
            <p:nvPr/>
          </p:nvCxnSpPr>
          <p:spPr>
            <a:xfrm>
              <a:off x="7986716" y="4327435"/>
              <a:ext cx="0" cy="49500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57" name="Straight Connector 456">
              <a:extLst>
                <a:ext uri="{FF2B5EF4-FFF2-40B4-BE49-F238E27FC236}">
                  <a16:creationId xmlns:a16="http://schemas.microsoft.com/office/drawing/2014/main" id="{04B99274-9F48-4C11-95B3-9690671CF9D6}"/>
                </a:ext>
              </a:extLst>
            </p:cNvPr>
            <p:cNvCxnSpPr>
              <a:cxnSpLocks/>
            </p:cNvCxnSpPr>
            <p:nvPr/>
          </p:nvCxnSpPr>
          <p:spPr>
            <a:xfrm flipV="1">
              <a:off x="9114821" y="4099332"/>
              <a:ext cx="0" cy="229147"/>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grpSp>
        <p:nvGrpSpPr>
          <p:cNvPr id="52" name="Yellow Hydrogen">
            <a:extLst>
              <a:ext uri="{FF2B5EF4-FFF2-40B4-BE49-F238E27FC236}">
                <a16:creationId xmlns:a16="http://schemas.microsoft.com/office/drawing/2014/main" id="{145BA72E-D43B-41E5-A070-D3B36F32FAA0}"/>
              </a:ext>
            </a:extLst>
          </p:cNvPr>
          <p:cNvGrpSpPr/>
          <p:nvPr/>
        </p:nvGrpSpPr>
        <p:grpSpPr>
          <a:xfrm>
            <a:off x="9583122" y="1188009"/>
            <a:ext cx="2107101" cy="3666732"/>
            <a:chOff x="9588106" y="1186841"/>
            <a:chExt cx="2108197" cy="3668641"/>
          </a:xfrm>
        </p:grpSpPr>
        <p:sp>
          <p:nvSpPr>
            <p:cNvPr id="638" name="Freeform 717">
              <a:extLst>
                <a:ext uri="{FF2B5EF4-FFF2-40B4-BE49-F238E27FC236}">
                  <a16:creationId xmlns:a16="http://schemas.microsoft.com/office/drawing/2014/main" id="{CC164912-3CCB-4485-907C-6317D986AB02}"/>
                </a:ext>
              </a:extLst>
            </p:cNvPr>
            <p:cNvSpPr/>
            <p:nvPr/>
          </p:nvSpPr>
          <p:spPr>
            <a:xfrm>
              <a:off x="9610040" y="1365057"/>
              <a:ext cx="1977122" cy="3104295"/>
            </a:xfrm>
            <a:custGeom>
              <a:avLst/>
              <a:gdLst/>
              <a:ahLst/>
              <a:cxnLst/>
              <a:rect l="0" t="0" r="0" b="0"/>
              <a:pathLst>
                <a:path w="1978152" h="3105912">
                  <a:moveTo>
                    <a:pt x="0" y="3105912"/>
                  </a:moveTo>
                  <a:lnTo>
                    <a:pt x="1978152" y="3105912"/>
                  </a:lnTo>
                  <a:lnTo>
                    <a:pt x="1978152" y="0"/>
                  </a:lnTo>
                  <a:lnTo>
                    <a:pt x="0" y="0"/>
                  </a:lnTo>
                  <a:lnTo>
                    <a:pt x="0" y="3105912"/>
                  </a:lnTo>
                  <a:close/>
                </a:path>
              </a:pathLst>
            </a:custGeom>
            <a:solidFill>
              <a:srgbClr val="2E2E38">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639" name="Freeform 718">
              <a:extLst>
                <a:ext uri="{FF2B5EF4-FFF2-40B4-BE49-F238E27FC236}">
                  <a16:creationId xmlns:a16="http://schemas.microsoft.com/office/drawing/2014/main" id="{64B2C24D-290A-4AC7-8625-B1A838246621}"/>
                </a:ext>
              </a:extLst>
            </p:cNvPr>
            <p:cNvSpPr/>
            <p:nvPr/>
          </p:nvSpPr>
          <p:spPr>
            <a:xfrm>
              <a:off x="9610040" y="1365057"/>
              <a:ext cx="1977122" cy="3163700"/>
            </a:xfrm>
            <a:custGeom>
              <a:avLst/>
              <a:gdLst/>
              <a:ahLst/>
              <a:cxnLst/>
              <a:rect l="0" t="0" r="0" b="0"/>
              <a:pathLst>
                <a:path w="1978152" h="3105912">
                  <a:moveTo>
                    <a:pt x="0" y="3105912"/>
                  </a:moveTo>
                  <a:lnTo>
                    <a:pt x="1978152" y="3105912"/>
                  </a:lnTo>
                  <a:lnTo>
                    <a:pt x="1978152" y="0"/>
                  </a:lnTo>
                  <a:lnTo>
                    <a:pt x="0" y="0"/>
                  </a:lnTo>
                  <a:lnTo>
                    <a:pt x="0" y="3105912"/>
                  </a:lnTo>
                  <a:close/>
                </a:path>
              </a:pathLst>
            </a:custGeom>
            <a:noFill/>
            <a:ln w="9525" cap="flat" cmpd="sng">
              <a:solidFill>
                <a:srgbClr val="FFE600">
                  <a:alpha val="100000"/>
                </a:srgbClr>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640" name="Freeform 725">
              <a:extLst>
                <a:ext uri="{FF2B5EF4-FFF2-40B4-BE49-F238E27FC236}">
                  <a16:creationId xmlns:a16="http://schemas.microsoft.com/office/drawing/2014/main" id="{5B9D9F99-56C1-45AE-8043-166652368E04}"/>
                </a:ext>
              </a:extLst>
            </p:cNvPr>
            <p:cNvSpPr/>
            <p:nvPr/>
          </p:nvSpPr>
          <p:spPr>
            <a:xfrm>
              <a:off x="10260450" y="1186841"/>
              <a:ext cx="673257" cy="365570"/>
            </a:xfrm>
            <a:custGeom>
              <a:avLst/>
              <a:gdLst/>
              <a:ahLst/>
              <a:cxnLst/>
              <a:rect l="0" t="0" r="0" b="0"/>
              <a:pathLst>
                <a:path w="673608" h="365760">
                  <a:moveTo>
                    <a:pt x="0" y="365760"/>
                  </a:moveTo>
                  <a:lnTo>
                    <a:pt x="673608" y="365760"/>
                  </a:lnTo>
                  <a:lnTo>
                    <a:pt x="673608" y="0"/>
                  </a:lnTo>
                  <a:lnTo>
                    <a:pt x="0" y="0"/>
                  </a:lnTo>
                  <a:lnTo>
                    <a:pt x="0" y="365760"/>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41" name="Freeform 789">
              <a:extLst>
                <a:ext uri="{FF2B5EF4-FFF2-40B4-BE49-F238E27FC236}">
                  <a16:creationId xmlns:a16="http://schemas.microsoft.com/office/drawing/2014/main" id="{0E1FEFA6-48D6-4CC5-89CE-BE78B332E18A}"/>
                </a:ext>
              </a:extLst>
            </p:cNvPr>
            <p:cNvSpPr/>
            <p:nvPr/>
          </p:nvSpPr>
          <p:spPr>
            <a:xfrm>
              <a:off x="10166011" y="1838772"/>
              <a:ext cx="862135" cy="868228"/>
            </a:xfrm>
            <a:custGeom>
              <a:avLst/>
              <a:gdLst/>
              <a:ahLst/>
              <a:cxnLst/>
              <a:rect l="0" t="0" r="0" b="0"/>
              <a:pathLst>
                <a:path w="862584" h="868680">
                  <a:moveTo>
                    <a:pt x="0" y="868680"/>
                  </a:moveTo>
                  <a:lnTo>
                    <a:pt x="862584" y="868680"/>
                  </a:lnTo>
                  <a:lnTo>
                    <a:pt x="862584" y="0"/>
                  </a:lnTo>
                  <a:lnTo>
                    <a:pt x="0" y="0"/>
                  </a:lnTo>
                  <a:lnTo>
                    <a:pt x="0" y="868680"/>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42" name="Freeform 790">
              <a:extLst>
                <a:ext uri="{FF2B5EF4-FFF2-40B4-BE49-F238E27FC236}">
                  <a16:creationId xmlns:a16="http://schemas.microsoft.com/office/drawing/2014/main" id="{D3C9E49F-007A-4C21-8517-5253FC130B2D}"/>
                </a:ext>
              </a:extLst>
            </p:cNvPr>
            <p:cNvSpPr/>
            <p:nvPr/>
          </p:nvSpPr>
          <p:spPr>
            <a:xfrm>
              <a:off x="10431048" y="1933212"/>
              <a:ext cx="332058" cy="380802"/>
            </a:xfrm>
            <a:custGeom>
              <a:avLst/>
              <a:gdLst/>
              <a:ahLst/>
              <a:cxnLst/>
              <a:rect l="0" t="0" r="0" b="0"/>
              <a:pathLst>
                <a:path w="332231" h="381000">
                  <a:moveTo>
                    <a:pt x="35178" y="371602"/>
                  </a:moveTo>
                  <a:lnTo>
                    <a:pt x="305689" y="371602"/>
                  </a:lnTo>
                  <a:lnTo>
                    <a:pt x="305689" y="381000"/>
                  </a:lnTo>
                  <a:lnTo>
                    <a:pt x="35178" y="381000"/>
                  </a:lnTo>
                  <a:lnTo>
                    <a:pt x="35178" y="371602"/>
                  </a:lnTo>
                  <a:close/>
                  <a:moveTo>
                    <a:pt x="-5879339" y="4925567"/>
                  </a:moveTo>
                  <a:moveTo>
                    <a:pt x="133096" y="205358"/>
                  </a:moveTo>
                  <a:lnTo>
                    <a:pt x="165989" y="235077"/>
                  </a:lnTo>
                  <a:lnTo>
                    <a:pt x="198754" y="205358"/>
                  </a:lnTo>
                  <a:lnTo>
                    <a:pt x="133096" y="205358"/>
                  </a:lnTo>
                  <a:close/>
                  <a:moveTo>
                    <a:pt x="-5713095" y="4925567"/>
                  </a:moveTo>
                  <a:moveTo>
                    <a:pt x="204215" y="282447"/>
                  </a:moveTo>
                  <a:lnTo>
                    <a:pt x="165989" y="248031"/>
                  </a:lnTo>
                  <a:lnTo>
                    <a:pt x="127762" y="282447"/>
                  </a:lnTo>
                  <a:lnTo>
                    <a:pt x="204215" y="282447"/>
                  </a:lnTo>
                  <a:close/>
                  <a:moveTo>
                    <a:pt x="-5790184" y="4925567"/>
                  </a:moveTo>
                  <a:moveTo>
                    <a:pt x="165989" y="321564"/>
                  </a:moveTo>
                  <a:lnTo>
                    <a:pt x="198627" y="291846"/>
                  </a:lnTo>
                  <a:lnTo>
                    <a:pt x="133223" y="291846"/>
                  </a:lnTo>
                  <a:lnTo>
                    <a:pt x="165989" y="321564"/>
                  </a:lnTo>
                  <a:close/>
                  <a:moveTo>
                    <a:pt x="-5829301" y="4925567"/>
                  </a:moveTo>
                  <a:moveTo>
                    <a:pt x="200025" y="182498"/>
                  </a:moveTo>
                  <a:lnTo>
                    <a:pt x="194055" y="131571"/>
                  </a:lnTo>
                  <a:lnTo>
                    <a:pt x="172592" y="153923"/>
                  </a:lnTo>
                  <a:lnTo>
                    <a:pt x="200025" y="182498"/>
                  </a:lnTo>
                  <a:close/>
                  <a:moveTo>
                    <a:pt x="-5690235" y="4925567"/>
                  </a:moveTo>
                  <a:moveTo>
                    <a:pt x="210692" y="275463"/>
                  </a:moveTo>
                  <a:lnTo>
                    <a:pt x="203580" y="213995"/>
                  </a:lnTo>
                  <a:lnTo>
                    <a:pt x="172974" y="241427"/>
                  </a:lnTo>
                  <a:lnTo>
                    <a:pt x="210692" y="275463"/>
                  </a:lnTo>
                  <a:close/>
                  <a:moveTo>
                    <a:pt x="-5783200" y="4925567"/>
                  </a:moveTo>
                  <a:moveTo>
                    <a:pt x="130555" y="216027"/>
                  </a:moveTo>
                  <a:lnTo>
                    <a:pt x="123952" y="272922"/>
                  </a:lnTo>
                  <a:lnTo>
                    <a:pt x="158750" y="241427"/>
                  </a:lnTo>
                  <a:lnTo>
                    <a:pt x="130555" y="216027"/>
                  </a:lnTo>
                  <a:close/>
                  <a:moveTo>
                    <a:pt x="-5723764" y="4925567"/>
                  </a:moveTo>
                  <a:moveTo>
                    <a:pt x="132968" y="195326"/>
                  </a:moveTo>
                  <a:lnTo>
                    <a:pt x="132841" y="195960"/>
                  </a:lnTo>
                  <a:lnTo>
                    <a:pt x="199516" y="195960"/>
                  </a:lnTo>
                  <a:lnTo>
                    <a:pt x="165989" y="161035"/>
                  </a:lnTo>
                  <a:lnTo>
                    <a:pt x="132968" y="195326"/>
                  </a:lnTo>
                  <a:close/>
                  <a:moveTo>
                    <a:pt x="-5703063" y="4925567"/>
                  </a:moveTo>
                  <a:moveTo>
                    <a:pt x="140207" y="133984"/>
                  </a:moveTo>
                  <a:lnTo>
                    <a:pt x="134747" y="179451"/>
                  </a:lnTo>
                  <a:lnTo>
                    <a:pt x="159257" y="153923"/>
                  </a:lnTo>
                  <a:lnTo>
                    <a:pt x="140207" y="133984"/>
                  </a:lnTo>
                  <a:close/>
                  <a:moveTo>
                    <a:pt x="-5641721" y="4925567"/>
                  </a:moveTo>
                  <a:moveTo>
                    <a:pt x="141859" y="118745"/>
                  </a:moveTo>
                  <a:lnTo>
                    <a:pt x="141477" y="121665"/>
                  </a:lnTo>
                  <a:lnTo>
                    <a:pt x="165989" y="147065"/>
                  </a:lnTo>
                  <a:lnTo>
                    <a:pt x="192531" y="119252"/>
                  </a:lnTo>
                  <a:lnTo>
                    <a:pt x="192531" y="118745"/>
                  </a:lnTo>
                  <a:lnTo>
                    <a:pt x="141859" y="118745"/>
                  </a:lnTo>
                  <a:close/>
                  <a:moveTo>
                    <a:pt x="-5626482" y="4925567"/>
                  </a:moveTo>
                  <a:moveTo>
                    <a:pt x="185801" y="61087"/>
                  </a:moveTo>
                  <a:lnTo>
                    <a:pt x="145288" y="89789"/>
                  </a:lnTo>
                  <a:lnTo>
                    <a:pt x="143002" y="109346"/>
                  </a:lnTo>
                  <a:lnTo>
                    <a:pt x="191389" y="109346"/>
                  </a:lnTo>
                  <a:lnTo>
                    <a:pt x="185801" y="61087"/>
                  </a:lnTo>
                  <a:close/>
                  <a:moveTo>
                    <a:pt x="-5568824" y="4925567"/>
                  </a:moveTo>
                  <a:moveTo>
                    <a:pt x="211074" y="109346"/>
                  </a:moveTo>
                  <a:lnTo>
                    <a:pt x="260985" y="109346"/>
                  </a:lnTo>
                  <a:lnTo>
                    <a:pt x="208406" y="87248"/>
                  </a:lnTo>
                  <a:lnTo>
                    <a:pt x="211074" y="109346"/>
                  </a:lnTo>
                  <a:close/>
                  <a:moveTo>
                    <a:pt x="-5617083" y="4925567"/>
                  </a:moveTo>
                  <a:moveTo>
                    <a:pt x="125856" y="87757"/>
                  </a:moveTo>
                  <a:lnTo>
                    <a:pt x="74676" y="109346"/>
                  </a:lnTo>
                  <a:lnTo>
                    <a:pt x="123316" y="109346"/>
                  </a:lnTo>
                  <a:lnTo>
                    <a:pt x="125856" y="87757"/>
                  </a:lnTo>
                  <a:close/>
                  <a:moveTo>
                    <a:pt x="-5595494" y="4925567"/>
                  </a:moveTo>
                  <a:moveTo>
                    <a:pt x="118237" y="153034"/>
                  </a:moveTo>
                  <a:lnTo>
                    <a:pt x="25273" y="194183"/>
                  </a:lnTo>
                  <a:lnTo>
                    <a:pt x="113538" y="194183"/>
                  </a:lnTo>
                  <a:lnTo>
                    <a:pt x="118237" y="153034"/>
                  </a:lnTo>
                  <a:close/>
                  <a:moveTo>
                    <a:pt x="-5660771" y="4925567"/>
                  </a:moveTo>
                  <a:moveTo>
                    <a:pt x="220852" y="194183"/>
                  </a:moveTo>
                  <a:lnTo>
                    <a:pt x="307213" y="194183"/>
                  </a:lnTo>
                  <a:lnTo>
                    <a:pt x="216153" y="154177"/>
                  </a:lnTo>
                  <a:lnTo>
                    <a:pt x="220852" y="194183"/>
                  </a:lnTo>
                  <a:close/>
                  <a:moveTo>
                    <a:pt x="-5701920" y="4925567"/>
                  </a:moveTo>
                  <a:moveTo>
                    <a:pt x="312801" y="234569"/>
                  </a:moveTo>
                  <a:lnTo>
                    <a:pt x="312801" y="203708"/>
                  </a:lnTo>
                  <a:lnTo>
                    <a:pt x="221996" y="203708"/>
                  </a:lnTo>
                  <a:lnTo>
                    <a:pt x="240411" y="362331"/>
                  </a:lnTo>
                  <a:lnTo>
                    <a:pt x="220852" y="362331"/>
                  </a:lnTo>
                  <a:lnTo>
                    <a:pt x="212598" y="292227"/>
                  </a:lnTo>
                  <a:lnTo>
                    <a:pt x="172974" y="327914"/>
                  </a:lnTo>
                  <a:lnTo>
                    <a:pt x="211074" y="362331"/>
                  </a:lnTo>
                  <a:lnTo>
                    <a:pt x="196850" y="362331"/>
                  </a:lnTo>
                  <a:lnTo>
                    <a:pt x="165989" y="334390"/>
                  </a:lnTo>
                  <a:lnTo>
                    <a:pt x="135001" y="362331"/>
                  </a:lnTo>
                  <a:lnTo>
                    <a:pt x="120777" y="362331"/>
                  </a:lnTo>
                  <a:lnTo>
                    <a:pt x="158750" y="327914"/>
                  </a:lnTo>
                  <a:lnTo>
                    <a:pt x="121412" y="294258"/>
                  </a:lnTo>
                  <a:lnTo>
                    <a:pt x="113664" y="362331"/>
                  </a:lnTo>
                  <a:lnTo>
                    <a:pt x="93979" y="362331"/>
                  </a:lnTo>
                  <a:lnTo>
                    <a:pt x="112394" y="203708"/>
                  </a:lnTo>
                  <a:lnTo>
                    <a:pt x="19430" y="203708"/>
                  </a:lnTo>
                  <a:lnTo>
                    <a:pt x="19430" y="234569"/>
                  </a:lnTo>
                  <a:lnTo>
                    <a:pt x="0" y="234569"/>
                  </a:lnTo>
                  <a:lnTo>
                    <a:pt x="0" y="203708"/>
                  </a:lnTo>
                  <a:lnTo>
                    <a:pt x="0" y="195707"/>
                  </a:lnTo>
                  <a:lnTo>
                    <a:pt x="0" y="194564"/>
                  </a:lnTo>
                  <a:lnTo>
                    <a:pt x="119634" y="142113"/>
                  </a:lnTo>
                  <a:lnTo>
                    <a:pt x="122301" y="118745"/>
                  </a:lnTo>
                  <a:lnTo>
                    <a:pt x="68326" y="118745"/>
                  </a:lnTo>
                  <a:lnTo>
                    <a:pt x="68326" y="150748"/>
                  </a:lnTo>
                  <a:lnTo>
                    <a:pt x="48894" y="150748"/>
                  </a:lnTo>
                  <a:lnTo>
                    <a:pt x="48894" y="118745"/>
                  </a:lnTo>
                  <a:lnTo>
                    <a:pt x="48894" y="111887"/>
                  </a:lnTo>
                  <a:lnTo>
                    <a:pt x="48894" y="109727"/>
                  </a:lnTo>
                  <a:lnTo>
                    <a:pt x="127127" y="76834"/>
                  </a:lnTo>
                  <a:lnTo>
                    <a:pt x="130048" y="52196"/>
                  </a:lnTo>
                  <a:lnTo>
                    <a:pt x="135509" y="52196"/>
                  </a:lnTo>
                  <a:lnTo>
                    <a:pt x="195326" y="52196"/>
                  </a:lnTo>
                  <a:lnTo>
                    <a:pt x="204342" y="52196"/>
                  </a:lnTo>
                  <a:lnTo>
                    <a:pt x="207137" y="76327"/>
                  </a:lnTo>
                  <a:lnTo>
                    <a:pt x="287274" y="109727"/>
                  </a:lnTo>
                  <a:lnTo>
                    <a:pt x="287274" y="113538"/>
                  </a:lnTo>
                  <a:lnTo>
                    <a:pt x="287274" y="118745"/>
                  </a:lnTo>
                  <a:lnTo>
                    <a:pt x="287274" y="152527"/>
                  </a:lnTo>
                  <a:lnTo>
                    <a:pt x="267842" y="152527"/>
                  </a:lnTo>
                  <a:lnTo>
                    <a:pt x="267842" y="118745"/>
                  </a:lnTo>
                  <a:lnTo>
                    <a:pt x="212216" y="118745"/>
                  </a:lnTo>
                  <a:lnTo>
                    <a:pt x="215011" y="143128"/>
                  </a:lnTo>
                  <a:lnTo>
                    <a:pt x="332231" y="194564"/>
                  </a:lnTo>
                  <a:lnTo>
                    <a:pt x="332231" y="195707"/>
                  </a:lnTo>
                  <a:lnTo>
                    <a:pt x="332231" y="203708"/>
                  </a:lnTo>
                  <a:lnTo>
                    <a:pt x="332231" y="234569"/>
                  </a:lnTo>
                  <a:lnTo>
                    <a:pt x="312801" y="234569"/>
                  </a:lnTo>
                  <a:close/>
                  <a:moveTo>
                    <a:pt x="-5742306" y="4925567"/>
                  </a:moveTo>
                  <a:moveTo>
                    <a:pt x="164846" y="10287"/>
                  </a:moveTo>
                  <a:lnTo>
                    <a:pt x="110109" y="33654"/>
                  </a:lnTo>
                  <a:lnTo>
                    <a:pt x="219837" y="33654"/>
                  </a:lnTo>
                  <a:lnTo>
                    <a:pt x="164846" y="10287"/>
                  </a:lnTo>
                  <a:close/>
                  <a:moveTo>
                    <a:pt x="-5518024" y="4925567"/>
                  </a:moveTo>
                  <a:moveTo>
                    <a:pt x="84836" y="65532"/>
                  </a:moveTo>
                  <a:lnTo>
                    <a:pt x="84836" y="43052"/>
                  </a:lnTo>
                  <a:lnTo>
                    <a:pt x="84836" y="40132"/>
                  </a:lnTo>
                  <a:lnTo>
                    <a:pt x="84836" y="34163"/>
                  </a:lnTo>
                  <a:lnTo>
                    <a:pt x="164846" y="0"/>
                  </a:lnTo>
                  <a:lnTo>
                    <a:pt x="245110" y="34163"/>
                  </a:lnTo>
                  <a:lnTo>
                    <a:pt x="245110" y="40132"/>
                  </a:lnTo>
                  <a:lnTo>
                    <a:pt x="245110" y="43052"/>
                  </a:lnTo>
                  <a:lnTo>
                    <a:pt x="245110" y="65532"/>
                  </a:lnTo>
                  <a:lnTo>
                    <a:pt x="225298" y="65532"/>
                  </a:lnTo>
                  <a:lnTo>
                    <a:pt x="225298" y="43052"/>
                  </a:lnTo>
                  <a:lnTo>
                    <a:pt x="104648" y="43052"/>
                  </a:lnTo>
                  <a:lnTo>
                    <a:pt x="104648" y="65532"/>
                  </a:lnTo>
                  <a:lnTo>
                    <a:pt x="84836" y="65532"/>
                  </a:lnTo>
                  <a:close/>
                  <a:moveTo>
                    <a:pt x="-5573269" y="4925567"/>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pic>
          <p:nvPicPr>
            <p:cNvPr id="643" name="Picture 950">
              <a:extLst>
                <a:ext uri="{FF2B5EF4-FFF2-40B4-BE49-F238E27FC236}">
                  <a16:creationId xmlns:a16="http://schemas.microsoft.com/office/drawing/2014/main" id="{C5C297EE-9575-4D44-A944-7FCF77184BE0}"/>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10581085" y="2695831"/>
              <a:ext cx="570313" cy="203983"/>
            </a:xfrm>
            <a:prstGeom prst="rect">
              <a:avLst/>
            </a:prstGeom>
            <a:noFill/>
          </p:spPr>
        </p:pic>
        <p:pic>
          <p:nvPicPr>
            <p:cNvPr id="644" name="Picture 951">
              <a:extLst>
                <a:ext uri="{FF2B5EF4-FFF2-40B4-BE49-F238E27FC236}">
                  <a16:creationId xmlns:a16="http://schemas.microsoft.com/office/drawing/2014/main" id="{2BB15B5E-FAF2-4DF4-BE1E-7B5A51382933}"/>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10043647" y="2695831"/>
              <a:ext cx="573359" cy="338279"/>
            </a:xfrm>
            <a:prstGeom prst="rect">
              <a:avLst/>
            </a:prstGeom>
            <a:noFill/>
          </p:spPr>
        </p:pic>
        <p:sp>
          <p:nvSpPr>
            <p:cNvPr id="645" name="Freeform 972">
              <a:extLst>
                <a:ext uri="{FF2B5EF4-FFF2-40B4-BE49-F238E27FC236}">
                  <a16:creationId xmlns:a16="http://schemas.microsoft.com/office/drawing/2014/main" id="{A6644F23-B1F1-4838-87EC-7ACF7E635C88}"/>
                </a:ext>
              </a:extLst>
            </p:cNvPr>
            <p:cNvSpPr/>
            <p:nvPr/>
          </p:nvSpPr>
          <p:spPr>
            <a:xfrm>
              <a:off x="9687723" y="3020782"/>
              <a:ext cx="810346" cy="603190"/>
            </a:xfrm>
            <a:custGeom>
              <a:avLst/>
              <a:gdLst/>
              <a:ahLst/>
              <a:cxnLst/>
              <a:rect l="0" t="0" r="0" b="0"/>
              <a:pathLst>
                <a:path w="810768" h="603504">
                  <a:moveTo>
                    <a:pt x="0" y="603504"/>
                  </a:moveTo>
                  <a:lnTo>
                    <a:pt x="810768" y="603504"/>
                  </a:lnTo>
                  <a:lnTo>
                    <a:pt x="810768" y="0"/>
                  </a:lnTo>
                  <a:lnTo>
                    <a:pt x="0" y="0"/>
                  </a:lnTo>
                  <a:lnTo>
                    <a:pt x="0" y="603504"/>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pic>
          <p:nvPicPr>
            <p:cNvPr id="646" name="Picture 973">
              <a:extLst>
                <a:ext uri="{FF2B5EF4-FFF2-40B4-BE49-F238E27FC236}">
                  <a16:creationId xmlns:a16="http://schemas.microsoft.com/office/drawing/2014/main" id="{20D795C5-56E3-4A7A-9892-A5BBB322E4DA}"/>
                </a:ext>
              </a:extLst>
            </p:cNvPr>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9936663" y="3052883"/>
              <a:ext cx="313187" cy="274468"/>
            </a:xfrm>
            <a:prstGeom prst="rect">
              <a:avLst/>
            </a:prstGeom>
            <a:noFill/>
          </p:spPr>
        </p:pic>
        <p:sp>
          <p:nvSpPr>
            <p:cNvPr id="647" name="Freeform 974">
              <a:extLst>
                <a:ext uri="{FF2B5EF4-FFF2-40B4-BE49-F238E27FC236}">
                  <a16:creationId xmlns:a16="http://schemas.microsoft.com/office/drawing/2014/main" id="{66B31057-F01D-47AA-9C28-5ED60BE9F7A8}"/>
                </a:ext>
              </a:extLst>
            </p:cNvPr>
            <p:cNvSpPr/>
            <p:nvPr/>
          </p:nvSpPr>
          <p:spPr>
            <a:xfrm>
              <a:off x="10618403" y="2940052"/>
              <a:ext cx="969394" cy="2412"/>
            </a:xfrm>
            <a:custGeom>
              <a:avLst/>
              <a:gdLst/>
              <a:ahLst/>
              <a:cxnLst/>
              <a:rect l="0" t="0" r="0" b="0"/>
              <a:pathLst>
                <a:path w="969899" h="2413">
                  <a:moveTo>
                    <a:pt x="0" y="0"/>
                  </a:moveTo>
                  <a:lnTo>
                    <a:pt x="969899" y="2413"/>
                  </a:lnTo>
                </a:path>
              </a:pathLst>
            </a:custGeom>
            <a:noFill/>
            <a:ln w="9525" cap="flat" cmpd="sng">
              <a:solidFill>
                <a:srgbClr val="FD5E98">
                  <a:alpha val="100000"/>
                </a:srgbClr>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648" name="Freeform 975">
              <a:extLst>
                <a:ext uri="{FF2B5EF4-FFF2-40B4-BE49-F238E27FC236}">
                  <a16:creationId xmlns:a16="http://schemas.microsoft.com/office/drawing/2014/main" id="{D9FB4008-C3B2-4DFD-A201-30CA1FFECD30}"/>
                </a:ext>
              </a:extLst>
            </p:cNvPr>
            <p:cNvSpPr/>
            <p:nvPr/>
          </p:nvSpPr>
          <p:spPr>
            <a:xfrm>
              <a:off x="11587161" y="2937004"/>
              <a:ext cx="0" cy="751956"/>
            </a:xfrm>
            <a:custGeom>
              <a:avLst/>
              <a:gdLst/>
              <a:ahLst/>
              <a:cxnLst/>
              <a:rect l="0" t="0" r="0" b="0"/>
              <a:pathLst>
                <a:path h="752348">
                  <a:moveTo>
                    <a:pt x="0" y="752348"/>
                  </a:moveTo>
                  <a:lnTo>
                    <a:pt x="0" y="0"/>
                  </a:lnTo>
                </a:path>
              </a:pathLst>
            </a:custGeom>
            <a:noFill/>
            <a:ln w="9525" cap="flat" cmpd="sng">
              <a:solidFill>
                <a:srgbClr val="FD5E98">
                  <a:alpha val="100000"/>
                </a:srgbClr>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649" name="Freeform 976">
              <a:extLst>
                <a:ext uri="{FF2B5EF4-FFF2-40B4-BE49-F238E27FC236}">
                  <a16:creationId xmlns:a16="http://schemas.microsoft.com/office/drawing/2014/main" id="{4D4651E9-4689-4CAA-A92A-94CD2A69ECA7}"/>
                </a:ext>
              </a:extLst>
            </p:cNvPr>
            <p:cNvSpPr/>
            <p:nvPr/>
          </p:nvSpPr>
          <p:spPr>
            <a:xfrm>
              <a:off x="10693038" y="3011642"/>
              <a:ext cx="810346" cy="606236"/>
            </a:xfrm>
            <a:custGeom>
              <a:avLst/>
              <a:gdLst/>
              <a:ahLst/>
              <a:cxnLst/>
              <a:rect l="0" t="0" r="0" b="0"/>
              <a:pathLst>
                <a:path w="810768" h="606552">
                  <a:moveTo>
                    <a:pt x="0" y="606552"/>
                  </a:moveTo>
                  <a:lnTo>
                    <a:pt x="810768" y="606552"/>
                  </a:lnTo>
                  <a:lnTo>
                    <a:pt x="810768" y="0"/>
                  </a:lnTo>
                  <a:lnTo>
                    <a:pt x="0" y="0"/>
                  </a:lnTo>
                  <a:lnTo>
                    <a:pt x="0" y="606552"/>
                  </a:lnTo>
                  <a:close/>
                </a:path>
              </a:pathLst>
            </a:custGeom>
            <a:solidFill>
              <a:srgbClr val="FF9A91">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50" name="Freeform 977">
              <a:extLst>
                <a:ext uri="{FF2B5EF4-FFF2-40B4-BE49-F238E27FC236}">
                  <a16:creationId xmlns:a16="http://schemas.microsoft.com/office/drawing/2014/main" id="{FC3F8119-EF85-41EF-95F6-4849256F2FEA}"/>
                </a:ext>
              </a:extLst>
            </p:cNvPr>
            <p:cNvSpPr/>
            <p:nvPr/>
          </p:nvSpPr>
          <p:spPr>
            <a:xfrm>
              <a:off x="11078623" y="3151527"/>
              <a:ext cx="43712" cy="43705"/>
            </a:xfrm>
            <a:custGeom>
              <a:avLst/>
              <a:gdLst/>
              <a:ahLst/>
              <a:cxnLst/>
              <a:rect l="0" t="0" r="0" b="0"/>
              <a:pathLst>
                <a:path w="36576" h="36576">
                  <a:moveTo>
                    <a:pt x="36576" y="18288"/>
                  </a:moveTo>
                  <a:cubicBezTo>
                    <a:pt x="36576" y="28397"/>
                    <a:pt x="28385" y="36576"/>
                    <a:pt x="18289" y="36576"/>
                  </a:cubicBezTo>
                  <a:cubicBezTo>
                    <a:pt x="8179" y="36576"/>
                    <a:pt x="0" y="28397"/>
                    <a:pt x="0" y="18288"/>
                  </a:cubicBezTo>
                  <a:cubicBezTo>
                    <a:pt x="0" y="8191"/>
                    <a:pt x="8179" y="0"/>
                    <a:pt x="18289" y="0"/>
                  </a:cubicBezTo>
                  <a:cubicBezTo>
                    <a:pt x="28385" y="0"/>
                    <a:pt x="36576" y="8191"/>
                    <a:pt x="36576" y="18288"/>
                  </a:cubicBezTo>
                  <a:close/>
                  <a:moveTo>
                    <a:pt x="18733" y="165925"/>
                  </a:moveTo>
                </a:path>
              </a:pathLst>
            </a:custGeom>
            <a:solidFill>
              <a:srgbClr val="2E2E38">
                <a:alpha val="100000"/>
              </a:srgbClr>
            </a:solidFill>
            <a:ln w="15183">
              <a:noFill/>
            </a:ln>
          </p:spPr>
          <p:style>
            <a:lnRef idx="2">
              <a:schemeClr val="accent1">
                <a:shade val="50000"/>
              </a:schemeClr>
            </a:lnRef>
            <a:fillRef idx="1">
              <a:schemeClr val="accent1"/>
            </a:fillRef>
            <a:effectRef idx="0">
              <a:schemeClr val="accent1"/>
            </a:effectRef>
            <a:fontRef idx="minor">
              <a:schemeClr val="lt1"/>
            </a:fontRef>
          </p:style>
        </p:sp>
        <p:pic>
          <p:nvPicPr>
            <p:cNvPr id="651" name="Picture 978">
              <a:extLst>
                <a:ext uri="{FF2B5EF4-FFF2-40B4-BE49-F238E27FC236}">
                  <a16:creationId xmlns:a16="http://schemas.microsoft.com/office/drawing/2014/main" id="{7DA76B74-3CDF-48B9-8A01-A680A8D7C3A8}"/>
                </a:ext>
              </a:extLst>
            </p:cNvPr>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10971046" y="3027693"/>
              <a:ext cx="261089" cy="291372"/>
            </a:xfrm>
            <a:prstGeom prst="rect">
              <a:avLst/>
            </a:prstGeom>
            <a:noFill/>
          </p:spPr>
        </p:pic>
        <p:sp>
          <p:nvSpPr>
            <p:cNvPr id="652" name="Freeform 979">
              <a:extLst>
                <a:ext uri="{FF2B5EF4-FFF2-40B4-BE49-F238E27FC236}">
                  <a16:creationId xmlns:a16="http://schemas.microsoft.com/office/drawing/2014/main" id="{8DF94898-5A02-43AF-B7C3-E04C266DC34C}"/>
                </a:ext>
              </a:extLst>
            </p:cNvPr>
            <p:cNvSpPr/>
            <p:nvPr/>
          </p:nvSpPr>
          <p:spPr>
            <a:xfrm>
              <a:off x="10618403" y="3683376"/>
              <a:ext cx="969394" cy="2412"/>
            </a:xfrm>
            <a:custGeom>
              <a:avLst/>
              <a:gdLst/>
              <a:ahLst/>
              <a:cxnLst/>
              <a:rect l="0" t="0" r="0" b="0"/>
              <a:pathLst>
                <a:path w="969899" h="2413">
                  <a:moveTo>
                    <a:pt x="0" y="0"/>
                  </a:moveTo>
                  <a:lnTo>
                    <a:pt x="969899" y="2413"/>
                  </a:lnTo>
                </a:path>
              </a:pathLst>
            </a:custGeom>
            <a:noFill/>
            <a:ln w="9525" cap="flat" cmpd="sng">
              <a:solidFill>
                <a:srgbClr val="FD5E98">
                  <a:alpha val="100000"/>
                </a:srgbClr>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653" name="Freeform 980">
              <a:extLst>
                <a:ext uri="{FF2B5EF4-FFF2-40B4-BE49-F238E27FC236}">
                  <a16:creationId xmlns:a16="http://schemas.microsoft.com/office/drawing/2014/main" id="{3663026F-C8E0-4935-98A2-A22B16E3A304}"/>
                </a:ext>
              </a:extLst>
            </p:cNvPr>
            <p:cNvSpPr/>
            <p:nvPr/>
          </p:nvSpPr>
          <p:spPr>
            <a:xfrm>
              <a:off x="10621449" y="2933960"/>
              <a:ext cx="0" cy="751957"/>
            </a:xfrm>
            <a:custGeom>
              <a:avLst/>
              <a:gdLst/>
              <a:ahLst/>
              <a:cxnLst/>
              <a:rect l="0" t="0" r="0" b="0"/>
              <a:pathLst>
                <a:path h="752349">
                  <a:moveTo>
                    <a:pt x="0" y="752349"/>
                  </a:moveTo>
                  <a:lnTo>
                    <a:pt x="0" y="0"/>
                  </a:lnTo>
                </a:path>
              </a:pathLst>
            </a:custGeom>
            <a:noFill/>
            <a:ln w="9525" cap="flat" cmpd="sng">
              <a:solidFill>
                <a:srgbClr val="FF9A91">
                  <a:alpha val="100000"/>
                </a:srgbClr>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654" name="Freeform 981">
              <a:extLst>
                <a:ext uri="{FF2B5EF4-FFF2-40B4-BE49-F238E27FC236}">
                  <a16:creationId xmlns:a16="http://schemas.microsoft.com/office/drawing/2014/main" id="{38990099-95FF-41CF-92D4-00D2CCC262BE}"/>
                </a:ext>
              </a:extLst>
            </p:cNvPr>
            <p:cNvSpPr/>
            <p:nvPr/>
          </p:nvSpPr>
          <p:spPr>
            <a:xfrm>
              <a:off x="10909336" y="2883692"/>
              <a:ext cx="377755" cy="91392"/>
            </a:xfrm>
            <a:custGeom>
              <a:avLst/>
              <a:gdLst/>
              <a:ahLst/>
              <a:cxnLst/>
              <a:rect l="0" t="0" r="0" b="0"/>
              <a:pathLst>
                <a:path w="377952" h="91440">
                  <a:moveTo>
                    <a:pt x="0" y="91440"/>
                  </a:moveTo>
                  <a:lnTo>
                    <a:pt x="377952" y="91440"/>
                  </a:lnTo>
                  <a:lnTo>
                    <a:pt x="377952" y="0"/>
                  </a:lnTo>
                  <a:lnTo>
                    <a:pt x="0" y="0"/>
                  </a:lnTo>
                  <a:lnTo>
                    <a:pt x="0" y="91440"/>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pic>
          <p:nvPicPr>
            <p:cNvPr id="655" name="Picture 982">
              <a:extLst>
                <a:ext uri="{FF2B5EF4-FFF2-40B4-BE49-F238E27FC236}">
                  <a16:creationId xmlns:a16="http://schemas.microsoft.com/office/drawing/2014/main" id="{96BEC6F1-11B5-445F-9B84-694E08E7939F}"/>
                </a:ext>
              </a:extLst>
            </p:cNvPr>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a:xfrm>
              <a:off x="10075380" y="3612801"/>
              <a:ext cx="584911" cy="216167"/>
            </a:xfrm>
            <a:prstGeom prst="rect">
              <a:avLst/>
            </a:prstGeom>
            <a:noFill/>
          </p:spPr>
        </p:pic>
        <p:pic>
          <p:nvPicPr>
            <p:cNvPr id="656" name="Picture 983">
              <a:extLst>
                <a:ext uri="{FF2B5EF4-FFF2-40B4-BE49-F238E27FC236}">
                  <a16:creationId xmlns:a16="http://schemas.microsoft.com/office/drawing/2014/main" id="{2CF8E2E7-342A-48C6-AD0E-431BFC6476EE}"/>
                </a:ext>
              </a:extLst>
            </p:cNvPr>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a:xfrm>
              <a:off x="10558489" y="3606707"/>
              <a:ext cx="558763" cy="223276"/>
            </a:xfrm>
            <a:prstGeom prst="rect">
              <a:avLst/>
            </a:prstGeom>
            <a:noFill/>
          </p:spPr>
        </p:pic>
        <p:sp>
          <p:nvSpPr>
            <p:cNvPr id="657" name="Freeform 984">
              <a:extLst>
                <a:ext uri="{FF2B5EF4-FFF2-40B4-BE49-F238E27FC236}">
                  <a16:creationId xmlns:a16="http://schemas.microsoft.com/office/drawing/2014/main" id="{FE37182C-50A1-4CB7-8244-B6218A8997C5}"/>
                </a:ext>
              </a:extLst>
            </p:cNvPr>
            <p:cNvSpPr/>
            <p:nvPr/>
          </p:nvSpPr>
          <p:spPr>
            <a:xfrm>
              <a:off x="10205613" y="3815894"/>
              <a:ext cx="807300" cy="603190"/>
            </a:xfrm>
            <a:custGeom>
              <a:avLst/>
              <a:gdLst/>
              <a:ahLst/>
              <a:cxnLst/>
              <a:rect l="0" t="0" r="0" b="0"/>
              <a:pathLst>
                <a:path w="807720" h="603504">
                  <a:moveTo>
                    <a:pt x="0" y="603504"/>
                  </a:moveTo>
                  <a:lnTo>
                    <a:pt x="807720" y="603504"/>
                  </a:lnTo>
                  <a:lnTo>
                    <a:pt x="807720" y="0"/>
                  </a:lnTo>
                  <a:lnTo>
                    <a:pt x="0" y="0"/>
                  </a:lnTo>
                  <a:lnTo>
                    <a:pt x="0" y="603504"/>
                  </a:lnTo>
                  <a:close/>
                </a:path>
              </a:pathLst>
            </a:custGeom>
            <a:solidFill>
              <a:srgbClr val="FFE6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58" name="Freeform 985">
              <a:extLst>
                <a:ext uri="{FF2B5EF4-FFF2-40B4-BE49-F238E27FC236}">
                  <a16:creationId xmlns:a16="http://schemas.microsoft.com/office/drawing/2014/main" id="{46F5D017-95C1-4F5B-9454-BDAC5BA98295}"/>
                </a:ext>
              </a:extLst>
            </p:cNvPr>
            <p:cNvSpPr/>
            <p:nvPr/>
          </p:nvSpPr>
          <p:spPr>
            <a:xfrm>
              <a:off x="10205614" y="3815896"/>
              <a:ext cx="807299" cy="606237"/>
            </a:xfrm>
            <a:custGeom>
              <a:avLst/>
              <a:gdLst/>
              <a:ahLst/>
              <a:cxnLst/>
              <a:rect l="0" t="0" r="0" b="0"/>
              <a:pathLst>
                <a:path w="807719" h="606553">
                  <a:moveTo>
                    <a:pt x="807719" y="0"/>
                  </a:moveTo>
                  <a:lnTo>
                    <a:pt x="807719" y="606553"/>
                  </a:lnTo>
                  <a:lnTo>
                    <a:pt x="0" y="0"/>
                  </a:lnTo>
                  <a:close/>
                  <a:moveTo>
                    <a:pt x="-7165848" y="3041904"/>
                  </a:moveTo>
                </a:path>
              </a:pathLst>
            </a:custGeom>
            <a:solidFill>
              <a:srgbClr val="FF9A91">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59" name="Freeform 986">
              <a:extLst>
                <a:ext uri="{FF2B5EF4-FFF2-40B4-BE49-F238E27FC236}">
                  <a16:creationId xmlns:a16="http://schemas.microsoft.com/office/drawing/2014/main" id="{9D4990EF-F7A0-4C98-87C1-BB779D6DAC41}"/>
                </a:ext>
              </a:extLst>
            </p:cNvPr>
            <p:cNvSpPr/>
            <p:nvPr/>
          </p:nvSpPr>
          <p:spPr>
            <a:xfrm>
              <a:off x="11250533" y="4126630"/>
              <a:ext cx="307688" cy="9139"/>
            </a:xfrm>
            <a:custGeom>
              <a:avLst/>
              <a:gdLst/>
              <a:ahLst/>
              <a:cxnLst/>
              <a:rect l="0" t="0" r="0" b="0"/>
              <a:pathLst>
                <a:path w="307848" h="9144">
                  <a:moveTo>
                    <a:pt x="0" y="9144"/>
                  </a:moveTo>
                  <a:lnTo>
                    <a:pt x="307848" y="9144"/>
                  </a:lnTo>
                  <a:lnTo>
                    <a:pt x="307848"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60" name="Freeform 987">
              <a:extLst>
                <a:ext uri="{FF2B5EF4-FFF2-40B4-BE49-F238E27FC236}">
                  <a16:creationId xmlns:a16="http://schemas.microsoft.com/office/drawing/2014/main" id="{224BBF82-AE00-48A4-B42F-09C35CAF8C7D}"/>
                </a:ext>
              </a:extLst>
            </p:cNvPr>
            <p:cNvSpPr/>
            <p:nvPr/>
          </p:nvSpPr>
          <p:spPr>
            <a:xfrm>
              <a:off x="11250534" y="4023053"/>
              <a:ext cx="51789" cy="9139"/>
            </a:xfrm>
            <a:custGeom>
              <a:avLst/>
              <a:gdLst/>
              <a:ahLst/>
              <a:cxnLst/>
              <a:rect l="0" t="0" r="0" b="0"/>
              <a:pathLst>
                <a:path w="51816" h="9144">
                  <a:moveTo>
                    <a:pt x="0" y="9144"/>
                  </a:moveTo>
                  <a:lnTo>
                    <a:pt x="51816" y="9144"/>
                  </a:lnTo>
                  <a:lnTo>
                    <a:pt x="51816"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61" name="Freeform 988">
              <a:extLst>
                <a:ext uri="{FF2B5EF4-FFF2-40B4-BE49-F238E27FC236}">
                  <a16:creationId xmlns:a16="http://schemas.microsoft.com/office/drawing/2014/main" id="{46D3168E-A059-428E-98D9-450ED0817E1E}"/>
                </a:ext>
              </a:extLst>
            </p:cNvPr>
            <p:cNvSpPr/>
            <p:nvPr/>
          </p:nvSpPr>
          <p:spPr>
            <a:xfrm>
              <a:off x="11506432" y="4023053"/>
              <a:ext cx="51789" cy="9139"/>
            </a:xfrm>
            <a:custGeom>
              <a:avLst/>
              <a:gdLst/>
              <a:ahLst/>
              <a:cxnLst/>
              <a:rect l="0" t="0" r="0" b="0"/>
              <a:pathLst>
                <a:path w="51816" h="9144">
                  <a:moveTo>
                    <a:pt x="0" y="9144"/>
                  </a:moveTo>
                  <a:lnTo>
                    <a:pt x="51816" y="9144"/>
                  </a:lnTo>
                  <a:lnTo>
                    <a:pt x="51816"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62" name="Freeform 989">
              <a:extLst>
                <a:ext uri="{FF2B5EF4-FFF2-40B4-BE49-F238E27FC236}">
                  <a16:creationId xmlns:a16="http://schemas.microsoft.com/office/drawing/2014/main" id="{253D11D1-1ED5-4F8D-97D5-56FF87E2C7EA}"/>
                </a:ext>
              </a:extLst>
            </p:cNvPr>
            <p:cNvSpPr/>
            <p:nvPr/>
          </p:nvSpPr>
          <p:spPr>
            <a:xfrm>
              <a:off x="11427226" y="4023053"/>
              <a:ext cx="36557" cy="9139"/>
            </a:xfrm>
            <a:custGeom>
              <a:avLst/>
              <a:gdLst/>
              <a:ahLst/>
              <a:cxnLst/>
              <a:rect l="0" t="0" r="0" b="0"/>
              <a:pathLst>
                <a:path w="36576" h="9144">
                  <a:moveTo>
                    <a:pt x="0" y="9144"/>
                  </a:moveTo>
                  <a:lnTo>
                    <a:pt x="36576" y="9144"/>
                  </a:lnTo>
                  <a:lnTo>
                    <a:pt x="36576"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63" name="Freeform 990">
              <a:extLst>
                <a:ext uri="{FF2B5EF4-FFF2-40B4-BE49-F238E27FC236}">
                  <a16:creationId xmlns:a16="http://schemas.microsoft.com/office/drawing/2014/main" id="{E509A140-A2F9-4136-9361-A53E7BE5D7BD}"/>
                </a:ext>
              </a:extLst>
            </p:cNvPr>
            <p:cNvSpPr/>
            <p:nvPr/>
          </p:nvSpPr>
          <p:spPr>
            <a:xfrm>
              <a:off x="11344973" y="4023053"/>
              <a:ext cx="39603" cy="9139"/>
            </a:xfrm>
            <a:custGeom>
              <a:avLst/>
              <a:gdLst/>
              <a:ahLst/>
              <a:cxnLst/>
              <a:rect l="0" t="0" r="0" b="0"/>
              <a:pathLst>
                <a:path w="39624" h="9144">
                  <a:moveTo>
                    <a:pt x="0" y="9144"/>
                  </a:moveTo>
                  <a:lnTo>
                    <a:pt x="39624" y="9144"/>
                  </a:lnTo>
                  <a:lnTo>
                    <a:pt x="39624"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64" name="Freeform 991">
              <a:extLst>
                <a:ext uri="{FF2B5EF4-FFF2-40B4-BE49-F238E27FC236}">
                  <a16:creationId xmlns:a16="http://schemas.microsoft.com/office/drawing/2014/main" id="{1A8A5687-093F-4F56-B64A-2E7BA7B58300}"/>
                </a:ext>
              </a:extLst>
            </p:cNvPr>
            <p:cNvSpPr/>
            <p:nvPr/>
          </p:nvSpPr>
          <p:spPr>
            <a:xfrm>
              <a:off x="11250533" y="4169280"/>
              <a:ext cx="307688" cy="9139"/>
            </a:xfrm>
            <a:custGeom>
              <a:avLst/>
              <a:gdLst/>
              <a:ahLst/>
              <a:cxnLst/>
              <a:rect l="0" t="0" r="0" b="0"/>
              <a:pathLst>
                <a:path w="307848" h="9144">
                  <a:moveTo>
                    <a:pt x="0" y="9144"/>
                  </a:moveTo>
                  <a:lnTo>
                    <a:pt x="307848" y="9144"/>
                  </a:lnTo>
                  <a:lnTo>
                    <a:pt x="307848"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65" name="Freeform 992">
              <a:extLst>
                <a:ext uri="{FF2B5EF4-FFF2-40B4-BE49-F238E27FC236}">
                  <a16:creationId xmlns:a16="http://schemas.microsoft.com/office/drawing/2014/main" id="{33B69A67-8BEB-4FD7-A45C-BD57D42B94C4}"/>
                </a:ext>
              </a:extLst>
            </p:cNvPr>
            <p:cNvSpPr/>
            <p:nvPr/>
          </p:nvSpPr>
          <p:spPr>
            <a:xfrm>
              <a:off x="11262718" y="4001726"/>
              <a:ext cx="283316" cy="176692"/>
            </a:xfrm>
            <a:custGeom>
              <a:avLst/>
              <a:gdLst/>
              <a:ahLst/>
              <a:cxnLst/>
              <a:rect l="0" t="0" r="0" b="0"/>
              <a:pathLst>
                <a:path w="283464" h="176784">
                  <a:moveTo>
                    <a:pt x="283464" y="176784"/>
                  </a:moveTo>
                  <a:lnTo>
                    <a:pt x="0" y="176784"/>
                  </a:lnTo>
                  <a:lnTo>
                    <a:pt x="0" y="0"/>
                  </a:lnTo>
                  <a:lnTo>
                    <a:pt x="39498" y="0"/>
                  </a:lnTo>
                  <a:lnTo>
                    <a:pt x="39498" y="86615"/>
                  </a:lnTo>
                  <a:lnTo>
                    <a:pt x="39498" y="91059"/>
                  </a:lnTo>
                  <a:lnTo>
                    <a:pt x="40386" y="94616"/>
                  </a:lnTo>
                  <a:lnTo>
                    <a:pt x="43053" y="98172"/>
                  </a:lnTo>
                  <a:lnTo>
                    <a:pt x="45594" y="101728"/>
                  </a:lnTo>
                  <a:lnTo>
                    <a:pt x="48261" y="104522"/>
                  </a:lnTo>
                  <a:lnTo>
                    <a:pt x="52706" y="106300"/>
                  </a:lnTo>
                  <a:lnTo>
                    <a:pt x="56135" y="108078"/>
                  </a:lnTo>
                  <a:lnTo>
                    <a:pt x="60579" y="108078"/>
                  </a:lnTo>
                  <a:lnTo>
                    <a:pt x="64898" y="108078"/>
                  </a:lnTo>
                  <a:lnTo>
                    <a:pt x="69343" y="106300"/>
                  </a:lnTo>
                  <a:lnTo>
                    <a:pt x="72899" y="104522"/>
                  </a:lnTo>
                  <a:lnTo>
                    <a:pt x="75438" y="101728"/>
                  </a:lnTo>
                  <a:lnTo>
                    <a:pt x="78106" y="98172"/>
                  </a:lnTo>
                  <a:lnTo>
                    <a:pt x="80773" y="94616"/>
                  </a:lnTo>
                  <a:lnTo>
                    <a:pt x="81661" y="91059"/>
                  </a:lnTo>
                  <a:lnTo>
                    <a:pt x="82550" y="86615"/>
                  </a:lnTo>
                  <a:lnTo>
                    <a:pt x="82550" y="0"/>
                  </a:lnTo>
                  <a:lnTo>
                    <a:pt x="120270" y="0"/>
                  </a:lnTo>
                  <a:lnTo>
                    <a:pt x="120270" y="86615"/>
                  </a:lnTo>
                  <a:lnTo>
                    <a:pt x="120270" y="91059"/>
                  </a:lnTo>
                  <a:lnTo>
                    <a:pt x="122048" y="94616"/>
                  </a:lnTo>
                  <a:lnTo>
                    <a:pt x="123699" y="98172"/>
                  </a:lnTo>
                  <a:lnTo>
                    <a:pt x="126365" y="101728"/>
                  </a:lnTo>
                  <a:lnTo>
                    <a:pt x="129922" y="104522"/>
                  </a:lnTo>
                  <a:lnTo>
                    <a:pt x="133350" y="106300"/>
                  </a:lnTo>
                  <a:lnTo>
                    <a:pt x="136907" y="108078"/>
                  </a:lnTo>
                  <a:lnTo>
                    <a:pt x="141351" y="108078"/>
                  </a:lnTo>
                  <a:lnTo>
                    <a:pt x="145670" y="108078"/>
                  </a:lnTo>
                  <a:lnTo>
                    <a:pt x="150114" y="106300"/>
                  </a:lnTo>
                  <a:lnTo>
                    <a:pt x="153544" y="104522"/>
                  </a:lnTo>
                  <a:lnTo>
                    <a:pt x="157099" y="101728"/>
                  </a:lnTo>
                  <a:lnTo>
                    <a:pt x="159766" y="98172"/>
                  </a:lnTo>
                  <a:lnTo>
                    <a:pt x="161418" y="94616"/>
                  </a:lnTo>
                  <a:lnTo>
                    <a:pt x="162307" y="91059"/>
                  </a:lnTo>
                  <a:lnTo>
                    <a:pt x="163196" y="86615"/>
                  </a:lnTo>
                  <a:lnTo>
                    <a:pt x="163196" y="0"/>
                  </a:lnTo>
                  <a:lnTo>
                    <a:pt x="200914" y="0"/>
                  </a:lnTo>
                  <a:lnTo>
                    <a:pt x="200914" y="86615"/>
                  </a:lnTo>
                  <a:lnTo>
                    <a:pt x="200914" y="91059"/>
                  </a:lnTo>
                  <a:lnTo>
                    <a:pt x="202693" y="94616"/>
                  </a:lnTo>
                  <a:lnTo>
                    <a:pt x="204471" y="98172"/>
                  </a:lnTo>
                  <a:lnTo>
                    <a:pt x="207137" y="101728"/>
                  </a:lnTo>
                  <a:lnTo>
                    <a:pt x="210566" y="104522"/>
                  </a:lnTo>
                  <a:lnTo>
                    <a:pt x="214123" y="106300"/>
                  </a:lnTo>
                  <a:lnTo>
                    <a:pt x="217678" y="108078"/>
                  </a:lnTo>
                  <a:lnTo>
                    <a:pt x="221997" y="108078"/>
                  </a:lnTo>
                  <a:lnTo>
                    <a:pt x="226441" y="108078"/>
                  </a:lnTo>
                  <a:lnTo>
                    <a:pt x="230760" y="106300"/>
                  </a:lnTo>
                  <a:lnTo>
                    <a:pt x="234315" y="104522"/>
                  </a:lnTo>
                  <a:lnTo>
                    <a:pt x="237872" y="101728"/>
                  </a:lnTo>
                  <a:lnTo>
                    <a:pt x="240411" y="98172"/>
                  </a:lnTo>
                  <a:lnTo>
                    <a:pt x="242189" y="94616"/>
                  </a:lnTo>
                  <a:lnTo>
                    <a:pt x="243078" y="91059"/>
                  </a:lnTo>
                  <a:lnTo>
                    <a:pt x="243968" y="86615"/>
                  </a:lnTo>
                  <a:lnTo>
                    <a:pt x="243968" y="0"/>
                  </a:lnTo>
                  <a:lnTo>
                    <a:pt x="283464" y="0"/>
                  </a:lnTo>
                  <a:lnTo>
                    <a:pt x="283464" y="176784"/>
                  </a:lnTo>
                  <a:close/>
                  <a:moveTo>
                    <a:pt x="-8586215" y="2855976"/>
                  </a:moveTo>
                  <a:moveTo>
                    <a:pt x="7874" y="168784"/>
                  </a:moveTo>
                  <a:lnTo>
                    <a:pt x="275590" y="168784"/>
                  </a:lnTo>
                  <a:lnTo>
                    <a:pt x="275590" y="8001"/>
                  </a:lnTo>
                  <a:lnTo>
                    <a:pt x="251841" y="8001"/>
                  </a:lnTo>
                  <a:lnTo>
                    <a:pt x="251841" y="86615"/>
                  </a:lnTo>
                  <a:lnTo>
                    <a:pt x="250952" y="91949"/>
                  </a:lnTo>
                  <a:lnTo>
                    <a:pt x="249174" y="98172"/>
                  </a:lnTo>
                  <a:lnTo>
                    <a:pt x="246635" y="102616"/>
                  </a:lnTo>
                  <a:lnTo>
                    <a:pt x="243078" y="107188"/>
                  </a:lnTo>
                  <a:lnTo>
                    <a:pt x="238761" y="111634"/>
                  </a:lnTo>
                  <a:lnTo>
                    <a:pt x="233426" y="114300"/>
                  </a:lnTo>
                  <a:lnTo>
                    <a:pt x="228220" y="116078"/>
                  </a:lnTo>
                  <a:lnTo>
                    <a:pt x="221997" y="116078"/>
                  </a:lnTo>
                  <a:lnTo>
                    <a:pt x="216789" y="116078"/>
                  </a:lnTo>
                  <a:lnTo>
                    <a:pt x="210566" y="114300"/>
                  </a:lnTo>
                  <a:lnTo>
                    <a:pt x="206249" y="111634"/>
                  </a:lnTo>
                  <a:lnTo>
                    <a:pt x="201803" y="107188"/>
                  </a:lnTo>
                  <a:lnTo>
                    <a:pt x="198374" y="102616"/>
                  </a:lnTo>
                  <a:lnTo>
                    <a:pt x="194819" y="98172"/>
                  </a:lnTo>
                  <a:lnTo>
                    <a:pt x="193929" y="91949"/>
                  </a:lnTo>
                  <a:lnTo>
                    <a:pt x="193040" y="86615"/>
                  </a:lnTo>
                  <a:lnTo>
                    <a:pt x="193040" y="8001"/>
                  </a:lnTo>
                  <a:lnTo>
                    <a:pt x="171070" y="8001"/>
                  </a:lnTo>
                  <a:lnTo>
                    <a:pt x="171070" y="86615"/>
                  </a:lnTo>
                  <a:lnTo>
                    <a:pt x="170308" y="91949"/>
                  </a:lnTo>
                  <a:lnTo>
                    <a:pt x="168529" y="98172"/>
                  </a:lnTo>
                  <a:lnTo>
                    <a:pt x="165862" y="102616"/>
                  </a:lnTo>
                  <a:lnTo>
                    <a:pt x="162307" y="107188"/>
                  </a:lnTo>
                  <a:lnTo>
                    <a:pt x="157988" y="111634"/>
                  </a:lnTo>
                  <a:lnTo>
                    <a:pt x="152654" y="114300"/>
                  </a:lnTo>
                  <a:lnTo>
                    <a:pt x="147448" y="116078"/>
                  </a:lnTo>
                  <a:lnTo>
                    <a:pt x="141351" y="116078"/>
                  </a:lnTo>
                  <a:lnTo>
                    <a:pt x="135128" y="116078"/>
                  </a:lnTo>
                  <a:lnTo>
                    <a:pt x="129922" y="114300"/>
                  </a:lnTo>
                  <a:lnTo>
                    <a:pt x="124587" y="111634"/>
                  </a:lnTo>
                  <a:lnTo>
                    <a:pt x="121159" y="107188"/>
                  </a:lnTo>
                  <a:lnTo>
                    <a:pt x="116713" y="102616"/>
                  </a:lnTo>
                  <a:lnTo>
                    <a:pt x="114047" y="98172"/>
                  </a:lnTo>
                  <a:lnTo>
                    <a:pt x="112396" y="91949"/>
                  </a:lnTo>
                  <a:lnTo>
                    <a:pt x="112396" y="86615"/>
                  </a:lnTo>
                  <a:lnTo>
                    <a:pt x="112396" y="8001"/>
                  </a:lnTo>
                  <a:lnTo>
                    <a:pt x="90424" y="8001"/>
                  </a:lnTo>
                  <a:lnTo>
                    <a:pt x="90424" y="86615"/>
                  </a:lnTo>
                  <a:lnTo>
                    <a:pt x="89536" y="91949"/>
                  </a:lnTo>
                  <a:lnTo>
                    <a:pt x="87758" y="98172"/>
                  </a:lnTo>
                  <a:lnTo>
                    <a:pt x="85090" y="102616"/>
                  </a:lnTo>
                  <a:lnTo>
                    <a:pt x="81661" y="107188"/>
                  </a:lnTo>
                  <a:lnTo>
                    <a:pt x="77216" y="111634"/>
                  </a:lnTo>
                  <a:lnTo>
                    <a:pt x="72010" y="114300"/>
                  </a:lnTo>
                  <a:lnTo>
                    <a:pt x="66675" y="116078"/>
                  </a:lnTo>
                  <a:lnTo>
                    <a:pt x="60579" y="116078"/>
                  </a:lnTo>
                  <a:lnTo>
                    <a:pt x="54357" y="116078"/>
                  </a:lnTo>
                  <a:lnTo>
                    <a:pt x="49149" y="114300"/>
                  </a:lnTo>
                  <a:lnTo>
                    <a:pt x="43943" y="111634"/>
                  </a:lnTo>
                  <a:lnTo>
                    <a:pt x="39498" y="107188"/>
                  </a:lnTo>
                  <a:lnTo>
                    <a:pt x="35941" y="102616"/>
                  </a:lnTo>
                  <a:lnTo>
                    <a:pt x="33401" y="98172"/>
                  </a:lnTo>
                  <a:lnTo>
                    <a:pt x="31624" y="91949"/>
                  </a:lnTo>
                  <a:lnTo>
                    <a:pt x="31624" y="86615"/>
                  </a:lnTo>
                  <a:lnTo>
                    <a:pt x="31624" y="8001"/>
                  </a:lnTo>
                  <a:lnTo>
                    <a:pt x="7874" y="8001"/>
                  </a:lnTo>
                  <a:lnTo>
                    <a:pt x="7874" y="168784"/>
                  </a:lnTo>
                  <a:close/>
                  <a:moveTo>
                    <a:pt x="-8578215" y="2855976"/>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66" name="Freeform 993">
              <a:extLst>
                <a:ext uri="{FF2B5EF4-FFF2-40B4-BE49-F238E27FC236}">
                  <a16:creationId xmlns:a16="http://schemas.microsoft.com/office/drawing/2014/main" id="{0A664DE8-02F0-43A2-96A7-2E8C3711002A}"/>
                </a:ext>
              </a:extLst>
            </p:cNvPr>
            <p:cNvSpPr/>
            <p:nvPr/>
          </p:nvSpPr>
          <p:spPr>
            <a:xfrm>
              <a:off x="11296228" y="3934705"/>
              <a:ext cx="57882" cy="76160"/>
            </a:xfrm>
            <a:custGeom>
              <a:avLst/>
              <a:gdLst/>
              <a:ahLst/>
              <a:cxnLst/>
              <a:rect l="0" t="0" r="0" b="0"/>
              <a:pathLst>
                <a:path w="57912" h="76200">
                  <a:moveTo>
                    <a:pt x="57912" y="76200"/>
                  </a:moveTo>
                  <a:lnTo>
                    <a:pt x="50166" y="76200"/>
                  </a:lnTo>
                  <a:lnTo>
                    <a:pt x="50166" y="8128"/>
                  </a:lnTo>
                  <a:lnTo>
                    <a:pt x="7747" y="8128"/>
                  </a:lnTo>
                  <a:lnTo>
                    <a:pt x="7747" y="76200"/>
                  </a:lnTo>
                  <a:lnTo>
                    <a:pt x="0" y="76200"/>
                  </a:lnTo>
                  <a:lnTo>
                    <a:pt x="0" y="0"/>
                  </a:lnTo>
                  <a:lnTo>
                    <a:pt x="57912" y="0"/>
                  </a:lnTo>
                  <a:lnTo>
                    <a:pt x="57912" y="76200"/>
                  </a:lnTo>
                  <a:close/>
                  <a:moveTo>
                    <a:pt x="-8452103" y="2923032"/>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67" name="Freeform 994">
              <a:extLst>
                <a:ext uri="{FF2B5EF4-FFF2-40B4-BE49-F238E27FC236}">
                  <a16:creationId xmlns:a16="http://schemas.microsoft.com/office/drawing/2014/main" id="{BAEF28F5-B002-429E-AB69-14C3A1116DFB}"/>
                </a:ext>
              </a:extLst>
            </p:cNvPr>
            <p:cNvSpPr/>
            <p:nvPr/>
          </p:nvSpPr>
          <p:spPr>
            <a:xfrm>
              <a:off x="11375435" y="3934705"/>
              <a:ext cx="57882" cy="76160"/>
            </a:xfrm>
            <a:custGeom>
              <a:avLst/>
              <a:gdLst/>
              <a:ahLst/>
              <a:cxnLst/>
              <a:rect l="0" t="0" r="0" b="0"/>
              <a:pathLst>
                <a:path w="57912" h="76200">
                  <a:moveTo>
                    <a:pt x="57912" y="76200"/>
                  </a:moveTo>
                  <a:lnTo>
                    <a:pt x="50165" y="76200"/>
                  </a:lnTo>
                  <a:lnTo>
                    <a:pt x="50165" y="8128"/>
                  </a:lnTo>
                  <a:lnTo>
                    <a:pt x="7748" y="8128"/>
                  </a:lnTo>
                  <a:lnTo>
                    <a:pt x="7748" y="76200"/>
                  </a:lnTo>
                  <a:lnTo>
                    <a:pt x="0" y="76200"/>
                  </a:lnTo>
                  <a:lnTo>
                    <a:pt x="0" y="0"/>
                  </a:lnTo>
                  <a:lnTo>
                    <a:pt x="57912" y="0"/>
                  </a:lnTo>
                  <a:lnTo>
                    <a:pt x="57912" y="76200"/>
                  </a:lnTo>
                  <a:close/>
                  <a:moveTo>
                    <a:pt x="-8531351" y="2923032"/>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68" name="Freeform 995">
              <a:extLst>
                <a:ext uri="{FF2B5EF4-FFF2-40B4-BE49-F238E27FC236}">
                  <a16:creationId xmlns:a16="http://schemas.microsoft.com/office/drawing/2014/main" id="{B97DBBC9-B624-4E92-BCA5-FC3F02FD9091}"/>
                </a:ext>
              </a:extLst>
            </p:cNvPr>
            <p:cNvSpPr/>
            <p:nvPr/>
          </p:nvSpPr>
          <p:spPr>
            <a:xfrm>
              <a:off x="11454643" y="3934705"/>
              <a:ext cx="60929" cy="76160"/>
            </a:xfrm>
            <a:custGeom>
              <a:avLst/>
              <a:gdLst/>
              <a:ahLst/>
              <a:cxnLst/>
              <a:rect l="0" t="0" r="0" b="0"/>
              <a:pathLst>
                <a:path w="60961" h="76200">
                  <a:moveTo>
                    <a:pt x="60961" y="76200"/>
                  </a:moveTo>
                  <a:lnTo>
                    <a:pt x="52833" y="76200"/>
                  </a:lnTo>
                  <a:lnTo>
                    <a:pt x="52833" y="8128"/>
                  </a:lnTo>
                  <a:lnTo>
                    <a:pt x="8128" y="8128"/>
                  </a:lnTo>
                  <a:lnTo>
                    <a:pt x="8128" y="76200"/>
                  </a:lnTo>
                  <a:lnTo>
                    <a:pt x="0" y="76200"/>
                  </a:lnTo>
                  <a:lnTo>
                    <a:pt x="0" y="0"/>
                  </a:lnTo>
                  <a:lnTo>
                    <a:pt x="60961" y="0"/>
                  </a:lnTo>
                  <a:lnTo>
                    <a:pt x="60961" y="76200"/>
                  </a:lnTo>
                  <a:close/>
                  <a:moveTo>
                    <a:pt x="-8610599" y="2923032"/>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69" name="Freeform 996">
              <a:extLst>
                <a:ext uri="{FF2B5EF4-FFF2-40B4-BE49-F238E27FC236}">
                  <a16:creationId xmlns:a16="http://schemas.microsoft.com/office/drawing/2014/main" id="{352A3056-C895-4482-ACC3-925F615C6887}"/>
                </a:ext>
              </a:extLst>
            </p:cNvPr>
            <p:cNvSpPr/>
            <p:nvPr/>
          </p:nvSpPr>
          <p:spPr>
            <a:xfrm>
              <a:off x="11387622" y="3867684"/>
              <a:ext cx="33511" cy="33511"/>
            </a:xfrm>
            <a:custGeom>
              <a:avLst/>
              <a:gdLst/>
              <a:ahLst/>
              <a:cxnLst/>
              <a:rect l="0" t="0" r="0" b="0"/>
              <a:pathLst>
                <a:path w="33528" h="33528">
                  <a:moveTo>
                    <a:pt x="16764" y="33528"/>
                  </a:moveTo>
                  <a:lnTo>
                    <a:pt x="16764" y="33528"/>
                  </a:lnTo>
                  <a:lnTo>
                    <a:pt x="13462" y="32640"/>
                  </a:lnTo>
                  <a:lnTo>
                    <a:pt x="10032" y="31878"/>
                  </a:lnTo>
                  <a:lnTo>
                    <a:pt x="7492" y="30227"/>
                  </a:lnTo>
                  <a:lnTo>
                    <a:pt x="5080" y="28449"/>
                  </a:lnTo>
                  <a:lnTo>
                    <a:pt x="3302" y="26036"/>
                  </a:lnTo>
                  <a:lnTo>
                    <a:pt x="1651" y="22606"/>
                  </a:lnTo>
                  <a:lnTo>
                    <a:pt x="889" y="20066"/>
                  </a:lnTo>
                  <a:lnTo>
                    <a:pt x="0" y="16765"/>
                  </a:lnTo>
                  <a:lnTo>
                    <a:pt x="889" y="12574"/>
                  </a:lnTo>
                  <a:lnTo>
                    <a:pt x="1651" y="10034"/>
                  </a:lnTo>
                  <a:lnTo>
                    <a:pt x="3302" y="6731"/>
                  </a:lnTo>
                  <a:lnTo>
                    <a:pt x="5080" y="4191"/>
                  </a:lnTo>
                  <a:lnTo>
                    <a:pt x="7492" y="2540"/>
                  </a:lnTo>
                  <a:lnTo>
                    <a:pt x="10032" y="890"/>
                  </a:lnTo>
                  <a:lnTo>
                    <a:pt x="13462" y="0"/>
                  </a:lnTo>
                  <a:lnTo>
                    <a:pt x="16764" y="0"/>
                  </a:lnTo>
                  <a:lnTo>
                    <a:pt x="20066" y="0"/>
                  </a:lnTo>
                  <a:lnTo>
                    <a:pt x="23494" y="890"/>
                  </a:lnTo>
                  <a:lnTo>
                    <a:pt x="26034" y="2540"/>
                  </a:lnTo>
                  <a:lnTo>
                    <a:pt x="28447" y="4191"/>
                  </a:lnTo>
                  <a:lnTo>
                    <a:pt x="30988" y="6731"/>
                  </a:lnTo>
                  <a:lnTo>
                    <a:pt x="32639" y="10034"/>
                  </a:lnTo>
                  <a:lnTo>
                    <a:pt x="33528" y="12574"/>
                  </a:lnTo>
                  <a:lnTo>
                    <a:pt x="33528" y="16765"/>
                  </a:lnTo>
                  <a:lnTo>
                    <a:pt x="33528" y="20066"/>
                  </a:lnTo>
                  <a:lnTo>
                    <a:pt x="32639" y="22606"/>
                  </a:lnTo>
                  <a:lnTo>
                    <a:pt x="30988" y="26036"/>
                  </a:lnTo>
                  <a:lnTo>
                    <a:pt x="28447" y="28449"/>
                  </a:lnTo>
                  <a:lnTo>
                    <a:pt x="26034" y="30227"/>
                  </a:lnTo>
                  <a:lnTo>
                    <a:pt x="23494" y="31878"/>
                  </a:lnTo>
                  <a:lnTo>
                    <a:pt x="20066" y="32640"/>
                  </a:lnTo>
                  <a:lnTo>
                    <a:pt x="16764" y="33528"/>
                  </a:lnTo>
                  <a:close/>
                  <a:moveTo>
                    <a:pt x="-8433816" y="2990088"/>
                  </a:moveTo>
                  <a:moveTo>
                    <a:pt x="16764" y="7493"/>
                  </a:moveTo>
                  <a:lnTo>
                    <a:pt x="16764" y="7493"/>
                  </a:lnTo>
                  <a:lnTo>
                    <a:pt x="13462" y="7493"/>
                  </a:lnTo>
                  <a:lnTo>
                    <a:pt x="10032" y="10034"/>
                  </a:lnTo>
                  <a:lnTo>
                    <a:pt x="8381" y="12574"/>
                  </a:lnTo>
                  <a:lnTo>
                    <a:pt x="7492" y="16765"/>
                  </a:lnTo>
                  <a:lnTo>
                    <a:pt x="8381" y="20066"/>
                  </a:lnTo>
                  <a:lnTo>
                    <a:pt x="10032" y="22606"/>
                  </a:lnTo>
                  <a:lnTo>
                    <a:pt x="13462" y="25146"/>
                  </a:lnTo>
                  <a:lnTo>
                    <a:pt x="16764" y="26036"/>
                  </a:lnTo>
                  <a:lnTo>
                    <a:pt x="20955" y="25146"/>
                  </a:lnTo>
                  <a:lnTo>
                    <a:pt x="23494" y="22606"/>
                  </a:lnTo>
                  <a:lnTo>
                    <a:pt x="25145" y="20066"/>
                  </a:lnTo>
                  <a:lnTo>
                    <a:pt x="26034" y="16765"/>
                  </a:lnTo>
                  <a:lnTo>
                    <a:pt x="25145" y="12574"/>
                  </a:lnTo>
                  <a:lnTo>
                    <a:pt x="23494" y="10034"/>
                  </a:lnTo>
                  <a:lnTo>
                    <a:pt x="20955" y="7493"/>
                  </a:lnTo>
                  <a:lnTo>
                    <a:pt x="16764" y="7493"/>
                  </a:lnTo>
                  <a:close/>
                  <a:moveTo>
                    <a:pt x="-8407781" y="2990088"/>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70" name="Freeform 997">
              <a:extLst>
                <a:ext uri="{FF2B5EF4-FFF2-40B4-BE49-F238E27FC236}">
                  <a16:creationId xmlns:a16="http://schemas.microsoft.com/office/drawing/2014/main" id="{B196A454-1C11-4A71-AAB6-CBD9C693D507}"/>
                </a:ext>
              </a:extLst>
            </p:cNvPr>
            <p:cNvSpPr/>
            <p:nvPr/>
          </p:nvSpPr>
          <p:spPr>
            <a:xfrm>
              <a:off x="11305369" y="3895103"/>
              <a:ext cx="36557" cy="33511"/>
            </a:xfrm>
            <a:custGeom>
              <a:avLst/>
              <a:gdLst/>
              <a:ahLst/>
              <a:cxnLst/>
              <a:rect l="0" t="0" r="0" b="0"/>
              <a:pathLst>
                <a:path w="36576" h="33528">
                  <a:moveTo>
                    <a:pt x="18288" y="33528"/>
                  </a:moveTo>
                  <a:lnTo>
                    <a:pt x="18288" y="33528"/>
                  </a:lnTo>
                  <a:lnTo>
                    <a:pt x="14604" y="33528"/>
                  </a:lnTo>
                  <a:lnTo>
                    <a:pt x="10922" y="32638"/>
                  </a:lnTo>
                  <a:lnTo>
                    <a:pt x="8254" y="30988"/>
                  </a:lnTo>
                  <a:lnTo>
                    <a:pt x="5461" y="29336"/>
                  </a:lnTo>
                  <a:lnTo>
                    <a:pt x="2793" y="26797"/>
                  </a:lnTo>
                  <a:lnTo>
                    <a:pt x="1777" y="23495"/>
                  </a:lnTo>
                  <a:lnTo>
                    <a:pt x="0" y="20066"/>
                  </a:lnTo>
                  <a:lnTo>
                    <a:pt x="0" y="16763"/>
                  </a:lnTo>
                  <a:lnTo>
                    <a:pt x="0" y="13461"/>
                  </a:lnTo>
                  <a:lnTo>
                    <a:pt x="1777" y="10922"/>
                  </a:lnTo>
                  <a:lnTo>
                    <a:pt x="2793" y="7492"/>
                  </a:lnTo>
                  <a:lnTo>
                    <a:pt x="5461" y="5079"/>
                  </a:lnTo>
                  <a:lnTo>
                    <a:pt x="8254" y="3301"/>
                  </a:lnTo>
                  <a:lnTo>
                    <a:pt x="10922" y="1651"/>
                  </a:lnTo>
                  <a:lnTo>
                    <a:pt x="14604" y="888"/>
                  </a:lnTo>
                  <a:lnTo>
                    <a:pt x="18288" y="0"/>
                  </a:lnTo>
                  <a:lnTo>
                    <a:pt x="21971" y="888"/>
                  </a:lnTo>
                  <a:lnTo>
                    <a:pt x="25653" y="1651"/>
                  </a:lnTo>
                  <a:lnTo>
                    <a:pt x="28321" y="3301"/>
                  </a:lnTo>
                  <a:lnTo>
                    <a:pt x="31114" y="5079"/>
                  </a:lnTo>
                  <a:lnTo>
                    <a:pt x="33781" y="7492"/>
                  </a:lnTo>
                  <a:lnTo>
                    <a:pt x="35687" y="10922"/>
                  </a:lnTo>
                  <a:lnTo>
                    <a:pt x="36576" y="13461"/>
                  </a:lnTo>
                  <a:lnTo>
                    <a:pt x="36576" y="16763"/>
                  </a:lnTo>
                  <a:lnTo>
                    <a:pt x="36576" y="20066"/>
                  </a:lnTo>
                  <a:lnTo>
                    <a:pt x="35687" y="23495"/>
                  </a:lnTo>
                  <a:lnTo>
                    <a:pt x="33781" y="26797"/>
                  </a:lnTo>
                  <a:lnTo>
                    <a:pt x="31114" y="29336"/>
                  </a:lnTo>
                  <a:lnTo>
                    <a:pt x="28321" y="30988"/>
                  </a:lnTo>
                  <a:lnTo>
                    <a:pt x="25653" y="32638"/>
                  </a:lnTo>
                  <a:lnTo>
                    <a:pt x="21971" y="33528"/>
                  </a:lnTo>
                  <a:lnTo>
                    <a:pt x="18288" y="33528"/>
                  </a:lnTo>
                  <a:close/>
                  <a:moveTo>
                    <a:pt x="-8378953" y="2962655"/>
                  </a:moveTo>
                  <a:moveTo>
                    <a:pt x="18288" y="7492"/>
                  </a:moveTo>
                  <a:lnTo>
                    <a:pt x="18288" y="7492"/>
                  </a:lnTo>
                  <a:lnTo>
                    <a:pt x="14604" y="8382"/>
                  </a:lnTo>
                  <a:lnTo>
                    <a:pt x="10922" y="10922"/>
                  </a:lnTo>
                  <a:lnTo>
                    <a:pt x="9143" y="13461"/>
                  </a:lnTo>
                  <a:lnTo>
                    <a:pt x="8254" y="16763"/>
                  </a:lnTo>
                  <a:lnTo>
                    <a:pt x="9143" y="20954"/>
                  </a:lnTo>
                  <a:lnTo>
                    <a:pt x="10922" y="23495"/>
                  </a:lnTo>
                  <a:lnTo>
                    <a:pt x="14604" y="26035"/>
                  </a:lnTo>
                  <a:lnTo>
                    <a:pt x="18288" y="26035"/>
                  </a:lnTo>
                  <a:lnTo>
                    <a:pt x="21971" y="26035"/>
                  </a:lnTo>
                  <a:lnTo>
                    <a:pt x="25653" y="23495"/>
                  </a:lnTo>
                  <a:lnTo>
                    <a:pt x="27431" y="20954"/>
                  </a:lnTo>
                  <a:lnTo>
                    <a:pt x="28321" y="16763"/>
                  </a:lnTo>
                  <a:lnTo>
                    <a:pt x="27431" y="13461"/>
                  </a:lnTo>
                  <a:lnTo>
                    <a:pt x="25653" y="10922"/>
                  </a:lnTo>
                  <a:lnTo>
                    <a:pt x="21971" y="8382"/>
                  </a:lnTo>
                  <a:lnTo>
                    <a:pt x="18288" y="7492"/>
                  </a:lnTo>
                  <a:close/>
                  <a:moveTo>
                    <a:pt x="-8352917" y="2962655"/>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71" name="Freeform 998">
              <a:extLst>
                <a:ext uri="{FF2B5EF4-FFF2-40B4-BE49-F238E27FC236}">
                  <a16:creationId xmlns:a16="http://schemas.microsoft.com/office/drawing/2014/main" id="{3F03BCDD-05F4-46D7-967D-1E5D88D9D948}"/>
                </a:ext>
              </a:extLst>
            </p:cNvPr>
            <p:cNvSpPr/>
            <p:nvPr/>
          </p:nvSpPr>
          <p:spPr>
            <a:xfrm>
              <a:off x="11472921" y="3876824"/>
              <a:ext cx="33511" cy="33511"/>
            </a:xfrm>
            <a:custGeom>
              <a:avLst/>
              <a:gdLst/>
              <a:ahLst/>
              <a:cxnLst/>
              <a:rect l="0" t="0" r="0" b="0"/>
              <a:pathLst>
                <a:path w="33528" h="33528">
                  <a:moveTo>
                    <a:pt x="16764" y="33528"/>
                  </a:moveTo>
                  <a:lnTo>
                    <a:pt x="16764" y="33528"/>
                  </a:lnTo>
                  <a:lnTo>
                    <a:pt x="13209" y="32640"/>
                  </a:lnTo>
                  <a:lnTo>
                    <a:pt x="9652" y="31750"/>
                  </a:lnTo>
                  <a:lnTo>
                    <a:pt x="7112" y="30099"/>
                  </a:lnTo>
                  <a:lnTo>
                    <a:pt x="4446" y="28321"/>
                  </a:lnTo>
                  <a:lnTo>
                    <a:pt x="2667" y="25781"/>
                  </a:lnTo>
                  <a:lnTo>
                    <a:pt x="889" y="23242"/>
                  </a:lnTo>
                  <a:lnTo>
                    <a:pt x="0" y="19812"/>
                  </a:lnTo>
                  <a:lnTo>
                    <a:pt x="0" y="16384"/>
                  </a:lnTo>
                  <a:lnTo>
                    <a:pt x="0" y="12955"/>
                  </a:lnTo>
                  <a:lnTo>
                    <a:pt x="889" y="10287"/>
                  </a:lnTo>
                  <a:lnTo>
                    <a:pt x="2667" y="7747"/>
                  </a:lnTo>
                  <a:lnTo>
                    <a:pt x="4446" y="5208"/>
                  </a:lnTo>
                  <a:lnTo>
                    <a:pt x="7112" y="2540"/>
                  </a:lnTo>
                  <a:lnTo>
                    <a:pt x="9652" y="890"/>
                  </a:lnTo>
                  <a:lnTo>
                    <a:pt x="13209" y="0"/>
                  </a:lnTo>
                  <a:lnTo>
                    <a:pt x="16764" y="0"/>
                  </a:lnTo>
                  <a:lnTo>
                    <a:pt x="20321" y="0"/>
                  </a:lnTo>
                  <a:lnTo>
                    <a:pt x="22987" y="890"/>
                  </a:lnTo>
                  <a:lnTo>
                    <a:pt x="26416" y="2540"/>
                  </a:lnTo>
                  <a:lnTo>
                    <a:pt x="29084" y="5208"/>
                  </a:lnTo>
                  <a:lnTo>
                    <a:pt x="30862" y="7747"/>
                  </a:lnTo>
                  <a:lnTo>
                    <a:pt x="32639" y="10287"/>
                  </a:lnTo>
                  <a:lnTo>
                    <a:pt x="33528" y="12955"/>
                  </a:lnTo>
                  <a:lnTo>
                    <a:pt x="33528" y="16384"/>
                  </a:lnTo>
                  <a:lnTo>
                    <a:pt x="33528" y="19812"/>
                  </a:lnTo>
                  <a:lnTo>
                    <a:pt x="32639" y="23242"/>
                  </a:lnTo>
                  <a:lnTo>
                    <a:pt x="30862" y="25781"/>
                  </a:lnTo>
                  <a:lnTo>
                    <a:pt x="29084" y="28321"/>
                  </a:lnTo>
                  <a:lnTo>
                    <a:pt x="26416" y="30099"/>
                  </a:lnTo>
                  <a:lnTo>
                    <a:pt x="22987" y="31750"/>
                  </a:lnTo>
                  <a:lnTo>
                    <a:pt x="20321" y="32640"/>
                  </a:lnTo>
                  <a:lnTo>
                    <a:pt x="16764" y="33528"/>
                  </a:lnTo>
                  <a:close/>
                  <a:moveTo>
                    <a:pt x="-8528303" y="2980944"/>
                  </a:moveTo>
                  <a:moveTo>
                    <a:pt x="16764" y="7747"/>
                  </a:moveTo>
                  <a:lnTo>
                    <a:pt x="16764" y="7747"/>
                  </a:lnTo>
                  <a:lnTo>
                    <a:pt x="13209" y="8637"/>
                  </a:lnTo>
                  <a:lnTo>
                    <a:pt x="10541" y="10287"/>
                  </a:lnTo>
                  <a:lnTo>
                    <a:pt x="8001" y="12955"/>
                  </a:lnTo>
                  <a:lnTo>
                    <a:pt x="8001" y="16384"/>
                  </a:lnTo>
                  <a:lnTo>
                    <a:pt x="8001" y="19812"/>
                  </a:lnTo>
                  <a:lnTo>
                    <a:pt x="10541" y="23242"/>
                  </a:lnTo>
                  <a:lnTo>
                    <a:pt x="13209" y="24893"/>
                  </a:lnTo>
                  <a:lnTo>
                    <a:pt x="16764" y="25781"/>
                  </a:lnTo>
                  <a:lnTo>
                    <a:pt x="20321" y="24893"/>
                  </a:lnTo>
                  <a:lnTo>
                    <a:pt x="22987" y="23242"/>
                  </a:lnTo>
                  <a:lnTo>
                    <a:pt x="24765" y="19812"/>
                  </a:lnTo>
                  <a:lnTo>
                    <a:pt x="25527" y="16384"/>
                  </a:lnTo>
                  <a:lnTo>
                    <a:pt x="24765" y="12955"/>
                  </a:lnTo>
                  <a:lnTo>
                    <a:pt x="22987" y="10287"/>
                  </a:lnTo>
                  <a:lnTo>
                    <a:pt x="20321" y="8637"/>
                  </a:lnTo>
                  <a:lnTo>
                    <a:pt x="16764" y="7747"/>
                  </a:lnTo>
                  <a:close/>
                  <a:moveTo>
                    <a:pt x="-8502522" y="2980944"/>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72" name="Freeform 999">
              <a:extLst>
                <a:ext uri="{FF2B5EF4-FFF2-40B4-BE49-F238E27FC236}">
                  <a16:creationId xmlns:a16="http://schemas.microsoft.com/office/drawing/2014/main" id="{DF97B10A-AB81-4CB3-80AE-3C906C2FB03D}"/>
                </a:ext>
              </a:extLst>
            </p:cNvPr>
            <p:cNvSpPr/>
            <p:nvPr/>
          </p:nvSpPr>
          <p:spPr>
            <a:xfrm>
              <a:off x="11332786" y="3879871"/>
              <a:ext cx="6093" cy="9139"/>
            </a:xfrm>
            <a:custGeom>
              <a:avLst/>
              <a:gdLst/>
              <a:ahLst/>
              <a:cxnLst/>
              <a:rect l="0" t="0" r="0" b="0"/>
              <a:pathLst>
                <a:path w="6096" h="9144">
                  <a:moveTo>
                    <a:pt x="0" y="9144"/>
                  </a:moveTo>
                  <a:lnTo>
                    <a:pt x="6096" y="9144"/>
                  </a:lnTo>
                  <a:lnTo>
                    <a:pt x="6096"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73" name="Freeform 1000">
              <a:extLst>
                <a:ext uri="{FF2B5EF4-FFF2-40B4-BE49-F238E27FC236}">
                  <a16:creationId xmlns:a16="http://schemas.microsoft.com/office/drawing/2014/main" id="{25BAA944-7270-40DA-8B4D-1623873A2949}"/>
                </a:ext>
              </a:extLst>
            </p:cNvPr>
            <p:cNvSpPr/>
            <p:nvPr/>
          </p:nvSpPr>
          <p:spPr>
            <a:xfrm>
              <a:off x="11469875" y="3913382"/>
              <a:ext cx="6093" cy="9139"/>
            </a:xfrm>
            <a:custGeom>
              <a:avLst/>
              <a:gdLst/>
              <a:ahLst/>
              <a:cxnLst/>
              <a:rect l="0" t="0" r="0" b="0"/>
              <a:pathLst>
                <a:path w="6096" h="9144">
                  <a:moveTo>
                    <a:pt x="0" y="9144"/>
                  </a:moveTo>
                  <a:lnTo>
                    <a:pt x="6096" y="9144"/>
                  </a:lnTo>
                  <a:lnTo>
                    <a:pt x="6096"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74" name="Freeform 1001">
              <a:extLst>
                <a:ext uri="{FF2B5EF4-FFF2-40B4-BE49-F238E27FC236}">
                  <a16:creationId xmlns:a16="http://schemas.microsoft.com/office/drawing/2014/main" id="{C100A7BA-DB38-48C2-8757-89047EF1D0F4}"/>
                </a:ext>
              </a:extLst>
            </p:cNvPr>
            <p:cNvSpPr/>
            <p:nvPr/>
          </p:nvSpPr>
          <p:spPr>
            <a:xfrm>
              <a:off x="11311462" y="3864638"/>
              <a:ext cx="9138" cy="6094"/>
            </a:xfrm>
            <a:custGeom>
              <a:avLst/>
              <a:gdLst/>
              <a:ahLst/>
              <a:cxnLst/>
              <a:rect l="0" t="0" r="0" b="0"/>
              <a:pathLst>
                <a:path w="9143" h="6097">
                  <a:moveTo>
                    <a:pt x="0" y="6097"/>
                  </a:moveTo>
                  <a:lnTo>
                    <a:pt x="9143" y="6097"/>
                  </a:lnTo>
                  <a:lnTo>
                    <a:pt x="9143" y="0"/>
                  </a:lnTo>
                  <a:lnTo>
                    <a:pt x="0" y="0"/>
                  </a:lnTo>
                  <a:lnTo>
                    <a:pt x="0" y="6097"/>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75" name="Freeform 1002">
              <a:extLst>
                <a:ext uri="{FF2B5EF4-FFF2-40B4-BE49-F238E27FC236}">
                  <a16:creationId xmlns:a16="http://schemas.microsoft.com/office/drawing/2014/main" id="{DA7DD0BB-139E-4125-B669-9538D16AD59C}"/>
                </a:ext>
              </a:extLst>
            </p:cNvPr>
            <p:cNvSpPr/>
            <p:nvPr/>
          </p:nvSpPr>
          <p:spPr>
            <a:xfrm>
              <a:off x="11506432" y="3858545"/>
              <a:ext cx="6093" cy="12186"/>
            </a:xfrm>
            <a:custGeom>
              <a:avLst/>
              <a:gdLst/>
              <a:ahLst/>
              <a:cxnLst/>
              <a:rect l="0" t="0" r="0" b="0"/>
              <a:pathLst>
                <a:path w="6096" h="12192">
                  <a:moveTo>
                    <a:pt x="0" y="12192"/>
                  </a:moveTo>
                  <a:lnTo>
                    <a:pt x="6096" y="12192"/>
                  </a:lnTo>
                  <a:lnTo>
                    <a:pt x="6096" y="0"/>
                  </a:lnTo>
                  <a:lnTo>
                    <a:pt x="0" y="0"/>
                  </a:lnTo>
                  <a:lnTo>
                    <a:pt x="0" y="12192"/>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76" name="Freeform 1003">
              <a:extLst>
                <a:ext uri="{FF2B5EF4-FFF2-40B4-BE49-F238E27FC236}">
                  <a16:creationId xmlns:a16="http://schemas.microsoft.com/office/drawing/2014/main" id="{02A262D3-1A66-470F-9478-5F6F3BD1B2B8}"/>
                </a:ext>
              </a:extLst>
            </p:cNvPr>
            <p:cNvSpPr/>
            <p:nvPr/>
          </p:nvSpPr>
          <p:spPr>
            <a:xfrm>
              <a:off x="11390668" y="3913382"/>
              <a:ext cx="6093" cy="9139"/>
            </a:xfrm>
            <a:custGeom>
              <a:avLst/>
              <a:gdLst/>
              <a:ahLst/>
              <a:cxnLst/>
              <a:rect l="0" t="0" r="0" b="0"/>
              <a:pathLst>
                <a:path w="6096" h="9144">
                  <a:moveTo>
                    <a:pt x="0" y="9144"/>
                  </a:moveTo>
                  <a:lnTo>
                    <a:pt x="6096" y="9144"/>
                  </a:lnTo>
                  <a:lnTo>
                    <a:pt x="6096"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77" name="Freeform 1004">
              <a:extLst>
                <a:ext uri="{FF2B5EF4-FFF2-40B4-BE49-F238E27FC236}">
                  <a16:creationId xmlns:a16="http://schemas.microsoft.com/office/drawing/2014/main" id="{211AE68B-F0F2-4DB5-87F9-B5E47E98FE9C}"/>
                </a:ext>
              </a:extLst>
            </p:cNvPr>
            <p:cNvSpPr/>
            <p:nvPr/>
          </p:nvSpPr>
          <p:spPr>
            <a:xfrm>
              <a:off x="11411993" y="3907288"/>
              <a:ext cx="9139" cy="9139"/>
            </a:xfrm>
            <a:custGeom>
              <a:avLst/>
              <a:gdLst/>
              <a:ahLst/>
              <a:cxnLst/>
              <a:rect l="0" t="0" r="0" b="0"/>
              <a:pathLst>
                <a:path w="9144" h="9144">
                  <a:moveTo>
                    <a:pt x="0" y="9144"/>
                  </a:moveTo>
                  <a:lnTo>
                    <a:pt x="9144" y="9144"/>
                  </a:lnTo>
                  <a:lnTo>
                    <a:pt x="9144"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78" name="Freeform 1005">
              <a:extLst>
                <a:ext uri="{FF2B5EF4-FFF2-40B4-BE49-F238E27FC236}">
                  <a16:creationId xmlns:a16="http://schemas.microsoft.com/office/drawing/2014/main" id="{78002817-21A9-480F-AB18-246CD52D6D85}"/>
                </a:ext>
              </a:extLst>
            </p:cNvPr>
            <p:cNvSpPr/>
            <p:nvPr/>
          </p:nvSpPr>
          <p:spPr>
            <a:xfrm>
              <a:off x="10476743" y="4059608"/>
              <a:ext cx="265038" cy="6094"/>
            </a:xfrm>
            <a:custGeom>
              <a:avLst/>
              <a:gdLst/>
              <a:ahLst/>
              <a:cxnLst/>
              <a:rect l="0" t="0" r="0" b="0"/>
              <a:pathLst>
                <a:path w="265176" h="6097">
                  <a:moveTo>
                    <a:pt x="0" y="6097"/>
                  </a:moveTo>
                  <a:lnTo>
                    <a:pt x="265176" y="6097"/>
                  </a:lnTo>
                  <a:lnTo>
                    <a:pt x="265176" y="0"/>
                  </a:lnTo>
                  <a:lnTo>
                    <a:pt x="0" y="0"/>
                  </a:lnTo>
                  <a:lnTo>
                    <a:pt x="0" y="6097"/>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79" name="Freeform 1006">
              <a:extLst>
                <a:ext uri="{FF2B5EF4-FFF2-40B4-BE49-F238E27FC236}">
                  <a16:creationId xmlns:a16="http://schemas.microsoft.com/office/drawing/2014/main" id="{F9B3D4A1-11B1-41F8-9EBB-902E607C8F6C}"/>
                </a:ext>
              </a:extLst>
            </p:cNvPr>
            <p:cNvSpPr/>
            <p:nvPr/>
          </p:nvSpPr>
          <p:spPr>
            <a:xfrm>
              <a:off x="10476743" y="3971262"/>
              <a:ext cx="45696" cy="6093"/>
            </a:xfrm>
            <a:custGeom>
              <a:avLst/>
              <a:gdLst/>
              <a:ahLst/>
              <a:cxnLst/>
              <a:rect l="0" t="0" r="0" b="0"/>
              <a:pathLst>
                <a:path w="45720" h="6096">
                  <a:moveTo>
                    <a:pt x="0" y="6096"/>
                  </a:moveTo>
                  <a:lnTo>
                    <a:pt x="45720" y="6096"/>
                  </a:lnTo>
                  <a:lnTo>
                    <a:pt x="45720" y="0"/>
                  </a:lnTo>
                  <a:lnTo>
                    <a:pt x="0" y="0"/>
                  </a:lnTo>
                  <a:lnTo>
                    <a:pt x="0" y="6096"/>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80" name="Freeform 1007">
              <a:extLst>
                <a:ext uri="{FF2B5EF4-FFF2-40B4-BE49-F238E27FC236}">
                  <a16:creationId xmlns:a16="http://schemas.microsoft.com/office/drawing/2014/main" id="{5A18DF0E-35D5-48F7-A11B-1AB6B4FA1C28}"/>
                </a:ext>
              </a:extLst>
            </p:cNvPr>
            <p:cNvSpPr/>
            <p:nvPr/>
          </p:nvSpPr>
          <p:spPr>
            <a:xfrm>
              <a:off x="10696086" y="3971262"/>
              <a:ext cx="45696" cy="6093"/>
            </a:xfrm>
            <a:custGeom>
              <a:avLst/>
              <a:gdLst/>
              <a:ahLst/>
              <a:cxnLst/>
              <a:rect l="0" t="0" r="0" b="0"/>
              <a:pathLst>
                <a:path w="45720" h="6096">
                  <a:moveTo>
                    <a:pt x="0" y="6096"/>
                  </a:moveTo>
                  <a:lnTo>
                    <a:pt x="45720" y="6096"/>
                  </a:lnTo>
                  <a:lnTo>
                    <a:pt x="45720" y="0"/>
                  </a:lnTo>
                  <a:lnTo>
                    <a:pt x="0" y="0"/>
                  </a:lnTo>
                  <a:lnTo>
                    <a:pt x="0" y="6096"/>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81" name="Freeform 1008">
              <a:extLst>
                <a:ext uri="{FF2B5EF4-FFF2-40B4-BE49-F238E27FC236}">
                  <a16:creationId xmlns:a16="http://schemas.microsoft.com/office/drawing/2014/main" id="{EF43DA7E-8BA4-4264-AB95-FEF8AD0AE623}"/>
                </a:ext>
              </a:extLst>
            </p:cNvPr>
            <p:cNvSpPr/>
            <p:nvPr/>
          </p:nvSpPr>
          <p:spPr>
            <a:xfrm>
              <a:off x="10629064" y="3971262"/>
              <a:ext cx="30464" cy="6093"/>
            </a:xfrm>
            <a:custGeom>
              <a:avLst/>
              <a:gdLst/>
              <a:ahLst/>
              <a:cxnLst/>
              <a:rect l="0" t="0" r="0" b="0"/>
              <a:pathLst>
                <a:path w="30480" h="6096">
                  <a:moveTo>
                    <a:pt x="0" y="6096"/>
                  </a:moveTo>
                  <a:lnTo>
                    <a:pt x="30480" y="6096"/>
                  </a:lnTo>
                  <a:lnTo>
                    <a:pt x="30480" y="0"/>
                  </a:lnTo>
                  <a:lnTo>
                    <a:pt x="0" y="0"/>
                  </a:lnTo>
                  <a:lnTo>
                    <a:pt x="0" y="6096"/>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82" name="Freeform 1009">
              <a:extLst>
                <a:ext uri="{FF2B5EF4-FFF2-40B4-BE49-F238E27FC236}">
                  <a16:creationId xmlns:a16="http://schemas.microsoft.com/office/drawing/2014/main" id="{67F90B53-5813-4C81-8E93-EC52DDCD649B}"/>
                </a:ext>
              </a:extLst>
            </p:cNvPr>
            <p:cNvSpPr/>
            <p:nvPr/>
          </p:nvSpPr>
          <p:spPr>
            <a:xfrm>
              <a:off x="10558997" y="3971262"/>
              <a:ext cx="33511" cy="6093"/>
            </a:xfrm>
            <a:custGeom>
              <a:avLst/>
              <a:gdLst/>
              <a:ahLst/>
              <a:cxnLst/>
              <a:rect l="0" t="0" r="0" b="0"/>
              <a:pathLst>
                <a:path w="33528" h="6096">
                  <a:moveTo>
                    <a:pt x="0" y="6096"/>
                  </a:moveTo>
                  <a:lnTo>
                    <a:pt x="33528" y="6096"/>
                  </a:lnTo>
                  <a:lnTo>
                    <a:pt x="33528" y="0"/>
                  </a:lnTo>
                  <a:lnTo>
                    <a:pt x="0" y="0"/>
                  </a:lnTo>
                  <a:lnTo>
                    <a:pt x="0" y="6096"/>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83" name="Freeform 1010">
              <a:extLst>
                <a:ext uri="{FF2B5EF4-FFF2-40B4-BE49-F238E27FC236}">
                  <a16:creationId xmlns:a16="http://schemas.microsoft.com/office/drawing/2014/main" id="{58357D73-3201-411A-9438-794F5DF51756}"/>
                </a:ext>
              </a:extLst>
            </p:cNvPr>
            <p:cNvSpPr/>
            <p:nvPr/>
          </p:nvSpPr>
          <p:spPr>
            <a:xfrm>
              <a:off x="10476743" y="4096165"/>
              <a:ext cx="265038" cy="6093"/>
            </a:xfrm>
            <a:custGeom>
              <a:avLst/>
              <a:gdLst/>
              <a:ahLst/>
              <a:cxnLst/>
              <a:rect l="0" t="0" r="0" b="0"/>
              <a:pathLst>
                <a:path w="265176" h="6096">
                  <a:moveTo>
                    <a:pt x="0" y="6096"/>
                  </a:moveTo>
                  <a:lnTo>
                    <a:pt x="265176" y="6096"/>
                  </a:lnTo>
                  <a:lnTo>
                    <a:pt x="265176" y="0"/>
                  </a:lnTo>
                  <a:lnTo>
                    <a:pt x="0" y="0"/>
                  </a:lnTo>
                  <a:lnTo>
                    <a:pt x="0" y="6096"/>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84" name="Freeform 1011">
              <a:extLst>
                <a:ext uri="{FF2B5EF4-FFF2-40B4-BE49-F238E27FC236}">
                  <a16:creationId xmlns:a16="http://schemas.microsoft.com/office/drawing/2014/main" id="{31500B12-5091-4534-B3B3-497A115DC64C}"/>
                </a:ext>
              </a:extLst>
            </p:cNvPr>
            <p:cNvSpPr/>
            <p:nvPr/>
          </p:nvSpPr>
          <p:spPr>
            <a:xfrm>
              <a:off x="10488930" y="3949938"/>
              <a:ext cx="240666" cy="152321"/>
            </a:xfrm>
            <a:custGeom>
              <a:avLst/>
              <a:gdLst/>
              <a:ahLst/>
              <a:cxnLst/>
              <a:rect l="0" t="0" r="0" b="0"/>
              <a:pathLst>
                <a:path w="240791" h="152400">
                  <a:moveTo>
                    <a:pt x="240791" y="152400"/>
                  </a:moveTo>
                  <a:lnTo>
                    <a:pt x="0" y="152400"/>
                  </a:lnTo>
                  <a:lnTo>
                    <a:pt x="0" y="0"/>
                  </a:lnTo>
                  <a:lnTo>
                    <a:pt x="33527" y="0"/>
                  </a:lnTo>
                  <a:lnTo>
                    <a:pt x="33527" y="74676"/>
                  </a:lnTo>
                  <a:lnTo>
                    <a:pt x="33527" y="78487"/>
                  </a:lnTo>
                  <a:lnTo>
                    <a:pt x="34290" y="81535"/>
                  </a:lnTo>
                  <a:lnTo>
                    <a:pt x="36576" y="84710"/>
                  </a:lnTo>
                  <a:lnTo>
                    <a:pt x="38735" y="87757"/>
                  </a:lnTo>
                  <a:lnTo>
                    <a:pt x="41020" y="90044"/>
                  </a:lnTo>
                  <a:lnTo>
                    <a:pt x="44703" y="91567"/>
                  </a:lnTo>
                  <a:lnTo>
                    <a:pt x="47752" y="93091"/>
                  </a:lnTo>
                  <a:lnTo>
                    <a:pt x="51435" y="93091"/>
                  </a:lnTo>
                  <a:lnTo>
                    <a:pt x="55117" y="93091"/>
                  </a:lnTo>
                  <a:lnTo>
                    <a:pt x="58927" y="91567"/>
                  </a:lnTo>
                  <a:lnTo>
                    <a:pt x="61849" y="90044"/>
                  </a:lnTo>
                  <a:lnTo>
                    <a:pt x="64135" y="87757"/>
                  </a:lnTo>
                  <a:lnTo>
                    <a:pt x="66293" y="84710"/>
                  </a:lnTo>
                  <a:lnTo>
                    <a:pt x="68579" y="81535"/>
                  </a:lnTo>
                  <a:lnTo>
                    <a:pt x="69341" y="78487"/>
                  </a:lnTo>
                  <a:lnTo>
                    <a:pt x="70103" y="74676"/>
                  </a:lnTo>
                  <a:lnTo>
                    <a:pt x="70103" y="0"/>
                  </a:lnTo>
                  <a:lnTo>
                    <a:pt x="102107" y="0"/>
                  </a:lnTo>
                  <a:lnTo>
                    <a:pt x="102107" y="74676"/>
                  </a:lnTo>
                  <a:lnTo>
                    <a:pt x="102107" y="78487"/>
                  </a:lnTo>
                  <a:lnTo>
                    <a:pt x="103631" y="81535"/>
                  </a:lnTo>
                  <a:lnTo>
                    <a:pt x="105155" y="84710"/>
                  </a:lnTo>
                  <a:lnTo>
                    <a:pt x="107315" y="87757"/>
                  </a:lnTo>
                  <a:lnTo>
                    <a:pt x="110363" y="90044"/>
                  </a:lnTo>
                  <a:lnTo>
                    <a:pt x="113284" y="91567"/>
                  </a:lnTo>
                  <a:lnTo>
                    <a:pt x="116331" y="93091"/>
                  </a:lnTo>
                  <a:lnTo>
                    <a:pt x="120015" y="93091"/>
                  </a:lnTo>
                  <a:lnTo>
                    <a:pt x="123698" y="93091"/>
                  </a:lnTo>
                  <a:lnTo>
                    <a:pt x="127507" y="91567"/>
                  </a:lnTo>
                  <a:lnTo>
                    <a:pt x="130428" y="90044"/>
                  </a:lnTo>
                  <a:lnTo>
                    <a:pt x="133477" y="87757"/>
                  </a:lnTo>
                  <a:lnTo>
                    <a:pt x="135636" y="84710"/>
                  </a:lnTo>
                  <a:lnTo>
                    <a:pt x="137160" y="81535"/>
                  </a:lnTo>
                  <a:lnTo>
                    <a:pt x="137922" y="78487"/>
                  </a:lnTo>
                  <a:lnTo>
                    <a:pt x="138684" y="74676"/>
                  </a:lnTo>
                  <a:lnTo>
                    <a:pt x="138684" y="0"/>
                  </a:lnTo>
                  <a:lnTo>
                    <a:pt x="170688" y="0"/>
                  </a:lnTo>
                  <a:lnTo>
                    <a:pt x="170688" y="74676"/>
                  </a:lnTo>
                  <a:lnTo>
                    <a:pt x="170688" y="78487"/>
                  </a:lnTo>
                  <a:lnTo>
                    <a:pt x="172212" y="81535"/>
                  </a:lnTo>
                  <a:lnTo>
                    <a:pt x="173736" y="84710"/>
                  </a:lnTo>
                  <a:lnTo>
                    <a:pt x="175894" y="87757"/>
                  </a:lnTo>
                  <a:lnTo>
                    <a:pt x="178942" y="90044"/>
                  </a:lnTo>
                  <a:lnTo>
                    <a:pt x="181864" y="91567"/>
                  </a:lnTo>
                  <a:lnTo>
                    <a:pt x="184912" y="93091"/>
                  </a:lnTo>
                  <a:lnTo>
                    <a:pt x="188594" y="93091"/>
                  </a:lnTo>
                  <a:lnTo>
                    <a:pt x="192277" y="93091"/>
                  </a:lnTo>
                  <a:lnTo>
                    <a:pt x="196088" y="91567"/>
                  </a:lnTo>
                  <a:lnTo>
                    <a:pt x="199009" y="90044"/>
                  </a:lnTo>
                  <a:lnTo>
                    <a:pt x="202056" y="87757"/>
                  </a:lnTo>
                  <a:lnTo>
                    <a:pt x="204215" y="84710"/>
                  </a:lnTo>
                  <a:lnTo>
                    <a:pt x="205740" y="81535"/>
                  </a:lnTo>
                  <a:lnTo>
                    <a:pt x="206502" y="78487"/>
                  </a:lnTo>
                  <a:lnTo>
                    <a:pt x="207264" y="74676"/>
                  </a:lnTo>
                  <a:lnTo>
                    <a:pt x="207264" y="0"/>
                  </a:lnTo>
                  <a:lnTo>
                    <a:pt x="240791" y="0"/>
                  </a:lnTo>
                  <a:lnTo>
                    <a:pt x="240791" y="152400"/>
                  </a:lnTo>
                  <a:close/>
                  <a:moveTo>
                    <a:pt x="-7735824" y="2907792"/>
                  </a:moveTo>
                  <a:moveTo>
                    <a:pt x="6730" y="145416"/>
                  </a:moveTo>
                  <a:lnTo>
                    <a:pt x="234061" y="145416"/>
                  </a:lnTo>
                  <a:lnTo>
                    <a:pt x="234061" y="6985"/>
                  </a:lnTo>
                  <a:lnTo>
                    <a:pt x="213994" y="6985"/>
                  </a:lnTo>
                  <a:lnTo>
                    <a:pt x="213994" y="74676"/>
                  </a:lnTo>
                  <a:lnTo>
                    <a:pt x="213232" y="79248"/>
                  </a:lnTo>
                  <a:lnTo>
                    <a:pt x="211709" y="84710"/>
                  </a:lnTo>
                  <a:lnTo>
                    <a:pt x="209423" y="88519"/>
                  </a:lnTo>
                  <a:lnTo>
                    <a:pt x="206502" y="92329"/>
                  </a:lnTo>
                  <a:lnTo>
                    <a:pt x="202818" y="96266"/>
                  </a:lnTo>
                  <a:lnTo>
                    <a:pt x="198247" y="98553"/>
                  </a:lnTo>
                  <a:lnTo>
                    <a:pt x="193802" y="100076"/>
                  </a:lnTo>
                  <a:lnTo>
                    <a:pt x="188594" y="100076"/>
                  </a:lnTo>
                  <a:lnTo>
                    <a:pt x="184150" y="100076"/>
                  </a:lnTo>
                  <a:lnTo>
                    <a:pt x="178942" y="98553"/>
                  </a:lnTo>
                  <a:lnTo>
                    <a:pt x="175132" y="96266"/>
                  </a:lnTo>
                  <a:lnTo>
                    <a:pt x="171450" y="92329"/>
                  </a:lnTo>
                  <a:lnTo>
                    <a:pt x="168528" y="88519"/>
                  </a:lnTo>
                  <a:lnTo>
                    <a:pt x="165480" y="84710"/>
                  </a:lnTo>
                  <a:lnTo>
                    <a:pt x="164718" y="79248"/>
                  </a:lnTo>
                  <a:lnTo>
                    <a:pt x="163956" y="74676"/>
                  </a:lnTo>
                  <a:lnTo>
                    <a:pt x="163956" y="6985"/>
                  </a:lnTo>
                  <a:lnTo>
                    <a:pt x="145415" y="6985"/>
                  </a:lnTo>
                  <a:lnTo>
                    <a:pt x="145415" y="74676"/>
                  </a:lnTo>
                  <a:lnTo>
                    <a:pt x="144652" y="79248"/>
                  </a:lnTo>
                  <a:lnTo>
                    <a:pt x="143128" y="84710"/>
                  </a:lnTo>
                  <a:lnTo>
                    <a:pt x="140842" y="88519"/>
                  </a:lnTo>
                  <a:lnTo>
                    <a:pt x="137922" y="92329"/>
                  </a:lnTo>
                  <a:lnTo>
                    <a:pt x="134239" y="96266"/>
                  </a:lnTo>
                  <a:lnTo>
                    <a:pt x="129666" y="98553"/>
                  </a:lnTo>
                  <a:lnTo>
                    <a:pt x="125222" y="100076"/>
                  </a:lnTo>
                  <a:lnTo>
                    <a:pt x="120015" y="100076"/>
                  </a:lnTo>
                  <a:lnTo>
                    <a:pt x="114807" y="100076"/>
                  </a:lnTo>
                  <a:lnTo>
                    <a:pt x="110363" y="98553"/>
                  </a:lnTo>
                  <a:lnTo>
                    <a:pt x="105917" y="96266"/>
                  </a:lnTo>
                  <a:lnTo>
                    <a:pt x="102869" y="92329"/>
                  </a:lnTo>
                  <a:lnTo>
                    <a:pt x="99187" y="88519"/>
                  </a:lnTo>
                  <a:lnTo>
                    <a:pt x="96901" y="84710"/>
                  </a:lnTo>
                  <a:lnTo>
                    <a:pt x="95377" y="79248"/>
                  </a:lnTo>
                  <a:lnTo>
                    <a:pt x="95377" y="74676"/>
                  </a:lnTo>
                  <a:lnTo>
                    <a:pt x="95377" y="6985"/>
                  </a:lnTo>
                  <a:lnTo>
                    <a:pt x="76835" y="6985"/>
                  </a:lnTo>
                  <a:lnTo>
                    <a:pt x="76835" y="74676"/>
                  </a:lnTo>
                  <a:lnTo>
                    <a:pt x="76073" y="79248"/>
                  </a:lnTo>
                  <a:lnTo>
                    <a:pt x="74549" y="84710"/>
                  </a:lnTo>
                  <a:lnTo>
                    <a:pt x="72263" y="88519"/>
                  </a:lnTo>
                  <a:lnTo>
                    <a:pt x="69341" y="92329"/>
                  </a:lnTo>
                  <a:lnTo>
                    <a:pt x="65659" y="96266"/>
                  </a:lnTo>
                  <a:lnTo>
                    <a:pt x="61087" y="98553"/>
                  </a:lnTo>
                  <a:lnTo>
                    <a:pt x="56641" y="100076"/>
                  </a:lnTo>
                  <a:lnTo>
                    <a:pt x="51435" y="100076"/>
                  </a:lnTo>
                  <a:lnTo>
                    <a:pt x="46227" y="100076"/>
                  </a:lnTo>
                  <a:lnTo>
                    <a:pt x="41782" y="98553"/>
                  </a:lnTo>
                  <a:lnTo>
                    <a:pt x="37211" y="96266"/>
                  </a:lnTo>
                  <a:lnTo>
                    <a:pt x="33527" y="92329"/>
                  </a:lnTo>
                  <a:lnTo>
                    <a:pt x="30606" y="88519"/>
                  </a:lnTo>
                  <a:lnTo>
                    <a:pt x="28320" y="84710"/>
                  </a:lnTo>
                  <a:lnTo>
                    <a:pt x="26797" y="79248"/>
                  </a:lnTo>
                  <a:lnTo>
                    <a:pt x="26797" y="74676"/>
                  </a:lnTo>
                  <a:lnTo>
                    <a:pt x="26797" y="6985"/>
                  </a:lnTo>
                  <a:lnTo>
                    <a:pt x="6730" y="6985"/>
                  </a:lnTo>
                  <a:lnTo>
                    <a:pt x="6730" y="145416"/>
                  </a:lnTo>
                  <a:close/>
                  <a:moveTo>
                    <a:pt x="-7728840" y="2907792"/>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85" name="Freeform 1012">
              <a:extLst>
                <a:ext uri="{FF2B5EF4-FFF2-40B4-BE49-F238E27FC236}">
                  <a16:creationId xmlns:a16="http://schemas.microsoft.com/office/drawing/2014/main" id="{D322E12D-49DB-451F-A97A-34B1E8C1440F}"/>
                </a:ext>
              </a:extLst>
            </p:cNvPr>
            <p:cNvSpPr/>
            <p:nvPr/>
          </p:nvSpPr>
          <p:spPr>
            <a:xfrm>
              <a:off x="10516347" y="3895103"/>
              <a:ext cx="48744" cy="63974"/>
            </a:xfrm>
            <a:custGeom>
              <a:avLst/>
              <a:gdLst/>
              <a:ahLst/>
              <a:cxnLst/>
              <a:rect l="0" t="0" r="0" b="0"/>
              <a:pathLst>
                <a:path w="48769" h="64007">
                  <a:moveTo>
                    <a:pt x="48769" y="64007"/>
                  </a:moveTo>
                  <a:lnTo>
                    <a:pt x="42164" y="64007"/>
                  </a:lnTo>
                  <a:lnTo>
                    <a:pt x="42164" y="6730"/>
                  </a:lnTo>
                  <a:lnTo>
                    <a:pt x="6605" y="6730"/>
                  </a:lnTo>
                  <a:lnTo>
                    <a:pt x="6605" y="64007"/>
                  </a:lnTo>
                  <a:lnTo>
                    <a:pt x="0" y="64007"/>
                  </a:lnTo>
                  <a:lnTo>
                    <a:pt x="0" y="0"/>
                  </a:lnTo>
                  <a:lnTo>
                    <a:pt x="48769" y="0"/>
                  </a:lnTo>
                  <a:lnTo>
                    <a:pt x="48769" y="64007"/>
                  </a:lnTo>
                  <a:close/>
                  <a:moveTo>
                    <a:pt x="-7619999" y="2962655"/>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86" name="Freeform 1013">
              <a:extLst>
                <a:ext uri="{FF2B5EF4-FFF2-40B4-BE49-F238E27FC236}">
                  <a16:creationId xmlns:a16="http://schemas.microsoft.com/office/drawing/2014/main" id="{6F2851B9-22A0-474C-A8EB-48D2A9D5A965}"/>
                </a:ext>
              </a:extLst>
            </p:cNvPr>
            <p:cNvSpPr/>
            <p:nvPr/>
          </p:nvSpPr>
          <p:spPr>
            <a:xfrm>
              <a:off x="10583369" y="3895103"/>
              <a:ext cx="51788" cy="63974"/>
            </a:xfrm>
            <a:custGeom>
              <a:avLst/>
              <a:gdLst/>
              <a:ahLst/>
              <a:cxnLst/>
              <a:rect l="0" t="0" r="0" b="0"/>
              <a:pathLst>
                <a:path w="51815" h="64007">
                  <a:moveTo>
                    <a:pt x="51815" y="64007"/>
                  </a:moveTo>
                  <a:lnTo>
                    <a:pt x="44830" y="64007"/>
                  </a:lnTo>
                  <a:lnTo>
                    <a:pt x="44830" y="6730"/>
                  </a:lnTo>
                  <a:lnTo>
                    <a:pt x="6985" y="6730"/>
                  </a:lnTo>
                  <a:lnTo>
                    <a:pt x="6985" y="64007"/>
                  </a:lnTo>
                  <a:lnTo>
                    <a:pt x="0" y="64007"/>
                  </a:lnTo>
                  <a:lnTo>
                    <a:pt x="0" y="0"/>
                  </a:lnTo>
                  <a:lnTo>
                    <a:pt x="51815" y="0"/>
                  </a:lnTo>
                  <a:lnTo>
                    <a:pt x="51815" y="64007"/>
                  </a:lnTo>
                  <a:close/>
                  <a:moveTo>
                    <a:pt x="-7687056" y="2962655"/>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87" name="Freeform 1014">
              <a:extLst>
                <a:ext uri="{FF2B5EF4-FFF2-40B4-BE49-F238E27FC236}">
                  <a16:creationId xmlns:a16="http://schemas.microsoft.com/office/drawing/2014/main" id="{3AD98223-2CA9-4B30-871B-9EB7824063D4}"/>
                </a:ext>
              </a:extLst>
            </p:cNvPr>
            <p:cNvSpPr/>
            <p:nvPr/>
          </p:nvSpPr>
          <p:spPr>
            <a:xfrm>
              <a:off x="10653435" y="3895103"/>
              <a:ext cx="48744" cy="63974"/>
            </a:xfrm>
            <a:custGeom>
              <a:avLst/>
              <a:gdLst/>
              <a:ahLst/>
              <a:cxnLst/>
              <a:rect l="0" t="0" r="0" b="0"/>
              <a:pathLst>
                <a:path w="48769" h="64007">
                  <a:moveTo>
                    <a:pt x="48769" y="64007"/>
                  </a:moveTo>
                  <a:lnTo>
                    <a:pt x="42164" y="64007"/>
                  </a:lnTo>
                  <a:lnTo>
                    <a:pt x="42164" y="6730"/>
                  </a:lnTo>
                  <a:lnTo>
                    <a:pt x="6604" y="6730"/>
                  </a:lnTo>
                  <a:lnTo>
                    <a:pt x="6604" y="64007"/>
                  </a:lnTo>
                  <a:lnTo>
                    <a:pt x="0" y="64007"/>
                  </a:lnTo>
                  <a:lnTo>
                    <a:pt x="0" y="0"/>
                  </a:lnTo>
                  <a:lnTo>
                    <a:pt x="48769" y="0"/>
                  </a:lnTo>
                  <a:lnTo>
                    <a:pt x="48769" y="64007"/>
                  </a:lnTo>
                  <a:close/>
                  <a:moveTo>
                    <a:pt x="-7757159" y="2962655"/>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88" name="Freeform 1015">
              <a:extLst>
                <a:ext uri="{FF2B5EF4-FFF2-40B4-BE49-F238E27FC236}">
                  <a16:creationId xmlns:a16="http://schemas.microsoft.com/office/drawing/2014/main" id="{A91E8E85-5C4A-46C2-8391-CCA80D487645}"/>
                </a:ext>
              </a:extLst>
            </p:cNvPr>
            <p:cNvSpPr/>
            <p:nvPr/>
          </p:nvSpPr>
          <p:spPr>
            <a:xfrm>
              <a:off x="10592508" y="3834175"/>
              <a:ext cx="30465" cy="30465"/>
            </a:xfrm>
            <a:custGeom>
              <a:avLst/>
              <a:gdLst/>
              <a:ahLst/>
              <a:cxnLst/>
              <a:rect l="0" t="0" r="0" b="0"/>
              <a:pathLst>
                <a:path w="30481" h="30481">
                  <a:moveTo>
                    <a:pt x="15241" y="30481"/>
                  </a:moveTo>
                  <a:lnTo>
                    <a:pt x="15241" y="30481"/>
                  </a:lnTo>
                  <a:lnTo>
                    <a:pt x="12193" y="29718"/>
                  </a:lnTo>
                  <a:lnTo>
                    <a:pt x="9145" y="28956"/>
                  </a:lnTo>
                  <a:lnTo>
                    <a:pt x="6859" y="27433"/>
                  </a:lnTo>
                  <a:lnTo>
                    <a:pt x="4572" y="25909"/>
                  </a:lnTo>
                  <a:lnTo>
                    <a:pt x="3048" y="23622"/>
                  </a:lnTo>
                  <a:lnTo>
                    <a:pt x="1524" y="20574"/>
                  </a:lnTo>
                  <a:lnTo>
                    <a:pt x="762" y="18289"/>
                  </a:lnTo>
                  <a:lnTo>
                    <a:pt x="0" y="15240"/>
                  </a:lnTo>
                  <a:lnTo>
                    <a:pt x="762" y="11431"/>
                  </a:lnTo>
                  <a:lnTo>
                    <a:pt x="1524" y="9144"/>
                  </a:lnTo>
                  <a:lnTo>
                    <a:pt x="3048" y="6096"/>
                  </a:lnTo>
                  <a:lnTo>
                    <a:pt x="4572" y="3811"/>
                  </a:lnTo>
                  <a:lnTo>
                    <a:pt x="6859" y="2287"/>
                  </a:lnTo>
                  <a:lnTo>
                    <a:pt x="9145" y="762"/>
                  </a:lnTo>
                  <a:lnTo>
                    <a:pt x="12193" y="0"/>
                  </a:lnTo>
                  <a:lnTo>
                    <a:pt x="15241" y="0"/>
                  </a:lnTo>
                  <a:lnTo>
                    <a:pt x="18288" y="0"/>
                  </a:lnTo>
                  <a:lnTo>
                    <a:pt x="21336" y="762"/>
                  </a:lnTo>
                  <a:lnTo>
                    <a:pt x="23622" y="2287"/>
                  </a:lnTo>
                  <a:lnTo>
                    <a:pt x="25909" y="3811"/>
                  </a:lnTo>
                  <a:lnTo>
                    <a:pt x="28195" y="6096"/>
                  </a:lnTo>
                  <a:lnTo>
                    <a:pt x="29719" y="9144"/>
                  </a:lnTo>
                  <a:lnTo>
                    <a:pt x="30481" y="11431"/>
                  </a:lnTo>
                  <a:lnTo>
                    <a:pt x="30481" y="15240"/>
                  </a:lnTo>
                  <a:lnTo>
                    <a:pt x="30481" y="18289"/>
                  </a:lnTo>
                  <a:lnTo>
                    <a:pt x="29719" y="20574"/>
                  </a:lnTo>
                  <a:lnTo>
                    <a:pt x="28195" y="23622"/>
                  </a:lnTo>
                  <a:lnTo>
                    <a:pt x="25909" y="25909"/>
                  </a:lnTo>
                  <a:lnTo>
                    <a:pt x="23622" y="27433"/>
                  </a:lnTo>
                  <a:lnTo>
                    <a:pt x="21336" y="28956"/>
                  </a:lnTo>
                  <a:lnTo>
                    <a:pt x="18288" y="29718"/>
                  </a:lnTo>
                  <a:lnTo>
                    <a:pt x="15241" y="30481"/>
                  </a:lnTo>
                  <a:close/>
                  <a:moveTo>
                    <a:pt x="-7601712" y="3023616"/>
                  </a:moveTo>
                  <a:moveTo>
                    <a:pt x="15241" y="6859"/>
                  </a:moveTo>
                  <a:lnTo>
                    <a:pt x="15241" y="6859"/>
                  </a:lnTo>
                  <a:lnTo>
                    <a:pt x="12193" y="6859"/>
                  </a:lnTo>
                  <a:lnTo>
                    <a:pt x="9145" y="9144"/>
                  </a:lnTo>
                  <a:lnTo>
                    <a:pt x="7621" y="11431"/>
                  </a:lnTo>
                  <a:lnTo>
                    <a:pt x="6859" y="15240"/>
                  </a:lnTo>
                  <a:lnTo>
                    <a:pt x="7621" y="18289"/>
                  </a:lnTo>
                  <a:lnTo>
                    <a:pt x="9145" y="20574"/>
                  </a:lnTo>
                  <a:lnTo>
                    <a:pt x="12193" y="22861"/>
                  </a:lnTo>
                  <a:lnTo>
                    <a:pt x="15241" y="23622"/>
                  </a:lnTo>
                  <a:lnTo>
                    <a:pt x="19050" y="22861"/>
                  </a:lnTo>
                  <a:lnTo>
                    <a:pt x="21336" y="20574"/>
                  </a:lnTo>
                  <a:lnTo>
                    <a:pt x="22860" y="18289"/>
                  </a:lnTo>
                  <a:lnTo>
                    <a:pt x="23622" y="15240"/>
                  </a:lnTo>
                  <a:lnTo>
                    <a:pt x="22860" y="11431"/>
                  </a:lnTo>
                  <a:lnTo>
                    <a:pt x="21336" y="9144"/>
                  </a:lnTo>
                  <a:lnTo>
                    <a:pt x="19050" y="6859"/>
                  </a:lnTo>
                  <a:lnTo>
                    <a:pt x="15241" y="6859"/>
                  </a:lnTo>
                  <a:close/>
                  <a:moveTo>
                    <a:pt x="-7578090" y="3023616"/>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89" name="Freeform 1016">
              <a:extLst>
                <a:ext uri="{FF2B5EF4-FFF2-40B4-BE49-F238E27FC236}">
                  <a16:creationId xmlns:a16="http://schemas.microsoft.com/office/drawing/2014/main" id="{61BACB56-F34F-4403-8A81-3CB96A8D3321}"/>
                </a:ext>
              </a:extLst>
            </p:cNvPr>
            <p:cNvSpPr/>
            <p:nvPr/>
          </p:nvSpPr>
          <p:spPr>
            <a:xfrm>
              <a:off x="10525488" y="3858546"/>
              <a:ext cx="30463" cy="30465"/>
            </a:xfrm>
            <a:custGeom>
              <a:avLst/>
              <a:gdLst/>
              <a:ahLst/>
              <a:cxnLst/>
              <a:rect l="0" t="0" r="0" b="0"/>
              <a:pathLst>
                <a:path w="30479" h="30481">
                  <a:moveTo>
                    <a:pt x="15239" y="30481"/>
                  </a:moveTo>
                  <a:lnTo>
                    <a:pt x="15239" y="30481"/>
                  </a:lnTo>
                  <a:lnTo>
                    <a:pt x="12191" y="30481"/>
                  </a:lnTo>
                  <a:lnTo>
                    <a:pt x="9143" y="29718"/>
                  </a:lnTo>
                  <a:lnTo>
                    <a:pt x="6858" y="28194"/>
                  </a:lnTo>
                  <a:lnTo>
                    <a:pt x="4572" y="26671"/>
                  </a:lnTo>
                  <a:lnTo>
                    <a:pt x="2286" y="24384"/>
                  </a:lnTo>
                  <a:lnTo>
                    <a:pt x="1524" y="21337"/>
                  </a:lnTo>
                  <a:lnTo>
                    <a:pt x="0" y="18288"/>
                  </a:lnTo>
                  <a:lnTo>
                    <a:pt x="0" y="15240"/>
                  </a:lnTo>
                  <a:lnTo>
                    <a:pt x="0" y="12193"/>
                  </a:lnTo>
                  <a:lnTo>
                    <a:pt x="1524" y="9906"/>
                  </a:lnTo>
                  <a:lnTo>
                    <a:pt x="2286" y="6859"/>
                  </a:lnTo>
                  <a:lnTo>
                    <a:pt x="4572" y="4572"/>
                  </a:lnTo>
                  <a:lnTo>
                    <a:pt x="6858" y="3049"/>
                  </a:lnTo>
                  <a:lnTo>
                    <a:pt x="9143" y="1525"/>
                  </a:lnTo>
                  <a:lnTo>
                    <a:pt x="12191" y="762"/>
                  </a:lnTo>
                  <a:lnTo>
                    <a:pt x="15239" y="0"/>
                  </a:lnTo>
                  <a:lnTo>
                    <a:pt x="18288" y="762"/>
                  </a:lnTo>
                  <a:lnTo>
                    <a:pt x="21336" y="1525"/>
                  </a:lnTo>
                  <a:lnTo>
                    <a:pt x="23622" y="3049"/>
                  </a:lnTo>
                  <a:lnTo>
                    <a:pt x="25908" y="4572"/>
                  </a:lnTo>
                  <a:lnTo>
                    <a:pt x="28193" y="6859"/>
                  </a:lnTo>
                  <a:lnTo>
                    <a:pt x="29717" y="9906"/>
                  </a:lnTo>
                  <a:lnTo>
                    <a:pt x="30479" y="12193"/>
                  </a:lnTo>
                  <a:lnTo>
                    <a:pt x="30479" y="15240"/>
                  </a:lnTo>
                  <a:lnTo>
                    <a:pt x="30479" y="18288"/>
                  </a:lnTo>
                  <a:lnTo>
                    <a:pt x="29717" y="21337"/>
                  </a:lnTo>
                  <a:lnTo>
                    <a:pt x="28193" y="24384"/>
                  </a:lnTo>
                  <a:lnTo>
                    <a:pt x="25908" y="26671"/>
                  </a:lnTo>
                  <a:lnTo>
                    <a:pt x="23622" y="28194"/>
                  </a:lnTo>
                  <a:lnTo>
                    <a:pt x="21336" y="29718"/>
                  </a:lnTo>
                  <a:lnTo>
                    <a:pt x="18288" y="30481"/>
                  </a:lnTo>
                  <a:lnTo>
                    <a:pt x="15239" y="30481"/>
                  </a:lnTo>
                  <a:close/>
                  <a:moveTo>
                    <a:pt x="-7559041" y="2999232"/>
                  </a:moveTo>
                  <a:moveTo>
                    <a:pt x="15239" y="6859"/>
                  </a:moveTo>
                  <a:lnTo>
                    <a:pt x="15239" y="6859"/>
                  </a:lnTo>
                  <a:lnTo>
                    <a:pt x="12191" y="7621"/>
                  </a:lnTo>
                  <a:lnTo>
                    <a:pt x="9143" y="9906"/>
                  </a:lnTo>
                  <a:lnTo>
                    <a:pt x="7619" y="12193"/>
                  </a:lnTo>
                  <a:lnTo>
                    <a:pt x="6858" y="15240"/>
                  </a:lnTo>
                  <a:lnTo>
                    <a:pt x="7619" y="19050"/>
                  </a:lnTo>
                  <a:lnTo>
                    <a:pt x="9143" y="21337"/>
                  </a:lnTo>
                  <a:lnTo>
                    <a:pt x="12191" y="23622"/>
                  </a:lnTo>
                  <a:lnTo>
                    <a:pt x="15239" y="23622"/>
                  </a:lnTo>
                  <a:lnTo>
                    <a:pt x="18288" y="23622"/>
                  </a:lnTo>
                  <a:lnTo>
                    <a:pt x="21336" y="21337"/>
                  </a:lnTo>
                  <a:lnTo>
                    <a:pt x="22860" y="19050"/>
                  </a:lnTo>
                  <a:lnTo>
                    <a:pt x="23622" y="15240"/>
                  </a:lnTo>
                  <a:lnTo>
                    <a:pt x="22860" y="12193"/>
                  </a:lnTo>
                  <a:lnTo>
                    <a:pt x="21336" y="9906"/>
                  </a:lnTo>
                  <a:lnTo>
                    <a:pt x="18288" y="7621"/>
                  </a:lnTo>
                  <a:lnTo>
                    <a:pt x="15239" y="6859"/>
                  </a:lnTo>
                  <a:close/>
                  <a:moveTo>
                    <a:pt x="-7535419" y="2999232"/>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90" name="Freeform 1017">
              <a:extLst>
                <a:ext uri="{FF2B5EF4-FFF2-40B4-BE49-F238E27FC236}">
                  <a16:creationId xmlns:a16="http://schemas.microsoft.com/office/drawing/2014/main" id="{975B1119-5085-4947-9694-79C15A8D80E7}"/>
                </a:ext>
              </a:extLst>
            </p:cNvPr>
            <p:cNvSpPr/>
            <p:nvPr/>
          </p:nvSpPr>
          <p:spPr>
            <a:xfrm>
              <a:off x="10668668" y="3843312"/>
              <a:ext cx="27419" cy="30464"/>
            </a:xfrm>
            <a:custGeom>
              <a:avLst/>
              <a:gdLst/>
              <a:ahLst/>
              <a:cxnLst/>
              <a:rect l="0" t="0" r="0" b="0"/>
              <a:pathLst>
                <a:path w="27433" h="30480">
                  <a:moveTo>
                    <a:pt x="13717" y="30480"/>
                  </a:moveTo>
                  <a:lnTo>
                    <a:pt x="13717" y="30480"/>
                  </a:lnTo>
                  <a:lnTo>
                    <a:pt x="10796" y="29718"/>
                  </a:lnTo>
                  <a:lnTo>
                    <a:pt x="8001" y="28956"/>
                  </a:lnTo>
                  <a:lnTo>
                    <a:pt x="5716" y="27305"/>
                  </a:lnTo>
                  <a:lnTo>
                    <a:pt x="3557" y="25781"/>
                  </a:lnTo>
                  <a:lnTo>
                    <a:pt x="2159" y="23496"/>
                  </a:lnTo>
                  <a:lnTo>
                    <a:pt x="762" y="21083"/>
                  </a:lnTo>
                  <a:lnTo>
                    <a:pt x="0" y="18034"/>
                  </a:lnTo>
                  <a:lnTo>
                    <a:pt x="0" y="14859"/>
                  </a:lnTo>
                  <a:lnTo>
                    <a:pt x="0" y="11684"/>
                  </a:lnTo>
                  <a:lnTo>
                    <a:pt x="762" y="9399"/>
                  </a:lnTo>
                  <a:lnTo>
                    <a:pt x="2159" y="6986"/>
                  </a:lnTo>
                  <a:lnTo>
                    <a:pt x="3557" y="4699"/>
                  </a:lnTo>
                  <a:lnTo>
                    <a:pt x="5716" y="2287"/>
                  </a:lnTo>
                  <a:lnTo>
                    <a:pt x="8001" y="762"/>
                  </a:lnTo>
                  <a:lnTo>
                    <a:pt x="10796" y="0"/>
                  </a:lnTo>
                  <a:lnTo>
                    <a:pt x="13717" y="0"/>
                  </a:lnTo>
                  <a:lnTo>
                    <a:pt x="16637" y="0"/>
                  </a:lnTo>
                  <a:lnTo>
                    <a:pt x="18796" y="762"/>
                  </a:lnTo>
                  <a:lnTo>
                    <a:pt x="21718" y="2287"/>
                  </a:lnTo>
                  <a:lnTo>
                    <a:pt x="23876" y="4699"/>
                  </a:lnTo>
                  <a:lnTo>
                    <a:pt x="25273" y="6986"/>
                  </a:lnTo>
                  <a:lnTo>
                    <a:pt x="26671" y="9399"/>
                  </a:lnTo>
                  <a:lnTo>
                    <a:pt x="27433" y="11684"/>
                  </a:lnTo>
                  <a:lnTo>
                    <a:pt x="27433" y="14859"/>
                  </a:lnTo>
                  <a:lnTo>
                    <a:pt x="27433" y="18034"/>
                  </a:lnTo>
                  <a:lnTo>
                    <a:pt x="26671" y="21083"/>
                  </a:lnTo>
                  <a:lnTo>
                    <a:pt x="25273" y="23496"/>
                  </a:lnTo>
                  <a:lnTo>
                    <a:pt x="23876" y="25781"/>
                  </a:lnTo>
                  <a:lnTo>
                    <a:pt x="21718" y="27305"/>
                  </a:lnTo>
                  <a:lnTo>
                    <a:pt x="18796" y="28956"/>
                  </a:lnTo>
                  <a:lnTo>
                    <a:pt x="16637" y="29718"/>
                  </a:lnTo>
                  <a:lnTo>
                    <a:pt x="13717" y="30480"/>
                  </a:lnTo>
                  <a:close/>
                  <a:moveTo>
                    <a:pt x="-7687055" y="3014472"/>
                  </a:moveTo>
                  <a:moveTo>
                    <a:pt x="13717" y="6986"/>
                  </a:moveTo>
                  <a:lnTo>
                    <a:pt x="13717" y="6986"/>
                  </a:lnTo>
                  <a:lnTo>
                    <a:pt x="10796" y="7874"/>
                  </a:lnTo>
                  <a:lnTo>
                    <a:pt x="8636" y="9399"/>
                  </a:lnTo>
                  <a:lnTo>
                    <a:pt x="6478" y="11684"/>
                  </a:lnTo>
                  <a:lnTo>
                    <a:pt x="6478" y="14859"/>
                  </a:lnTo>
                  <a:lnTo>
                    <a:pt x="6478" y="18034"/>
                  </a:lnTo>
                  <a:lnTo>
                    <a:pt x="8636" y="21083"/>
                  </a:lnTo>
                  <a:lnTo>
                    <a:pt x="10796" y="22606"/>
                  </a:lnTo>
                  <a:lnTo>
                    <a:pt x="13717" y="23496"/>
                  </a:lnTo>
                  <a:lnTo>
                    <a:pt x="16637" y="22606"/>
                  </a:lnTo>
                  <a:lnTo>
                    <a:pt x="18796" y="21083"/>
                  </a:lnTo>
                  <a:lnTo>
                    <a:pt x="20194" y="18034"/>
                  </a:lnTo>
                  <a:lnTo>
                    <a:pt x="20956" y="14859"/>
                  </a:lnTo>
                  <a:lnTo>
                    <a:pt x="20194" y="11684"/>
                  </a:lnTo>
                  <a:lnTo>
                    <a:pt x="18796" y="9399"/>
                  </a:lnTo>
                  <a:lnTo>
                    <a:pt x="16637" y="7874"/>
                  </a:lnTo>
                  <a:lnTo>
                    <a:pt x="13717" y="6986"/>
                  </a:lnTo>
                  <a:close/>
                  <a:moveTo>
                    <a:pt x="-7663561" y="3014472"/>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91" name="Freeform 1018">
              <a:extLst>
                <a:ext uri="{FF2B5EF4-FFF2-40B4-BE49-F238E27FC236}">
                  <a16:creationId xmlns:a16="http://schemas.microsoft.com/office/drawing/2014/main" id="{9A36F68B-8BA0-4748-92D8-DFCD95B14ED5}"/>
                </a:ext>
              </a:extLst>
            </p:cNvPr>
            <p:cNvSpPr/>
            <p:nvPr/>
          </p:nvSpPr>
          <p:spPr>
            <a:xfrm>
              <a:off x="10546812" y="3846361"/>
              <a:ext cx="6092" cy="9139"/>
            </a:xfrm>
            <a:custGeom>
              <a:avLst/>
              <a:gdLst/>
              <a:ahLst/>
              <a:cxnLst/>
              <a:rect l="0" t="0" r="0" b="0"/>
              <a:pathLst>
                <a:path w="6095" h="9144">
                  <a:moveTo>
                    <a:pt x="0" y="9144"/>
                  </a:moveTo>
                  <a:lnTo>
                    <a:pt x="6095" y="9144"/>
                  </a:lnTo>
                  <a:lnTo>
                    <a:pt x="6095"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692" name="Freeform 1019">
              <a:extLst>
                <a:ext uri="{FF2B5EF4-FFF2-40B4-BE49-F238E27FC236}">
                  <a16:creationId xmlns:a16="http://schemas.microsoft.com/office/drawing/2014/main" id="{24A24916-2981-4DE5-BA62-51A09A5967D9}"/>
                </a:ext>
              </a:extLst>
            </p:cNvPr>
            <p:cNvSpPr/>
            <p:nvPr/>
          </p:nvSpPr>
          <p:spPr>
            <a:xfrm>
              <a:off x="10665622" y="3873777"/>
              <a:ext cx="6092" cy="9139"/>
            </a:xfrm>
            <a:custGeom>
              <a:avLst/>
              <a:gdLst/>
              <a:ahLst/>
              <a:cxnLst/>
              <a:rect l="0" t="0" r="0" b="0"/>
              <a:pathLst>
                <a:path w="6095" h="9144">
                  <a:moveTo>
                    <a:pt x="0" y="9144"/>
                  </a:moveTo>
                  <a:lnTo>
                    <a:pt x="6095" y="9144"/>
                  </a:lnTo>
                  <a:lnTo>
                    <a:pt x="6095"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061" name="Freeform 1020">
              <a:extLst>
                <a:ext uri="{FF2B5EF4-FFF2-40B4-BE49-F238E27FC236}">
                  <a16:creationId xmlns:a16="http://schemas.microsoft.com/office/drawing/2014/main" id="{C1EBEFBF-A360-4F94-99D7-C3F6EF30EA6D}"/>
                </a:ext>
              </a:extLst>
            </p:cNvPr>
            <p:cNvSpPr/>
            <p:nvPr/>
          </p:nvSpPr>
          <p:spPr>
            <a:xfrm>
              <a:off x="10531580" y="3831128"/>
              <a:ext cx="6092" cy="9139"/>
            </a:xfrm>
            <a:custGeom>
              <a:avLst/>
              <a:gdLst/>
              <a:ahLst/>
              <a:cxnLst/>
              <a:rect l="0" t="0" r="0" b="0"/>
              <a:pathLst>
                <a:path w="6095" h="9144">
                  <a:moveTo>
                    <a:pt x="0" y="9144"/>
                  </a:moveTo>
                  <a:lnTo>
                    <a:pt x="6095" y="9144"/>
                  </a:lnTo>
                  <a:lnTo>
                    <a:pt x="6095"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00" name="Freeform 1021">
              <a:extLst>
                <a:ext uri="{FF2B5EF4-FFF2-40B4-BE49-F238E27FC236}">
                  <a16:creationId xmlns:a16="http://schemas.microsoft.com/office/drawing/2014/main" id="{9A79B402-B405-41B6-94BD-9C4B458E7DCD}"/>
                </a:ext>
              </a:extLst>
            </p:cNvPr>
            <p:cNvSpPr/>
            <p:nvPr/>
          </p:nvSpPr>
          <p:spPr>
            <a:xfrm>
              <a:off x="10696087" y="3828082"/>
              <a:ext cx="6093" cy="9139"/>
            </a:xfrm>
            <a:custGeom>
              <a:avLst/>
              <a:gdLst/>
              <a:ahLst/>
              <a:cxnLst/>
              <a:rect l="0" t="0" r="0" b="0"/>
              <a:pathLst>
                <a:path w="6096" h="9144">
                  <a:moveTo>
                    <a:pt x="0" y="9144"/>
                  </a:moveTo>
                  <a:lnTo>
                    <a:pt x="6096" y="9144"/>
                  </a:lnTo>
                  <a:lnTo>
                    <a:pt x="6096"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01" name="Freeform 1022">
              <a:extLst>
                <a:ext uri="{FF2B5EF4-FFF2-40B4-BE49-F238E27FC236}">
                  <a16:creationId xmlns:a16="http://schemas.microsoft.com/office/drawing/2014/main" id="{2994587C-DA54-4D10-8F59-D1B49277EB88}"/>
                </a:ext>
              </a:extLst>
            </p:cNvPr>
            <p:cNvSpPr/>
            <p:nvPr/>
          </p:nvSpPr>
          <p:spPr>
            <a:xfrm>
              <a:off x="10595554" y="3876824"/>
              <a:ext cx="6093" cy="6093"/>
            </a:xfrm>
            <a:custGeom>
              <a:avLst/>
              <a:gdLst/>
              <a:ahLst/>
              <a:cxnLst/>
              <a:rect l="0" t="0" r="0" b="0"/>
              <a:pathLst>
                <a:path w="6096" h="6096">
                  <a:moveTo>
                    <a:pt x="0" y="6096"/>
                  </a:moveTo>
                  <a:lnTo>
                    <a:pt x="6096" y="6096"/>
                  </a:lnTo>
                  <a:lnTo>
                    <a:pt x="6096" y="0"/>
                  </a:lnTo>
                  <a:lnTo>
                    <a:pt x="0" y="0"/>
                  </a:lnTo>
                  <a:lnTo>
                    <a:pt x="0" y="6096"/>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02" name="Freeform 1023">
              <a:extLst>
                <a:ext uri="{FF2B5EF4-FFF2-40B4-BE49-F238E27FC236}">
                  <a16:creationId xmlns:a16="http://schemas.microsoft.com/office/drawing/2014/main" id="{41BBE712-E23C-4CB0-A3EC-8CF8D1D84772}"/>
                </a:ext>
              </a:extLst>
            </p:cNvPr>
            <p:cNvSpPr/>
            <p:nvPr/>
          </p:nvSpPr>
          <p:spPr>
            <a:xfrm>
              <a:off x="10616879" y="3870732"/>
              <a:ext cx="6093" cy="9139"/>
            </a:xfrm>
            <a:custGeom>
              <a:avLst/>
              <a:gdLst/>
              <a:ahLst/>
              <a:cxnLst/>
              <a:rect l="0" t="0" r="0" b="0"/>
              <a:pathLst>
                <a:path w="6096" h="9144">
                  <a:moveTo>
                    <a:pt x="0" y="9144"/>
                  </a:moveTo>
                  <a:lnTo>
                    <a:pt x="6096" y="9144"/>
                  </a:lnTo>
                  <a:lnTo>
                    <a:pt x="6096" y="0"/>
                  </a:lnTo>
                  <a:lnTo>
                    <a:pt x="0" y="0"/>
                  </a:lnTo>
                  <a:lnTo>
                    <a:pt x="0" y="914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04" name="Rectangle 1073">
              <a:extLst>
                <a:ext uri="{FF2B5EF4-FFF2-40B4-BE49-F238E27FC236}">
                  <a16:creationId xmlns:a16="http://schemas.microsoft.com/office/drawing/2014/main" id="{2F019D4F-A88D-4F0E-9E9C-6FAC2B456736}"/>
                </a:ext>
              </a:extLst>
            </p:cNvPr>
            <p:cNvSpPr/>
            <p:nvPr/>
          </p:nvSpPr>
          <p:spPr>
            <a:xfrm>
              <a:off x="9588106" y="1279720"/>
              <a:ext cx="2082225" cy="179630"/>
            </a:xfrm>
            <a:prstGeom prst="rect">
              <a:avLst/>
            </a:prstGeom>
            <a:solidFill>
              <a:srgbClr val="2E2E38"/>
            </a:solidFill>
          </p:spPr>
          <p:txBody>
            <a:bodyPr wrap="square" lIns="0" tIns="0" rIns="0" bIns="0">
              <a:spAutoFit/>
            </a:bodyPr>
            <a:lstStyle/>
            <a:p>
              <a:pPr marL="0" marR="0" lvl="0" indent="0" algn="ctr" defTabSz="913486" rtl="0" eaLnBrk="1" fontAlgn="auto" latinLnBrk="0" hangingPunct="1">
                <a:lnSpc>
                  <a:spcPts val="1437"/>
                </a:lnSpc>
                <a:spcBef>
                  <a:spcPts val="0"/>
                </a:spcBef>
                <a:spcAft>
                  <a:spcPts val="300"/>
                </a:spcAft>
                <a:buClrTx/>
                <a:buSzTx/>
                <a:buFontTx/>
                <a:buNone/>
                <a:tabLst/>
                <a:defRPr/>
              </a:pPr>
              <a:r>
                <a:rPr kumimoji="0" lang="en-US" sz="1198" b="1" i="0" u="none" strike="noStrike" kern="0" cap="none" spc="-34" normalizeH="0" baseline="0" noProof="0" dirty="0">
                  <a:ln>
                    <a:noFill/>
                  </a:ln>
                  <a:solidFill>
                    <a:srgbClr val="FFE600"/>
                  </a:solidFill>
                  <a:effectLst/>
                  <a:uLnTx/>
                  <a:uFillTx/>
                  <a:latin typeface="EYInterstate-LightBold"/>
                  <a:ea typeface="+mn-ea"/>
                  <a:cs typeface="+mn-cs"/>
                </a:rPr>
                <a:t>Yellow H</a:t>
              </a:r>
              <a:r>
                <a:rPr kumimoji="0" lang="en-US" sz="1198" b="1" i="0" u="none" strike="noStrike" kern="0" cap="none" spc="-17" normalizeH="0" baseline="0" noProof="0" dirty="0">
                  <a:ln>
                    <a:noFill/>
                  </a:ln>
                  <a:solidFill>
                    <a:srgbClr val="FFE600"/>
                  </a:solidFill>
                  <a:effectLst/>
                  <a:uLnTx/>
                  <a:uFillTx/>
                  <a:latin typeface="EYInterstate-LightBold"/>
                  <a:ea typeface="+mn-ea"/>
                  <a:cs typeface="+mn-cs"/>
                </a:rPr>
                <a:t>y</a:t>
              </a:r>
              <a:r>
                <a:rPr kumimoji="0" lang="en-US" sz="1198" b="1" i="0" u="none" strike="noStrike" kern="0" cap="none" spc="0" normalizeH="0" baseline="0" noProof="0" dirty="0">
                  <a:ln>
                    <a:noFill/>
                  </a:ln>
                  <a:solidFill>
                    <a:srgbClr val="FFE600"/>
                  </a:solidFill>
                  <a:effectLst/>
                  <a:uLnTx/>
                  <a:uFillTx/>
                  <a:latin typeface="EYInterstate-LightBold"/>
                  <a:ea typeface="+mn-ea"/>
                  <a:cs typeface="+mn-cs"/>
                </a:rPr>
                <a:t>d</a:t>
              </a:r>
              <a:r>
                <a:rPr kumimoji="0" lang="en-US" sz="1198" b="1" i="0" u="none" strike="noStrike" kern="0" cap="none" spc="-22" normalizeH="0" baseline="0" noProof="0" dirty="0">
                  <a:ln>
                    <a:noFill/>
                  </a:ln>
                  <a:solidFill>
                    <a:srgbClr val="FFE600"/>
                  </a:solidFill>
                  <a:effectLst/>
                  <a:uLnTx/>
                  <a:uFillTx/>
                  <a:latin typeface="EYInterstate-LightBold"/>
                  <a:ea typeface="+mn-ea"/>
                  <a:cs typeface="+mn-cs"/>
                </a:rPr>
                <a:t>r</a:t>
              </a:r>
              <a:r>
                <a:rPr kumimoji="0" lang="en-US" sz="1198" b="1" i="0" u="none" strike="noStrike" kern="0" cap="none" spc="0" normalizeH="0" baseline="0" noProof="0" dirty="0">
                  <a:ln>
                    <a:noFill/>
                  </a:ln>
                  <a:solidFill>
                    <a:srgbClr val="FFE600"/>
                  </a:solidFill>
                  <a:effectLst/>
                  <a:uLnTx/>
                  <a:uFillTx/>
                  <a:latin typeface="EYInterstate-LightBold"/>
                  <a:ea typeface="+mn-ea"/>
                  <a:cs typeface="+mn-cs"/>
                </a:rPr>
                <a:t>ogen | </a:t>
              </a:r>
              <a:r>
                <a:rPr kumimoji="0" lang="en-US" sz="1198" b="1" i="0" u="none" strike="noStrike" kern="0" cap="none" spc="-34" normalizeH="0" baseline="0" noProof="0" dirty="0">
                  <a:ln>
                    <a:noFill/>
                  </a:ln>
                  <a:solidFill>
                    <a:prstClr val="white"/>
                  </a:solidFill>
                  <a:effectLst/>
                  <a:uLnTx/>
                  <a:uFillTx/>
                  <a:latin typeface="EYInterstate-LightBold"/>
                  <a:ea typeface="+mn-ea"/>
                  <a:cs typeface="+mn-cs"/>
                </a:rPr>
                <a:t>Grid-Based</a:t>
              </a:r>
            </a:p>
          </p:txBody>
        </p:sp>
        <p:sp>
          <p:nvSpPr>
            <p:cNvPr id="1105" name="Rectangle 1090">
              <a:extLst>
                <a:ext uri="{FF2B5EF4-FFF2-40B4-BE49-F238E27FC236}">
                  <a16:creationId xmlns:a16="http://schemas.microsoft.com/office/drawing/2014/main" id="{E837EC06-8084-48CB-871F-889485340AC3}"/>
                </a:ext>
              </a:extLst>
            </p:cNvPr>
            <p:cNvSpPr/>
            <p:nvPr/>
          </p:nvSpPr>
          <p:spPr>
            <a:xfrm>
              <a:off x="9763630" y="3369209"/>
              <a:ext cx="1581660" cy="122983"/>
            </a:xfrm>
            <a:prstGeom prst="rect">
              <a:avLst/>
            </a:prstGeom>
          </p:spPr>
          <p:txBody>
            <a:bodyPr wrap="none" lIns="0" tIns="0" rIns="0" bIns="0">
              <a:spAutoFit/>
            </a:bodyPr>
            <a:lstStyle/>
            <a:p>
              <a:pPr marL="0" marR="0" lvl="0" indent="0" algn="l" defTabSz="913486" rtl="0" eaLnBrk="1" fontAlgn="auto" latinLnBrk="0" hangingPunct="1">
                <a:lnSpc>
                  <a:spcPct val="100000"/>
                </a:lnSpc>
                <a:spcBef>
                  <a:spcPts val="0"/>
                </a:spcBef>
                <a:spcAft>
                  <a:spcPts val="0"/>
                </a:spcAft>
                <a:buClrTx/>
                <a:buSzTx/>
                <a:buFontTx/>
                <a:buNone/>
                <a:tabLst>
                  <a:tab pos="1175858" algn="l"/>
                </a:tabLst>
                <a:defRPr/>
              </a:pPr>
              <a:r>
                <a:rPr kumimoji="0" lang="en-US" sz="792" b="1" i="0" u="none" strike="noStrike" kern="0" cap="none" spc="-12" normalizeH="0" baseline="0" noProof="0" dirty="0">
                  <a:ln>
                    <a:noFill/>
                  </a:ln>
                  <a:solidFill>
                    <a:srgbClr val="2E2E38"/>
                  </a:solidFill>
                  <a:effectLst/>
                  <a:uLnTx/>
                  <a:uFillTx/>
                  <a:latin typeface="EYInterstate-LightBold"/>
                  <a:ea typeface="+mn-ea"/>
                  <a:cs typeface="+mn-cs"/>
                </a:rPr>
                <a:t>O</a:t>
              </a: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ther </a:t>
              </a:r>
              <a:r>
                <a:rPr kumimoji="0" lang="en-US" sz="792" b="1" i="0" u="none" strike="noStrike" kern="0" cap="none" spc="-12" normalizeH="0" baseline="0" noProof="0" dirty="0">
                  <a:ln>
                    <a:noFill/>
                  </a:ln>
                  <a:solidFill>
                    <a:srgbClr val="2E2E38"/>
                  </a:solidFill>
                  <a:effectLst/>
                  <a:uLnTx/>
                  <a:uFillTx/>
                  <a:latin typeface="EYInterstate-LightBold"/>
                  <a:ea typeface="+mn-ea"/>
                  <a:cs typeface="+mn-cs"/>
                </a:rPr>
                <a:t>s</a:t>
              </a: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ources	</a:t>
              </a:r>
              <a:r>
                <a:rPr kumimoji="0" lang="en-US" sz="1198" b="1" i="0" u="none" strike="noStrike" kern="0" cap="none" spc="0" normalizeH="0" baseline="54545" noProof="0" dirty="0">
                  <a:ln>
                    <a:noFill/>
                  </a:ln>
                  <a:solidFill>
                    <a:srgbClr val="2E2E38"/>
                  </a:solidFill>
                  <a:effectLst/>
                  <a:uLnTx/>
                  <a:uFillTx/>
                  <a:latin typeface="EYInterstate-LightBold"/>
                  <a:ea typeface="+mn-ea"/>
                  <a:cs typeface="+mn-cs"/>
                </a:rPr>
                <a:t>Nuclear </a:t>
              </a:r>
            </a:p>
          </p:txBody>
        </p:sp>
        <p:sp>
          <p:nvSpPr>
            <p:cNvPr id="1106" name="Rectangle 1091">
              <a:extLst>
                <a:ext uri="{FF2B5EF4-FFF2-40B4-BE49-F238E27FC236}">
                  <a16:creationId xmlns:a16="http://schemas.microsoft.com/office/drawing/2014/main" id="{158B6C49-60A1-45F4-803D-486BB6D66CCB}"/>
                </a:ext>
              </a:extLst>
            </p:cNvPr>
            <p:cNvSpPr/>
            <p:nvPr/>
          </p:nvSpPr>
          <p:spPr>
            <a:xfrm>
              <a:off x="10976610" y="3417949"/>
              <a:ext cx="286853" cy="121830"/>
            </a:xfrm>
            <a:prstGeom prst="rect">
              <a:avLst/>
            </a:prstGeom>
          </p:spPr>
          <p:txBody>
            <a:bodyPr wrap="none" lIns="0" tIns="0" rIns="0" bIns="0">
              <a:spAutoFit/>
            </a:bodyPr>
            <a:lstStyle/>
            <a:p>
              <a:pPr marL="0" marR="0" lvl="0" indent="0" algn="l" defTabSz="913486" rtl="0" eaLnBrk="1" fontAlgn="auto" latinLnBrk="0" hangingPunct="1">
                <a:lnSpc>
                  <a:spcPct val="100000"/>
                </a:lnSpc>
                <a:spcBef>
                  <a:spcPts val="0"/>
                </a:spcBef>
                <a:spcAft>
                  <a:spcPts val="0"/>
                </a:spcAft>
                <a:buClrTx/>
                <a:buSzTx/>
                <a:buFontTx/>
                <a:buNone/>
                <a:tabLst/>
                <a:defRPr/>
              </a:pP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po</a:t>
              </a:r>
              <a:r>
                <a:rPr kumimoji="0" lang="en-US" sz="792" b="1" i="0" u="none" strike="noStrike" kern="0" cap="none" spc="-12" normalizeH="0" baseline="0" noProof="0" dirty="0">
                  <a:ln>
                    <a:noFill/>
                  </a:ln>
                  <a:solidFill>
                    <a:srgbClr val="2E2E38"/>
                  </a:solidFill>
                  <a:effectLst/>
                  <a:uLnTx/>
                  <a:uFillTx/>
                  <a:latin typeface="EYInterstate-LightBold"/>
                  <a:ea typeface="+mn-ea"/>
                  <a:cs typeface="+mn-cs"/>
                </a:rPr>
                <a:t>w</a:t>
              </a: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er</a:t>
              </a:r>
            </a:p>
          </p:txBody>
        </p:sp>
        <p:sp>
          <p:nvSpPr>
            <p:cNvPr id="1107" name="Rectangle 1092">
              <a:extLst>
                <a:ext uri="{FF2B5EF4-FFF2-40B4-BE49-F238E27FC236}">
                  <a16:creationId xmlns:a16="http://schemas.microsoft.com/office/drawing/2014/main" id="{7C892108-389A-4DA8-A09F-B16E676241A0}"/>
                </a:ext>
              </a:extLst>
            </p:cNvPr>
            <p:cNvSpPr/>
            <p:nvPr/>
          </p:nvSpPr>
          <p:spPr>
            <a:xfrm>
              <a:off x="10651145" y="2820728"/>
              <a:ext cx="1045158" cy="184666"/>
            </a:xfrm>
            <a:prstGeom prst="rect">
              <a:avLst/>
            </a:prstGeom>
            <a:solidFill>
              <a:srgbClr val="2E2E38"/>
            </a:solidFill>
          </p:spPr>
          <p:txBody>
            <a:bodyPr wrap="none" lIns="0" tIns="0" rIns="0" bIns="0">
              <a:spAutoFit/>
            </a:bodyPr>
            <a:lstStyle/>
            <a:p>
              <a:pPr marL="0" marR="0" lvl="0" indent="0" algn="l" defTabSz="913486" rtl="0"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noProof="0" dirty="0">
                  <a:ln>
                    <a:noFill/>
                  </a:ln>
                  <a:solidFill>
                    <a:srgbClr val="2E2E38"/>
                  </a:solidFill>
                  <a:effectLst/>
                  <a:uLnTx/>
                  <a:uFillTx/>
                  <a:latin typeface="EYInterstate-LightBold"/>
                  <a:ea typeface="+mn-ea"/>
                  <a:cs typeface="+mn-cs"/>
                </a:rPr>
                <a:t>Pink hydrogen</a:t>
              </a:r>
            </a:p>
          </p:txBody>
        </p:sp>
        <p:sp>
          <p:nvSpPr>
            <p:cNvPr id="1108" name="Rectangle 1093">
              <a:extLst>
                <a:ext uri="{FF2B5EF4-FFF2-40B4-BE49-F238E27FC236}">
                  <a16:creationId xmlns:a16="http://schemas.microsoft.com/office/drawing/2014/main" id="{35C57870-7590-4871-B5E2-24693B8394A2}"/>
                </a:ext>
              </a:extLst>
            </p:cNvPr>
            <p:cNvSpPr/>
            <p:nvPr/>
          </p:nvSpPr>
          <p:spPr>
            <a:xfrm>
              <a:off x="10346382" y="4140222"/>
              <a:ext cx="597728" cy="186333"/>
            </a:xfrm>
            <a:prstGeom prst="rect">
              <a:avLst/>
            </a:prstGeom>
          </p:spPr>
          <p:txBody>
            <a:bodyPr wrap="none" lIns="0" tIns="0" rIns="0" bIns="0">
              <a:spAutoFit/>
            </a:bodyPr>
            <a:lstStyle/>
            <a:p>
              <a:pPr marL="0" marR="0" lvl="0" indent="0" algn="l" defTabSz="913486" rtl="0" eaLnBrk="1" fontAlgn="auto" latinLnBrk="0" hangingPunct="1">
                <a:lnSpc>
                  <a:spcPct val="100000"/>
                </a:lnSpc>
                <a:spcBef>
                  <a:spcPts val="0"/>
                </a:spcBef>
                <a:spcAft>
                  <a:spcPts val="0"/>
                </a:spcAft>
                <a:buClrTx/>
                <a:buSzTx/>
                <a:buFontTx/>
                <a:buNone/>
                <a:tabLst/>
                <a:defRPr/>
              </a:pPr>
              <a:r>
                <a:rPr kumimoji="0" lang="en-US" sz="794" b="1" i="0" u="none" strike="noStrike" kern="0" cap="none" spc="0" normalizeH="0" baseline="0" noProof="0" dirty="0">
                  <a:ln>
                    <a:noFill/>
                  </a:ln>
                  <a:solidFill>
                    <a:srgbClr val="2E2E38"/>
                  </a:solidFill>
                  <a:effectLst/>
                  <a:uLnTx/>
                  <a:uFillTx/>
                  <a:latin typeface="EYInterstate-LightBold"/>
                  <a:ea typeface="+mn-ea"/>
                  <a:cs typeface="+mn-cs"/>
                </a:rPr>
                <a:t>Electroly</a:t>
              </a:r>
              <a:r>
                <a:rPr kumimoji="0" lang="en-US" sz="794" b="1" i="0" u="none" strike="noStrike" kern="0" cap="none" spc="-13" normalizeH="0" baseline="0" noProof="0" dirty="0">
                  <a:ln>
                    <a:noFill/>
                  </a:ln>
                  <a:solidFill>
                    <a:srgbClr val="2E2E38"/>
                  </a:solidFill>
                  <a:effectLst/>
                  <a:uLnTx/>
                  <a:uFillTx/>
                  <a:latin typeface="EYInterstate-LightBold"/>
                  <a:ea typeface="+mn-ea"/>
                  <a:cs typeface="+mn-cs"/>
                </a:rPr>
                <a:t>s</a:t>
              </a:r>
              <a:r>
                <a:rPr kumimoji="0" lang="en-US" sz="794" b="1" i="0" u="none" strike="noStrike" kern="0" cap="none" spc="0" normalizeH="0" baseline="0" noProof="0" dirty="0">
                  <a:ln>
                    <a:noFill/>
                  </a:ln>
                  <a:solidFill>
                    <a:srgbClr val="2E2E38"/>
                  </a:solidFill>
                  <a:effectLst/>
                  <a:uLnTx/>
                  <a:uFillTx/>
                  <a:latin typeface="EYInterstate-LightBold"/>
                  <a:ea typeface="+mn-ea"/>
                  <a:cs typeface="+mn-cs"/>
                </a:rPr>
                <a:t>i</a:t>
              </a:r>
              <a:r>
                <a:rPr kumimoji="0" lang="en-US" sz="794" b="1" i="0" u="none" strike="noStrike" kern="0" cap="none" spc="-13" normalizeH="0" baseline="0" noProof="0" dirty="0">
                  <a:ln>
                    <a:noFill/>
                  </a:ln>
                  <a:solidFill>
                    <a:srgbClr val="2E2E38"/>
                  </a:solidFill>
                  <a:effectLst/>
                  <a:uLnTx/>
                  <a:uFillTx/>
                  <a:latin typeface="EYInterstate-LightBold"/>
                  <a:ea typeface="+mn-ea"/>
                  <a:cs typeface="+mn-cs"/>
                </a:rPr>
                <a:t>s </a:t>
              </a:r>
            </a:p>
            <a:p>
              <a:pPr marL="9134" marR="0" lvl="0" indent="0" algn="l" defTabSz="913486" rtl="0" eaLnBrk="1" fontAlgn="auto" latinLnBrk="0" hangingPunct="1">
                <a:lnSpc>
                  <a:spcPts val="518"/>
                </a:lnSpc>
                <a:spcBef>
                  <a:spcPts val="0"/>
                </a:spcBef>
                <a:spcAft>
                  <a:spcPts val="0"/>
                </a:spcAft>
                <a:buClrTx/>
                <a:buSzTx/>
                <a:buFontTx/>
                <a:buNone/>
                <a:tabLst/>
                <a:defRPr/>
              </a:pPr>
              <a:r>
                <a:rPr kumimoji="0" lang="en-US" sz="506" b="1" i="0" u="none" strike="noStrike" kern="0" cap="none" spc="-11" normalizeH="0" baseline="0" noProof="0" dirty="0">
                  <a:ln>
                    <a:noFill/>
                  </a:ln>
                  <a:solidFill>
                    <a:srgbClr val="2E2E38"/>
                  </a:solidFill>
                  <a:effectLst/>
                  <a:uLnTx/>
                  <a:uFillTx/>
                  <a:latin typeface="EYInterstate-LightBold"/>
                  <a:ea typeface="+mn-ea"/>
                  <a:cs typeface="+mn-cs"/>
                </a:rPr>
                <a:t>(</a:t>
              </a:r>
              <a:r>
                <a:rPr kumimoji="0" lang="en-US" sz="506" b="1" i="0" u="none" strike="noStrike" kern="0" cap="none" spc="0" normalizeH="0" baseline="0" noProof="0" dirty="0">
                  <a:ln>
                    <a:noFill/>
                  </a:ln>
                  <a:solidFill>
                    <a:srgbClr val="2E2E38"/>
                  </a:solidFill>
                  <a:effectLst/>
                  <a:uLnTx/>
                  <a:uFillTx/>
                  <a:latin typeface="EYInterstate-LightBold"/>
                  <a:ea typeface="+mn-ea"/>
                  <a:cs typeface="+mn-cs"/>
                </a:rPr>
                <a:t>AL</a:t>
              </a:r>
              <a:r>
                <a:rPr kumimoji="0" lang="en-US" sz="506" b="1" i="0" u="none" strike="noStrike" kern="0" cap="none" spc="-11" normalizeH="0" baseline="0" noProof="0" dirty="0">
                  <a:ln>
                    <a:noFill/>
                  </a:ln>
                  <a:solidFill>
                    <a:srgbClr val="2E2E38"/>
                  </a:solidFill>
                  <a:effectLst/>
                  <a:uLnTx/>
                  <a:uFillTx/>
                  <a:latin typeface="EYInterstate-LightBold"/>
                  <a:ea typeface="+mn-ea"/>
                  <a:cs typeface="+mn-cs"/>
                </a:rPr>
                <a:t>K</a:t>
              </a:r>
              <a:r>
                <a:rPr kumimoji="0" lang="en-US" sz="506" b="1" i="0" u="none" strike="noStrike" kern="0" cap="none" spc="0" normalizeH="0" baseline="0" noProof="0" dirty="0">
                  <a:ln>
                    <a:noFill/>
                  </a:ln>
                  <a:solidFill>
                    <a:srgbClr val="2E2E38"/>
                  </a:solidFill>
                  <a:effectLst/>
                  <a:uLnTx/>
                  <a:uFillTx/>
                  <a:latin typeface="EYInterstate-LightBold"/>
                  <a:ea typeface="+mn-ea"/>
                  <a:cs typeface="+mn-cs"/>
                </a:rPr>
                <a:t>/PEM</a:t>
              </a:r>
              <a:r>
                <a:rPr kumimoji="0" lang="en-US" sz="506" b="1" i="0" u="none" strike="noStrike" kern="0" cap="none" spc="-11" normalizeH="0" baseline="0" noProof="0" dirty="0">
                  <a:ln>
                    <a:noFill/>
                  </a:ln>
                  <a:solidFill>
                    <a:srgbClr val="2E2E38"/>
                  </a:solidFill>
                  <a:effectLst/>
                  <a:uLnTx/>
                  <a:uFillTx/>
                  <a:latin typeface="EYInterstate-LightBold"/>
                  <a:ea typeface="+mn-ea"/>
                  <a:cs typeface="+mn-cs"/>
                </a:rPr>
                <a:t>/</a:t>
              </a:r>
              <a:r>
                <a:rPr kumimoji="0" lang="en-US" sz="506" b="1" i="0" u="none" strike="noStrike" kern="0" cap="none" spc="0" normalizeH="0" baseline="0" noProof="0" dirty="0">
                  <a:ln>
                    <a:noFill/>
                  </a:ln>
                  <a:solidFill>
                    <a:srgbClr val="2E2E38"/>
                  </a:solidFill>
                  <a:effectLst/>
                  <a:uLnTx/>
                  <a:uFillTx/>
                  <a:latin typeface="EYInterstate-LightBold"/>
                  <a:ea typeface="+mn-ea"/>
                  <a:cs typeface="+mn-cs"/>
                </a:rPr>
                <a:t>SOEC)</a:t>
              </a:r>
            </a:p>
          </p:txBody>
        </p:sp>
        <p:sp>
          <p:nvSpPr>
            <p:cNvPr id="1109" name="Rectangle 1080">
              <a:extLst>
                <a:ext uri="{FF2B5EF4-FFF2-40B4-BE49-F238E27FC236}">
                  <a16:creationId xmlns:a16="http://schemas.microsoft.com/office/drawing/2014/main" id="{2A6757D5-BFF8-4F67-83EC-0B47182A4A14}"/>
                </a:ext>
              </a:extLst>
            </p:cNvPr>
            <p:cNvSpPr/>
            <p:nvPr/>
          </p:nvSpPr>
          <p:spPr>
            <a:xfrm>
              <a:off x="10216864" y="2495239"/>
              <a:ext cx="766235" cy="121893"/>
            </a:xfrm>
            <a:prstGeom prst="rect">
              <a:avLst/>
            </a:prstGeom>
          </p:spPr>
          <p:txBody>
            <a:bodyPr wrap="none" lIns="0" tIns="0" rIns="0" bIns="0">
              <a:spAutoFit/>
            </a:bodyPr>
            <a:lstStyle/>
            <a:p>
              <a:pPr marL="0" marR="0" lvl="0" indent="0" algn="l" defTabSz="913486" rtl="0" eaLnBrk="1" fontAlgn="auto" latinLnBrk="0" hangingPunct="1">
                <a:lnSpc>
                  <a:spcPct val="100000"/>
                </a:lnSpc>
                <a:spcBef>
                  <a:spcPts val="0"/>
                </a:spcBef>
                <a:spcAft>
                  <a:spcPts val="0"/>
                </a:spcAft>
                <a:buClrTx/>
                <a:buSzTx/>
                <a:buFontTx/>
                <a:buNone/>
                <a:tabLst>
                  <a:tab pos="4648753" algn="l"/>
                </a:tabLst>
                <a:defRPr/>
              </a:pP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Grid Electricity </a:t>
              </a:r>
              <a:endParaRPr kumimoji="0" lang="en-US" sz="1198" b="1" i="0" u="none" strike="noStrike" kern="0" cap="none" spc="0" normalizeH="0" baseline="2146" noProof="0" dirty="0">
                <a:ln>
                  <a:noFill/>
                </a:ln>
                <a:solidFill>
                  <a:srgbClr val="2E2E38"/>
                </a:solidFill>
                <a:effectLst/>
                <a:uLnTx/>
                <a:uFillTx/>
                <a:latin typeface="EYInterstate-LightBold"/>
                <a:ea typeface="+mn-ea"/>
                <a:cs typeface="+mn-cs"/>
              </a:endParaRPr>
            </a:p>
          </p:txBody>
        </p:sp>
        <p:cxnSp>
          <p:nvCxnSpPr>
            <p:cNvPr id="462" name="Straight Arrow Connector 461">
              <a:extLst>
                <a:ext uri="{FF2B5EF4-FFF2-40B4-BE49-F238E27FC236}">
                  <a16:creationId xmlns:a16="http://schemas.microsoft.com/office/drawing/2014/main" id="{532650B9-9BBC-4371-90EA-8495C757B2A2}"/>
                </a:ext>
              </a:extLst>
            </p:cNvPr>
            <p:cNvCxnSpPr>
              <a:cxnSpLocks/>
            </p:cNvCxnSpPr>
            <p:nvPr/>
          </p:nvCxnSpPr>
          <p:spPr>
            <a:xfrm flipH="1">
              <a:off x="10607547" y="4421982"/>
              <a:ext cx="922" cy="433500"/>
            </a:xfrm>
            <a:prstGeom prst="straightConnector1">
              <a:avLst/>
            </a:prstGeom>
            <a:ln w="952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467" name="Rectangle 1097">
            <a:extLst>
              <a:ext uri="{FF2B5EF4-FFF2-40B4-BE49-F238E27FC236}">
                <a16:creationId xmlns:a16="http://schemas.microsoft.com/office/drawing/2014/main" id="{908C135C-1CB7-4F0D-AFC1-DE1B27285EDF}"/>
              </a:ext>
            </a:extLst>
          </p:cNvPr>
          <p:cNvSpPr/>
          <p:nvPr/>
        </p:nvSpPr>
        <p:spPr>
          <a:xfrm>
            <a:off x="3228909" y="4946242"/>
            <a:ext cx="510020" cy="368691"/>
          </a:xfrm>
          <a:prstGeom prst="rect">
            <a:avLst/>
          </a:prstGeom>
          <a:solidFill>
            <a:srgbClr val="000000"/>
          </a:solidFill>
        </p:spPr>
        <p:txBody>
          <a:bodyPr wrap="square" lIns="0" tIns="0" rIns="0" bIns="0">
            <a:spAutoFit/>
          </a:bodyPr>
          <a:lstStyle/>
          <a:p>
            <a:pPr marL="0" marR="0" lvl="0" indent="0" algn="ctr" defTabSz="913486" rtl="0" eaLnBrk="1" fontAlgn="auto" latinLnBrk="0" hangingPunct="1">
              <a:lnSpc>
                <a:spcPct val="100000"/>
              </a:lnSpc>
              <a:spcBef>
                <a:spcPts val="0"/>
              </a:spcBef>
              <a:spcAft>
                <a:spcPts val="0"/>
              </a:spcAft>
              <a:buClrTx/>
              <a:buSzTx/>
              <a:buFontTx/>
              <a:buNone/>
              <a:tabLst/>
              <a:defRPr/>
            </a:pPr>
            <a:r>
              <a:rPr kumimoji="0" lang="en-US" sz="1198" b="1" i="0" u="none" strike="noStrike" kern="0" cap="none" spc="-12" normalizeH="0" baseline="0" noProof="0" dirty="0">
                <a:ln>
                  <a:noFill/>
                </a:ln>
                <a:solidFill>
                  <a:srgbClr val="188CE5"/>
                </a:solidFill>
                <a:effectLst/>
                <a:uLnTx/>
                <a:uFillTx/>
                <a:latin typeface="EYInterstate-LightBold"/>
                <a:ea typeface="+mn-ea"/>
                <a:cs typeface="+mn-cs"/>
              </a:rPr>
              <a:t>Blue </a:t>
            </a:r>
            <a:br>
              <a:rPr kumimoji="0" lang="en-US" sz="1198" b="1" i="0" u="none" strike="noStrike" kern="0" cap="none" spc="-12" normalizeH="0" baseline="0" noProof="0" dirty="0">
                <a:ln>
                  <a:noFill/>
                </a:ln>
                <a:solidFill>
                  <a:srgbClr val="188CE5"/>
                </a:solidFill>
                <a:effectLst/>
                <a:uLnTx/>
                <a:uFillTx/>
                <a:latin typeface="EYInterstate-LightBold"/>
                <a:ea typeface="+mn-ea"/>
                <a:cs typeface="+mn-cs"/>
              </a:rPr>
            </a:br>
            <a:r>
              <a:rPr kumimoji="0" lang="en-US" sz="1198" b="1" i="0" u="none" strike="noStrike" kern="0" cap="none" spc="-12" normalizeH="0" baseline="0" noProof="0" dirty="0">
                <a:ln>
                  <a:noFill/>
                </a:ln>
                <a:solidFill>
                  <a:srgbClr val="188CE5"/>
                </a:solidFill>
                <a:effectLst/>
                <a:uLnTx/>
                <a:uFillTx/>
                <a:latin typeface="EYInterstate-LightBold"/>
                <a:ea typeface="+mn-ea"/>
                <a:cs typeface="+mn-cs"/>
              </a:rPr>
              <a:t>H</a:t>
            </a:r>
            <a:r>
              <a:rPr kumimoji="0" lang="en-US" sz="1198" b="1" i="0" u="none" strike="noStrike" kern="0" cap="none" spc="-12" normalizeH="0" baseline="-25000" noProof="0" dirty="0">
                <a:ln>
                  <a:noFill/>
                </a:ln>
                <a:solidFill>
                  <a:srgbClr val="188CE5"/>
                </a:solidFill>
                <a:effectLst/>
                <a:uLnTx/>
                <a:uFillTx/>
                <a:latin typeface="EYInterstate-LightBold"/>
                <a:ea typeface="+mn-ea"/>
                <a:cs typeface="+mn-cs"/>
              </a:rPr>
              <a:t>2</a:t>
            </a:r>
          </a:p>
        </p:txBody>
      </p:sp>
      <p:grpSp>
        <p:nvGrpSpPr>
          <p:cNvPr id="5" name="Group 4">
            <a:extLst>
              <a:ext uri="{FF2B5EF4-FFF2-40B4-BE49-F238E27FC236}">
                <a16:creationId xmlns:a16="http://schemas.microsoft.com/office/drawing/2014/main" id="{5BDB4EA9-17EE-4B87-9B09-717E536E83D9}"/>
              </a:ext>
            </a:extLst>
          </p:cNvPr>
          <p:cNvGrpSpPr/>
          <p:nvPr/>
        </p:nvGrpSpPr>
        <p:grpSpPr>
          <a:xfrm>
            <a:off x="1932071" y="1188008"/>
            <a:ext cx="3915985" cy="1610714"/>
            <a:chOff x="1932072" y="1188008"/>
            <a:chExt cx="3346266" cy="1610714"/>
          </a:xfrm>
        </p:grpSpPr>
        <p:grpSp>
          <p:nvGrpSpPr>
            <p:cNvPr id="27" name="Grey Hydrogen">
              <a:extLst>
                <a:ext uri="{FF2B5EF4-FFF2-40B4-BE49-F238E27FC236}">
                  <a16:creationId xmlns:a16="http://schemas.microsoft.com/office/drawing/2014/main" id="{CA7C512A-48BB-4F42-9C39-C80B20C4F628}"/>
                </a:ext>
              </a:extLst>
            </p:cNvPr>
            <p:cNvGrpSpPr/>
            <p:nvPr/>
          </p:nvGrpSpPr>
          <p:grpSpPr>
            <a:xfrm>
              <a:off x="1932072" y="1188008"/>
              <a:ext cx="3346266" cy="1610714"/>
              <a:chOff x="1933078" y="1186841"/>
              <a:chExt cx="3348009" cy="1611553"/>
            </a:xfrm>
          </p:grpSpPr>
          <p:sp>
            <p:nvSpPr>
              <p:cNvPr id="713" name="Freeform 713"/>
              <p:cNvSpPr/>
              <p:nvPr/>
            </p:nvSpPr>
            <p:spPr>
              <a:xfrm>
                <a:off x="1933078" y="1362012"/>
                <a:ext cx="3348009" cy="1436382"/>
              </a:xfrm>
              <a:custGeom>
                <a:avLst/>
                <a:gdLst/>
                <a:ahLst/>
                <a:cxnLst/>
                <a:rect l="0" t="0" r="0" b="0"/>
                <a:pathLst>
                  <a:path w="3349753" h="3105912">
                    <a:moveTo>
                      <a:pt x="0" y="3105912"/>
                    </a:moveTo>
                    <a:lnTo>
                      <a:pt x="3349753" y="3105912"/>
                    </a:lnTo>
                    <a:lnTo>
                      <a:pt x="3349753" y="0"/>
                    </a:lnTo>
                    <a:lnTo>
                      <a:pt x="0" y="0"/>
                    </a:lnTo>
                    <a:lnTo>
                      <a:pt x="0" y="3105912"/>
                    </a:lnTo>
                    <a:close/>
                  </a:path>
                </a:pathLst>
              </a:custGeom>
              <a:solidFill>
                <a:srgbClr val="2E2E38">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8" name="Rectangle 17">
                <a:extLst>
                  <a:ext uri="{FF2B5EF4-FFF2-40B4-BE49-F238E27FC236}">
                    <a16:creationId xmlns:a16="http://schemas.microsoft.com/office/drawing/2014/main" id="{EBCA89AB-E90F-422C-BD4E-4E443617B4AE}"/>
                  </a:ext>
                </a:extLst>
              </p:cNvPr>
              <p:cNvSpPr/>
              <p:nvPr/>
            </p:nvSpPr>
            <p:spPr>
              <a:xfrm>
                <a:off x="1984309" y="1838772"/>
                <a:ext cx="1796420" cy="877757"/>
              </a:xfrm>
              <a:prstGeom prst="rect">
                <a:avLst/>
              </a:prstGeom>
              <a:solidFill>
                <a:srgbClr val="C4C4CD"/>
              </a:solidFill>
              <a:ln w="9525">
                <a:solidFill>
                  <a:srgbClr val="C4C4C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123" name="Freeform 714">
                <a:extLst>
                  <a:ext uri="{FF2B5EF4-FFF2-40B4-BE49-F238E27FC236}">
                    <a16:creationId xmlns:a16="http://schemas.microsoft.com/office/drawing/2014/main" id="{6E1F8C37-9B84-4AEC-82DA-D824E7B13C87}"/>
                  </a:ext>
                </a:extLst>
              </p:cNvPr>
              <p:cNvSpPr/>
              <p:nvPr/>
            </p:nvSpPr>
            <p:spPr>
              <a:xfrm>
                <a:off x="1933078" y="1362011"/>
                <a:ext cx="3348009" cy="1417199"/>
              </a:xfrm>
              <a:custGeom>
                <a:avLst/>
                <a:gdLst/>
                <a:ahLst/>
                <a:cxnLst/>
                <a:rect l="0" t="0" r="0" b="0"/>
                <a:pathLst>
                  <a:path w="3349753" h="3105912">
                    <a:moveTo>
                      <a:pt x="0" y="3105912"/>
                    </a:moveTo>
                    <a:lnTo>
                      <a:pt x="3349753" y="3105912"/>
                    </a:lnTo>
                    <a:lnTo>
                      <a:pt x="3349753" y="0"/>
                    </a:lnTo>
                    <a:lnTo>
                      <a:pt x="0" y="0"/>
                    </a:lnTo>
                    <a:lnTo>
                      <a:pt x="0" y="3105912"/>
                    </a:lnTo>
                    <a:close/>
                  </a:path>
                </a:pathLst>
              </a:custGeom>
              <a:noFill/>
              <a:ln w="9525" cap="flat" cmpd="sng">
                <a:solidFill>
                  <a:srgbClr val="C4C4CD"/>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1125" name="Freeform 716">
                <a:extLst>
                  <a:ext uri="{FF2B5EF4-FFF2-40B4-BE49-F238E27FC236}">
                    <a16:creationId xmlns:a16="http://schemas.microsoft.com/office/drawing/2014/main" id="{C2707948-5C08-406E-92C5-0FA6C195A498}"/>
                  </a:ext>
                </a:extLst>
              </p:cNvPr>
              <p:cNvSpPr/>
              <p:nvPr/>
            </p:nvSpPr>
            <p:spPr>
              <a:xfrm>
                <a:off x="3253698" y="1186841"/>
                <a:ext cx="773789" cy="365570"/>
              </a:xfrm>
              <a:custGeom>
                <a:avLst/>
                <a:gdLst/>
                <a:ahLst/>
                <a:cxnLst/>
                <a:rect l="0" t="0" r="0" b="0"/>
                <a:pathLst>
                  <a:path w="774192" h="365760">
                    <a:moveTo>
                      <a:pt x="0" y="365760"/>
                    </a:moveTo>
                    <a:lnTo>
                      <a:pt x="774192" y="365760"/>
                    </a:lnTo>
                    <a:lnTo>
                      <a:pt x="774192" y="0"/>
                    </a:lnTo>
                    <a:lnTo>
                      <a:pt x="0" y="0"/>
                    </a:lnTo>
                    <a:lnTo>
                      <a:pt x="0" y="365760"/>
                    </a:lnTo>
                    <a:close/>
                  </a:path>
                </a:pathLst>
              </a:custGeom>
              <a:solidFill>
                <a:srgbClr val="2E2E38">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1126" name="Freeform 719">
                <a:extLst>
                  <a:ext uri="{FF2B5EF4-FFF2-40B4-BE49-F238E27FC236}">
                    <a16:creationId xmlns:a16="http://schemas.microsoft.com/office/drawing/2014/main" id="{E54DF939-5D7E-4716-8DEB-D5794A674B31}"/>
                  </a:ext>
                </a:extLst>
              </p:cNvPr>
              <p:cNvSpPr/>
              <p:nvPr/>
            </p:nvSpPr>
            <p:spPr>
              <a:xfrm>
                <a:off x="3259462" y="2237854"/>
                <a:ext cx="109670" cy="109670"/>
              </a:xfrm>
              <a:custGeom>
                <a:avLst/>
                <a:gdLst/>
                <a:ahLst/>
                <a:cxnLst/>
                <a:rect l="0" t="0" r="0" b="0"/>
                <a:pathLst>
                  <a:path w="109727" h="109727">
                    <a:moveTo>
                      <a:pt x="54863" y="109727"/>
                    </a:moveTo>
                    <a:lnTo>
                      <a:pt x="54863" y="109727"/>
                    </a:lnTo>
                    <a:lnTo>
                      <a:pt x="43052" y="108712"/>
                    </a:lnTo>
                    <a:lnTo>
                      <a:pt x="33400" y="105409"/>
                    </a:lnTo>
                    <a:lnTo>
                      <a:pt x="23621" y="100076"/>
                    </a:lnTo>
                    <a:lnTo>
                      <a:pt x="16129" y="93598"/>
                    </a:lnTo>
                    <a:lnTo>
                      <a:pt x="8636" y="84963"/>
                    </a:lnTo>
                    <a:lnTo>
                      <a:pt x="4318" y="75310"/>
                    </a:lnTo>
                    <a:lnTo>
                      <a:pt x="1015" y="65658"/>
                    </a:lnTo>
                    <a:lnTo>
                      <a:pt x="0" y="54864"/>
                    </a:lnTo>
                    <a:lnTo>
                      <a:pt x="1015" y="43052"/>
                    </a:lnTo>
                    <a:lnTo>
                      <a:pt x="4318" y="33401"/>
                    </a:lnTo>
                    <a:lnTo>
                      <a:pt x="8636" y="23621"/>
                    </a:lnTo>
                    <a:lnTo>
                      <a:pt x="16129" y="15113"/>
                    </a:lnTo>
                    <a:lnTo>
                      <a:pt x="23621" y="8635"/>
                    </a:lnTo>
                    <a:lnTo>
                      <a:pt x="33400" y="4317"/>
                    </a:lnTo>
                    <a:lnTo>
                      <a:pt x="43052" y="1015"/>
                    </a:lnTo>
                    <a:lnTo>
                      <a:pt x="54863" y="0"/>
                    </a:lnTo>
                    <a:lnTo>
                      <a:pt x="65658" y="1015"/>
                    </a:lnTo>
                    <a:lnTo>
                      <a:pt x="76326" y="4317"/>
                    </a:lnTo>
                    <a:lnTo>
                      <a:pt x="84963" y="8635"/>
                    </a:lnTo>
                    <a:lnTo>
                      <a:pt x="93599" y="15113"/>
                    </a:lnTo>
                    <a:lnTo>
                      <a:pt x="100075" y="23621"/>
                    </a:lnTo>
                    <a:lnTo>
                      <a:pt x="105409" y="33401"/>
                    </a:lnTo>
                    <a:lnTo>
                      <a:pt x="108712" y="43052"/>
                    </a:lnTo>
                    <a:lnTo>
                      <a:pt x="109727" y="54864"/>
                    </a:lnTo>
                    <a:lnTo>
                      <a:pt x="108712" y="65658"/>
                    </a:lnTo>
                    <a:lnTo>
                      <a:pt x="105409" y="75310"/>
                    </a:lnTo>
                    <a:lnTo>
                      <a:pt x="100075" y="84963"/>
                    </a:lnTo>
                    <a:lnTo>
                      <a:pt x="93599" y="93598"/>
                    </a:lnTo>
                    <a:lnTo>
                      <a:pt x="84963" y="100076"/>
                    </a:lnTo>
                    <a:lnTo>
                      <a:pt x="76326" y="105409"/>
                    </a:lnTo>
                    <a:lnTo>
                      <a:pt x="65658" y="108712"/>
                    </a:lnTo>
                    <a:lnTo>
                      <a:pt x="54863" y="109727"/>
                    </a:lnTo>
                    <a:close/>
                    <a:moveTo>
                      <a:pt x="466344" y="4620767"/>
                    </a:moveTo>
                    <a:moveTo>
                      <a:pt x="54863" y="9652"/>
                    </a:moveTo>
                    <a:lnTo>
                      <a:pt x="54863" y="9652"/>
                    </a:lnTo>
                    <a:lnTo>
                      <a:pt x="45212" y="9652"/>
                    </a:lnTo>
                    <a:lnTo>
                      <a:pt x="36575" y="12953"/>
                    </a:lnTo>
                    <a:lnTo>
                      <a:pt x="29082" y="17271"/>
                    </a:lnTo>
                    <a:lnTo>
                      <a:pt x="22606" y="22606"/>
                    </a:lnTo>
                    <a:lnTo>
                      <a:pt x="17271" y="29083"/>
                    </a:lnTo>
                    <a:lnTo>
                      <a:pt x="12954" y="36576"/>
                    </a:lnTo>
                    <a:lnTo>
                      <a:pt x="9651" y="45212"/>
                    </a:lnTo>
                    <a:lnTo>
                      <a:pt x="9651" y="54864"/>
                    </a:lnTo>
                    <a:lnTo>
                      <a:pt x="9651" y="63500"/>
                    </a:lnTo>
                    <a:lnTo>
                      <a:pt x="12954" y="72135"/>
                    </a:lnTo>
                    <a:lnTo>
                      <a:pt x="17271" y="79628"/>
                    </a:lnTo>
                    <a:lnTo>
                      <a:pt x="22606" y="86106"/>
                    </a:lnTo>
                    <a:lnTo>
                      <a:pt x="29082" y="91439"/>
                    </a:lnTo>
                    <a:lnTo>
                      <a:pt x="36575" y="95758"/>
                    </a:lnTo>
                    <a:lnTo>
                      <a:pt x="45212" y="98933"/>
                    </a:lnTo>
                    <a:lnTo>
                      <a:pt x="54863" y="100076"/>
                    </a:lnTo>
                    <a:lnTo>
                      <a:pt x="63500" y="98933"/>
                    </a:lnTo>
                    <a:lnTo>
                      <a:pt x="72136" y="95758"/>
                    </a:lnTo>
                    <a:lnTo>
                      <a:pt x="79629" y="91439"/>
                    </a:lnTo>
                    <a:lnTo>
                      <a:pt x="86106" y="86106"/>
                    </a:lnTo>
                    <a:lnTo>
                      <a:pt x="92456" y="79628"/>
                    </a:lnTo>
                    <a:lnTo>
                      <a:pt x="95757" y="72135"/>
                    </a:lnTo>
                    <a:lnTo>
                      <a:pt x="98932" y="63500"/>
                    </a:lnTo>
                    <a:lnTo>
                      <a:pt x="100075" y="54864"/>
                    </a:lnTo>
                    <a:lnTo>
                      <a:pt x="98932" y="45212"/>
                    </a:lnTo>
                    <a:lnTo>
                      <a:pt x="95757" y="36576"/>
                    </a:lnTo>
                    <a:lnTo>
                      <a:pt x="92456" y="29083"/>
                    </a:lnTo>
                    <a:lnTo>
                      <a:pt x="86106" y="22606"/>
                    </a:lnTo>
                    <a:lnTo>
                      <a:pt x="79629" y="17271"/>
                    </a:lnTo>
                    <a:lnTo>
                      <a:pt x="72136" y="12953"/>
                    </a:lnTo>
                    <a:lnTo>
                      <a:pt x="63500" y="9652"/>
                    </a:lnTo>
                    <a:lnTo>
                      <a:pt x="54863" y="9652"/>
                    </a:lnTo>
                    <a:close/>
                    <a:moveTo>
                      <a:pt x="566419" y="4620767"/>
                    </a:moveTo>
                  </a:path>
                </a:pathLst>
              </a:custGeom>
              <a:solidFill>
                <a:srgbClr val="2E2E38">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1127" name="Freeform 720">
                <a:extLst>
                  <a:ext uri="{FF2B5EF4-FFF2-40B4-BE49-F238E27FC236}">
                    <a16:creationId xmlns:a16="http://schemas.microsoft.com/office/drawing/2014/main" id="{B6362187-2337-4B9D-9423-A069276DCD45}"/>
                  </a:ext>
                </a:extLst>
              </p:cNvPr>
              <p:cNvSpPr/>
              <p:nvPr/>
            </p:nvSpPr>
            <p:spPr>
              <a:xfrm>
                <a:off x="3417874" y="2240899"/>
                <a:ext cx="109672" cy="109672"/>
              </a:xfrm>
              <a:custGeom>
                <a:avLst/>
                <a:gdLst/>
                <a:ahLst/>
                <a:cxnLst/>
                <a:rect l="0" t="0" r="0" b="0"/>
                <a:pathLst>
                  <a:path w="109729" h="109729">
                    <a:moveTo>
                      <a:pt x="54864" y="109729"/>
                    </a:moveTo>
                    <a:lnTo>
                      <a:pt x="54864" y="109729"/>
                    </a:lnTo>
                    <a:lnTo>
                      <a:pt x="44069" y="108712"/>
                    </a:lnTo>
                    <a:lnTo>
                      <a:pt x="34418" y="105411"/>
                    </a:lnTo>
                    <a:lnTo>
                      <a:pt x="24766" y="100076"/>
                    </a:lnTo>
                    <a:lnTo>
                      <a:pt x="16130" y="93599"/>
                    </a:lnTo>
                    <a:lnTo>
                      <a:pt x="9653" y="84963"/>
                    </a:lnTo>
                    <a:lnTo>
                      <a:pt x="4318" y="75311"/>
                    </a:lnTo>
                    <a:lnTo>
                      <a:pt x="1017" y="65660"/>
                    </a:lnTo>
                    <a:lnTo>
                      <a:pt x="0" y="54865"/>
                    </a:lnTo>
                    <a:lnTo>
                      <a:pt x="1017" y="43054"/>
                    </a:lnTo>
                    <a:lnTo>
                      <a:pt x="4318" y="33401"/>
                    </a:lnTo>
                    <a:lnTo>
                      <a:pt x="9653" y="23623"/>
                    </a:lnTo>
                    <a:lnTo>
                      <a:pt x="16130" y="15113"/>
                    </a:lnTo>
                    <a:lnTo>
                      <a:pt x="24766" y="8636"/>
                    </a:lnTo>
                    <a:lnTo>
                      <a:pt x="34418" y="4318"/>
                    </a:lnTo>
                    <a:lnTo>
                      <a:pt x="44069" y="1017"/>
                    </a:lnTo>
                    <a:lnTo>
                      <a:pt x="54864" y="0"/>
                    </a:lnTo>
                    <a:lnTo>
                      <a:pt x="66675" y="1017"/>
                    </a:lnTo>
                    <a:lnTo>
                      <a:pt x="76328" y="4318"/>
                    </a:lnTo>
                    <a:lnTo>
                      <a:pt x="86106" y="8636"/>
                    </a:lnTo>
                    <a:lnTo>
                      <a:pt x="93599" y="15113"/>
                    </a:lnTo>
                    <a:lnTo>
                      <a:pt x="101093" y="23623"/>
                    </a:lnTo>
                    <a:lnTo>
                      <a:pt x="105411" y="33401"/>
                    </a:lnTo>
                    <a:lnTo>
                      <a:pt x="108712" y="43054"/>
                    </a:lnTo>
                    <a:lnTo>
                      <a:pt x="109729" y="54865"/>
                    </a:lnTo>
                    <a:lnTo>
                      <a:pt x="108712" y="65660"/>
                    </a:lnTo>
                    <a:lnTo>
                      <a:pt x="105411" y="75311"/>
                    </a:lnTo>
                    <a:lnTo>
                      <a:pt x="101093" y="84963"/>
                    </a:lnTo>
                    <a:lnTo>
                      <a:pt x="93599" y="93599"/>
                    </a:lnTo>
                    <a:lnTo>
                      <a:pt x="86106" y="100076"/>
                    </a:lnTo>
                    <a:lnTo>
                      <a:pt x="76328" y="105411"/>
                    </a:lnTo>
                    <a:lnTo>
                      <a:pt x="66675" y="108712"/>
                    </a:lnTo>
                    <a:lnTo>
                      <a:pt x="54864" y="109729"/>
                    </a:lnTo>
                    <a:close/>
                    <a:moveTo>
                      <a:pt x="304800" y="4617720"/>
                    </a:moveTo>
                    <a:moveTo>
                      <a:pt x="54864" y="9653"/>
                    </a:moveTo>
                    <a:lnTo>
                      <a:pt x="54864" y="9653"/>
                    </a:lnTo>
                    <a:lnTo>
                      <a:pt x="46229" y="9653"/>
                    </a:lnTo>
                    <a:lnTo>
                      <a:pt x="37593" y="12955"/>
                    </a:lnTo>
                    <a:lnTo>
                      <a:pt x="30099" y="17273"/>
                    </a:lnTo>
                    <a:lnTo>
                      <a:pt x="23623" y="22606"/>
                    </a:lnTo>
                    <a:lnTo>
                      <a:pt x="18288" y="29084"/>
                    </a:lnTo>
                    <a:lnTo>
                      <a:pt x="13970" y="36576"/>
                    </a:lnTo>
                    <a:lnTo>
                      <a:pt x="10795" y="45212"/>
                    </a:lnTo>
                    <a:lnTo>
                      <a:pt x="9653" y="54865"/>
                    </a:lnTo>
                    <a:lnTo>
                      <a:pt x="10795" y="63500"/>
                    </a:lnTo>
                    <a:lnTo>
                      <a:pt x="13970" y="72136"/>
                    </a:lnTo>
                    <a:lnTo>
                      <a:pt x="18288" y="79630"/>
                    </a:lnTo>
                    <a:lnTo>
                      <a:pt x="23623" y="86106"/>
                    </a:lnTo>
                    <a:lnTo>
                      <a:pt x="30099" y="91441"/>
                    </a:lnTo>
                    <a:lnTo>
                      <a:pt x="37593" y="95759"/>
                    </a:lnTo>
                    <a:lnTo>
                      <a:pt x="46229" y="98934"/>
                    </a:lnTo>
                    <a:lnTo>
                      <a:pt x="54864" y="100076"/>
                    </a:lnTo>
                    <a:lnTo>
                      <a:pt x="64517" y="98934"/>
                    </a:lnTo>
                    <a:lnTo>
                      <a:pt x="73153" y="95759"/>
                    </a:lnTo>
                    <a:lnTo>
                      <a:pt x="80645" y="91441"/>
                    </a:lnTo>
                    <a:lnTo>
                      <a:pt x="87123" y="86106"/>
                    </a:lnTo>
                    <a:lnTo>
                      <a:pt x="92456" y="79630"/>
                    </a:lnTo>
                    <a:lnTo>
                      <a:pt x="96774" y="72136"/>
                    </a:lnTo>
                    <a:lnTo>
                      <a:pt x="100076" y="63500"/>
                    </a:lnTo>
                    <a:lnTo>
                      <a:pt x="100076" y="54865"/>
                    </a:lnTo>
                    <a:lnTo>
                      <a:pt x="100076" y="45212"/>
                    </a:lnTo>
                    <a:lnTo>
                      <a:pt x="96774" y="36576"/>
                    </a:lnTo>
                    <a:lnTo>
                      <a:pt x="92456" y="29084"/>
                    </a:lnTo>
                    <a:lnTo>
                      <a:pt x="87123" y="22606"/>
                    </a:lnTo>
                    <a:lnTo>
                      <a:pt x="80645" y="17273"/>
                    </a:lnTo>
                    <a:lnTo>
                      <a:pt x="73153" y="12955"/>
                    </a:lnTo>
                    <a:lnTo>
                      <a:pt x="64517" y="9653"/>
                    </a:lnTo>
                    <a:lnTo>
                      <a:pt x="54864" y="9653"/>
                    </a:lnTo>
                    <a:close/>
                    <a:moveTo>
                      <a:pt x="404876" y="4617720"/>
                    </a:moveTo>
                  </a:path>
                </a:pathLst>
              </a:custGeom>
              <a:solidFill>
                <a:srgbClr val="2E2E38">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1128" name="Freeform 721">
                <a:extLst>
                  <a:ext uri="{FF2B5EF4-FFF2-40B4-BE49-F238E27FC236}">
                    <a16:creationId xmlns:a16="http://schemas.microsoft.com/office/drawing/2014/main" id="{3E488628-F77A-409A-B8BC-A39B9108D605}"/>
                  </a:ext>
                </a:extLst>
              </p:cNvPr>
              <p:cNvSpPr/>
              <p:nvPr/>
            </p:nvSpPr>
            <p:spPr>
              <a:xfrm>
                <a:off x="3189393" y="2097717"/>
                <a:ext cx="438684" cy="191924"/>
              </a:xfrm>
              <a:custGeom>
                <a:avLst/>
                <a:gdLst/>
                <a:ahLst/>
                <a:cxnLst/>
                <a:rect l="0" t="0" r="0" b="0"/>
                <a:pathLst>
                  <a:path w="438912" h="192024">
                    <a:moveTo>
                      <a:pt x="373762" y="192024"/>
                    </a:moveTo>
                    <a:lnTo>
                      <a:pt x="342266" y="192024"/>
                    </a:lnTo>
                    <a:lnTo>
                      <a:pt x="341123" y="187706"/>
                    </a:lnTo>
                    <a:lnTo>
                      <a:pt x="338963" y="177928"/>
                    </a:lnTo>
                    <a:lnTo>
                      <a:pt x="334645" y="169292"/>
                    </a:lnTo>
                    <a:lnTo>
                      <a:pt x="328042" y="160529"/>
                    </a:lnTo>
                    <a:lnTo>
                      <a:pt x="321564" y="152909"/>
                    </a:lnTo>
                    <a:lnTo>
                      <a:pt x="312929" y="147574"/>
                    </a:lnTo>
                    <a:lnTo>
                      <a:pt x="304166" y="143256"/>
                    </a:lnTo>
                    <a:lnTo>
                      <a:pt x="294387" y="141098"/>
                    </a:lnTo>
                    <a:lnTo>
                      <a:pt x="283592" y="139955"/>
                    </a:lnTo>
                    <a:lnTo>
                      <a:pt x="272669" y="141098"/>
                    </a:lnTo>
                    <a:lnTo>
                      <a:pt x="262891" y="143256"/>
                    </a:lnTo>
                    <a:lnTo>
                      <a:pt x="253112" y="147574"/>
                    </a:lnTo>
                    <a:lnTo>
                      <a:pt x="245492" y="152909"/>
                    </a:lnTo>
                    <a:lnTo>
                      <a:pt x="237872" y="160529"/>
                    </a:lnTo>
                    <a:lnTo>
                      <a:pt x="232537" y="169292"/>
                    </a:lnTo>
                    <a:lnTo>
                      <a:pt x="228093" y="177928"/>
                    </a:lnTo>
                    <a:lnTo>
                      <a:pt x="224918" y="187706"/>
                    </a:lnTo>
                    <a:lnTo>
                      <a:pt x="224918" y="192024"/>
                    </a:lnTo>
                    <a:lnTo>
                      <a:pt x="183643" y="192024"/>
                    </a:lnTo>
                    <a:lnTo>
                      <a:pt x="183643" y="187706"/>
                    </a:lnTo>
                    <a:lnTo>
                      <a:pt x="180341" y="177928"/>
                    </a:lnTo>
                    <a:lnTo>
                      <a:pt x="176023" y="168148"/>
                    </a:lnTo>
                    <a:lnTo>
                      <a:pt x="170562" y="159512"/>
                    </a:lnTo>
                    <a:lnTo>
                      <a:pt x="162942" y="151892"/>
                    </a:lnTo>
                    <a:lnTo>
                      <a:pt x="155322" y="146431"/>
                    </a:lnTo>
                    <a:lnTo>
                      <a:pt x="145543" y="141098"/>
                    </a:lnTo>
                    <a:lnTo>
                      <a:pt x="135763" y="138811"/>
                    </a:lnTo>
                    <a:lnTo>
                      <a:pt x="124968" y="137796"/>
                    </a:lnTo>
                    <a:lnTo>
                      <a:pt x="114047" y="138811"/>
                    </a:lnTo>
                    <a:lnTo>
                      <a:pt x="104268" y="141098"/>
                    </a:lnTo>
                    <a:lnTo>
                      <a:pt x="94488" y="145416"/>
                    </a:lnTo>
                    <a:lnTo>
                      <a:pt x="86868" y="151892"/>
                    </a:lnTo>
                    <a:lnTo>
                      <a:pt x="79249" y="159512"/>
                    </a:lnTo>
                    <a:lnTo>
                      <a:pt x="73914" y="168148"/>
                    </a:lnTo>
                    <a:lnTo>
                      <a:pt x="69469" y="177928"/>
                    </a:lnTo>
                    <a:lnTo>
                      <a:pt x="66294" y="187706"/>
                    </a:lnTo>
                    <a:lnTo>
                      <a:pt x="66294" y="192024"/>
                    </a:lnTo>
                    <a:lnTo>
                      <a:pt x="37974" y="192024"/>
                    </a:lnTo>
                    <a:lnTo>
                      <a:pt x="7620" y="40132"/>
                    </a:lnTo>
                    <a:lnTo>
                      <a:pt x="0" y="40132"/>
                    </a:lnTo>
                    <a:lnTo>
                      <a:pt x="0" y="0"/>
                    </a:lnTo>
                    <a:lnTo>
                      <a:pt x="411735" y="0"/>
                    </a:lnTo>
                    <a:lnTo>
                      <a:pt x="411735" y="40132"/>
                    </a:lnTo>
                    <a:lnTo>
                      <a:pt x="404114" y="40132"/>
                    </a:lnTo>
                    <a:lnTo>
                      <a:pt x="399797" y="60706"/>
                    </a:lnTo>
                    <a:lnTo>
                      <a:pt x="410718" y="60706"/>
                    </a:lnTo>
                    <a:lnTo>
                      <a:pt x="410718" y="43435"/>
                    </a:lnTo>
                    <a:lnTo>
                      <a:pt x="438912" y="43435"/>
                    </a:lnTo>
                    <a:lnTo>
                      <a:pt x="438912" y="105284"/>
                    </a:lnTo>
                    <a:lnTo>
                      <a:pt x="410718" y="105284"/>
                    </a:lnTo>
                    <a:lnTo>
                      <a:pt x="410718" y="87885"/>
                    </a:lnTo>
                    <a:lnTo>
                      <a:pt x="394336" y="87885"/>
                    </a:lnTo>
                    <a:lnTo>
                      <a:pt x="373762" y="192024"/>
                    </a:lnTo>
                    <a:close/>
                    <a:moveTo>
                      <a:pt x="594361" y="4760976"/>
                    </a:moveTo>
                    <a:moveTo>
                      <a:pt x="349886" y="182246"/>
                    </a:moveTo>
                    <a:lnTo>
                      <a:pt x="366142" y="182246"/>
                    </a:lnTo>
                    <a:lnTo>
                      <a:pt x="386716" y="78105"/>
                    </a:lnTo>
                    <a:lnTo>
                      <a:pt x="420498" y="78105"/>
                    </a:lnTo>
                    <a:lnTo>
                      <a:pt x="420498" y="95505"/>
                    </a:lnTo>
                    <a:lnTo>
                      <a:pt x="429134" y="95505"/>
                    </a:lnTo>
                    <a:lnTo>
                      <a:pt x="429134" y="53213"/>
                    </a:lnTo>
                    <a:lnTo>
                      <a:pt x="420498" y="53213"/>
                    </a:lnTo>
                    <a:lnTo>
                      <a:pt x="420498" y="70486"/>
                    </a:lnTo>
                    <a:lnTo>
                      <a:pt x="387859" y="70486"/>
                    </a:lnTo>
                    <a:lnTo>
                      <a:pt x="395479" y="30354"/>
                    </a:lnTo>
                    <a:lnTo>
                      <a:pt x="401955" y="30354"/>
                    </a:lnTo>
                    <a:lnTo>
                      <a:pt x="401955" y="9780"/>
                    </a:lnTo>
                    <a:lnTo>
                      <a:pt x="9780" y="9780"/>
                    </a:lnTo>
                    <a:lnTo>
                      <a:pt x="9780" y="30354"/>
                    </a:lnTo>
                    <a:lnTo>
                      <a:pt x="16256" y="30354"/>
                    </a:lnTo>
                    <a:lnTo>
                      <a:pt x="45593" y="182246"/>
                    </a:lnTo>
                    <a:lnTo>
                      <a:pt x="57531" y="182246"/>
                    </a:lnTo>
                    <a:lnTo>
                      <a:pt x="60834" y="170307"/>
                    </a:lnTo>
                    <a:lnTo>
                      <a:pt x="66294" y="160529"/>
                    </a:lnTo>
                    <a:lnTo>
                      <a:pt x="73914" y="150749"/>
                    </a:lnTo>
                    <a:lnTo>
                      <a:pt x="81535" y="143256"/>
                    </a:lnTo>
                    <a:lnTo>
                      <a:pt x="91313" y="136653"/>
                    </a:lnTo>
                    <a:lnTo>
                      <a:pt x="102109" y="132335"/>
                    </a:lnTo>
                    <a:lnTo>
                      <a:pt x="113030" y="129160"/>
                    </a:lnTo>
                    <a:lnTo>
                      <a:pt x="124968" y="128017"/>
                    </a:lnTo>
                    <a:lnTo>
                      <a:pt x="136906" y="129160"/>
                    </a:lnTo>
                    <a:lnTo>
                      <a:pt x="147701" y="132335"/>
                    </a:lnTo>
                    <a:lnTo>
                      <a:pt x="158624" y="136653"/>
                    </a:lnTo>
                    <a:lnTo>
                      <a:pt x="168403" y="143256"/>
                    </a:lnTo>
                    <a:lnTo>
                      <a:pt x="176023" y="150749"/>
                    </a:lnTo>
                    <a:lnTo>
                      <a:pt x="183643" y="160529"/>
                    </a:lnTo>
                    <a:lnTo>
                      <a:pt x="188976" y="171450"/>
                    </a:lnTo>
                    <a:lnTo>
                      <a:pt x="192279" y="182246"/>
                    </a:lnTo>
                    <a:lnTo>
                      <a:pt x="216155" y="182246"/>
                    </a:lnTo>
                    <a:lnTo>
                      <a:pt x="220599" y="171450"/>
                    </a:lnTo>
                    <a:lnTo>
                      <a:pt x="225934" y="161672"/>
                    </a:lnTo>
                    <a:lnTo>
                      <a:pt x="232537" y="151892"/>
                    </a:lnTo>
                    <a:lnTo>
                      <a:pt x="240157" y="144273"/>
                    </a:lnTo>
                    <a:lnTo>
                      <a:pt x="249937" y="138811"/>
                    </a:lnTo>
                    <a:lnTo>
                      <a:pt x="260731" y="133478"/>
                    </a:lnTo>
                    <a:lnTo>
                      <a:pt x="271654" y="131318"/>
                    </a:lnTo>
                    <a:lnTo>
                      <a:pt x="283592" y="130175"/>
                    </a:lnTo>
                    <a:lnTo>
                      <a:pt x="295530" y="131318"/>
                    </a:lnTo>
                    <a:lnTo>
                      <a:pt x="306324" y="133478"/>
                    </a:lnTo>
                    <a:lnTo>
                      <a:pt x="317247" y="138811"/>
                    </a:lnTo>
                    <a:lnTo>
                      <a:pt x="325882" y="144273"/>
                    </a:lnTo>
                    <a:lnTo>
                      <a:pt x="334645" y="151892"/>
                    </a:lnTo>
                    <a:lnTo>
                      <a:pt x="341123" y="161672"/>
                    </a:lnTo>
                    <a:lnTo>
                      <a:pt x="346584" y="171450"/>
                    </a:lnTo>
                    <a:lnTo>
                      <a:pt x="349886" y="182246"/>
                    </a:lnTo>
                    <a:close/>
                    <a:moveTo>
                      <a:pt x="604139" y="4760976"/>
                    </a:moveTo>
                  </a:path>
                </a:pathLst>
              </a:custGeom>
              <a:solidFill>
                <a:srgbClr val="2E2E38">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1129" name="Freeform 722">
                <a:extLst>
                  <a:ext uri="{FF2B5EF4-FFF2-40B4-BE49-F238E27FC236}">
                    <a16:creationId xmlns:a16="http://schemas.microsoft.com/office/drawing/2014/main" id="{16CC8028-1656-490B-BD0E-257D6AF37346}"/>
                  </a:ext>
                </a:extLst>
              </p:cNvPr>
              <p:cNvSpPr/>
              <p:nvPr/>
            </p:nvSpPr>
            <p:spPr>
              <a:xfrm>
                <a:off x="3195486" y="1957584"/>
                <a:ext cx="405172" cy="134043"/>
              </a:xfrm>
              <a:custGeom>
                <a:avLst/>
                <a:gdLst/>
                <a:ahLst/>
                <a:cxnLst/>
                <a:rect l="0" t="0" r="0" b="0"/>
                <a:pathLst>
                  <a:path w="405383" h="134113">
                    <a:moveTo>
                      <a:pt x="405383" y="134113"/>
                    </a:moveTo>
                    <a:lnTo>
                      <a:pt x="0" y="134113"/>
                    </a:lnTo>
                    <a:lnTo>
                      <a:pt x="103758" y="7748"/>
                    </a:lnTo>
                    <a:lnTo>
                      <a:pt x="107060" y="4445"/>
                    </a:lnTo>
                    <a:lnTo>
                      <a:pt x="110235" y="2159"/>
                    </a:lnTo>
                    <a:lnTo>
                      <a:pt x="113538" y="1144"/>
                    </a:lnTo>
                    <a:lnTo>
                      <a:pt x="117856" y="0"/>
                    </a:lnTo>
                    <a:lnTo>
                      <a:pt x="122173" y="0"/>
                    </a:lnTo>
                    <a:lnTo>
                      <a:pt x="125348" y="1144"/>
                    </a:lnTo>
                    <a:lnTo>
                      <a:pt x="129666" y="2159"/>
                    </a:lnTo>
                    <a:lnTo>
                      <a:pt x="132969" y="4445"/>
                    </a:lnTo>
                    <a:lnTo>
                      <a:pt x="173990" y="40640"/>
                    </a:lnTo>
                    <a:lnTo>
                      <a:pt x="213995" y="12065"/>
                    </a:lnTo>
                    <a:lnTo>
                      <a:pt x="220471" y="8763"/>
                    </a:lnTo>
                    <a:lnTo>
                      <a:pt x="227076" y="7748"/>
                    </a:lnTo>
                    <a:lnTo>
                      <a:pt x="233552" y="8763"/>
                    </a:lnTo>
                    <a:lnTo>
                      <a:pt x="238887" y="13208"/>
                    </a:lnTo>
                    <a:lnTo>
                      <a:pt x="289687" y="58294"/>
                    </a:lnTo>
                    <a:lnTo>
                      <a:pt x="308102" y="48388"/>
                    </a:lnTo>
                    <a:lnTo>
                      <a:pt x="314578" y="46229"/>
                    </a:lnTo>
                    <a:lnTo>
                      <a:pt x="321056" y="47244"/>
                    </a:lnTo>
                    <a:lnTo>
                      <a:pt x="326516" y="49531"/>
                    </a:lnTo>
                    <a:lnTo>
                      <a:pt x="331851" y="52706"/>
                    </a:lnTo>
                    <a:lnTo>
                      <a:pt x="405383" y="134113"/>
                    </a:lnTo>
                    <a:close/>
                    <a:moveTo>
                      <a:pt x="786383" y="4901184"/>
                    </a:moveTo>
                    <a:moveTo>
                      <a:pt x="20573" y="124206"/>
                    </a:moveTo>
                    <a:lnTo>
                      <a:pt x="382651" y="124206"/>
                    </a:lnTo>
                    <a:lnTo>
                      <a:pt x="325373" y="59309"/>
                    </a:lnTo>
                    <a:lnTo>
                      <a:pt x="322198" y="57150"/>
                    </a:lnTo>
                    <a:lnTo>
                      <a:pt x="318896" y="56007"/>
                    </a:lnTo>
                    <a:lnTo>
                      <a:pt x="315721" y="56007"/>
                    </a:lnTo>
                    <a:lnTo>
                      <a:pt x="312420" y="57150"/>
                    </a:lnTo>
                    <a:lnTo>
                      <a:pt x="288671" y="69215"/>
                    </a:lnTo>
                    <a:lnTo>
                      <a:pt x="232409" y="19813"/>
                    </a:lnTo>
                    <a:lnTo>
                      <a:pt x="230251" y="18669"/>
                    </a:lnTo>
                    <a:lnTo>
                      <a:pt x="227076" y="17526"/>
                    </a:lnTo>
                    <a:lnTo>
                      <a:pt x="222631" y="17526"/>
                    </a:lnTo>
                    <a:lnTo>
                      <a:pt x="220471" y="19813"/>
                    </a:lnTo>
                    <a:lnTo>
                      <a:pt x="172973" y="53849"/>
                    </a:lnTo>
                    <a:lnTo>
                      <a:pt x="126491" y="12065"/>
                    </a:lnTo>
                    <a:lnTo>
                      <a:pt x="123190" y="9906"/>
                    </a:lnTo>
                    <a:lnTo>
                      <a:pt x="118871" y="9906"/>
                    </a:lnTo>
                    <a:lnTo>
                      <a:pt x="114553" y="11050"/>
                    </a:lnTo>
                    <a:lnTo>
                      <a:pt x="111378" y="13208"/>
                    </a:lnTo>
                    <a:lnTo>
                      <a:pt x="20573" y="124206"/>
                    </a:lnTo>
                    <a:close/>
                    <a:moveTo>
                      <a:pt x="796290" y="4901184"/>
                    </a:moveTo>
                  </a:path>
                </a:pathLst>
              </a:custGeom>
              <a:solidFill>
                <a:srgbClr val="2E2E38">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1130" name="Freeform 723">
                <a:extLst>
                  <a:ext uri="{FF2B5EF4-FFF2-40B4-BE49-F238E27FC236}">
                    <a16:creationId xmlns:a16="http://schemas.microsoft.com/office/drawing/2014/main" id="{ECE6BCBC-D292-47E0-9242-9CCDDED6938D}"/>
                  </a:ext>
                </a:extLst>
              </p:cNvPr>
              <p:cNvSpPr/>
              <p:nvPr/>
            </p:nvSpPr>
            <p:spPr>
              <a:xfrm>
                <a:off x="2124674" y="1959108"/>
                <a:ext cx="289409" cy="392987"/>
              </a:xfrm>
              <a:custGeom>
                <a:avLst/>
                <a:gdLst/>
                <a:ahLst/>
                <a:cxnLst/>
                <a:rect l="0" t="0" r="0" b="0"/>
                <a:pathLst>
                  <a:path w="289560" h="393192">
                    <a:moveTo>
                      <a:pt x="147066" y="124332"/>
                    </a:moveTo>
                    <a:lnTo>
                      <a:pt x="146938" y="124587"/>
                    </a:lnTo>
                    <a:lnTo>
                      <a:pt x="146304" y="125349"/>
                    </a:lnTo>
                    <a:lnTo>
                      <a:pt x="145541" y="126492"/>
                    </a:lnTo>
                    <a:lnTo>
                      <a:pt x="144272" y="128143"/>
                    </a:lnTo>
                    <a:lnTo>
                      <a:pt x="142875" y="130175"/>
                    </a:lnTo>
                    <a:lnTo>
                      <a:pt x="141097" y="132588"/>
                    </a:lnTo>
                    <a:lnTo>
                      <a:pt x="139191" y="135255"/>
                    </a:lnTo>
                    <a:lnTo>
                      <a:pt x="137032" y="138430"/>
                    </a:lnTo>
                    <a:lnTo>
                      <a:pt x="134747" y="141858"/>
                    </a:lnTo>
                    <a:lnTo>
                      <a:pt x="132207" y="145414"/>
                    </a:lnTo>
                    <a:lnTo>
                      <a:pt x="129539" y="149479"/>
                    </a:lnTo>
                    <a:lnTo>
                      <a:pt x="126745" y="153543"/>
                    </a:lnTo>
                    <a:lnTo>
                      <a:pt x="123951" y="157861"/>
                    </a:lnTo>
                    <a:lnTo>
                      <a:pt x="121031" y="162306"/>
                    </a:lnTo>
                    <a:lnTo>
                      <a:pt x="118110" y="167005"/>
                    </a:lnTo>
                    <a:lnTo>
                      <a:pt x="115188" y="171704"/>
                    </a:lnTo>
                    <a:lnTo>
                      <a:pt x="112141" y="176530"/>
                    </a:lnTo>
                    <a:lnTo>
                      <a:pt x="109347" y="181356"/>
                    </a:lnTo>
                    <a:lnTo>
                      <a:pt x="106426" y="186181"/>
                    </a:lnTo>
                    <a:lnTo>
                      <a:pt x="103632" y="191134"/>
                    </a:lnTo>
                    <a:lnTo>
                      <a:pt x="101091" y="195961"/>
                    </a:lnTo>
                    <a:lnTo>
                      <a:pt x="98044" y="201675"/>
                    </a:lnTo>
                    <a:lnTo>
                      <a:pt x="95376" y="207263"/>
                    </a:lnTo>
                    <a:lnTo>
                      <a:pt x="92836" y="211581"/>
                    </a:lnTo>
                    <a:lnTo>
                      <a:pt x="90804" y="216281"/>
                    </a:lnTo>
                    <a:lnTo>
                      <a:pt x="89026" y="221106"/>
                    </a:lnTo>
                    <a:lnTo>
                      <a:pt x="87629" y="226059"/>
                    </a:lnTo>
                    <a:lnTo>
                      <a:pt x="86741" y="229743"/>
                    </a:lnTo>
                    <a:lnTo>
                      <a:pt x="86106" y="233171"/>
                    </a:lnTo>
                    <a:lnTo>
                      <a:pt x="85725" y="236346"/>
                    </a:lnTo>
                    <a:lnTo>
                      <a:pt x="85725" y="239268"/>
                    </a:lnTo>
                    <a:lnTo>
                      <a:pt x="85851" y="241681"/>
                    </a:lnTo>
                    <a:lnTo>
                      <a:pt x="86232" y="248412"/>
                    </a:lnTo>
                    <a:lnTo>
                      <a:pt x="87122" y="254762"/>
                    </a:lnTo>
                    <a:lnTo>
                      <a:pt x="88645" y="261112"/>
                    </a:lnTo>
                    <a:lnTo>
                      <a:pt x="90804" y="267081"/>
                    </a:lnTo>
                    <a:lnTo>
                      <a:pt x="93344" y="272795"/>
                    </a:lnTo>
                    <a:lnTo>
                      <a:pt x="96392" y="278130"/>
                    </a:lnTo>
                    <a:lnTo>
                      <a:pt x="99822" y="282956"/>
                    </a:lnTo>
                    <a:lnTo>
                      <a:pt x="103885" y="287655"/>
                    </a:lnTo>
                    <a:lnTo>
                      <a:pt x="108204" y="291719"/>
                    </a:lnTo>
                    <a:lnTo>
                      <a:pt x="112903" y="295656"/>
                    </a:lnTo>
                    <a:lnTo>
                      <a:pt x="117982" y="298831"/>
                    </a:lnTo>
                    <a:lnTo>
                      <a:pt x="123316" y="301625"/>
                    </a:lnTo>
                    <a:lnTo>
                      <a:pt x="128904" y="303783"/>
                    </a:lnTo>
                    <a:lnTo>
                      <a:pt x="134747" y="305434"/>
                    </a:lnTo>
                    <a:lnTo>
                      <a:pt x="140842" y="306324"/>
                    </a:lnTo>
                    <a:lnTo>
                      <a:pt x="147066" y="306705"/>
                    </a:lnTo>
                    <a:lnTo>
                      <a:pt x="153416" y="306324"/>
                    </a:lnTo>
                    <a:lnTo>
                      <a:pt x="159385" y="305434"/>
                    </a:lnTo>
                    <a:lnTo>
                      <a:pt x="165226" y="303783"/>
                    </a:lnTo>
                    <a:lnTo>
                      <a:pt x="170814" y="301625"/>
                    </a:lnTo>
                    <a:lnTo>
                      <a:pt x="176148" y="298831"/>
                    </a:lnTo>
                    <a:lnTo>
                      <a:pt x="181229" y="295656"/>
                    </a:lnTo>
                    <a:lnTo>
                      <a:pt x="185928" y="291719"/>
                    </a:lnTo>
                    <a:lnTo>
                      <a:pt x="190245" y="287655"/>
                    </a:lnTo>
                    <a:lnTo>
                      <a:pt x="194182" y="282956"/>
                    </a:lnTo>
                    <a:lnTo>
                      <a:pt x="197611" y="278130"/>
                    </a:lnTo>
                    <a:lnTo>
                      <a:pt x="200786" y="272795"/>
                    </a:lnTo>
                    <a:lnTo>
                      <a:pt x="203454" y="267081"/>
                    </a:lnTo>
                    <a:lnTo>
                      <a:pt x="205359" y="261112"/>
                    </a:lnTo>
                    <a:lnTo>
                      <a:pt x="206882" y="254762"/>
                    </a:lnTo>
                    <a:lnTo>
                      <a:pt x="207898" y="248412"/>
                    </a:lnTo>
                    <a:lnTo>
                      <a:pt x="208153" y="241681"/>
                    </a:lnTo>
                    <a:lnTo>
                      <a:pt x="208534" y="239268"/>
                    </a:lnTo>
                    <a:lnTo>
                      <a:pt x="208407" y="236346"/>
                    </a:lnTo>
                    <a:lnTo>
                      <a:pt x="208026" y="233171"/>
                    </a:lnTo>
                    <a:lnTo>
                      <a:pt x="207263" y="229743"/>
                    </a:lnTo>
                    <a:lnTo>
                      <a:pt x="206375" y="226059"/>
                    </a:lnTo>
                    <a:lnTo>
                      <a:pt x="204978" y="221106"/>
                    </a:lnTo>
                    <a:lnTo>
                      <a:pt x="203326" y="216281"/>
                    </a:lnTo>
                    <a:lnTo>
                      <a:pt x="201167" y="211581"/>
                    </a:lnTo>
                    <a:lnTo>
                      <a:pt x="198882" y="207263"/>
                    </a:lnTo>
                    <a:lnTo>
                      <a:pt x="196595" y="202692"/>
                    </a:lnTo>
                    <a:lnTo>
                      <a:pt x="194182" y="197993"/>
                    </a:lnTo>
                    <a:lnTo>
                      <a:pt x="191642" y="193294"/>
                    </a:lnTo>
                    <a:lnTo>
                      <a:pt x="188976" y="188594"/>
                    </a:lnTo>
                    <a:lnTo>
                      <a:pt x="186309" y="183769"/>
                    </a:lnTo>
                    <a:lnTo>
                      <a:pt x="183388" y="179069"/>
                    </a:lnTo>
                    <a:lnTo>
                      <a:pt x="180594" y="174117"/>
                    </a:lnTo>
                    <a:lnTo>
                      <a:pt x="177673" y="169671"/>
                    </a:lnTo>
                    <a:lnTo>
                      <a:pt x="174879" y="165100"/>
                    </a:lnTo>
                    <a:lnTo>
                      <a:pt x="171957" y="160655"/>
                    </a:lnTo>
                    <a:lnTo>
                      <a:pt x="169163" y="156337"/>
                    </a:lnTo>
                    <a:lnTo>
                      <a:pt x="166497" y="152145"/>
                    </a:lnTo>
                    <a:lnTo>
                      <a:pt x="163829" y="148208"/>
                    </a:lnTo>
                    <a:lnTo>
                      <a:pt x="161289" y="144525"/>
                    </a:lnTo>
                    <a:lnTo>
                      <a:pt x="158876" y="141096"/>
                    </a:lnTo>
                    <a:lnTo>
                      <a:pt x="156591" y="137794"/>
                    </a:lnTo>
                    <a:lnTo>
                      <a:pt x="154685" y="134874"/>
                    </a:lnTo>
                    <a:lnTo>
                      <a:pt x="152781" y="132206"/>
                    </a:lnTo>
                    <a:lnTo>
                      <a:pt x="151129" y="129794"/>
                    </a:lnTo>
                    <a:lnTo>
                      <a:pt x="149732" y="127888"/>
                    </a:lnTo>
                    <a:lnTo>
                      <a:pt x="148589" y="126364"/>
                    </a:lnTo>
                    <a:lnTo>
                      <a:pt x="147701" y="125349"/>
                    </a:lnTo>
                    <a:lnTo>
                      <a:pt x="147192" y="124587"/>
                    </a:lnTo>
                    <a:lnTo>
                      <a:pt x="147066" y="124332"/>
                    </a:lnTo>
                    <a:close/>
                    <a:moveTo>
                      <a:pt x="1866011" y="4899659"/>
                    </a:moveTo>
                    <a:moveTo>
                      <a:pt x="144779" y="30733"/>
                    </a:moveTo>
                    <a:lnTo>
                      <a:pt x="133095" y="30861"/>
                    </a:lnTo>
                    <a:lnTo>
                      <a:pt x="121792" y="31242"/>
                    </a:lnTo>
                    <a:lnTo>
                      <a:pt x="110870" y="31876"/>
                    </a:lnTo>
                    <a:lnTo>
                      <a:pt x="100329" y="32765"/>
                    </a:lnTo>
                    <a:lnTo>
                      <a:pt x="90169" y="33781"/>
                    </a:lnTo>
                    <a:lnTo>
                      <a:pt x="80517" y="35051"/>
                    </a:lnTo>
                    <a:lnTo>
                      <a:pt x="71501" y="36449"/>
                    </a:lnTo>
                    <a:lnTo>
                      <a:pt x="62991" y="38100"/>
                    </a:lnTo>
                    <a:lnTo>
                      <a:pt x="55117" y="39877"/>
                    </a:lnTo>
                    <a:lnTo>
                      <a:pt x="50164" y="41148"/>
                    </a:lnTo>
                    <a:lnTo>
                      <a:pt x="45592" y="42290"/>
                    </a:lnTo>
                    <a:lnTo>
                      <a:pt x="41529" y="43433"/>
                    </a:lnTo>
                    <a:lnTo>
                      <a:pt x="37973" y="44323"/>
                    </a:lnTo>
                    <a:lnTo>
                      <a:pt x="34798" y="45338"/>
                    </a:lnTo>
                    <a:lnTo>
                      <a:pt x="32257" y="45974"/>
                    </a:lnTo>
                    <a:lnTo>
                      <a:pt x="30226" y="46736"/>
                    </a:lnTo>
                    <a:lnTo>
                      <a:pt x="28575" y="47244"/>
                    </a:lnTo>
                    <a:lnTo>
                      <a:pt x="27685" y="47751"/>
                    </a:lnTo>
                    <a:lnTo>
                      <a:pt x="27432" y="48006"/>
                    </a:lnTo>
                    <a:lnTo>
                      <a:pt x="27685" y="48259"/>
                    </a:lnTo>
                    <a:lnTo>
                      <a:pt x="28575" y="48768"/>
                    </a:lnTo>
                    <a:lnTo>
                      <a:pt x="30226" y="49149"/>
                    </a:lnTo>
                    <a:lnTo>
                      <a:pt x="32257" y="49911"/>
                    </a:lnTo>
                    <a:lnTo>
                      <a:pt x="34798" y="50800"/>
                    </a:lnTo>
                    <a:lnTo>
                      <a:pt x="37973" y="51562"/>
                    </a:lnTo>
                    <a:lnTo>
                      <a:pt x="41529" y="52577"/>
                    </a:lnTo>
                    <a:lnTo>
                      <a:pt x="45592" y="53594"/>
                    </a:lnTo>
                    <a:lnTo>
                      <a:pt x="50164" y="54863"/>
                    </a:lnTo>
                    <a:lnTo>
                      <a:pt x="55117" y="56006"/>
                    </a:lnTo>
                    <a:lnTo>
                      <a:pt x="62991" y="57784"/>
                    </a:lnTo>
                    <a:lnTo>
                      <a:pt x="71501" y="59563"/>
                    </a:lnTo>
                    <a:lnTo>
                      <a:pt x="80517" y="60959"/>
                    </a:lnTo>
                    <a:lnTo>
                      <a:pt x="90169" y="62230"/>
                    </a:lnTo>
                    <a:lnTo>
                      <a:pt x="100329" y="63373"/>
                    </a:lnTo>
                    <a:lnTo>
                      <a:pt x="110870" y="64134"/>
                    </a:lnTo>
                    <a:lnTo>
                      <a:pt x="121792" y="64769"/>
                    </a:lnTo>
                    <a:lnTo>
                      <a:pt x="133095" y="65024"/>
                    </a:lnTo>
                    <a:lnTo>
                      <a:pt x="144779" y="65277"/>
                    </a:lnTo>
                    <a:lnTo>
                      <a:pt x="156336" y="65024"/>
                    </a:lnTo>
                    <a:lnTo>
                      <a:pt x="167766" y="64769"/>
                    </a:lnTo>
                    <a:lnTo>
                      <a:pt x="178688" y="64134"/>
                    </a:lnTo>
                    <a:lnTo>
                      <a:pt x="189357" y="63373"/>
                    </a:lnTo>
                    <a:lnTo>
                      <a:pt x="199389" y="62230"/>
                    </a:lnTo>
                    <a:lnTo>
                      <a:pt x="209041" y="60959"/>
                    </a:lnTo>
                    <a:lnTo>
                      <a:pt x="218185" y="59563"/>
                    </a:lnTo>
                    <a:lnTo>
                      <a:pt x="226694" y="57784"/>
                    </a:lnTo>
                    <a:lnTo>
                      <a:pt x="234569" y="56006"/>
                    </a:lnTo>
                    <a:lnTo>
                      <a:pt x="239522" y="54863"/>
                    </a:lnTo>
                    <a:lnTo>
                      <a:pt x="243966" y="53594"/>
                    </a:lnTo>
                    <a:lnTo>
                      <a:pt x="248031" y="52577"/>
                    </a:lnTo>
                    <a:lnTo>
                      <a:pt x="251713" y="51562"/>
                    </a:lnTo>
                    <a:lnTo>
                      <a:pt x="254761" y="50800"/>
                    </a:lnTo>
                    <a:lnTo>
                      <a:pt x="257429" y="49911"/>
                    </a:lnTo>
                    <a:lnTo>
                      <a:pt x="259460" y="49149"/>
                    </a:lnTo>
                    <a:lnTo>
                      <a:pt x="260985" y="48768"/>
                    </a:lnTo>
                    <a:lnTo>
                      <a:pt x="261873" y="48259"/>
                    </a:lnTo>
                    <a:lnTo>
                      <a:pt x="262128" y="48006"/>
                    </a:lnTo>
                    <a:lnTo>
                      <a:pt x="261873" y="47751"/>
                    </a:lnTo>
                    <a:lnTo>
                      <a:pt x="260985" y="47244"/>
                    </a:lnTo>
                    <a:lnTo>
                      <a:pt x="259460" y="46736"/>
                    </a:lnTo>
                    <a:lnTo>
                      <a:pt x="257429" y="45974"/>
                    </a:lnTo>
                    <a:lnTo>
                      <a:pt x="254761" y="45338"/>
                    </a:lnTo>
                    <a:lnTo>
                      <a:pt x="251713" y="44323"/>
                    </a:lnTo>
                    <a:lnTo>
                      <a:pt x="248031" y="43433"/>
                    </a:lnTo>
                    <a:lnTo>
                      <a:pt x="243966" y="42290"/>
                    </a:lnTo>
                    <a:lnTo>
                      <a:pt x="239522" y="41148"/>
                    </a:lnTo>
                    <a:lnTo>
                      <a:pt x="234569" y="39877"/>
                    </a:lnTo>
                    <a:lnTo>
                      <a:pt x="226694" y="38100"/>
                    </a:lnTo>
                    <a:lnTo>
                      <a:pt x="218185" y="36449"/>
                    </a:lnTo>
                    <a:lnTo>
                      <a:pt x="209041" y="35051"/>
                    </a:lnTo>
                    <a:lnTo>
                      <a:pt x="199389" y="33781"/>
                    </a:lnTo>
                    <a:lnTo>
                      <a:pt x="189357" y="32765"/>
                    </a:lnTo>
                    <a:lnTo>
                      <a:pt x="178688" y="31876"/>
                    </a:lnTo>
                    <a:lnTo>
                      <a:pt x="167766" y="31242"/>
                    </a:lnTo>
                    <a:lnTo>
                      <a:pt x="156336" y="30861"/>
                    </a:lnTo>
                    <a:lnTo>
                      <a:pt x="144779" y="30733"/>
                    </a:lnTo>
                    <a:close/>
                    <a:moveTo>
                      <a:pt x="1959610" y="4899659"/>
                    </a:moveTo>
                    <a:moveTo>
                      <a:pt x="144779" y="0"/>
                    </a:moveTo>
                    <a:lnTo>
                      <a:pt x="156972" y="126"/>
                    </a:lnTo>
                    <a:lnTo>
                      <a:pt x="169036" y="507"/>
                    </a:lnTo>
                    <a:lnTo>
                      <a:pt x="180594" y="1143"/>
                    </a:lnTo>
                    <a:lnTo>
                      <a:pt x="191769" y="2158"/>
                    </a:lnTo>
                    <a:lnTo>
                      <a:pt x="202564" y="3175"/>
                    </a:lnTo>
                    <a:lnTo>
                      <a:pt x="212851" y="4571"/>
                    </a:lnTo>
                    <a:lnTo>
                      <a:pt x="222631" y="6223"/>
                    </a:lnTo>
                    <a:lnTo>
                      <a:pt x="231901" y="7874"/>
                    </a:lnTo>
                    <a:lnTo>
                      <a:pt x="240538" y="9779"/>
                    </a:lnTo>
                    <a:lnTo>
                      <a:pt x="247269" y="11683"/>
                    </a:lnTo>
                    <a:lnTo>
                      <a:pt x="253619" y="13843"/>
                    </a:lnTo>
                    <a:lnTo>
                      <a:pt x="259588" y="16001"/>
                    </a:lnTo>
                    <a:lnTo>
                      <a:pt x="264922" y="18414"/>
                    </a:lnTo>
                    <a:lnTo>
                      <a:pt x="269875" y="21081"/>
                    </a:lnTo>
                    <a:lnTo>
                      <a:pt x="274319" y="23749"/>
                    </a:lnTo>
                    <a:lnTo>
                      <a:pt x="278257" y="26796"/>
                    </a:lnTo>
                    <a:lnTo>
                      <a:pt x="281685" y="29971"/>
                    </a:lnTo>
                    <a:lnTo>
                      <a:pt x="284479" y="33274"/>
                    </a:lnTo>
                    <a:lnTo>
                      <a:pt x="286638" y="36702"/>
                    </a:lnTo>
                    <a:lnTo>
                      <a:pt x="288163" y="40258"/>
                    </a:lnTo>
                    <a:lnTo>
                      <a:pt x="289306" y="44069"/>
                    </a:lnTo>
                    <a:lnTo>
                      <a:pt x="289560" y="48006"/>
                    </a:lnTo>
                    <a:lnTo>
                      <a:pt x="289306" y="51815"/>
                    </a:lnTo>
                    <a:lnTo>
                      <a:pt x="288289" y="55499"/>
                    </a:lnTo>
                    <a:lnTo>
                      <a:pt x="286766" y="59055"/>
                    </a:lnTo>
                    <a:lnTo>
                      <a:pt x="284479" y="62611"/>
                    </a:lnTo>
                    <a:lnTo>
                      <a:pt x="281685" y="65913"/>
                    </a:lnTo>
                    <a:lnTo>
                      <a:pt x="278510" y="69088"/>
                    </a:lnTo>
                    <a:lnTo>
                      <a:pt x="274573" y="71881"/>
                    </a:lnTo>
                    <a:lnTo>
                      <a:pt x="270256" y="74802"/>
                    </a:lnTo>
                    <a:lnTo>
                      <a:pt x="265303" y="77215"/>
                    </a:lnTo>
                    <a:lnTo>
                      <a:pt x="265303" y="155320"/>
                    </a:lnTo>
                    <a:lnTo>
                      <a:pt x="270256" y="157861"/>
                    </a:lnTo>
                    <a:lnTo>
                      <a:pt x="274573" y="160527"/>
                    </a:lnTo>
                    <a:lnTo>
                      <a:pt x="278510" y="163449"/>
                    </a:lnTo>
                    <a:lnTo>
                      <a:pt x="281685" y="166369"/>
                    </a:lnTo>
                    <a:lnTo>
                      <a:pt x="284479" y="169544"/>
                    </a:lnTo>
                    <a:lnTo>
                      <a:pt x="286766" y="172846"/>
                    </a:lnTo>
                    <a:lnTo>
                      <a:pt x="288289" y="176275"/>
                    </a:lnTo>
                    <a:lnTo>
                      <a:pt x="289306" y="180086"/>
                    </a:lnTo>
                    <a:lnTo>
                      <a:pt x="289560" y="183769"/>
                    </a:lnTo>
                    <a:lnTo>
                      <a:pt x="289306" y="187579"/>
                    </a:lnTo>
                    <a:lnTo>
                      <a:pt x="288289" y="191134"/>
                    </a:lnTo>
                    <a:lnTo>
                      <a:pt x="286766" y="194563"/>
                    </a:lnTo>
                    <a:lnTo>
                      <a:pt x="284479" y="197993"/>
                    </a:lnTo>
                    <a:lnTo>
                      <a:pt x="281685" y="201168"/>
                    </a:lnTo>
                    <a:lnTo>
                      <a:pt x="278510" y="204215"/>
                    </a:lnTo>
                    <a:lnTo>
                      <a:pt x="274573" y="207009"/>
                    </a:lnTo>
                    <a:lnTo>
                      <a:pt x="270256" y="209676"/>
                    </a:lnTo>
                    <a:lnTo>
                      <a:pt x="265303" y="212089"/>
                    </a:lnTo>
                    <a:lnTo>
                      <a:pt x="265303" y="317373"/>
                    </a:lnTo>
                    <a:lnTo>
                      <a:pt x="270256" y="319913"/>
                    </a:lnTo>
                    <a:lnTo>
                      <a:pt x="274573" y="322580"/>
                    </a:lnTo>
                    <a:lnTo>
                      <a:pt x="278510" y="325627"/>
                    </a:lnTo>
                    <a:lnTo>
                      <a:pt x="281685" y="328549"/>
                    </a:lnTo>
                    <a:lnTo>
                      <a:pt x="284479" y="331724"/>
                    </a:lnTo>
                    <a:lnTo>
                      <a:pt x="286766" y="335280"/>
                    </a:lnTo>
                    <a:lnTo>
                      <a:pt x="288289" y="338708"/>
                    </a:lnTo>
                    <a:lnTo>
                      <a:pt x="289306" y="342392"/>
                    </a:lnTo>
                    <a:lnTo>
                      <a:pt x="289560" y="346201"/>
                    </a:lnTo>
                    <a:lnTo>
                      <a:pt x="289306" y="350012"/>
                    </a:lnTo>
                    <a:lnTo>
                      <a:pt x="288163" y="353694"/>
                    </a:lnTo>
                    <a:lnTo>
                      <a:pt x="286638" y="357377"/>
                    </a:lnTo>
                    <a:lnTo>
                      <a:pt x="284479" y="360680"/>
                    </a:lnTo>
                    <a:lnTo>
                      <a:pt x="281685" y="363981"/>
                    </a:lnTo>
                    <a:lnTo>
                      <a:pt x="278257" y="367030"/>
                    </a:lnTo>
                    <a:lnTo>
                      <a:pt x="274319" y="369950"/>
                    </a:lnTo>
                    <a:lnTo>
                      <a:pt x="269875" y="372618"/>
                    </a:lnTo>
                    <a:lnTo>
                      <a:pt x="264922" y="375157"/>
                    </a:lnTo>
                    <a:lnTo>
                      <a:pt x="259460" y="377570"/>
                    </a:lnTo>
                    <a:lnTo>
                      <a:pt x="253491" y="379856"/>
                    </a:lnTo>
                    <a:lnTo>
                      <a:pt x="247141" y="381762"/>
                    </a:lnTo>
                    <a:lnTo>
                      <a:pt x="240284" y="383539"/>
                    </a:lnTo>
                    <a:lnTo>
                      <a:pt x="231775" y="385444"/>
                    </a:lnTo>
                    <a:lnTo>
                      <a:pt x="222631" y="387223"/>
                    </a:lnTo>
                    <a:lnTo>
                      <a:pt x="212851" y="388619"/>
                    </a:lnTo>
                    <a:lnTo>
                      <a:pt x="202564" y="390144"/>
                    </a:lnTo>
                    <a:lnTo>
                      <a:pt x="191769" y="391159"/>
                    </a:lnTo>
                    <a:lnTo>
                      <a:pt x="180594" y="392049"/>
                    </a:lnTo>
                    <a:lnTo>
                      <a:pt x="169036" y="392683"/>
                    </a:lnTo>
                    <a:lnTo>
                      <a:pt x="156972" y="393064"/>
                    </a:lnTo>
                    <a:lnTo>
                      <a:pt x="144779" y="393192"/>
                    </a:lnTo>
                    <a:lnTo>
                      <a:pt x="132588" y="393064"/>
                    </a:lnTo>
                    <a:lnTo>
                      <a:pt x="120650" y="392683"/>
                    </a:lnTo>
                    <a:lnTo>
                      <a:pt x="109092" y="392049"/>
                    </a:lnTo>
                    <a:lnTo>
                      <a:pt x="97916" y="391159"/>
                    </a:lnTo>
                    <a:lnTo>
                      <a:pt x="86994" y="390144"/>
                    </a:lnTo>
                    <a:lnTo>
                      <a:pt x="76835" y="388619"/>
                    </a:lnTo>
                    <a:lnTo>
                      <a:pt x="67056" y="387223"/>
                    </a:lnTo>
                    <a:lnTo>
                      <a:pt x="57785" y="385444"/>
                    </a:lnTo>
                    <a:lnTo>
                      <a:pt x="49276" y="383539"/>
                    </a:lnTo>
                    <a:lnTo>
                      <a:pt x="42417" y="381762"/>
                    </a:lnTo>
                    <a:lnTo>
                      <a:pt x="36067" y="379856"/>
                    </a:lnTo>
                    <a:lnTo>
                      <a:pt x="30226" y="377570"/>
                    </a:lnTo>
                    <a:lnTo>
                      <a:pt x="24764" y="375157"/>
                    </a:lnTo>
                    <a:lnTo>
                      <a:pt x="19685" y="372618"/>
                    </a:lnTo>
                    <a:lnTo>
                      <a:pt x="15239" y="369950"/>
                    </a:lnTo>
                    <a:lnTo>
                      <a:pt x="11303" y="367030"/>
                    </a:lnTo>
                    <a:lnTo>
                      <a:pt x="8001" y="363981"/>
                    </a:lnTo>
                    <a:lnTo>
                      <a:pt x="5207" y="360680"/>
                    </a:lnTo>
                    <a:lnTo>
                      <a:pt x="3048" y="357377"/>
                    </a:lnTo>
                    <a:lnTo>
                      <a:pt x="1397" y="353694"/>
                    </a:lnTo>
                    <a:lnTo>
                      <a:pt x="381" y="350012"/>
                    </a:lnTo>
                    <a:lnTo>
                      <a:pt x="0" y="346201"/>
                    </a:lnTo>
                    <a:lnTo>
                      <a:pt x="381" y="342264"/>
                    </a:lnTo>
                    <a:lnTo>
                      <a:pt x="1397" y="338581"/>
                    </a:lnTo>
                    <a:lnTo>
                      <a:pt x="3048" y="334899"/>
                    </a:lnTo>
                    <a:lnTo>
                      <a:pt x="5334" y="331343"/>
                    </a:lnTo>
                    <a:lnTo>
                      <a:pt x="8128" y="328168"/>
                    </a:lnTo>
                    <a:lnTo>
                      <a:pt x="11684" y="325119"/>
                    </a:lnTo>
                    <a:lnTo>
                      <a:pt x="15875" y="322071"/>
                    </a:lnTo>
                    <a:lnTo>
                      <a:pt x="20319" y="319405"/>
                    </a:lnTo>
                    <a:lnTo>
                      <a:pt x="25400" y="316864"/>
                    </a:lnTo>
                    <a:lnTo>
                      <a:pt x="25400" y="212725"/>
                    </a:lnTo>
                    <a:lnTo>
                      <a:pt x="20319" y="210184"/>
                    </a:lnTo>
                    <a:lnTo>
                      <a:pt x="15875" y="207518"/>
                    </a:lnTo>
                    <a:lnTo>
                      <a:pt x="11684" y="204596"/>
                    </a:lnTo>
                    <a:lnTo>
                      <a:pt x="8128" y="201549"/>
                    </a:lnTo>
                    <a:lnTo>
                      <a:pt x="5334" y="198246"/>
                    </a:lnTo>
                    <a:lnTo>
                      <a:pt x="3048" y="194944"/>
                    </a:lnTo>
                    <a:lnTo>
                      <a:pt x="1397" y="191388"/>
                    </a:lnTo>
                    <a:lnTo>
                      <a:pt x="381" y="187706"/>
                    </a:lnTo>
                    <a:lnTo>
                      <a:pt x="0" y="183769"/>
                    </a:lnTo>
                    <a:lnTo>
                      <a:pt x="381" y="179958"/>
                    </a:lnTo>
                    <a:lnTo>
                      <a:pt x="1397" y="176275"/>
                    </a:lnTo>
                    <a:lnTo>
                      <a:pt x="3048" y="172719"/>
                    </a:lnTo>
                    <a:lnTo>
                      <a:pt x="5334" y="169163"/>
                    </a:lnTo>
                    <a:lnTo>
                      <a:pt x="8128" y="165988"/>
                    </a:lnTo>
                    <a:lnTo>
                      <a:pt x="11684" y="162940"/>
                    </a:lnTo>
                    <a:lnTo>
                      <a:pt x="15875" y="160019"/>
                    </a:lnTo>
                    <a:lnTo>
                      <a:pt x="20319" y="157480"/>
                    </a:lnTo>
                    <a:lnTo>
                      <a:pt x="25400" y="154939"/>
                    </a:lnTo>
                    <a:lnTo>
                      <a:pt x="25400" y="77850"/>
                    </a:lnTo>
                    <a:lnTo>
                      <a:pt x="20319" y="75183"/>
                    </a:lnTo>
                    <a:lnTo>
                      <a:pt x="15875" y="72389"/>
                    </a:lnTo>
                    <a:lnTo>
                      <a:pt x="11684" y="69469"/>
                    </a:lnTo>
                    <a:lnTo>
                      <a:pt x="8128" y="66294"/>
                    </a:lnTo>
                    <a:lnTo>
                      <a:pt x="5334" y="62864"/>
                    </a:lnTo>
                    <a:lnTo>
                      <a:pt x="3048" y="59563"/>
                    </a:lnTo>
                    <a:lnTo>
                      <a:pt x="1397" y="55752"/>
                    </a:lnTo>
                    <a:lnTo>
                      <a:pt x="381" y="51943"/>
                    </a:lnTo>
                    <a:lnTo>
                      <a:pt x="0" y="48006"/>
                    </a:lnTo>
                    <a:lnTo>
                      <a:pt x="381" y="44069"/>
                    </a:lnTo>
                    <a:lnTo>
                      <a:pt x="1397" y="40258"/>
                    </a:lnTo>
                    <a:lnTo>
                      <a:pt x="3048" y="36702"/>
                    </a:lnTo>
                    <a:lnTo>
                      <a:pt x="5207" y="33274"/>
                    </a:lnTo>
                    <a:lnTo>
                      <a:pt x="8001" y="29971"/>
                    </a:lnTo>
                    <a:lnTo>
                      <a:pt x="11303" y="26796"/>
                    </a:lnTo>
                    <a:lnTo>
                      <a:pt x="15239" y="23749"/>
                    </a:lnTo>
                    <a:lnTo>
                      <a:pt x="19685" y="21081"/>
                    </a:lnTo>
                    <a:lnTo>
                      <a:pt x="24764" y="18414"/>
                    </a:lnTo>
                    <a:lnTo>
                      <a:pt x="30098" y="16001"/>
                    </a:lnTo>
                    <a:lnTo>
                      <a:pt x="36067" y="13843"/>
                    </a:lnTo>
                    <a:lnTo>
                      <a:pt x="42417" y="11683"/>
                    </a:lnTo>
                    <a:lnTo>
                      <a:pt x="49148" y="9779"/>
                    </a:lnTo>
                    <a:lnTo>
                      <a:pt x="57785" y="7874"/>
                    </a:lnTo>
                    <a:lnTo>
                      <a:pt x="66929" y="6223"/>
                    </a:lnTo>
                    <a:lnTo>
                      <a:pt x="76835" y="4571"/>
                    </a:lnTo>
                    <a:lnTo>
                      <a:pt x="86994" y="3175"/>
                    </a:lnTo>
                    <a:lnTo>
                      <a:pt x="97916" y="2158"/>
                    </a:lnTo>
                    <a:lnTo>
                      <a:pt x="109092" y="1143"/>
                    </a:lnTo>
                    <a:lnTo>
                      <a:pt x="120650" y="507"/>
                    </a:lnTo>
                    <a:lnTo>
                      <a:pt x="132588" y="126"/>
                    </a:lnTo>
                    <a:lnTo>
                      <a:pt x="144779" y="0"/>
                    </a:lnTo>
                    <a:close/>
                    <a:moveTo>
                      <a:pt x="1990343" y="4899659"/>
                    </a:moveTo>
                  </a:path>
                </a:pathLst>
              </a:custGeom>
              <a:noFill/>
              <a:ln w="9525" cap="flat" cmpd="sng">
                <a:solidFill>
                  <a:srgbClr val="2E2E38">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1131" name="Picture 724">
                <a:extLst>
                  <a:ext uri="{FF2B5EF4-FFF2-40B4-BE49-F238E27FC236}">
                    <a16:creationId xmlns:a16="http://schemas.microsoft.com/office/drawing/2014/main" id="{61DCE979-5FD3-4E50-8DA4-56B8D886C0CE}"/>
                  </a:ext>
                </a:extLst>
              </p:cNvPr>
              <p:cNvPicPr>
                <a:picLocks noChangeArrowheads="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a:off x="2592566" y="1944599"/>
                <a:ext cx="417588" cy="417588"/>
              </a:xfrm>
              <a:prstGeom prst="rect">
                <a:avLst/>
              </a:prstGeom>
              <a:noFill/>
            </p:spPr>
          </p:pic>
          <p:sp>
            <p:nvSpPr>
              <p:cNvPr id="1132" name="Rectangle 1071">
                <a:extLst>
                  <a:ext uri="{FF2B5EF4-FFF2-40B4-BE49-F238E27FC236}">
                    <a16:creationId xmlns:a16="http://schemas.microsoft.com/office/drawing/2014/main" id="{EBB42B4A-CC7A-4BBC-A206-6DE9A9B58ECD}"/>
                  </a:ext>
                </a:extLst>
              </p:cNvPr>
              <p:cNvSpPr/>
              <p:nvPr/>
            </p:nvSpPr>
            <p:spPr>
              <a:xfrm>
                <a:off x="2100910" y="2432735"/>
                <a:ext cx="1539523" cy="243785"/>
              </a:xfrm>
              <a:prstGeom prst="rect">
                <a:avLst/>
              </a:prstGeom>
            </p:spPr>
            <p:txBody>
              <a:bodyPr wrap="square" lIns="0" tIns="0" rIns="0" bIns="0">
                <a:spAutoFit/>
              </a:bodyPr>
              <a:lstStyle/>
              <a:p>
                <a:pPr marL="0" marR="0" lvl="0" indent="0" algn="ctr" defTabSz="913486" rtl="0" eaLnBrk="1" fontAlgn="auto" latinLnBrk="0" hangingPunct="1">
                  <a:lnSpc>
                    <a:spcPct val="100000"/>
                  </a:lnSpc>
                  <a:spcBef>
                    <a:spcPts val="0"/>
                  </a:spcBef>
                  <a:spcAft>
                    <a:spcPts val="0"/>
                  </a:spcAft>
                  <a:buClrTx/>
                  <a:buSzTx/>
                  <a:buFontTx/>
                  <a:buNone/>
                  <a:tabLst/>
                  <a:defRPr/>
                </a:pP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Hydrogen in</a:t>
                </a:r>
                <a:r>
                  <a:rPr kumimoji="0" lang="en-US" sz="792" b="1" i="0" u="none" strike="noStrike" kern="0" cap="none" spc="-23" normalizeH="0" baseline="0" noProof="0" dirty="0">
                    <a:ln>
                      <a:noFill/>
                    </a:ln>
                    <a:solidFill>
                      <a:srgbClr val="2E2E38"/>
                    </a:solidFill>
                    <a:effectLst/>
                    <a:uLnTx/>
                    <a:uFillTx/>
                    <a:latin typeface="EYInterstate-LightBold"/>
                    <a:ea typeface="+mn-ea"/>
                    <a:cs typeface="+mn-cs"/>
                  </a:rPr>
                  <a:t> </a:t>
                </a: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fo</a:t>
                </a:r>
                <a:r>
                  <a:rPr kumimoji="0" lang="en-US" sz="792" b="1" i="0" u="none" strike="noStrike" kern="0" cap="none" spc="-12" normalizeH="0" baseline="0" noProof="0" dirty="0">
                    <a:ln>
                      <a:noFill/>
                    </a:ln>
                    <a:solidFill>
                      <a:srgbClr val="2E2E38"/>
                    </a:solidFill>
                    <a:effectLst/>
                    <a:uLnTx/>
                    <a:uFillTx/>
                    <a:latin typeface="EYInterstate-LightBold"/>
                    <a:ea typeface="+mn-ea"/>
                    <a:cs typeface="+mn-cs"/>
                  </a:rPr>
                  <a:t>ss</a:t>
                </a: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il fuels</a:t>
                </a:r>
                <a:br>
                  <a:rPr kumimoji="0" lang="en-US" sz="792" b="1" i="0" u="none" strike="noStrike" kern="0" cap="none" spc="0" normalizeH="0" baseline="0" noProof="0" dirty="0">
                    <a:ln>
                      <a:noFill/>
                    </a:ln>
                    <a:solidFill>
                      <a:srgbClr val="2E2E38"/>
                    </a:solidFill>
                    <a:effectLst/>
                    <a:uLnTx/>
                    <a:uFillTx/>
                    <a:latin typeface="EYInterstate-LightBold"/>
                    <a:ea typeface="+mn-ea"/>
                    <a:cs typeface="+mn-cs"/>
                  </a:rPr>
                </a:br>
                <a:endParaRPr kumimoji="0" lang="en-US" sz="792" b="1" i="0" u="none" strike="noStrike" kern="0" cap="none" spc="0" normalizeH="0" baseline="0" noProof="0" dirty="0">
                  <a:ln>
                    <a:noFill/>
                  </a:ln>
                  <a:solidFill>
                    <a:srgbClr val="2E2E38"/>
                  </a:solidFill>
                  <a:effectLst/>
                  <a:uLnTx/>
                  <a:uFillTx/>
                  <a:latin typeface="EYInterstate-LightBold"/>
                  <a:ea typeface="+mn-ea"/>
                  <a:cs typeface="+mn-cs"/>
                </a:endParaRPr>
              </a:p>
            </p:txBody>
          </p:sp>
          <p:sp>
            <p:nvSpPr>
              <p:cNvPr id="1133" name="Rectangle 1072">
                <a:extLst>
                  <a:ext uri="{FF2B5EF4-FFF2-40B4-BE49-F238E27FC236}">
                    <a16:creationId xmlns:a16="http://schemas.microsoft.com/office/drawing/2014/main" id="{D3788E1F-DC7F-434B-A320-50D25ABEEB99}"/>
                  </a:ext>
                </a:extLst>
              </p:cNvPr>
              <p:cNvSpPr/>
              <p:nvPr/>
            </p:nvSpPr>
            <p:spPr>
              <a:xfrm>
                <a:off x="2612396" y="1259920"/>
                <a:ext cx="2144327" cy="184442"/>
              </a:xfrm>
              <a:prstGeom prst="rect">
                <a:avLst/>
              </a:prstGeom>
              <a:solidFill>
                <a:srgbClr val="2E2E38"/>
              </a:solidFill>
            </p:spPr>
            <p:txBody>
              <a:bodyPr wrap="square" lIns="0" tIns="0" rIns="0" bIns="0">
                <a:spAutoFit/>
              </a:bodyPr>
              <a:lstStyle/>
              <a:p>
                <a:pPr marL="0" marR="0" lvl="0" indent="0" algn="ctr" defTabSz="913486" rtl="0" eaLnBrk="1" fontAlgn="auto" latinLnBrk="0" hangingPunct="1">
                  <a:lnSpc>
                    <a:spcPct val="100000"/>
                  </a:lnSpc>
                  <a:spcBef>
                    <a:spcPts val="400"/>
                  </a:spcBef>
                  <a:spcAft>
                    <a:spcPts val="300"/>
                  </a:spcAft>
                  <a:buClrTx/>
                  <a:buSzTx/>
                  <a:buFontTx/>
                  <a:buNone/>
                  <a:tabLst/>
                  <a:defRPr/>
                </a:pPr>
                <a:r>
                  <a:rPr kumimoji="0" lang="en-US" sz="1198" b="1" i="0" u="none" strike="noStrike" kern="0" cap="none" spc="-37" normalizeH="0" baseline="0" noProof="0" dirty="0">
                    <a:ln>
                      <a:noFill/>
                    </a:ln>
                    <a:solidFill>
                      <a:srgbClr val="000000">
                        <a:lumMod val="50000"/>
                        <a:lumOff val="50000"/>
                      </a:srgbClr>
                    </a:solidFill>
                    <a:effectLst/>
                    <a:uLnTx/>
                    <a:uFillTx/>
                    <a:latin typeface="EYInterstate-LightBold"/>
                    <a:ea typeface="+mn-ea"/>
                    <a:cs typeface="+mn-cs"/>
                  </a:rPr>
                  <a:t>Grey H</a:t>
                </a:r>
                <a:r>
                  <a:rPr kumimoji="0" lang="en-US" sz="1198" b="1" i="0" u="none" strike="noStrike" kern="0" cap="none" spc="-20" normalizeH="0" baseline="0" noProof="0" dirty="0">
                    <a:ln>
                      <a:noFill/>
                    </a:ln>
                    <a:solidFill>
                      <a:srgbClr val="000000">
                        <a:lumMod val="50000"/>
                        <a:lumOff val="50000"/>
                      </a:srgbClr>
                    </a:solidFill>
                    <a:effectLst/>
                    <a:uLnTx/>
                    <a:uFillTx/>
                    <a:latin typeface="EYInterstate-LightBold"/>
                    <a:ea typeface="+mn-ea"/>
                    <a:cs typeface="+mn-cs"/>
                  </a:rPr>
                  <a:t>y</a:t>
                </a:r>
                <a:r>
                  <a:rPr kumimoji="0" lang="en-US" sz="1198" b="1" i="0" u="none" strike="noStrike" kern="0" cap="none" spc="-12" normalizeH="0" baseline="0" noProof="0" dirty="0">
                    <a:ln>
                      <a:noFill/>
                    </a:ln>
                    <a:solidFill>
                      <a:srgbClr val="000000">
                        <a:lumMod val="50000"/>
                        <a:lumOff val="50000"/>
                      </a:srgbClr>
                    </a:solidFill>
                    <a:effectLst/>
                    <a:uLnTx/>
                    <a:uFillTx/>
                    <a:latin typeface="EYInterstate-LightBold"/>
                    <a:ea typeface="+mn-ea"/>
                    <a:cs typeface="+mn-cs"/>
                  </a:rPr>
                  <a:t>d</a:t>
                </a:r>
                <a:r>
                  <a:rPr kumimoji="0" lang="en-US" sz="1198" b="1" i="0" u="none" strike="noStrike" kern="0" cap="none" spc="-22" normalizeH="0" baseline="0" noProof="0" dirty="0">
                    <a:ln>
                      <a:noFill/>
                    </a:ln>
                    <a:solidFill>
                      <a:srgbClr val="000000">
                        <a:lumMod val="50000"/>
                        <a:lumOff val="50000"/>
                      </a:srgbClr>
                    </a:solidFill>
                    <a:effectLst/>
                    <a:uLnTx/>
                    <a:uFillTx/>
                    <a:latin typeface="EYInterstate-LightBold"/>
                    <a:ea typeface="+mn-ea"/>
                    <a:cs typeface="+mn-cs"/>
                  </a:rPr>
                  <a:t>r</a:t>
                </a:r>
                <a:r>
                  <a:rPr kumimoji="0" lang="en-US" sz="1198" b="1" i="0" u="none" strike="noStrike" kern="0" cap="none" spc="-12" normalizeH="0" baseline="0" noProof="0" dirty="0">
                    <a:ln>
                      <a:noFill/>
                    </a:ln>
                    <a:solidFill>
                      <a:srgbClr val="000000">
                        <a:lumMod val="50000"/>
                        <a:lumOff val="50000"/>
                      </a:srgbClr>
                    </a:solidFill>
                    <a:effectLst/>
                    <a:uLnTx/>
                    <a:uFillTx/>
                    <a:latin typeface="EYInterstate-LightBold"/>
                    <a:ea typeface="+mn-ea"/>
                    <a:cs typeface="+mn-cs"/>
                  </a:rPr>
                  <a:t>o</a:t>
                </a:r>
                <a:r>
                  <a:rPr kumimoji="0" lang="en-US" sz="1198" b="1" i="0" u="none" strike="noStrike" kern="0" cap="none" spc="-13" normalizeH="0" baseline="0" noProof="0" dirty="0">
                    <a:ln>
                      <a:noFill/>
                    </a:ln>
                    <a:solidFill>
                      <a:srgbClr val="000000">
                        <a:lumMod val="50000"/>
                        <a:lumOff val="50000"/>
                      </a:srgbClr>
                    </a:solidFill>
                    <a:effectLst/>
                    <a:uLnTx/>
                    <a:uFillTx/>
                    <a:latin typeface="EYInterstate-LightBold"/>
                    <a:ea typeface="+mn-ea"/>
                    <a:cs typeface="+mn-cs"/>
                  </a:rPr>
                  <a:t>g</a:t>
                </a:r>
                <a:r>
                  <a:rPr kumimoji="0" lang="en-US" sz="1198" b="1" i="0" u="none" strike="noStrike" kern="0" cap="none" spc="0" normalizeH="0" baseline="0" noProof="0" dirty="0">
                    <a:ln>
                      <a:noFill/>
                    </a:ln>
                    <a:solidFill>
                      <a:srgbClr val="000000">
                        <a:lumMod val="50000"/>
                        <a:lumOff val="50000"/>
                      </a:srgbClr>
                    </a:solidFill>
                    <a:effectLst/>
                    <a:uLnTx/>
                    <a:uFillTx/>
                    <a:latin typeface="EYInterstate-LightBold"/>
                    <a:ea typeface="+mn-ea"/>
                    <a:cs typeface="+mn-cs"/>
                  </a:rPr>
                  <a:t>en | </a:t>
                </a:r>
                <a:r>
                  <a:rPr kumimoji="0" lang="en-US" sz="1198" b="1" i="0" u="none" strike="noStrike" kern="0" cap="none" spc="0" normalizeH="0" baseline="0" noProof="0" dirty="0">
                    <a:ln>
                      <a:noFill/>
                    </a:ln>
                    <a:solidFill>
                      <a:srgbClr val="FFFFFF"/>
                    </a:solidFill>
                    <a:effectLst/>
                    <a:uLnTx/>
                    <a:uFillTx/>
                    <a:latin typeface="EYInterstate-LightBold"/>
                    <a:ea typeface="+mn-ea"/>
                    <a:cs typeface="+mn-cs"/>
                  </a:rPr>
                  <a:t>Carbon Intensive</a:t>
                </a:r>
              </a:p>
            </p:txBody>
          </p:sp>
        </p:grpSp>
        <p:sp>
          <p:nvSpPr>
            <p:cNvPr id="443" name="Rectangle 442">
              <a:extLst>
                <a:ext uri="{FF2B5EF4-FFF2-40B4-BE49-F238E27FC236}">
                  <a16:creationId xmlns:a16="http://schemas.microsoft.com/office/drawing/2014/main" id="{A9F0AC4F-3FD3-4C2B-B0F1-55832F791765}"/>
                </a:ext>
              </a:extLst>
            </p:cNvPr>
            <p:cNvSpPr/>
            <p:nvPr/>
          </p:nvSpPr>
          <p:spPr>
            <a:xfrm>
              <a:off x="3915446" y="1831779"/>
              <a:ext cx="1320516" cy="877300"/>
            </a:xfrm>
            <a:prstGeom prst="rect">
              <a:avLst/>
            </a:prstGeom>
            <a:solidFill>
              <a:srgbClr val="C4C4CD"/>
            </a:solidFill>
            <a:ln w="9525">
              <a:solidFill>
                <a:srgbClr val="C4C4C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pic>
          <p:nvPicPr>
            <p:cNvPr id="447" name="Picture 780">
              <a:extLst>
                <a:ext uri="{FF2B5EF4-FFF2-40B4-BE49-F238E27FC236}">
                  <a16:creationId xmlns:a16="http://schemas.microsoft.com/office/drawing/2014/main" id="{369530BA-74A7-49CD-BE96-C13D656E68E8}"/>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a:xfrm>
              <a:off x="4341724" y="1896985"/>
              <a:ext cx="471354" cy="494651"/>
            </a:xfrm>
            <a:prstGeom prst="rect">
              <a:avLst/>
            </a:prstGeom>
            <a:noFill/>
          </p:spPr>
        </p:pic>
        <p:sp>
          <p:nvSpPr>
            <p:cNvPr id="448" name="Rectangle 1078">
              <a:extLst>
                <a:ext uri="{FF2B5EF4-FFF2-40B4-BE49-F238E27FC236}">
                  <a16:creationId xmlns:a16="http://schemas.microsoft.com/office/drawing/2014/main" id="{3B5AA53A-ED73-453B-9A45-F749B9A6BE8A}"/>
                </a:ext>
              </a:extLst>
            </p:cNvPr>
            <p:cNvSpPr/>
            <p:nvPr/>
          </p:nvSpPr>
          <p:spPr>
            <a:xfrm>
              <a:off x="3997378" y="2444976"/>
              <a:ext cx="1180758" cy="243785"/>
            </a:xfrm>
            <a:prstGeom prst="rect">
              <a:avLst/>
            </a:prstGeom>
          </p:spPr>
          <p:txBody>
            <a:bodyPr wrap="none" lIns="0" tIns="0" rIns="0" bIns="0">
              <a:spAutoFit/>
            </a:bodyPr>
            <a:lstStyle/>
            <a:p>
              <a:pPr marL="0" marR="0" lvl="0" indent="0" algn="ctr" defTabSz="913486" rtl="0" eaLnBrk="1" fontAlgn="auto" latinLnBrk="0" hangingPunct="1">
                <a:lnSpc>
                  <a:spcPct val="100000"/>
                </a:lnSpc>
                <a:spcBef>
                  <a:spcPts val="0"/>
                </a:spcBef>
                <a:spcAft>
                  <a:spcPts val="0"/>
                </a:spcAft>
                <a:buClrTx/>
                <a:buSzTx/>
                <a:buFontTx/>
                <a:buNone/>
                <a:tabLst>
                  <a:tab pos="974238" algn="l"/>
                  <a:tab pos="1819953" algn="l"/>
                </a:tabLst>
                <a:defRPr/>
              </a:pP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Steam Methane Reformation</a:t>
              </a:r>
              <a:br>
                <a:rPr kumimoji="0" lang="en-US" sz="792" b="1" i="0" u="none" strike="noStrike" kern="0" cap="none" spc="0" normalizeH="0" baseline="0" noProof="0" dirty="0">
                  <a:ln>
                    <a:noFill/>
                  </a:ln>
                  <a:solidFill>
                    <a:srgbClr val="2E2E38"/>
                  </a:solidFill>
                  <a:effectLst/>
                  <a:uLnTx/>
                  <a:uFillTx/>
                  <a:latin typeface="EYInterstate-LightBold"/>
                  <a:ea typeface="+mn-ea"/>
                  <a:cs typeface="+mn-cs"/>
                </a:rPr>
              </a:b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SMR) Process </a:t>
              </a:r>
            </a:p>
          </p:txBody>
        </p:sp>
      </p:grpSp>
      <p:sp>
        <p:nvSpPr>
          <p:cNvPr id="424" name="Title 1">
            <a:extLst>
              <a:ext uri="{FF2B5EF4-FFF2-40B4-BE49-F238E27FC236}">
                <a16:creationId xmlns:a16="http://schemas.microsoft.com/office/drawing/2014/main" id="{F3E23A3F-049F-499F-B15A-A81BEED969BF}"/>
              </a:ext>
            </a:extLst>
          </p:cNvPr>
          <p:cNvSpPr txBox="1">
            <a:spLocks/>
          </p:cNvSpPr>
          <p:nvPr/>
        </p:nvSpPr>
        <p:spPr>
          <a:xfrm>
            <a:off x="631462" y="483244"/>
            <a:ext cx="6489856" cy="590550"/>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399" b="1" i="0" u="none" strike="noStrike" kern="1200" cap="none" spc="0" normalizeH="0" baseline="0" noProof="0" dirty="0">
                <a:ln>
                  <a:noFill/>
                </a:ln>
                <a:solidFill>
                  <a:srgbClr val="FFE600"/>
                </a:solidFill>
                <a:effectLst/>
                <a:uLnTx/>
                <a:uFillTx/>
                <a:latin typeface="EYInterstate Light" panose="02000506000000020004" pitchFamily="2" charset="0"/>
                <a:ea typeface="+mj-ea"/>
                <a:cs typeface="Arial" pitchFamily="34" charset="0"/>
              </a:rPr>
              <a:t>The hydrogen ecosystem and its value chain</a:t>
            </a:r>
          </a:p>
        </p:txBody>
      </p:sp>
      <p:grpSp>
        <p:nvGrpSpPr>
          <p:cNvPr id="13" name="Group 12">
            <a:extLst>
              <a:ext uri="{FF2B5EF4-FFF2-40B4-BE49-F238E27FC236}">
                <a16:creationId xmlns:a16="http://schemas.microsoft.com/office/drawing/2014/main" id="{BCA01B05-FA36-42A8-AAF8-C24C50BA3655}"/>
              </a:ext>
            </a:extLst>
          </p:cNvPr>
          <p:cNvGrpSpPr/>
          <p:nvPr/>
        </p:nvGrpSpPr>
        <p:grpSpPr>
          <a:xfrm>
            <a:off x="1943047" y="2961109"/>
            <a:ext cx="3949019" cy="1701549"/>
            <a:chOff x="1919258" y="2914427"/>
            <a:chExt cx="3949019" cy="1701549"/>
          </a:xfrm>
        </p:grpSpPr>
        <p:grpSp>
          <p:nvGrpSpPr>
            <p:cNvPr id="10" name="Group 9">
              <a:extLst>
                <a:ext uri="{FF2B5EF4-FFF2-40B4-BE49-F238E27FC236}">
                  <a16:creationId xmlns:a16="http://schemas.microsoft.com/office/drawing/2014/main" id="{766F708A-7E31-473F-A02C-B8409A6A1A0C}"/>
                </a:ext>
              </a:extLst>
            </p:cNvPr>
            <p:cNvGrpSpPr/>
            <p:nvPr/>
          </p:nvGrpSpPr>
          <p:grpSpPr>
            <a:xfrm>
              <a:off x="1919258" y="2914427"/>
              <a:ext cx="3949019" cy="1559536"/>
              <a:chOff x="1919258" y="2914427"/>
              <a:chExt cx="3949019" cy="1559536"/>
            </a:xfrm>
          </p:grpSpPr>
          <p:grpSp>
            <p:nvGrpSpPr>
              <p:cNvPr id="1139" name="Blue Hydrogen">
                <a:extLst>
                  <a:ext uri="{FF2B5EF4-FFF2-40B4-BE49-F238E27FC236}">
                    <a16:creationId xmlns:a16="http://schemas.microsoft.com/office/drawing/2014/main" id="{D86B1F9D-FBBC-4AC5-B9BC-0063C660888A}"/>
                  </a:ext>
                </a:extLst>
              </p:cNvPr>
              <p:cNvGrpSpPr/>
              <p:nvPr/>
            </p:nvGrpSpPr>
            <p:grpSpPr>
              <a:xfrm>
                <a:off x="1919258" y="2914427"/>
                <a:ext cx="3949019" cy="1559536"/>
                <a:chOff x="1920258" y="2914157"/>
                <a:chExt cx="3376251" cy="1560347"/>
              </a:xfrm>
            </p:grpSpPr>
            <p:sp>
              <p:nvSpPr>
                <p:cNvPr id="1196" name="Rectangle 1195">
                  <a:extLst>
                    <a:ext uri="{FF2B5EF4-FFF2-40B4-BE49-F238E27FC236}">
                      <a16:creationId xmlns:a16="http://schemas.microsoft.com/office/drawing/2014/main" id="{73647339-DA26-45D3-B5BF-D59FABAE7E81}"/>
                    </a:ext>
                  </a:extLst>
                </p:cNvPr>
                <p:cNvSpPr/>
                <p:nvPr/>
              </p:nvSpPr>
              <p:spPr>
                <a:xfrm>
                  <a:off x="1920258" y="2914834"/>
                  <a:ext cx="3376251" cy="1559670"/>
                </a:xfrm>
                <a:prstGeom prst="rect">
                  <a:avLst/>
                </a:prstGeom>
                <a:solidFill>
                  <a:srgbClr val="2E2E38"/>
                </a:solidFill>
                <a:ln w="12700">
                  <a:solidFill>
                    <a:srgbClr val="188CE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140" name="Rectangle 1139">
                  <a:extLst>
                    <a:ext uri="{FF2B5EF4-FFF2-40B4-BE49-F238E27FC236}">
                      <a16:creationId xmlns:a16="http://schemas.microsoft.com/office/drawing/2014/main" id="{70E7D1D5-9833-4E00-9AD9-C69123929177}"/>
                    </a:ext>
                  </a:extLst>
                </p:cNvPr>
                <p:cNvSpPr/>
                <p:nvPr/>
              </p:nvSpPr>
              <p:spPr>
                <a:xfrm>
                  <a:off x="3640434" y="3182243"/>
                  <a:ext cx="758367" cy="840809"/>
                </a:xfrm>
                <a:prstGeom prst="rect">
                  <a:avLst/>
                </a:prstGeom>
                <a:solidFill>
                  <a:srgbClr val="C4C4CD"/>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141" name="Rectangle 1140">
                  <a:extLst>
                    <a:ext uri="{FF2B5EF4-FFF2-40B4-BE49-F238E27FC236}">
                      <a16:creationId xmlns:a16="http://schemas.microsoft.com/office/drawing/2014/main" id="{0A8F22AD-F372-414F-B05A-A305650E2C3D}"/>
                    </a:ext>
                  </a:extLst>
                </p:cNvPr>
                <p:cNvSpPr/>
                <p:nvPr/>
              </p:nvSpPr>
              <p:spPr>
                <a:xfrm>
                  <a:off x="2815205" y="3182243"/>
                  <a:ext cx="758367" cy="840809"/>
                </a:xfrm>
                <a:prstGeom prst="rect">
                  <a:avLst/>
                </a:prstGeom>
                <a:solidFill>
                  <a:srgbClr val="C4C4CD"/>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142" name="Rectangle 1141">
                  <a:extLst>
                    <a:ext uri="{FF2B5EF4-FFF2-40B4-BE49-F238E27FC236}">
                      <a16:creationId xmlns:a16="http://schemas.microsoft.com/office/drawing/2014/main" id="{7CCC033E-A14D-43D1-9E68-4EFFC39A1BE2}"/>
                    </a:ext>
                  </a:extLst>
                </p:cNvPr>
                <p:cNvSpPr/>
                <p:nvPr/>
              </p:nvSpPr>
              <p:spPr>
                <a:xfrm>
                  <a:off x="1993421" y="3182243"/>
                  <a:ext cx="758367" cy="840809"/>
                </a:xfrm>
                <a:prstGeom prst="rect">
                  <a:avLst/>
                </a:prstGeom>
                <a:solidFill>
                  <a:srgbClr val="C4C4CD"/>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143" name="Rectangle 1142">
                  <a:extLst>
                    <a:ext uri="{FF2B5EF4-FFF2-40B4-BE49-F238E27FC236}">
                      <a16:creationId xmlns:a16="http://schemas.microsoft.com/office/drawing/2014/main" id="{D394591F-8583-42D0-B01B-EA26C669D3BE}"/>
                    </a:ext>
                  </a:extLst>
                </p:cNvPr>
                <p:cNvSpPr/>
                <p:nvPr/>
              </p:nvSpPr>
              <p:spPr>
                <a:xfrm>
                  <a:off x="4465822" y="3182243"/>
                  <a:ext cx="758367" cy="840809"/>
                </a:xfrm>
                <a:prstGeom prst="rect">
                  <a:avLst/>
                </a:prstGeom>
                <a:solidFill>
                  <a:srgbClr val="C4C4CD"/>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144" name="Freeform 731">
                  <a:extLst>
                    <a:ext uri="{FF2B5EF4-FFF2-40B4-BE49-F238E27FC236}">
                      <a16:creationId xmlns:a16="http://schemas.microsoft.com/office/drawing/2014/main" id="{DE1E331F-C9DC-41FA-B19E-1164FCF6EF30}"/>
                    </a:ext>
                  </a:extLst>
                </p:cNvPr>
                <p:cNvSpPr/>
                <p:nvPr/>
              </p:nvSpPr>
              <p:spPr>
                <a:xfrm>
                  <a:off x="1986391" y="4077887"/>
                  <a:ext cx="3247477" cy="332059"/>
                </a:xfrm>
                <a:custGeom>
                  <a:avLst/>
                  <a:gdLst/>
                  <a:ahLst/>
                  <a:cxnLst/>
                  <a:rect l="0" t="0" r="0" b="0"/>
                  <a:pathLst>
                    <a:path w="3249168" h="332232">
                      <a:moveTo>
                        <a:pt x="0" y="332232"/>
                      </a:moveTo>
                      <a:lnTo>
                        <a:pt x="3249168" y="332232"/>
                      </a:lnTo>
                      <a:lnTo>
                        <a:pt x="3249168" y="0"/>
                      </a:lnTo>
                      <a:lnTo>
                        <a:pt x="0" y="0"/>
                      </a:lnTo>
                      <a:lnTo>
                        <a:pt x="0" y="332232"/>
                      </a:lnTo>
                      <a:close/>
                    </a:path>
                  </a:pathLst>
                </a:custGeom>
                <a:solidFill>
                  <a:srgbClr val="188CE5">
                    <a:alpha val="100000"/>
                  </a:srgb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sp>
            <p:sp>
              <p:nvSpPr>
                <p:cNvPr id="1145" name="Freeform 735">
                  <a:extLst>
                    <a:ext uri="{FF2B5EF4-FFF2-40B4-BE49-F238E27FC236}">
                      <a16:creationId xmlns:a16="http://schemas.microsoft.com/office/drawing/2014/main" id="{1535C7B7-8EDB-48E6-B465-962E7B26A4B8}"/>
                    </a:ext>
                  </a:extLst>
                </p:cNvPr>
                <p:cNvSpPr/>
                <p:nvPr/>
              </p:nvSpPr>
              <p:spPr>
                <a:xfrm>
                  <a:off x="2233150" y="3486882"/>
                  <a:ext cx="289409" cy="109672"/>
                </a:xfrm>
                <a:custGeom>
                  <a:avLst/>
                  <a:gdLst/>
                  <a:ahLst/>
                  <a:cxnLst/>
                  <a:rect l="0" t="0" r="0" b="0"/>
                  <a:pathLst>
                    <a:path w="289560" h="109729">
                      <a:moveTo>
                        <a:pt x="286132" y="109729"/>
                      </a:moveTo>
                      <a:lnTo>
                        <a:pt x="3429" y="109729"/>
                      </a:lnTo>
                      <a:lnTo>
                        <a:pt x="2541" y="109729"/>
                      </a:lnTo>
                      <a:lnTo>
                        <a:pt x="890" y="108840"/>
                      </a:lnTo>
                      <a:lnTo>
                        <a:pt x="0" y="107950"/>
                      </a:lnTo>
                      <a:lnTo>
                        <a:pt x="0" y="106299"/>
                      </a:lnTo>
                      <a:lnTo>
                        <a:pt x="0" y="4318"/>
                      </a:lnTo>
                      <a:lnTo>
                        <a:pt x="0" y="2541"/>
                      </a:lnTo>
                      <a:lnTo>
                        <a:pt x="890" y="890"/>
                      </a:lnTo>
                      <a:lnTo>
                        <a:pt x="2541" y="0"/>
                      </a:lnTo>
                      <a:lnTo>
                        <a:pt x="3429" y="0"/>
                      </a:lnTo>
                      <a:lnTo>
                        <a:pt x="286132" y="0"/>
                      </a:lnTo>
                      <a:lnTo>
                        <a:pt x="287782" y="0"/>
                      </a:lnTo>
                      <a:lnTo>
                        <a:pt x="288672" y="890"/>
                      </a:lnTo>
                      <a:lnTo>
                        <a:pt x="289560" y="2541"/>
                      </a:lnTo>
                      <a:lnTo>
                        <a:pt x="289560" y="4318"/>
                      </a:lnTo>
                      <a:lnTo>
                        <a:pt x="289560" y="106299"/>
                      </a:lnTo>
                      <a:lnTo>
                        <a:pt x="289560" y="107950"/>
                      </a:lnTo>
                      <a:lnTo>
                        <a:pt x="288672" y="108840"/>
                      </a:lnTo>
                      <a:lnTo>
                        <a:pt x="287782" y="109729"/>
                      </a:lnTo>
                      <a:lnTo>
                        <a:pt x="286132" y="109729"/>
                      </a:lnTo>
                      <a:close/>
                      <a:moveTo>
                        <a:pt x="1030224" y="3371088"/>
                      </a:moveTo>
                      <a:moveTo>
                        <a:pt x="7747" y="101981"/>
                      </a:moveTo>
                      <a:lnTo>
                        <a:pt x="281813" y="101981"/>
                      </a:lnTo>
                      <a:lnTo>
                        <a:pt x="281813" y="7748"/>
                      </a:lnTo>
                      <a:lnTo>
                        <a:pt x="7747" y="7748"/>
                      </a:lnTo>
                      <a:lnTo>
                        <a:pt x="7747" y="101981"/>
                      </a:lnTo>
                      <a:close/>
                      <a:moveTo>
                        <a:pt x="1037972" y="3371088"/>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46" name="Freeform 736">
                  <a:extLst>
                    <a:ext uri="{FF2B5EF4-FFF2-40B4-BE49-F238E27FC236}">
                      <a16:creationId xmlns:a16="http://schemas.microsoft.com/office/drawing/2014/main" id="{D518132D-6CBD-43FD-8399-DE55A401B330}"/>
                    </a:ext>
                  </a:extLst>
                </p:cNvPr>
                <p:cNvSpPr/>
                <p:nvPr/>
              </p:nvSpPr>
              <p:spPr>
                <a:xfrm>
                  <a:off x="2233150" y="3569136"/>
                  <a:ext cx="231527" cy="27418"/>
                </a:xfrm>
                <a:custGeom>
                  <a:avLst/>
                  <a:gdLst/>
                  <a:ahLst/>
                  <a:cxnLst/>
                  <a:rect l="0" t="0" r="0" b="0"/>
                  <a:pathLst>
                    <a:path w="231648" h="27432">
                      <a:moveTo>
                        <a:pt x="227331" y="27432"/>
                      </a:moveTo>
                      <a:lnTo>
                        <a:pt x="3429" y="27432"/>
                      </a:lnTo>
                      <a:lnTo>
                        <a:pt x="2541" y="27432"/>
                      </a:lnTo>
                      <a:lnTo>
                        <a:pt x="890" y="26543"/>
                      </a:lnTo>
                      <a:lnTo>
                        <a:pt x="0" y="25781"/>
                      </a:lnTo>
                      <a:lnTo>
                        <a:pt x="0" y="24130"/>
                      </a:lnTo>
                      <a:lnTo>
                        <a:pt x="0" y="4190"/>
                      </a:lnTo>
                      <a:lnTo>
                        <a:pt x="0" y="2539"/>
                      </a:lnTo>
                      <a:lnTo>
                        <a:pt x="890" y="1651"/>
                      </a:lnTo>
                      <a:lnTo>
                        <a:pt x="2541" y="888"/>
                      </a:lnTo>
                      <a:lnTo>
                        <a:pt x="3429" y="0"/>
                      </a:lnTo>
                      <a:lnTo>
                        <a:pt x="227331" y="0"/>
                      </a:lnTo>
                      <a:lnTo>
                        <a:pt x="229109" y="888"/>
                      </a:lnTo>
                      <a:lnTo>
                        <a:pt x="229870" y="1651"/>
                      </a:lnTo>
                      <a:lnTo>
                        <a:pt x="230760" y="2539"/>
                      </a:lnTo>
                      <a:lnTo>
                        <a:pt x="231648" y="4190"/>
                      </a:lnTo>
                      <a:lnTo>
                        <a:pt x="231648" y="24130"/>
                      </a:lnTo>
                      <a:lnTo>
                        <a:pt x="230760" y="25781"/>
                      </a:lnTo>
                      <a:lnTo>
                        <a:pt x="229870" y="26543"/>
                      </a:lnTo>
                      <a:lnTo>
                        <a:pt x="229109" y="27432"/>
                      </a:lnTo>
                      <a:lnTo>
                        <a:pt x="227331" y="27432"/>
                      </a:lnTo>
                      <a:close/>
                      <a:moveTo>
                        <a:pt x="1030224" y="3288791"/>
                      </a:moveTo>
                      <a:moveTo>
                        <a:pt x="7747" y="19938"/>
                      </a:moveTo>
                      <a:lnTo>
                        <a:pt x="223901" y="19938"/>
                      </a:lnTo>
                      <a:lnTo>
                        <a:pt x="223901" y="7493"/>
                      </a:lnTo>
                      <a:lnTo>
                        <a:pt x="7747" y="7493"/>
                      </a:lnTo>
                      <a:lnTo>
                        <a:pt x="7747" y="19938"/>
                      </a:lnTo>
                      <a:close/>
                      <a:moveTo>
                        <a:pt x="1037718" y="3288791"/>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47" name="Freeform 737">
                  <a:extLst>
                    <a:ext uri="{FF2B5EF4-FFF2-40B4-BE49-F238E27FC236}">
                      <a16:creationId xmlns:a16="http://schemas.microsoft.com/office/drawing/2014/main" id="{401DF8F0-367E-4366-8B88-B4F9C1B0F26E}"/>
                    </a:ext>
                  </a:extLst>
                </p:cNvPr>
                <p:cNvSpPr/>
                <p:nvPr/>
              </p:nvSpPr>
              <p:spPr>
                <a:xfrm>
                  <a:off x="2208778" y="3587416"/>
                  <a:ext cx="335106" cy="27417"/>
                </a:xfrm>
                <a:custGeom>
                  <a:avLst/>
                  <a:gdLst/>
                  <a:ahLst/>
                  <a:cxnLst/>
                  <a:rect l="0" t="0" r="0" b="0"/>
                  <a:pathLst>
                    <a:path w="335281" h="27431">
                      <a:moveTo>
                        <a:pt x="0" y="22859"/>
                      </a:moveTo>
                      <a:lnTo>
                        <a:pt x="0" y="4571"/>
                      </a:lnTo>
                      <a:lnTo>
                        <a:pt x="0" y="2794"/>
                      </a:lnTo>
                      <a:lnTo>
                        <a:pt x="890" y="1777"/>
                      </a:lnTo>
                      <a:lnTo>
                        <a:pt x="2541" y="888"/>
                      </a:lnTo>
                      <a:lnTo>
                        <a:pt x="3429" y="0"/>
                      </a:lnTo>
                      <a:lnTo>
                        <a:pt x="331851" y="0"/>
                      </a:lnTo>
                      <a:lnTo>
                        <a:pt x="333503" y="888"/>
                      </a:lnTo>
                      <a:lnTo>
                        <a:pt x="334391" y="1777"/>
                      </a:lnTo>
                      <a:lnTo>
                        <a:pt x="335281" y="2794"/>
                      </a:lnTo>
                      <a:lnTo>
                        <a:pt x="335281" y="4571"/>
                      </a:lnTo>
                      <a:lnTo>
                        <a:pt x="335281" y="22859"/>
                      </a:lnTo>
                      <a:lnTo>
                        <a:pt x="335281" y="24637"/>
                      </a:lnTo>
                      <a:lnTo>
                        <a:pt x="334391" y="25653"/>
                      </a:lnTo>
                      <a:lnTo>
                        <a:pt x="333503" y="26543"/>
                      </a:lnTo>
                      <a:lnTo>
                        <a:pt x="331851" y="27431"/>
                      </a:lnTo>
                      <a:lnTo>
                        <a:pt x="330074" y="26543"/>
                      </a:lnTo>
                      <a:lnTo>
                        <a:pt x="329184" y="25653"/>
                      </a:lnTo>
                      <a:lnTo>
                        <a:pt x="328296" y="24637"/>
                      </a:lnTo>
                      <a:lnTo>
                        <a:pt x="327534" y="22859"/>
                      </a:lnTo>
                      <a:lnTo>
                        <a:pt x="327534" y="8255"/>
                      </a:lnTo>
                      <a:lnTo>
                        <a:pt x="7747" y="8255"/>
                      </a:lnTo>
                      <a:lnTo>
                        <a:pt x="7747" y="22859"/>
                      </a:lnTo>
                      <a:lnTo>
                        <a:pt x="7747" y="24637"/>
                      </a:lnTo>
                      <a:lnTo>
                        <a:pt x="6985" y="25653"/>
                      </a:lnTo>
                      <a:lnTo>
                        <a:pt x="5207" y="26543"/>
                      </a:lnTo>
                      <a:lnTo>
                        <a:pt x="3429" y="27431"/>
                      </a:lnTo>
                      <a:lnTo>
                        <a:pt x="0" y="22859"/>
                      </a:lnTo>
                      <a:close/>
                      <a:moveTo>
                        <a:pt x="1040893" y="3270503"/>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48" name="Freeform 738">
                  <a:extLst>
                    <a:ext uri="{FF2B5EF4-FFF2-40B4-BE49-F238E27FC236}">
                      <a16:creationId xmlns:a16="http://schemas.microsoft.com/office/drawing/2014/main" id="{60DD9533-6397-422B-B682-FDA160465A72}"/>
                    </a:ext>
                  </a:extLst>
                </p:cNvPr>
                <p:cNvSpPr/>
                <p:nvPr/>
              </p:nvSpPr>
              <p:spPr>
                <a:xfrm>
                  <a:off x="2208778" y="3587416"/>
                  <a:ext cx="335106" cy="27417"/>
                </a:xfrm>
                <a:custGeom>
                  <a:avLst/>
                  <a:gdLst/>
                  <a:ahLst/>
                  <a:cxnLst/>
                  <a:rect l="0" t="0" r="0" b="0"/>
                  <a:pathLst>
                    <a:path w="335281" h="27431">
                      <a:moveTo>
                        <a:pt x="0" y="22859"/>
                      </a:moveTo>
                      <a:lnTo>
                        <a:pt x="0" y="4571"/>
                      </a:lnTo>
                      <a:lnTo>
                        <a:pt x="0" y="2794"/>
                      </a:lnTo>
                      <a:lnTo>
                        <a:pt x="890" y="1777"/>
                      </a:lnTo>
                      <a:lnTo>
                        <a:pt x="2541" y="888"/>
                      </a:lnTo>
                      <a:lnTo>
                        <a:pt x="3429" y="0"/>
                      </a:lnTo>
                      <a:lnTo>
                        <a:pt x="331851" y="0"/>
                      </a:lnTo>
                      <a:lnTo>
                        <a:pt x="333503" y="888"/>
                      </a:lnTo>
                      <a:lnTo>
                        <a:pt x="334391" y="1777"/>
                      </a:lnTo>
                      <a:lnTo>
                        <a:pt x="335281" y="2794"/>
                      </a:lnTo>
                      <a:lnTo>
                        <a:pt x="335281" y="4571"/>
                      </a:lnTo>
                      <a:lnTo>
                        <a:pt x="335281" y="22859"/>
                      </a:lnTo>
                      <a:lnTo>
                        <a:pt x="335281" y="24637"/>
                      </a:lnTo>
                      <a:lnTo>
                        <a:pt x="334391" y="25653"/>
                      </a:lnTo>
                      <a:lnTo>
                        <a:pt x="333503" y="26543"/>
                      </a:lnTo>
                      <a:lnTo>
                        <a:pt x="331851" y="27431"/>
                      </a:lnTo>
                      <a:lnTo>
                        <a:pt x="330074" y="26543"/>
                      </a:lnTo>
                      <a:lnTo>
                        <a:pt x="329184" y="25653"/>
                      </a:lnTo>
                      <a:lnTo>
                        <a:pt x="328296" y="24637"/>
                      </a:lnTo>
                      <a:lnTo>
                        <a:pt x="327534" y="22859"/>
                      </a:lnTo>
                      <a:lnTo>
                        <a:pt x="327534" y="8255"/>
                      </a:lnTo>
                      <a:lnTo>
                        <a:pt x="7747" y="8255"/>
                      </a:lnTo>
                      <a:lnTo>
                        <a:pt x="7747" y="22859"/>
                      </a:lnTo>
                      <a:lnTo>
                        <a:pt x="7747" y="24637"/>
                      </a:lnTo>
                      <a:lnTo>
                        <a:pt x="6985" y="25653"/>
                      </a:lnTo>
                      <a:lnTo>
                        <a:pt x="5207" y="26543"/>
                      </a:lnTo>
                      <a:lnTo>
                        <a:pt x="3429" y="27431"/>
                      </a:ln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49" name="Freeform 739">
                  <a:extLst>
                    <a:ext uri="{FF2B5EF4-FFF2-40B4-BE49-F238E27FC236}">
                      <a16:creationId xmlns:a16="http://schemas.microsoft.com/office/drawing/2014/main" id="{1FA01A8C-319F-4B6E-925F-B781203E6492}"/>
                    </a:ext>
                  </a:extLst>
                </p:cNvPr>
                <p:cNvSpPr/>
                <p:nvPr/>
              </p:nvSpPr>
              <p:spPr>
                <a:xfrm>
                  <a:off x="2248383" y="3508208"/>
                  <a:ext cx="60927" cy="67021"/>
                </a:xfrm>
                <a:custGeom>
                  <a:avLst/>
                  <a:gdLst/>
                  <a:ahLst/>
                  <a:cxnLst/>
                  <a:rect l="0" t="0" r="0" b="0"/>
                  <a:pathLst>
                    <a:path w="60959" h="67056">
                      <a:moveTo>
                        <a:pt x="57531" y="67056"/>
                      </a:moveTo>
                      <a:lnTo>
                        <a:pt x="3428" y="67056"/>
                      </a:lnTo>
                      <a:lnTo>
                        <a:pt x="2540" y="67056"/>
                      </a:lnTo>
                      <a:lnTo>
                        <a:pt x="888" y="66168"/>
                      </a:lnTo>
                      <a:lnTo>
                        <a:pt x="0" y="65279"/>
                      </a:lnTo>
                      <a:lnTo>
                        <a:pt x="0" y="63627"/>
                      </a:lnTo>
                      <a:lnTo>
                        <a:pt x="0" y="3430"/>
                      </a:lnTo>
                      <a:lnTo>
                        <a:pt x="0" y="1779"/>
                      </a:lnTo>
                      <a:lnTo>
                        <a:pt x="888" y="889"/>
                      </a:lnTo>
                      <a:lnTo>
                        <a:pt x="2540" y="0"/>
                      </a:lnTo>
                      <a:lnTo>
                        <a:pt x="3428" y="0"/>
                      </a:lnTo>
                      <a:lnTo>
                        <a:pt x="57531" y="0"/>
                      </a:lnTo>
                      <a:lnTo>
                        <a:pt x="58419" y="0"/>
                      </a:lnTo>
                      <a:lnTo>
                        <a:pt x="60071" y="889"/>
                      </a:lnTo>
                      <a:lnTo>
                        <a:pt x="60959" y="1779"/>
                      </a:lnTo>
                      <a:lnTo>
                        <a:pt x="60959" y="3430"/>
                      </a:lnTo>
                      <a:lnTo>
                        <a:pt x="60959" y="63627"/>
                      </a:lnTo>
                      <a:lnTo>
                        <a:pt x="60959" y="65279"/>
                      </a:lnTo>
                      <a:lnTo>
                        <a:pt x="60071" y="66168"/>
                      </a:lnTo>
                      <a:lnTo>
                        <a:pt x="58419" y="67056"/>
                      </a:lnTo>
                      <a:lnTo>
                        <a:pt x="57531" y="67056"/>
                      </a:lnTo>
                      <a:close/>
                      <a:moveTo>
                        <a:pt x="1036320" y="3349752"/>
                      </a:moveTo>
                      <a:moveTo>
                        <a:pt x="7747" y="59182"/>
                      </a:moveTo>
                      <a:lnTo>
                        <a:pt x="53213" y="59182"/>
                      </a:lnTo>
                      <a:lnTo>
                        <a:pt x="53213" y="7874"/>
                      </a:lnTo>
                      <a:lnTo>
                        <a:pt x="7747" y="7874"/>
                      </a:lnTo>
                      <a:lnTo>
                        <a:pt x="7747" y="59182"/>
                      </a:lnTo>
                      <a:close/>
                      <a:moveTo>
                        <a:pt x="1044194" y="3349752"/>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50" name="Freeform 740">
                  <a:extLst>
                    <a:ext uri="{FF2B5EF4-FFF2-40B4-BE49-F238E27FC236}">
                      <a16:creationId xmlns:a16="http://schemas.microsoft.com/office/drawing/2014/main" id="{FDB4ED33-7275-44E4-A577-2475D93BDD16}"/>
                    </a:ext>
                  </a:extLst>
                </p:cNvPr>
                <p:cNvSpPr/>
                <p:nvPr/>
              </p:nvSpPr>
              <p:spPr>
                <a:xfrm>
                  <a:off x="2315403" y="3508208"/>
                  <a:ext cx="63974" cy="67021"/>
                </a:xfrm>
                <a:custGeom>
                  <a:avLst/>
                  <a:gdLst/>
                  <a:ahLst/>
                  <a:cxnLst/>
                  <a:rect l="0" t="0" r="0" b="0"/>
                  <a:pathLst>
                    <a:path w="64007" h="67056">
                      <a:moveTo>
                        <a:pt x="59563" y="67056"/>
                      </a:moveTo>
                      <a:lnTo>
                        <a:pt x="4444" y="67056"/>
                      </a:lnTo>
                      <a:lnTo>
                        <a:pt x="2666" y="67056"/>
                      </a:lnTo>
                      <a:lnTo>
                        <a:pt x="1778" y="66168"/>
                      </a:lnTo>
                      <a:lnTo>
                        <a:pt x="888" y="65279"/>
                      </a:lnTo>
                      <a:lnTo>
                        <a:pt x="0" y="63627"/>
                      </a:lnTo>
                      <a:lnTo>
                        <a:pt x="0" y="3430"/>
                      </a:lnTo>
                      <a:lnTo>
                        <a:pt x="888" y="1779"/>
                      </a:lnTo>
                      <a:lnTo>
                        <a:pt x="1778" y="889"/>
                      </a:lnTo>
                      <a:lnTo>
                        <a:pt x="2666" y="0"/>
                      </a:lnTo>
                      <a:lnTo>
                        <a:pt x="4444" y="0"/>
                      </a:lnTo>
                      <a:lnTo>
                        <a:pt x="59563" y="0"/>
                      </a:lnTo>
                      <a:lnTo>
                        <a:pt x="61341" y="0"/>
                      </a:lnTo>
                      <a:lnTo>
                        <a:pt x="62229" y="889"/>
                      </a:lnTo>
                      <a:lnTo>
                        <a:pt x="63119" y="1779"/>
                      </a:lnTo>
                      <a:lnTo>
                        <a:pt x="64007" y="3430"/>
                      </a:lnTo>
                      <a:lnTo>
                        <a:pt x="64007" y="63627"/>
                      </a:lnTo>
                      <a:lnTo>
                        <a:pt x="63119" y="65279"/>
                      </a:lnTo>
                      <a:lnTo>
                        <a:pt x="62229" y="66168"/>
                      </a:lnTo>
                      <a:lnTo>
                        <a:pt x="61341" y="67056"/>
                      </a:lnTo>
                      <a:lnTo>
                        <a:pt x="59563" y="67056"/>
                      </a:lnTo>
                      <a:close/>
                      <a:moveTo>
                        <a:pt x="969264" y="3349752"/>
                      </a:moveTo>
                      <a:moveTo>
                        <a:pt x="8000" y="59182"/>
                      </a:moveTo>
                      <a:lnTo>
                        <a:pt x="56007" y="59182"/>
                      </a:lnTo>
                      <a:lnTo>
                        <a:pt x="56007" y="7874"/>
                      </a:lnTo>
                      <a:lnTo>
                        <a:pt x="8000" y="7874"/>
                      </a:lnTo>
                      <a:lnTo>
                        <a:pt x="8000" y="59182"/>
                      </a:lnTo>
                      <a:close/>
                      <a:moveTo>
                        <a:pt x="977138" y="3349752"/>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51" name="Freeform 741">
                  <a:extLst>
                    <a:ext uri="{FF2B5EF4-FFF2-40B4-BE49-F238E27FC236}">
                      <a16:creationId xmlns:a16="http://schemas.microsoft.com/office/drawing/2014/main" id="{3BCA17BF-1C5E-4AFF-BD73-E13242159468}"/>
                    </a:ext>
                  </a:extLst>
                </p:cNvPr>
                <p:cNvSpPr/>
                <p:nvPr/>
              </p:nvSpPr>
              <p:spPr>
                <a:xfrm>
                  <a:off x="2385469" y="3508208"/>
                  <a:ext cx="60928" cy="67021"/>
                </a:xfrm>
                <a:custGeom>
                  <a:avLst/>
                  <a:gdLst/>
                  <a:ahLst/>
                  <a:cxnLst/>
                  <a:rect l="0" t="0" r="0" b="0"/>
                  <a:pathLst>
                    <a:path w="60960" h="67056">
                      <a:moveTo>
                        <a:pt x="57532" y="67056"/>
                      </a:moveTo>
                      <a:lnTo>
                        <a:pt x="3429" y="67056"/>
                      </a:lnTo>
                      <a:lnTo>
                        <a:pt x="1779" y="67056"/>
                      </a:lnTo>
                      <a:lnTo>
                        <a:pt x="890" y="66168"/>
                      </a:lnTo>
                      <a:lnTo>
                        <a:pt x="0" y="65279"/>
                      </a:lnTo>
                      <a:lnTo>
                        <a:pt x="0" y="63627"/>
                      </a:lnTo>
                      <a:lnTo>
                        <a:pt x="0" y="3430"/>
                      </a:lnTo>
                      <a:lnTo>
                        <a:pt x="0" y="1779"/>
                      </a:lnTo>
                      <a:lnTo>
                        <a:pt x="890" y="889"/>
                      </a:lnTo>
                      <a:lnTo>
                        <a:pt x="1779" y="0"/>
                      </a:lnTo>
                      <a:lnTo>
                        <a:pt x="3429" y="0"/>
                      </a:lnTo>
                      <a:lnTo>
                        <a:pt x="57532" y="0"/>
                      </a:lnTo>
                      <a:lnTo>
                        <a:pt x="58420" y="0"/>
                      </a:lnTo>
                      <a:lnTo>
                        <a:pt x="60072" y="889"/>
                      </a:lnTo>
                      <a:lnTo>
                        <a:pt x="60960" y="1779"/>
                      </a:lnTo>
                      <a:lnTo>
                        <a:pt x="60960" y="3430"/>
                      </a:lnTo>
                      <a:lnTo>
                        <a:pt x="60960" y="63627"/>
                      </a:lnTo>
                      <a:lnTo>
                        <a:pt x="60960" y="65279"/>
                      </a:lnTo>
                      <a:lnTo>
                        <a:pt x="60072" y="66168"/>
                      </a:lnTo>
                      <a:lnTo>
                        <a:pt x="58420" y="67056"/>
                      </a:lnTo>
                      <a:lnTo>
                        <a:pt x="57532" y="67056"/>
                      </a:lnTo>
                      <a:close/>
                      <a:moveTo>
                        <a:pt x="899161" y="3349752"/>
                      </a:moveTo>
                      <a:moveTo>
                        <a:pt x="7747" y="59182"/>
                      </a:moveTo>
                      <a:lnTo>
                        <a:pt x="53213" y="59182"/>
                      </a:lnTo>
                      <a:lnTo>
                        <a:pt x="53213" y="7874"/>
                      </a:lnTo>
                      <a:lnTo>
                        <a:pt x="7747" y="7874"/>
                      </a:lnTo>
                      <a:lnTo>
                        <a:pt x="7747" y="59182"/>
                      </a:lnTo>
                      <a:close/>
                      <a:moveTo>
                        <a:pt x="907035" y="3349752"/>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52" name="Freeform 742">
                  <a:extLst>
                    <a:ext uri="{FF2B5EF4-FFF2-40B4-BE49-F238E27FC236}">
                      <a16:creationId xmlns:a16="http://schemas.microsoft.com/office/drawing/2014/main" id="{8B9D0B39-38BB-4C95-A692-2000B1E1F9AE}"/>
                    </a:ext>
                  </a:extLst>
                </p:cNvPr>
                <p:cNvSpPr/>
                <p:nvPr/>
              </p:nvSpPr>
              <p:spPr>
                <a:xfrm>
                  <a:off x="2272754" y="3523440"/>
                  <a:ext cx="9139" cy="51788"/>
                </a:xfrm>
                <a:custGeom>
                  <a:avLst/>
                  <a:gdLst/>
                  <a:ahLst/>
                  <a:cxnLst/>
                  <a:rect l="0" t="0" r="0" b="0"/>
                  <a:pathLst>
                    <a:path w="9144" h="51815">
                      <a:moveTo>
                        <a:pt x="5079" y="51815"/>
                      </a:moveTo>
                      <a:lnTo>
                        <a:pt x="5079" y="51815"/>
                      </a:lnTo>
                      <a:lnTo>
                        <a:pt x="3047" y="51815"/>
                      </a:lnTo>
                      <a:lnTo>
                        <a:pt x="1016" y="50927"/>
                      </a:lnTo>
                      <a:lnTo>
                        <a:pt x="0" y="50038"/>
                      </a:lnTo>
                      <a:lnTo>
                        <a:pt x="0" y="48259"/>
                      </a:lnTo>
                      <a:lnTo>
                        <a:pt x="0" y="3556"/>
                      </a:lnTo>
                      <a:lnTo>
                        <a:pt x="0" y="1777"/>
                      </a:lnTo>
                      <a:lnTo>
                        <a:pt x="1016" y="889"/>
                      </a:lnTo>
                      <a:lnTo>
                        <a:pt x="3047" y="0"/>
                      </a:lnTo>
                      <a:lnTo>
                        <a:pt x="5079" y="0"/>
                      </a:lnTo>
                      <a:lnTo>
                        <a:pt x="6095" y="0"/>
                      </a:lnTo>
                      <a:lnTo>
                        <a:pt x="8128" y="889"/>
                      </a:lnTo>
                      <a:lnTo>
                        <a:pt x="9144" y="1777"/>
                      </a:lnTo>
                      <a:lnTo>
                        <a:pt x="9144" y="3556"/>
                      </a:lnTo>
                      <a:lnTo>
                        <a:pt x="9144" y="48259"/>
                      </a:lnTo>
                      <a:lnTo>
                        <a:pt x="9144" y="50038"/>
                      </a:lnTo>
                      <a:lnTo>
                        <a:pt x="8128" y="50927"/>
                      </a:lnTo>
                      <a:lnTo>
                        <a:pt x="6095" y="51815"/>
                      </a:lnTo>
                      <a:lnTo>
                        <a:pt x="5079" y="51815"/>
                      </a:lnTo>
                      <a:close/>
                      <a:moveTo>
                        <a:pt x="1011936" y="3334511"/>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53" name="Freeform 743">
                  <a:extLst>
                    <a:ext uri="{FF2B5EF4-FFF2-40B4-BE49-F238E27FC236}">
                      <a16:creationId xmlns:a16="http://schemas.microsoft.com/office/drawing/2014/main" id="{DE65150C-E409-492F-8808-B1A621EDB168}"/>
                    </a:ext>
                  </a:extLst>
                </p:cNvPr>
                <p:cNvSpPr/>
                <p:nvPr/>
              </p:nvSpPr>
              <p:spPr>
                <a:xfrm>
                  <a:off x="2251427" y="3523441"/>
                  <a:ext cx="57882" cy="9139"/>
                </a:xfrm>
                <a:custGeom>
                  <a:avLst/>
                  <a:gdLst/>
                  <a:ahLst/>
                  <a:cxnLst/>
                  <a:rect l="0" t="0" r="0" b="0"/>
                  <a:pathLst>
                    <a:path w="57912" h="9144">
                      <a:moveTo>
                        <a:pt x="53468" y="9144"/>
                      </a:moveTo>
                      <a:lnTo>
                        <a:pt x="3556" y="9144"/>
                      </a:lnTo>
                      <a:lnTo>
                        <a:pt x="1778" y="9144"/>
                      </a:lnTo>
                      <a:lnTo>
                        <a:pt x="890" y="8127"/>
                      </a:lnTo>
                      <a:lnTo>
                        <a:pt x="0" y="6096"/>
                      </a:lnTo>
                      <a:lnTo>
                        <a:pt x="0" y="5079"/>
                      </a:lnTo>
                      <a:lnTo>
                        <a:pt x="0" y="3047"/>
                      </a:lnTo>
                      <a:lnTo>
                        <a:pt x="890" y="1015"/>
                      </a:lnTo>
                      <a:lnTo>
                        <a:pt x="1778" y="0"/>
                      </a:lnTo>
                      <a:lnTo>
                        <a:pt x="3556" y="0"/>
                      </a:lnTo>
                      <a:lnTo>
                        <a:pt x="53468" y="0"/>
                      </a:lnTo>
                      <a:lnTo>
                        <a:pt x="55246" y="0"/>
                      </a:lnTo>
                      <a:lnTo>
                        <a:pt x="56134" y="1015"/>
                      </a:lnTo>
                      <a:lnTo>
                        <a:pt x="57024" y="3047"/>
                      </a:lnTo>
                      <a:lnTo>
                        <a:pt x="57912" y="5079"/>
                      </a:lnTo>
                      <a:lnTo>
                        <a:pt x="57024" y="6096"/>
                      </a:lnTo>
                      <a:lnTo>
                        <a:pt x="56134" y="8127"/>
                      </a:lnTo>
                      <a:lnTo>
                        <a:pt x="55246" y="9144"/>
                      </a:lnTo>
                      <a:lnTo>
                        <a:pt x="53468" y="9144"/>
                      </a:lnTo>
                      <a:close/>
                      <a:moveTo>
                        <a:pt x="1075944" y="3334511"/>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54" name="Freeform 744">
                  <a:extLst>
                    <a:ext uri="{FF2B5EF4-FFF2-40B4-BE49-F238E27FC236}">
                      <a16:creationId xmlns:a16="http://schemas.microsoft.com/office/drawing/2014/main" id="{9572B6C3-9948-4FB1-B2DA-AFAA57CE0787}"/>
                    </a:ext>
                  </a:extLst>
                </p:cNvPr>
                <p:cNvSpPr/>
                <p:nvPr/>
              </p:nvSpPr>
              <p:spPr>
                <a:xfrm>
                  <a:off x="2342821" y="3523440"/>
                  <a:ext cx="9138" cy="51788"/>
                </a:xfrm>
                <a:custGeom>
                  <a:avLst/>
                  <a:gdLst/>
                  <a:ahLst/>
                  <a:cxnLst/>
                  <a:rect l="0" t="0" r="0" b="0"/>
                  <a:pathLst>
                    <a:path w="9143" h="51815">
                      <a:moveTo>
                        <a:pt x="4063" y="51815"/>
                      </a:moveTo>
                      <a:lnTo>
                        <a:pt x="4063" y="51815"/>
                      </a:lnTo>
                      <a:lnTo>
                        <a:pt x="2031" y="51815"/>
                      </a:lnTo>
                      <a:lnTo>
                        <a:pt x="1015" y="50927"/>
                      </a:lnTo>
                      <a:lnTo>
                        <a:pt x="0" y="50038"/>
                      </a:lnTo>
                      <a:lnTo>
                        <a:pt x="0" y="48259"/>
                      </a:lnTo>
                      <a:lnTo>
                        <a:pt x="0" y="3556"/>
                      </a:lnTo>
                      <a:lnTo>
                        <a:pt x="0" y="1777"/>
                      </a:lnTo>
                      <a:lnTo>
                        <a:pt x="1015" y="889"/>
                      </a:lnTo>
                      <a:lnTo>
                        <a:pt x="2031" y="0"/>
                      </a:lnTo>
                      <a:lnTo>
                        <a:pt x="4063" y="0"/>
                      </a:lnTo>
                      <a:lnTo>
                        <a:pt x="6096" y="0"/>
                      </a:lnTo>
                      <a:lnTo>
                        <a:pt x="7112" y="889"/>
                      </a:lnTo>
                      <a:lnTo>
                        <a:pt x="8128" y="1777"/>
                      </a:lnTo>
                      <a:lnTo>
                        <a:pt x="9143" y="3556"/>
                      </a:lnTo>
                      <a:lnTo>
                        <a:pt x="9143" y="48259"/>
                      </a:lnTo>
                      <a:lnTo>
                        <a:pt x="8128" y="50038"/>
                      </a:lnTo>
                      <a:lnTo>
                        <a:pt x="7112" y="50927"/>
                      </a:lnTo>
                      <a:lnTo>
                        <a:pt x="6096" y="51815"/>
                      </a:lnTo>
                      <a:lnTo>
                        <a:pt x="4063" y="51815"/>
                      </a:lnTo>
                      <a:close/>
                      <a:moveTo>
                        <a:pt x="941832" y="3334511"/>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55" name="Freeform 745">
                  <a:extLst>
                    <a:ext uri="{FF2B5EF4-FFF2-40B4-BE49-F238E27FC236}">
                      <a16:creationId xmlns:a16="http://schemas.microsoft.com/office/drawing/2014/main" id="{7A16279B-739C-4267-9962-7CBA02DEAE79}"/>
                    </a:ext>
                  </a:extLst>
                </p:cNvPr>
                <p:cNvSpPr/>
                <p:nvPr/>
              </p:nvSpPr>
              <p:spPr>
                <a:xfrm>
                  <a:off x="2321495" y="3523441"/>
                  <a:ext cx="54836" cy="9139"/>
                </a:xfrm>
                <a:custGeom>
                  <a:avLst/>
                  <a:gdLst/>
                  <a:ahLst/>
                  <a:cxnLst/>
                  <a:rect l="0" t="0" r="0" b="0"/>
                  <a:pathLst>
                    <a:path w="54865" h="9144">
                      <a:moveTo>
                        <a:pt x="51562" y="9144"/>
                      </a:moveTo>
                      <a:lnTo>
                        <a:pt x="4192" y="9144"/>
                      </a:lnTo>
                      <a:lnTo>
                        <a:pt x="2540" y="9144"/>
                      </a:lnTo>
                      <a:lnTo>
                        <a:pt x="890" y="8127"/>
                      </a:lnTo>
                      <a:lnTo>
                        <a:pt x="0" y="6096"/>
                      </a:lnTo>
                      <a:lnTo>
                        <a:pt x="0" y="5079"/>
                      </a:lnTo>
                      <a:lnTo>
                        <a:pt x="0" y="3047"/>
                      </a:lnTo>
                      <a:lnTo>
                        <a:pt x="890" y="1015"/>
                      </a:lnTo>
                      <a:lnTo>
                        <a:pt x="2540" y="0"/>
                      </a:lnTo>
                      <a:lnTo>
                        <a:pt x="4192" y="0"/>
                      </a:lnTo>
                      <a:lnTo>
                        <a:pt x="51562" y="0"/>
                      </a:lnTo>
                      <a:lnTo>
                        <a:pt x="52324" y="0"/>
                      </a:lnTo>
                      <a:lnTo>
                        <a:pt x="53975" y="1015"/>
                      </a:lnTo>
                      <a:lnTo>
                        <a:pt x="54865" y="3047"/>
                      </a:lnTo>
                      <a:lnTo>
                        <a:pt x="54865" y="5079"/>
                      </a:lnTo>
                      <a:lnTo>
                        <a:pt x="54865" y="6096"/>
                      </a:lnTo>
                      <a:lnTo>
                        <a:pt x="53975" y="8127"/>
                      </a:lnTo>
                      <a:lnTo>
                        <a:pt x="52324" y="9144"/>
                      </a:lnTo>
                      <a:lnTo>
                        <a:pt x="51562" y="9144"/>
                      </a:lnTo>
                      <a:close/>
                      <a:moveTo>
                        <a:pt x="1005840" y="3334511"/>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56" name="Freeform 746">
                  <a:extLst>
                    <a:ext uri="{FF2B5EF4-FFF2-40B4-BE49-F238E27FC236}">
                      <a16:creationId xmlns:a16="http://schemas.microsoft.com/office/drawing/2014/main" id="{DCE79DEE-0336-428D-9CDB-5976ADAC9328}"/>
                    </a:ext>
                  </a:extLst>
                </p:cNvPr>
                <p:cNvSpPr/>
                <p:nvPr/>
              </p:nvSpPr>
              <p:spPr>
                <a:xfrm>
                  <a:off x="2412887" y="3523440"/>
                  <a:ext cx="6094" cy="51788"/>
                </a:xfrm>
                <a:custGeom>
                  <a:avLst/>
                  <a:gdLst/>
                  <a:ahLst/>
                  <a:cxnLst/>
                  <a:rect l="0" t="0" r="0" b="0"/>
                  <a:pathLst>
                    <a:path w="6097" h="51815">
                      <a:moveTo>
                        <a:pt x="2668" y="51815"/>
                      </a:moveTo>
                      <a:lnTo>
                        <a:pt x="2668" y="51815"/>
                      </a:lnTo>
                      <a:lnTo>
                        <a:pt x="1397" y="51815"/>
                      </a:lnTo>
                      <a:lnTo>
                        <a:pt x="635" y="50927"/>
                      </a:lnTo>
                      <a:lnTo>
                        <a:pt x="0" y="50038"/>
                      </a:lnTo>
                      <a:lnTo>
                        <a:pt x="0" y="48259"/>
                      </a:lnTo>
                      <a:lnTo>
                        <a:pt x="0" y="3556"/>
                      </a:lnTo>
                      <a:lnTo>
                        <a:pt x="0" y="1777"/>
                      </a:lnTo>
                      <a:lnTo>
                        <a:pt x="635" y="889"/>
                      </a:lnTo>
                      <a:lnTo>
                        <a:pt x="1397" y="0"/>
                      </a:lnTo>
                      <a:lnTo>
                        <a:pt x="2668" y="0"/>
                      </a:lnTo>
                      <a:lnTo>
                        <a:pt x="4065" y="0"/>
                      </a:lnTo>
                      <a:lnTo>
                        <a:pt x="4700" y="889"/>
                      </a:lnTo>
                      <a:lnTo>
                        <a:pt x="5462" y="1777"/>
                      </a:lnTo>
                      <a:lnTo>
                        <a:pt x="6097" y="3556"/>
                      </a:lnTo>
                      <a:lnTo>
                        <a:pt x="6097" y="48259"/>
                      </a:lnTo>
                      <a:lnTo>
                        <a:pt x="5462" y="50038"/>
                      </a:lnTo>
                      <a:lnTo>
                        <a:pt x="4700" y="50927"/>
                      </a:lnTo>
                      <a:lnTo>
                        <a:pt x="4065" y="51815"/>
                      </a:lnTo>
                      <a:lnTo>
                        <a:pt x="2668" y="51815"/>
                      </a:lnTo>
                      <a:close/>
                      <a:moveTo>
                        <a:pt x="871729" y="3334511"/>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57" name="Freeform 747">
                  <a:extLst>
                    <a:ext uri="{FF2B5EF4-FFF2-40B4-BE49-F238E27FC236}">
                      <a16:creationId xmlns:a16="http://schemas.microsoft.com/office/drawing/2014/main" id="{11583EC8-0F43-4469-92BF-A118F3FD5986}"/>
                    </a:ext>
                  </a:extLst>
                </p:cNvPr>
                <p:cNvSpPr/>
                <p:nvPr/>
              </p:nvSpPr>
              <p:spPr>
                <a:xfrm>
                  <a:off x="2388516" y="3523441"/>
                  <a:ext cx="57882" cy="9139"/>
                </a:xfrm>
                <a:custGeom>
                  <a:avLst/>
                  <a:gdLst/>
                  <a:ahLst/>
                  <a:cxnLst/>
                  <a:rect l="0" t="0" r="0" b="0"/>
                  <a:pathLst>
                    <a:path w="57912" h="9144">
                      <a:moveTo>
                        <a:pt x="54356" y="9144"/>
                      </a:moveTo>
                      <a:lnTo>
                        <a:pt x="4446" y="9144"/>
                      </a:lnTo>
                      <a:lnTo>
                        <a:pt x="2668" y="9144"/>
                      </a:lnTo>
                      <a:lnTo>
                        <a:pt x="890" y="8127"/>
                      </a:lnTo>
                      <a:lnTo>
                        <a:pt x="890" y="6096"/>
                      </a:lnTo>
                      <a:lnTo>
                        <a:pt x="0" y="5079"/>
                      </a:lnTo>
                      <a:lnTo>
                        <a:pt x="890" y="3047"/>
                      </a:lnTo>
                      <a:lnTo>
                        <a:pt x="890" y="1015"/>
                      </a:lnTo>
                      <a:lnTo>
                        <a:pt x="2668" y="0"/>
                      </a:lnTo>
                      <a:lnTo>
                        <a:pt x="4446" y="0"/>
                      </a:lnTo>
                      <a:lnTo>
                        <a:pt x="54356" y="0"/>
                      </a:lnTo>
                      <a:lnTo>
                        <a:pt x="55246" y="0"/>
                      </a:lnTo>
                      <a:lnTo>
                        <a:pt x="57024" y="1015"/>
                      </a:lnTo>
                      <a:lnTo>
                        <a:pt x="57912" y="3047"/>
                      </a:lnTo>
                      <a:lnTo>
                        <a:pt x="57912" y="5079"/>
                      </a:lnTo>
                      <a:lnTo>
                        <a:pt x="57912" y="6096"/>
                      </a:lnTo>
                      <a:lnTo>
                        <a:pt x="57024" y="8127"/>
                      </a:lnTo>
                      <a:lnTo>
                        <a:pt x="55246" y="9144"/>
                      </a:lnTo>
                      <a:lnTo>
                        <a:pt x="54356" y="9144"/>
                      </a:lnTo>
                      <a:close/>
                      <a:moveTo>
                        <a:pt x="938784" y="3334511"/>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58" name="Freeform 748">
                  <a:extLst>
                    <a:ext uri="{FF2B5EF4-FFF2-40B4-BE49-F238E27FC236}">
                      <a16:creationId xmlns:a16="http://schemas.microsoft.com/office/drawing/2014/main" id="{98BEFEF8-F570-45FC-8115-20EDB983B591}"/>
                    </a:ext>
                  </a:extLst>
                </p:cNvPr>
                <p:cNvSpPr/>
                <p:nvPr/>
              </p:nvSpPr>
              <p:spPr>
                <a:xfrm>
                  <a:off x="2248383" y="3322378"/>
                  <a:ext cx="60927" cy="170599"/>
                </a:xfrm>
                <a:custGeom>
                  <a:avLst/>
                  <a:gdLst/>
                  <a:ahLst/>
                  <a:cxnLst/>
                  <a:rect l="0" t="0" r="0" b="0"/>
                  <a:pathLst>
                    <a:path w="60959" h="170688">
                      <a:moveTo>
                        <a:pt x="57531" y="170688"/>
                      </a:moveTo>
                      <a:lnTo>
                        <a:pt x="3428" y="170688"/>
                      </a:lnTo>
                      <a:lnTo>
                        <a:pt x="2540" y="170688"/>
                      </a:lnTo>
                      <a:lnTo>
                        <a:pt x="888" y="169799"/>
                      </a:lnTo>
                      <a:lnTo>
                        <a:pt x="0" y="168147"/>
                      </a:lnTo>
                      <a:lnTo>
                        <a:pt x="0" y="166370"/>
                      </a:lnTo>
                      <a:lnTo>
                        <a:pt x="7747" y="3428"/>
                      </a:lnTo>
                      <a:lnTo>
                        <a:pt x="7747" y="2539"/>
                      </a:lnTo>
                      <a:lnTo>
                        <a:pt x="8635" y="889"/>
                      </a:lnTo>
                      <a:lnTo>
                        <a:pt x="9397" y="889"/>
                      </a:lnTo>
                      <a:lnTo>
                        <a:pt x="11175" y="0"/>
                      </a:lnTo>
                      <a:lnTo>
                        <a:pt x="42037" y="0"/>
                      </a:lnTo>
                      <a:lnTo>
                        <a:pt x="43815" y="889"/>
                      </a:lnTo>
                      <a:lnTo>
                        <a:pt x="44703" y="889"/>
                      </a:lnTo>
                      <a:lnTo>
                        <a:pt x="45466" y="2539"/>
                      </a:lnTo>
                      <a:lnTo>
                        <a:pt x="46354" y="3428"/>
                      </a:lnTo>
                      <a:lnTo>
                        <a:pt x="60959" y="166370"/>
                      </a:lnTo>
                      <a:lnTo>
                        <a:pt x="60959" y="168147"/>
                      </a:lnTo>
                      <a:lnTo>
                        <a:pt x="60071" y="169799"/>
                      </a:lnTo>
                      <a:lnTo>
                        <a:pt x="59181" y="170688"/>
                      </a:lnTo>
                      <a:lnTo>
                        <a:pt x="57531" y="170688"/>
                      </a:lnTo>
                      <a:close/>
                      <a:moveTo>
                        <a:pt x="1118615" y="3535679"/>
                      </a:moveTo>
                      <a:moveTo>
                        <a:pt x="7747" y="162940"/>
                      </a:moveTo>
                      <a:lnTo>
                        <a:pt x="53213" y="162940"/>
                      </a:lnTo>
                      <a:lnTo>
                        <a:pt x="38607" y="7746"/>
                      </a:lnTo>
                      <a:lnTo>
                        <a:pt x="14604" y="7746"/>
                      </a:lnTo>
                      <a:lnTo>
                        <a:pt x="7747" y="162940"/>
                      </a:lnTo>
                      <a:close/>
                      <a:moveTo>
                        <a:pt x="1126363" y="3535679"/>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59" name="Freeform 749">
                  <a:extLst>
                    <a:ext uri="{FF2B5EF4-FFF2-40B4-BE49-F238E27FC236}">
                      <a16:creationId xmlns:a16="http://schemas.microsoft.com/office/drawing/2014/main" id="{C293A495-B570-4C4C-804B-B398983E6983}"/>
                    </a:ext>
                  </a:extLst>
                </p:cNvPr>
                <p:cNvSpPr/>
                <p:nvPr/>
              </p:nvSpPr>
              <p:spPr>
                <a:xfrm>
                  <a:off x="2315403" y="3383304"/>
                  <a:ext cx="60928" cy="109672"/>
                </a:xfrm>
                <a:custGeom>
                  <a:avLst/>
                  <a:gdLst/>
                  <a:ahLst/>
                  <a:cxnLst/>
                  <a:rect l="0" t="0" r="0" b="0"/>
                  <a:pathLst>
                    <a:path w="60960" h="109729">
                      <a:moveTo>
                        <a:pt x="57531" y="109729"/>
                      </a:moveTo>
                      <a:lnTo>
                        <a:pt x="3428" y="109729"/>
                      </a:lnTo>
                      <a:lnTo>
                        <a:pt x="1778" y="109729"/>
                      </a:lnTo>
                      <a:lnTo>
                        <a:pt x="888" y="108840"/>
                      </a:lnTo>
                      <a:lnTo>
                        <a:pt x="0" y="107061"/>
                      </a:lnTo>
                      <a:lnTo>
                        <a:pt x="0" y="105411"/>
                      </a:lnTo>
                      <a:lnTo>
                        <a:pt x="7747" y="3430"/>
                      </a:lnTo>
                      <a:lnTo>
                        <a:pt x="7747" y="1779"/>
                      </a:lnTo>
                      <a:lnTo>
                        <a:pt x="8635" y="890"/>
                      </a:lnTo>
                      <a:lnTo>
                        <a:pt x="9397" y="0"/>
                      </a:lnTo>
                      <a:lnTo>
                        <a:pt x="11175" y="0"/>
                      </a:lnTo>
                      <a:lnTo>
                        <a:pt x="42037" y="0"/>
                      </a:lnTo>
                      <a:lnTo>
                        <a:pt x="44703" y="890"/>
                      </a:lnTo>
                      <a:lnTo>
                        <a:pt x="45466" y="3430"/>
                      </a:lnTo>
                      <a:lnTo>
                        <a:pt x="60960" y="105411"/>
                      </a:lnTo>
                      <a:lnTo>
                        <a:pt x="60960" y="107061"/>
                      </a:lnTo>
                      <a:lnTo>
                        <a:pt x="60070" y="108840"/>
                      </a:lnTo>
                      <a:lnTo>
                        <a:pt x="58419" y="109729"/>
                      </a:lnTo>
                      <a:lnTo>
                        <a:pt x="57531" y="109729"/>
                      </a:lnTo>
                      <a:close/>
                      <a:moveTo>
                        <a:pt x="1051559" y="3474720"/>
                      </a:moveTo>
                      <a:moveTo>
                        <a:pt x="7747" y="101855"/>
                      </a:moveTo>
                      <a:lnTo>
                        <a:pt x="52323" y="101855"/>
                      </a:lnTo>
                      <a:lnTo>
                        <a:pt x="38607" y="7874"/>
                      </a:lnTo>
                      <a:lnTo>
                        <a:pt x="14604" y="7874"/>
                      </a:lnTo>
                      <a:lnTo>
                        <a:pt x="7747" y="101855"/>
                      </a:lnTo>
                      <a:close/>
                      <a:moveTo>
                        <a:pt x="1059433" y="3474720"/>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60" name="Freeform 750">
                  <a:extLst>
                    <a:ext uri="{FF2B5EF4-FFF2-40B4-BE49-F238E27FC236}">
                      <a16:creationId xmlns:a16="http://schemas.microsoft.com/office/drawing/2014/main" id="{61D77B72-2B0C-43C8-95E1-558928E46BAB}"/>
                    </a:ext>
                  </a:extLst>
                </p:cNvPr>
                <p:cNvSpPr/>
                <p:nvPr/>
              </p:nvSpPr>
              <p:spPr>
                <a:xfrm>
                  <a:off x="2385470" y="3459464"/>
                  <a:ext cx="121857" cy="33512"/>
                </a:xfrm>
                <a:custGeom>
                  <a:avLst/>
                  <a:gdLst/>
                  <a:ahLst/>
                  <a:cxnLst/>
                  <a:rect l="0" t="0" r="0" b="0"/>
                  <a:pathLst>
                    <a:path w="121920" h="33529">
                      <a:moveTo>
                        <a:pt x="118491" y="33529"/>
                      </a:moveTo>
                      <a:lnTo>
                        <a:pt x="3429" y="33529"/>
                      </a:lnTo>
                      <a:lnTo>
                        <a:pt x="1779" y="33529"/>
                      </a:lnTo>
                      <a:lnTo>
                        <a:pt x="890" y="32767"/>
                      </a:lnTo>
                      <a:lnTo>
                        <a:pt x="0" y="31116"/>
                      </a:lnTo>
                      <a:lnTo>
                        <a:pt x="0" y="30226"/>
                      </a:lnTo>
                      <a:lnTo>
                        <a:pt x="0" y="3303"/>
                      </a:lnTo>
                      <a:lnTo>
                        <a:pt x="0" y="2413"/>
                      </a:lnTo>
                      <a:lnTo>
                        <a:pt x="890" y="762"/>
                      </a:lnTo>
                      <a:lnTo>
                        <a:pt x="1779" y="0"/>
                      </a:lnTo>
                      <a:lnTo>
                        <a:pt x="3429" y="0"/>
                      </a:lnTo>
                      <a:lnTo>
                        <a:pt x="118491" y="0"/>
                      </a:lnTo>
                      <a:lnTo>
                        <a:pt x="119254" y="0"/>
                      </a:lnTo>
                      <a:lnTo>
                        <a:pt x="121032" y="762"/>
                      </a:lnTo>
                      <a:lnTo>
                        <a:pt x="121920" y="2413"/>
                      </a:lnTo>
                      <a:lnTo>
                        <a:pt x="121920" y="3303"/>
                      </a:lnTo>
                      <a:lnTo>
                        <a:pt x="121920" y="30226"/>
                      </a:lnTo>
                      <a:lnTo>
                        <a:pt x="121920" y="31116"/>
                      </a:lnTo>
                      <a:lnTo>
                        <a:pt x="121032" y="32767"/>
                      </a:lnTo>
                      <a:lnTo>
                        <a:pt x="119254" y="33529"/>
                      </a:lnTo>
                      <a:lnTo>
                        <a:pt x="118491" y="33529"/>
                      </a:lnTo>
                      <a:close/>
                      <a:moveTo>
                        <a:pt x="981456" y="3398520"/>
                      </a:moveTo>
                      <a:moveTo>
                        <a:pt x="7875" y="26162"/>
                      </a:moveTo>
                      <a:lnTo>
                        <a:pt x="114047" y="26162"/>
                      </a:lnTo>
                      <a:lnTo>
                        <a:pt x="114047" y="7367"/>
                      </a:lnTo>
                      <a:lnTo>
                        <a:pt x="7875" y="7367"/>
                      </a:lnTo>
                      <a:lnTo>
                        <a:pt x="7875" y="26162"/>
                      </a:lnTo>
                      <a:close/>
                      <a:moveTo>
                        <a:pt x="988823" y="3398520"/>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61" name="Freeform 751">
                  <a:extLst>
                    <a:ext uri="{FF2B5EF4-FFF2-40B4-BE49-F238E27FC236}">
                      <a16:creationId xmlns:a16="http://schemas.microsoft.com/office/drawing/2014/main" id="{67A70FE3-E027-4C6C-BFB4-8B8DA2E85A6F}"/>
                    </a:ext>
                  </a:extLst>
                </p:cNvPr>
                <p:cNvSpPr/>
                <p:nvPr/>
              </p:nvSpPr>
              <p:spPr>
                <a:xfrm>
                  <a:off x="2415934" y="3441186"/>
                  <a:ext cx="60928" cy="24372"/>
                </a:xfrm>
                <a:custGeom>
                  <a:avLst/>
                  <a:gdLst/>
                  <a:ahLst/>
                  <a:cxnLst/>
                  <a:rect l="0" t="0" r="0" b="0"/>
                  <a:pathLst>
                    <a:path w="60960" h="24385">
                      <a:moveTo>
                        <a:pt x="56514" y="24385"/>
                      </a:moveTo>
                      <a:lnTo>
                        <a:pt x="4444" y="24385"/>
                      </a:lnTo>
                      <a:lnTo>
                        <a:pt x="2666" y="24385"/>
                      </a:lnTo>
                      <a:lnTo>
                        <a:pt x="1778" y="23495"/>
                      </a:lnTo>
                      <a:lnTo>
                        <a:pt x="888" y="21844"/>
                      </a:lnTo>
                      <a:lnTo>
                        <a:pt x="0" y="20193"/>
                      </a:lnTo>
                      <a:lnTo>
                        <a:pt x="0" y="4192"/>
                      </a:lnTo>
                      <a:lnTo>
                        <a:pt x="888" y="2541"/>
                      </a:lnTo>
                      <a:lnTo>
                        <a:pt x="1778" y="889"/>
                      </a:lnTo>
                      <a:lnTo>
                        <a:pt x="2666" y="889"/>
                      </a:lnTo>
                      <a:lnTo>
                        <a:pt x="4444" y="0"/>
                      </a:lnTo>
                      <a:lnTo>
                        <a:pt x="56514" y="0"/>
                      </a:lnTo>
                      <a:lnTo>
                        <a:pt x="58292" y="889"/>
                      </a:lnTo>
                      <a:lnTo>
                        <a:pt x="59182" y="889"/>
                      </a:lnTo>
                      <a:lnTo>
                        <a:pt x="60070" y="2541"/>
                      </a:lnTo>
                      <a:lnTo>
                        <a:pt x="60960" y="4192"/>
                      </a:lnTo>
                      <a:lnTo>
                        <a:pt x="60960" y="20193"/>
                      </a:lnTo>
                      <a:lnTo>
                        <a:pt x="60070" y="21844"/>
                      </a:lnTo>
                      <a:lnTo>
                        <a:pt x="59182" y="23495"/>
                      </a:lnTo>
                      <a:lnTo>
                        <a:pt x="58292" y="24385"/>
                      </a:lnTo>
                      <a:lnTo>
                        <a:pt x="56514" y="24385"/>
                      </a:lnTo>
                      <a:close/>
                      <a:moveTo>
                        <a:pt x="978407" y="3416808"/>
                      </a:moveTo>
                      <a:moveTo>
                        <a:pt x="8128" y="16764"/>
                      </a:moveTo>
                      <a:lnTo>
                        <a:pt x="52832" y="16764"/>
                      </a:lnTo>
                      <a:lnTo>
                        <a:pt x="52832" y="7620"/>
                      </a:lnTo>
                      <a:lnTo>
                        <a:pt x="8128" y="7620"/>
                      </a:lnTo>
                      <a:lnTo>
                        <a:pt x="8128" y="16764"/>
                      </a:lnTo>
                      <a:close/>
                      <a:moveTo>
                        <a:pt x="986028" y="3416808"/>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62" name="Freeform 752">
                  <a:extLst>
                    <a:ext uri="{FF2B5EF4-FFF2-40B4-BE49-F238E27FC236}">
                      <a16:creationId xmlns:a16="http://schemas.microsoft.com/office/drawing/2014/main" id="{8269FF31-4990-4433-88EA-D5874F7D1E43}"/>
                    </a:ext>
                  </a:extLst>
                </p:cNvPr>
                <p:cNvSpPr/>
                <p:nvPr/>
              </p:nvSpPr>
              <p:spPr>
                <a:xfrm>
                  <a:off x="2254475" y="3337609"/>
                  <a:ext cx="39602" cy="6093"/>
                </a:xfrm>
                <a:custGeom>
                  <a:avLst/>
                  <a:gdLst/>
                  <a:ahLst/>
                  <a:cxnLst/>
                  <a:rect l="0" t="0" r="0" b="0"/>
                  <a:pathLst>
                    <a:path w="39623" h="6096">
                      <a:moveTo>
                        <a:pt x="36195" y="6096"/>
                      </a:moveTo>
                      <a:lnTo>
                        <a:pt x="3429" y="6096"/>
                      </a:lnTo>
                      <a:lnTo>
                        <a:pt x="2539" y="6096"/>
                      </a:lnTo>
                      <a:lnTo>
                        <a:pt x="888" y="5462"/>
                      </a:lnTo>
                      <a:lnTo>
                        <a:pt x="0" y="4700"/>
                      </a:lnTo>
                      <a:lnTo>
                        <a:pt x="0" y="3430"/>
                      </a:lnTo>
                      <a:lnTo>
                        <a:pt x="0" y="2032"/>
                      </a:lnTo>
                      <a:lnTo>
                        <a:pt x="888" y="1398"/>
                      </a:lnTo>
                      <a:lnTo>
                        <a:pt x="2539" y="636"/>
                      </a:lnTo>
                      <a:lnTo>
                        <a:pt x="3429" y="0"/>
                      </a:lnTo>
                      <a:lnTo>
                        <a:pt x="36195" y="0"/>
                      </a:lnTo>
                      <a:lnTo>
                        <a:pt x="37083" y="636"/>
                      </a:lnTo>
                      <a:lnTo>
                        <a:pt x="38735" y="1398"/>
                      </a:lnTo>
                      <a:lnTo>
                        <a:pt x="39623" y="2032"/>
                      </a:lnTo>
                      <a:lnTo>
                        <a:pt x="39623" y="3430"/>
                      </a:lnTo>
                      <a:lnTo>
                        <a:pt x="39623" y="4700"/>
                      </a:lnTo>
                      <a:lnTo>
                        <a:pt x="38735" y="5462"/>
                      </a:lnTo>
                      <a:lnTo>
                        <a:pt x="37083" y="6096"/>
                      </a:lnTo>
                      <a:lnTo>
                        <a:pt x="36195" y="6096"/>
                      </a:lnTo>
                      <a:close/>
                      <a:moveTo>
                        <a:pt x="1261872" y="3520440"/>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63" name="Freeform 753">
                  <a:extLst>
                    <a:ext uri="{FF2B5EF4-FFF2-40B4-BE49-F238E27FC236}">
                      <a16:creationId xmlns:a16="http://schemas.microsoft.com/office/drawing/2014/main" id="{5FC35471-F56A-4E1A-904B-C23EA6275221}"/>
                    </a:ext>
                  </a:extLst>
                </p:cNvPr>
                <p:cNvSpPr/>
                <p:nvPr/>
              </p:nvSpPr>
              <p:spPr>
                <a:xfrm>
                  <a:off x="2321496" y="3398538"/>
                  <a:ext cx="42651" cy="9139"/>
                </a:xfrm>
                <a:custGeom>
                  <a:avLst/>
                  <a:gdLst/>
                  <a:ahLst/>
                  <a:cxnLst/>
                  <a:rect l="0" t="0" r="0" b="0"/>
                  <a:pathLst>
                    <a:path w="42673" h="9144">
                      <a:moveTo>
                        <a:pt x="38227" y="9144"/>
                      </a:moveTo>
                      <a:lnTo>
                        <a:pt x="4446" y="9144"/>
                      </a:lnTo>
                      <a:lnTo>
                        <a:pt x="2668" y="9144"/>
                      </a:lnTo>
                      <a:lnTo>
                        <a:pt x="1778" y="8127"/>
                      </a:lnTo>
                      <a:lnTo>
                        <a:pt x="890" y="6095"/>
                      </a:lnTo>
                      <a:lnTo>
                        <a:pt x="0" y="5079"/>
                      </a:lnTo>
                      <a:lnTo>
                        <a:pt x="890" y="3047"/>
                      </a:lnTo>
                      <a:lnTo>
                        <a:pt x="1778" y="1015"/>
                      </a:lnTo>
                      <a:lnTo>
                        <a:pt x="2668" y="1015"/>
                      </a:lnTo>
                      <a:lnTo>
                        <a:pt x="4446" y="0"/>
                      </a:lnTo>
                      <a:lnTo>
                        <a:pt x="38227" y="0"/>
                      </a:lnTo>
                      <a:lnTo>
                        <a:pt x="40005" y="1015"/>
                      </a:lnTo>
                      <a:lnTo>
                        <a:pt x="40895" y="1015"/>
                      </a:lnTo>
                      <a:lnTo>
                        <a:pt x="41783" y="3047"/>
                      </a:lnTo>
                      <a:lnTo>
                        <a:pt x="42673" y="5079"/>
                      </a:lnTo>
                      <a:lnTo>
                        <a:pt x="41783" y="6095"/>
                      </a:lnTo>
                      <a:lnTo>
                        <a:pt x="40895" y="8127"/>
                      </a:lnTo>
                      <a:lnTo>
                        <a:pt x="40005" y="9144"/>
                      </a:lnTo>
                      <a:lnTo>
                        <a:pt x="38227" y="9144"/>
                      </a:lnTo>
                      <a:close/>
                      <a:moveTo>
                        <a:pt x="1130808" y="3459479"/>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64" name="Freeform 754">
                  <a:extLst>
                    <a:ext uri="{FF2B5EF4-FFF2-40B4-BE49-F238E27FC236}">
                      <a16:creationId xmlns:a16="http://schemas.microsoft.com/office/drawing/2014/main" id="{B08FEB3C-569E-410F-8BC9-CDE9B84D13DA}"/>
                    </a:ext>
                  </a:extLst>
                </p:cNvPr>
                <p:cNvSpPr/>
                <p:nvPr/>
              </p:nvSpPr>
              <p:spPr>
                <a:xfrm>
                  <a:off x="2455538" y="3508208"/>
                  <a:ext cx="51789" cy="88347"/>
                </a:xfrm>
                <a:custGeom>
                  <a:avLst/>
                  <a:gdLst/>
                  <a:ahLst/>
                  <a:cxnLst/>
                  <a:rect l="0" t="0" r="0" b="0"/>
                  <a:pathLst>
                    <a:path w="51816" h="88393">
                      <a:moveTo>
                        <a:pt x="48261" y="88393"/>
                      </a:moveTo>
                      <a:lnTo>
                        <a:pt x="3556" y="88393"/>
                      </a:lnTo>
                      <a:lnTo>
                        <a:pt x="1778" y="88393"/>
                      </a:lnTo>
                      <a:lnTo>
                        <a:pt x="890" y="87504"/>
                      </a:lnTo>
                      <a:lnTo>
                        <a:pt x="0" y="86614"/>
                      </a:lnTo>
                      <a:lnTo>
                        <a:pt x="0" y="84837"/>
                      </a:lnTo>
                      <a:lnTo>
                        <a:pt x="0" y="3556"/>
                      </a:lnTo>
                      <a:lnTo>
                        <a:pt x="0" y="1779"/>
                      </a:lnTo>
                      <a:lnTo>
                        <a:pt x="890" y="889"/>
                      </a:lnTo>
                      <a:lnTo>
                        <a:pt x="1778" y="0"/>
                      </a:lnTo>
                      <a:lnTo>
                        <a:pt x="3556" y="0"/>
                      </a:lnTo>
                      <a:lnTo>
                        <a:pt x="48261" y="0"/>
                      </a:lnTo>
                      <a:lnTo>
                        <a:pt x="49150" y="0"/>
                      </a:lnTo>
                      <a:lnTo>
                        <a:pt x="50928" y="889"/>
                      </a:lnTo>
                      <a:lnTo>
                        <a:pt x="51816" y="1779"/>
                      </a:lnTo>
                      <a:lnTo>
                        <a:pt x="51816" y="3556"/>
                      </a:lnTo>
                      <a:lnTo>
                        <a:pt x="51816" y="84837"/>
                      </a:lnTo>
                      <a:lnTo>
                        <a:pt x="51816" y="86614"/>
                      </a:lnTo>
                      <a:lnTo>
                        <a:pt x="50928" y="87504"/>
                      </a:lnTo>
                      <a:lnTo>
                        <a:pt x="49150" y="88393"/>
                      </a:lnTo>
                      <a:lnTo>
                        <a:pt x="48261" y="88393"/>
                      </a:lnTo>
                      <a:close/>
                      <a:moveTo>
                        <a:pt x="807720" y="3349752"/>
                      </a:moveTo>
                      <a:moveTo>
                        <a:pt x="8002" y="80518"/>
                      </a:moveTo>
                      <a:lnTo>
                        <a:pt x="43815" y="80518"/>
                      </a:lnTo>
                      <a:lnTo>
                        <a:pt x="43815" y="7874"/>
                      </a:lnTo>
                      <a:lnTo>
                        <a:pt x="8002" y="7874"/>
                      </a:lnTo>
                      <a:lnTo>
                        <a:pt x="8002" y="80518"/>
                      </a:lnTo>
                      <a:close/>
                      <a:moveTo>
                        <a:pt x="815595" y="3349752"/>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65" name="Freeform 755">
                  <a:extLst>
                    <a:ext uri="{FF2B5EF4-FFF2-40B4-BE49-F238E27FC236}">
                      <a16:creationId xmlns:a16="http://schemas.microsoft.com/office/drawing/2014/main" id="{ABB99C26-9844-4751-AA96-17F1BA1B8544}"/>
                    </a:ext>
                  </a:extLst>
                </p:cNvPr>
                <p:cNvSpPr/>
                <p:nvPr/>
              </p:nvSpPr>
              <p:spPr>
                <a:xfrm>
                  <a:off x="2476864" y="3508208"/>
                  <a:ext cx="9139" cy="88347"/>
                </a:xfrm>
                <a:custGeom>
                  <a:avLst/>
                  <a:gdLst/>
                  <a:ahLst/>
                  <a:cxnLst/>
                  <a:rect l="0" t="0" r="0" b="0"/>
                  <a:pathLst>
                    <a:path w="9144" h="88393">
                      <a:moveTo>
                        <a:pt x="5079" y="88393"/>
                      </a:moveTo>
                      <a:lnTo>
                        <a:pt x="5079" y="88393"/>
                      </a:lnTo>
                      <a:lnTo>
                        <a:pt x="3047" y="88393"/>
                      </a:lnTo>
                      <a:lnTo>
                        <a:pt x="2031" y="87504"/>
                      </a:lnTo>
                      <a:lnTo>
                        <a:pt x="1016" y="86614"/>
                      </a:lnTo>
                      <a:lnTo>
                        <a:pt x="0" y="84837"/>
                      </a:lnTo>
                      <a:lnTo>
                        <a:pt x="0" y="3556"/>
                      </a:lnTo>
                      <a:lnTo>
                        <a:pt x="1016" y="1779"/>
                      </a:lnTo>
                      <a:lnTo>
                        <a:pt x="2031" y="889"/>
                      </a:lnTo>
                      <a:lnTo>
                        <a:pt x="3047" y="0"/>
                      </a:lnTo>
                      <a:lnTo>
                        <a:pt x="5079" y="0"/>
                      </a:lnTo>
                      <a:lnTo>
                        <a:pt x="7112" y="0"/>
                      </a:lnTo>
                      <a:lnTo>
                        <a:pt x="8128" y="889"/>
                      </a:lnTo>
                      <a:lnTo>
                        <a:pt x="9144" y="1779"/>
                      </a:lnTo>
                      <a:lnTo>
                        <a:pt x="9144" y="3556"/>
                      </a:lnTo>
                      <a:lnTo>
                        <a:pt x="9144" y="84837"/>
                      </a:lnTo>
                      <a:lnTo>
                        <a:pt x="9144" y="86614"/>
                      </a:lnTo>
                      <a:lnTo>
                        <a:pt x="8128" y="87504"/>
                      </a:lnTo>
                      <a:lnTo>
                        <a:pt x="7112" y="88393"/>
                      </a:lnTo>
                      <a:lnTo>
                        <a:pt x="5079" y="88393"/>
                      </a:lnTo>
                      <a:close/>
                      <a:moveTo>
                        <a:pt x="786383" y="3349752"/>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66" name="Freeform 756">
                  <a:extLst>
                    <a:ext uri="{FF2B5EF4-FFF2-40B4-BE49-F238E27FC236}">
                      <a16:creationId xmlns:a16="http://schemas.microsoft.com/office/drawing/2014/main" id="{92FBE4D6-7DE8-4811-951C-40CC9F150075}"/>
                    </a:ext>
                  </a:extLst>
                </p:cNvPr>
                <p:cNvSpPr/>
                <p:nvPr/>
              </p:nvSpPr>
              <p:spPr>
                <a:xfrm>
                  <a:off x="2291031" y="3249262"/>
                  <a:ext cx="118810" cy="76160"/>
                </a:xfrm>
                <a:custGeom>
                  <a:avLst/>
                  <a:gdLst/>
                  <a:ahLst/>
                  <a:cxnLst/>
                  <a:rect l="0" t="0" r="0" b="0"/>
                  <a:pathLst>
                    <a:path w="118872" h="76200">
                      <a:moveTo>
                        <a:pt x="23368" y="76200"/>
                      </a:moveTo>
                      <a:lnTo>
                        <a:pt x="23368" y="76200"/>
                      </a:lnTo>
                      <a:lnTo>
                        <a:pt x="18160" y="76200"/>
                      </a:lnTo>
                      <a:lnTo>
                        <a:pt x="13843" y="75311"/>
                      </a:lnTo>
                      <a:lnTo>
                        <a:pt x="10413" y="72644"/>
                      </a:lnTo>
                      <a:lnTo>
                        <a:pt x="6984" y="70867"/>
                      </a:lnTo>
                      <a:lnTo>
                        <a:pt x="3428" y="67184"/>
                      </a:lnTo>
                      <a:lnTo>
                        <a:pt x="1778" y="63628"/>
                      </a:lnTo>
                      <a:lnTo>
                        <a:pt x="0" y="60072"/>
                      </a:lnTo>
                      <a:lnTo>
                        <a:pt x="0" y="55627"/>
                      </a:lnTo>
                      <a:lnTo>
                        <a:pt x="0" y="51943"/>
                      </a:lnTo>
                      <a:lnTo>
                        <a:pt x="1778" y="47498"/>
                      </a:lnTo>
                      <a:lnTo>
                        <a:pt x="4318" y="43942"/>
                      </a:lnTo>
                      <a:lnTo>
                        <a:pt x="6984" y="40386"/>
                      </a:lnTo>
                      <a:lnTo>
                        <a:pt x="11303" y="38609"/>
                      </a:lnTo>
                      <a:lnTo>
                        <a:pt x="15621" y="36704"/>
                      </a:lnTo>
                      <a:lnTo>
                        <a:pt x="19938" y="35815"/>
                      </a:lnTo>
                      <a:lnTo>
                        <a:pt x="25146" y="35815"/>
                      </a:lnTo>
                      <a:lnTo>
                        <a:pt x="26924" y="32259"/>
                      </a:lnTo>
                      <a:lnTo>
                        <a:pt x="29463" y="29592"/>
                      </a:lnTo>
                      <a:lnTo>
                        <a:pt x="32131" y="26924"/>
                      </a:lnTo>
                      <a:lnTo>
                        <a:pt x="35559" y="25147"/>
                      </a:lnTo>
                      <a:lnTo>
                        <a:pt x="38988" y="23368"/>
                      </a:lnTo>
                      <a:lnTo>
                        <a:pt x="42544" y="21463"/>
                      </a:lnTo>
                      <a:lnTo>
                        <a:pt x="46862" y="20574"/>
                      </a:lnTo>
                      <a:lnTo>
                        <a:pt x="51181" y="20574"/>
                      </a:lnTo>
                      <a:lnTo>
                        <a:pt x="53847" y="16129"/>
                      </a:lnTo>
                      <a:lnTo>
                        <a:pt x="56387" y="12573"/>
                      </a:lnTo>
                      <a:lnTo>
                        <a:pt x="59816" y="9017"/>
                      </a:lnTo>
                      <a:lnTo>
                        <a:pt x="63372" y="5335"/>
                      </a:lnTo>
                      <a:lnTo>
                        <a:pt x="68579" y="3556"/>
                      </a:lnTo>
                      <a:lnTo>
                        <a:pt x="73787" y="1779"/>
                      </a:lnTo>
                      <a:lnTo>
                        <a:pt x="78994" y="0"/>
                      </a:lnTo>
                      <a:lnTo>
                        <a:pt x="85090" y="0"/>
                      </a:lnTo>
                      <a:lnTo>
                        <a:pt x="91947" y="890"/>
                      </a:lnTo>
                      <a:lnTo>
                        <a:pt x="98044" y="1779"/>
                      </a:lnTo>
                      <a:lnTo>
                        <a:pt x="104140" y="4446"/>
                      </a:lnTo>
                      <a:lnTo>
                        <a:pt x="109347" y="8129"/>
                      </a:lnTo>
                      <a:lnTo>
                        <a:pt x="113665" y="12573"/>
                      </a:lnTo>
                      <a:lnTo>
                        <a:pt x="116331" y="17018"/>
                      </a:lnTo>
                      <a:lnTo>
                        <a:pt x="118872" y="22353"/>
                      </a:lnTo>
                      <a:lnTo>
                        <a:pt x="118872" y="27813"/>
                      </a:lnTo>
                      <a:lnTo>
                        <a:pt x="118872" y="33148"/>
                      </a:lnTo>
                      <a:lnTo>
                        <a:pt x="116331" y="38609"/>
                      </a:lnTo>
                      <a:lnTo>
                        <a:pt x="113665" y="43054"/>
                      </a:lnTo>
                      <a:lnTo>
                        <a:pt x="109347" y="47498"/>
                      </a:lnTo>
                      <a:lnTo>
                        <a:pt x="104140" y="51054"/>
                      </a:lnTo>
                      <a:lnTo>
                        <a:pt x="98044" y="53848"/>
                      </a:lnTo>
                      <a:lnTo>
                        <a:pt x="91947" y="55627"/>
                      </a:lnTo>
                      <a:lnTo>
                        <a:pt x="85090" y="55627"/>
                      </a:lnTo>
                      <a:lnTo>
                        <a:pt x="79882" y="55627"/>
                      </a:lnTo>
                      <a:lnTo>
                        <a:pt x="74675" y="54737"/>
                      </a:lnTo>
                      <a:lnTo>
                        <a:pt x="72009" y="57404"/>
                      </a:lnTo>
                      <a:lnTo>
                        <a:pt x="68579" y="60072"/>
                      </a:lnTo>
                      <a:lnTo>
                        <a:pt x="65024" y="61849"/>
                      </a:lnTo>
                      <a:lnTo>
                        <a:pt x="61594" y="63628"/>
                      </a:lnTo>
                      <a:lnTo>
                        <a:pt x="58166" y="64517"/>
                      </a:lnTo>
                      <a:lnTo>
                        <a:pt x="53847" y="64517"/>
                      </a:lnTo>
                      <a:lnTo>
                        <a:pt x="49403" y="64517"/>
                      </a:lnTo>
                      <a:lnTo>
                        <a:pt x="45084" y="64517"/>
                      </a:lnTo>
                      <a:lnTo>
                        <a:pt x="41656" y="69088"/>
                      </a:lnTo>
                      <a:lnTo>
                        <a:pt x="36449" y="73534"/>
                      </a:lnTo>
                      <a:lnTo>
                        <a:pt x="30353" y="75311"/>
                      </a:lnTo>
                      <a:lnTo>
                        <a:pt x="23368" y="76200"/>
                      </a:lnTo>
                      <a:close/>
                      <a:moveTo>
                        <a:pt x="1243584" y="3608832"/>
                      </a:moveTo>
                      <a:moveTo>
                        <a:pt x="23368" y="43054"/>
                      </a:moveTo>
                      <a:lnTo>
                        <a:pt x="23368" y="43054"/>
                      </a:lnTo>
                      <a:lnTo>
                        <a:pt x="17399" y="44831"/>
                      </a:lnTo>
                      <a:lnTo>
                        <a:pt x="12191" y="47498"/>
                      </a:lnTo>
                      <a:lnTo>
                        <a:pt x="10413" y="49277"/>
                      </a:lnTo>
                      <a:lnTo>
                        <a:pt x="8635" y="51054"/>
                      </a:lnTo>
                      <a:lnTo>
                        <a:pt x="7747" y="53848"/>
                      </a:lnTo>
                      <a:lnTo>
                        <a:pt x="7747" y="55627"/>
                      </a:lnTo>
                      <a:lnTo>
                        <a:pt x="7747" y="58293"/>
                      </a:lnTo>
                      <a:lnTo>
                        <a:pt x="8635" y="60961"/>
                      </a:lnTo>
                      <a:lnTo>
                        <a:pt x="10413" y="62738"/>
                      </a:lnTo>
                      <a:lnTo>
                        <a:pt x="12191" y="64517"/>
                      </a:lnTo>
                      <a:lnTo>
                        <a:pt x="17399" y="67184"/>
                      </a:lnTo>
                      <a:lnTo>
                        <a:pt x="23368" y="68073"/>
                      </a:lnTo>
                      <a:lnTo>
                        <a:pt x="28575" y="68073"/>
                      </a:lnTo>
                      <a:lnTo>
                        <a:pt x="33019" y="65405"/>
                      </a:lnTo>
                      <a:lnTo>
                        <a:pt x="37337" y="62738"/>
                      </a:lnTo>
                      <a:lnTo>
                        <a:pt x="38988" y="58293"/>
                      </a:lnTo>
                      <a:lnTo>
                        <a:pt x="39878" y="57404"/>
                      </a:lnTo>
                      <a:lnTo>
                        <a:pt x="40766" y="56516"/>
                      </a:lnTo>
                      <a:lnTo>
                        <a:pt x="42544" y="55627"/>
                      </a:lnTo>
                      <a:lnTo>
                        <a:pt x="44196" y="55627"/>
                      </a:lnTo>
                      <a:lnTo>
                        <a:pt x="47752" y="56516"/>
                      </a:lnTo>
                      <a:lnTo>
                        <a:pt x="51181" y="56516"/>
                      </a:lnTo>
                      <a:lnTo>
                        <a:pt x="55499" y="56516"/>
                      </a:lnTo>
                      <a:lnTo>
                        <a:pt x="59054" y="55627"/>
                      </a:lnTo>
                      <a:lnTo>
                        <a:pt x="62484" y="54737"/>
                      </a:lnTo>
                      <a:lnTo>
                        <a:pt x="65024" y="52832"/>
                      </a:lnTo>
                      <a:lnTo>
                        <a:pt x="67691" y="50166"/>
                      </a:lnTo>
                      <a:lnTo>
                        <a:pt x="69469" y="47498"/>
                      </a:lnTo>
                      <a:lnTo>
                        <a:pt x="71119" y="45721"/>
                      </a:lnTo>
                      <a:lnTo>
                        <a:pt x="73787" y="45721"/>
                      </a:lnTo>
                      <a:lnTo>
                        <a:pt x="78994" y="47498"/>
                      </a:lnTo>
                      <a:lnTo>
                        <a:pt x="85090" y="47498"/>
                      </a:lnTo>
                      <a:lnTo>
                        <a:pt x="90297" y="47498"/>
                      </a:lnTo>
                      <a:lnTo>
                        <a:pt x="95503" y="45721"/>
                      </a:lnTo>
                      <a:lnTo>
                        <a:pt x="99822" y="43942"/>
                      </a:lnTo>
                      <a:lnTo>
                        <a:pt x="103250" y="42165"/>
                      </a:lnTo>
                      <a:lnTo>
                        <a:pt x="106679" y="38609"/>
                      </a:lnTo>
                      <a:lnTo>
                        <a:pt x="109347" y="35815"/>
                      </a:lnTo>
                      <a:lnTo>
                        <a:pt x="111125" y="32259"/>
                      </a:lnTo>
                      <a:lnTo>
                        <a:pt x="111125" y="27813"/>
                      </a:lnTo>
                      <a:lnTo>
                        <a:pt x="111125" y="24257"/>
                      </a:lnTo>
                      <a:lnTo>
                        <a:pt x="109347" y="19686"/>
                      </a:lnTo>
                      <a:lnTo>
                        <a:pt x="106679" y="17018"/>
                      </a:lnTo>
                      <a:lnTo>
                        <a:pt x="103250" y="13462"/>
                      </a:lnTo>
                      <a:lnTo>
                        <a:pt x="99822" y="11685"/>
                      </a:lnTo>
                      <a:lnTo>
                        <a:pt x="95503" y="9906"/>
                      </a:lnTo>
                      <a:lnTo>
                        <a:pt x="90297" y="8129"/>
                      </a:lnTo>
                      <a:lnTo>
                        <a:pt x="85090" y="8129"/>
                      </a:lnTo>
                      <a:lnTo>
                        <a:pt x="79882" y="8129"/>
                      </a:lnTo>
                      <a:lnTo>
                        <a:pt x="75437" y="9017"/>
                      </a:lnTo>
                      <a:lnTo>
                        <a:pt x="71119" y="10796"/>
                      </a:lnTo>
                      <a:lnTo>
                        <a:pt x="66802" y="13462"/>
                      </a:lnTo>
                      <a:lnTo>
                        <a:pt x="64262" y="15241"/>
                      </a:lnTo>
                      <a:lnTo>
                        <a:pt x="61594" y="18797"/>
                      </a:lnTo>
                      <a:lnTo>
                        <a:pt x="59054" y="22353"/>
                      </a:lnTo>
                      <a:lnTo>
                        <a:pt x="58166" y="26036"/>
                      </a:lnTo>
                      <a:lnTo>
                        <a:pt x="58166" y="26924"/>
                      </a:lnTo>
                      <a:lnTo>
                        <a:pt x="57277" y="27813"/>
                      </a:lnTo>
                      <a:lnTo>
                        <a:pt x="55499" y="28703"/>
                      </a:lnTo>
                      <a:lnTo>
                        <a:pt x="53847" y="28703"/>
                      </a:lnTo>
                      <a:lnTo>
                        <a:pt x="51181" y="28703"/>
                      </a:lnTo>
                      <a:lnTo>
                        <a:pt x="44196" y="29592"/>
                      </a:lnTo>
                      <a:lnTo>
                        <a:pt x="38227" y="32259"/>
                      </a:lnTo>
                      <a:lnTo>
                        <a:pt x="34671" y="35815"/>
                      </a:lnTo>
                      <a:lnTo>
                        <a:pt x="33019" y="38609"/>
                      </a:lnTo>
                      <a:lnTo>
                        <a:pt x="32131" y="41275"/>
                      </a:lnTo>
                      <a:lnTo>
                        <a:pt x="31241" y="42165"/>
                      </a:lnTo>
                      <a:lnTo>
                        <a:pt x="30353" y="43054"/>
                      </a:lnTo>
                      <a:lnTo>
                        <a:pt x="28575" y="43942"/>
                      </a:lnTo>
                      <a:lnTo>
                        <a:pt x="27812" y="43942"/>
                      </a:lnTo>
                      <a:lnTo>
                        <a:pt x="23368" y="43054"/>
                      </a:lnTo>
                      <a:close/>
                      <a:moveTo>
                        <a:pt x="1276730" y="3608832"/>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67" name="Freeform 757">
                  <a:extLst>
                    <a:ext uri="{FF2B5EF4-FFF2-40B4-BE49-F238E27FC236}">
                      <a16:creationId xmlns:a16="http://schemas.microsoft.com/office/drawing/2014/main" id="{571DC3A4-20A7-4DFE-A55A-5AEFB83936DE}"/>
                    </a:ext>
                  </a:extLst>
                </p:cNvPr>
                <p:cNvSpPr/>
                <p:nvPr/>
              </p:nvSpPr>
              <p:spPr>
                <a:xfrm>
                  <a:off x="3049588" y="3486882"/>
                  <a:ext cx="292456" cy="109672"/>
                </a:xfrm>
                <a:custGeom>
                  <a:avLst/>
                  <a:gdLst/>
                  <a:ahLst/>
                  <a:cxnLst/>
                  <a:rect l="0" t="0" r="0" b="0"/>
                  <a:pathLst>
                    <a:path w="292608" h="109729">
                      <a:moveTo>
                        <a:pt x="289052" y="109729"/>
                      </a:moveTo>
                      <a:lnTo>
                        <a:pt x="3555" y="109729"/>
                      </a:lnTo>
                      <a:lnTo>
                        <a:pt x="2667" y="109729"/>
                      </a:lnTo>
                      <a:lnTo>
                        <a:pt x="889" y="108840"/>
                      </a:lnTo>
                      <a:lnTo>
                        <a:pt x="0" y="107950"/>
                      </a:lnTo>
                      <a:lnTo>
                        <a:pt x="0" y="106299"/>
                      </a:lnTo>
                      <a:lnTo>
                        <a:pt x="0" y="4318"/>
                      </a:lnTo>
                      <a:lnTo>
                        <a:pt x="0" y="2541"/>
                      </a:lnTo>
                      <a:lnTo>
                        <a:pt x="889" y="890"/>
                      </a:lnTo>
                      <a:lnTo>
                        <a:pt x="2667" y="0"/>
                      </a:lnTo>
                      <a:lnTo>
                        <a:pt x="3555" y="0"/>
                      </a:lnTo>
                      <a:lnTo>
                        <a:pt x="289052" y="0"/>
                      </a:lnTo>
                      <a:lnTo>
                        <a:pt x="290829" y="0"/>
                      </a:lnTo>
                      <a:lnTo>
                        <a:pt x="291719" y="890"/>
                      </a:lnTo>
                      <a:lnTo>
                        <a:pt x="292608" y="2541"/>
                      </a:lnTo>
                      <a:lnTo>
                        <a:pt x="292608" y="4318"/>
                      </a:lnTo>
                      <a:lnTo>
                        <a:pt x="292608" y="106299"/>
                      </a:lnTo>
                      <a:lnTo>
                        <a:pt x="292608" y="107950"/>
                      </a:lnTo>
                      <a:lnTo>
                        <a:pt x="291719" y="108840"/>
                      </a:lnTo>
                      <a:lnTo>
                        <a:pt x="290829" y="109729"/>
                      </a:lnTo>
                      <a:lnTo>
                        <a:pt x="289052" y="109729"/>
                      </a:lnTo>
                      <a:close/>
                      <a:moveTo>
                        <a:pt x="213359" y="3371088"/>
                      </a:moveTo>
                      <a:moveTo>
                        <a:pt x="7873" y="101981"/>
                      </a:moveTo>
                      <a:lnTo>
                        <a:pt x="284734" y="101981"/>
                      </a:lnTo>
                      <a:lnTo>
                        <a:pt x="284734" y="7748"/>
                      </a:lnTo>
                      <a:lnTo>
                        <a:pt x="7873" y="7748"/>
                      </a:lnTo>
                      <a:lnTo>
                        <a:pt x="7873" y="101981"/>
                      </a:lnTo>
                      <a:close/>
                      <a:moveTo>
                        <a:pt x="221107" y="3371088"/>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68" name="Freeform 758">
                  <a:extLst>
                    <a:ext uri="{FF2B5EF4-FFF2-40B4-BE49-F238E27FC236}">
                      <a16:creationId xmlns:a16="http://schemas.microsoft.com/office/drawing/2014/main" id="{C743848E-0534-49A8-91B2-EFBA548E604B}"/>
                    </a:ext>
                  </a:extLst>
                </p:cNvPr>
                <p:cNvSpPr/>
                <p:nvPr/>
              </p:nvSpPr>
              <p:spPr>
                <a:xfrm>
                  <a:off x="3049589" y="3569136"/>
                  <a:ext cx="231526" cy="27418"/>
                </a:xfrm>
                <a:custGeom>
                  <a:avLst/>
                  <a:gdLst/>
                  <a:ahLst/>
                  <a:cxnLst/>
                  <a:rect l="0" t="0" r="0" b="0"/>
                  <a:pathLst>
                    <a:path w="231647" h="27432">
                      <a:moveTo>
                        <a:pt x="227329" y="27432"/>
                      </a:moveTo>
                      <a:lnTo>
                        <a:pt x="3429" y="27432"/>
                      </a:lnTo>
                      <a:lnTo>
                        <a:pt x="2539" y="27432"/>
                      </a:lnTo>
                      <a:lnTo>
                        <a:pt x="889" y="26543"/>
                      </a:lnTo>
                      <a:lnTo>
                        <a:pt x="0" y="25781"/>
                      </a:lnTo>
                      <a:lnTo>
                        <a:pt x="0" y="24130"/>
                      </a:lnTo>
                      <a:lnTo>
                        <a:pt x="0" y="4190"/>
                      </a:lnTo>
                      <a:lnTo>
                        <a:pt x="0" y="2539"/>
                      </a:lnTo>
                      <a:lnTo>
                        <a:pt x="889" y="1651"/>
                      </a:lnTo>
                      <a:lnTo>
                        <a:pt x="2539" y="888"/>
                      </a:lnTo>
                      <a:lnTo>
                        <a:pt x="3429" y="0"/>
                      </a:lnTo>
                      <a:lnTo>
                        <a:pt x="227329" y="0"/>
                      </a:lnTo>
                      <a:lnTo>
                        <a:pt x="229108" y="888"/>
                      </a:lnTo>
                      <a:lnTo>
                        <a:pt x="229870" y="1651"/>
                      </a:lnTo>
                      <a:lnTo>
                        <a:pt x="230759" y="2539"/>
                      </a:lnTo>
                      <a:lnTo>
                        <a:pt x="231647" y="4190"/>
                      </a:lnTo>
                      <a:lnTo>
                        <a:pt x="231647" y="24130"/>
                      </a:lnTo>
                      <a:lnTo>
                        <a:pt x="230759" y="25781"/>
                      </a:lnTo>
                      <a:lnTo>
                        <a:pt x="229870" y="26543"/>
                      </a:lnTo>
                      <a:lnTo>
                        <a:pt x="229108" y="27432"/>
                      </a:lnTo>
                      <a:lnTo>
                        <a:pt x="227329" y="27432"/>
                      </a:lnTo>
                      <a:close/>
                      <a:moveTo>
                        <a:pt x="213359" y="3288791"/>
                      </a:moveTo>
                      <a:moveTo>
                        <a:pt x="7747" y="19938"/>
                      </a:moveTo>
                      <a:lnTo>
                        <a:pt x="223901" y="19938"/>
                      </a:lnTo>
                      <a:lnTo>
                        <a:pt x="223901" y="7493"/>
                      </a:lnTo>
                      <a:lnTo>
                        <a:pt x="7747" y="7493"/>
                      </a:lnTo>
                      <a:lnTo>
                        <a:pt x="7747" y="19938"/>
                      </a:lnTo>
                      <a:close/>
                      <a:moveTo>
                        <a:pt x="220853" y="3288791"/>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69" name="Freeform 759">
                  <a:extLst>
                    <a:ext uri="{FF2B5EF4-FFF2-40B4-BE49-F238E27FC236}">
                      <a16:creationId xmlns:a16="http://schemas.microsoft.com/office/drawing/2014/main" id="{C39CEF94-22DD-4583-816E-7DF8962EA145}"/>
                    </a:ext>
                  </a:extLst>
                </p:cNvPr>
                <p:cNvSpPr/>
                <p:nvPr/>
              </p:nvSpPr>
              <p:spPr>
                <a:xfrm>
                  <a:off x="3028265" y="3587416"/>
                  <a:ext cx="335105" cy="27417"/>
                </a:xfrm>
                <a:custGeom>
                  <a:avLst/>
                  <a:gdLst/>
                  <a:ahLst/>
                  <a:cxnLst/>
                  <a:rect l="0" t="0" r="0" b="0"/>
                  <a:pathLst>
                    <a:path w="335280" h="27431">
                      <a:moveTo>
                        <a:pt x="0" y="22859"/>
                      </a:moveTo>
                      <a:lnTo>
                        <a:pt x="0" y="4571"/>
                      </a:lnTo>
                      <a:lnTo>
                        <a:pt x="0" y="2794"/>
                      </a:lnTo>
                      <a:lnTo>
                        <a:pt x="888" y="1777"/>
                      </a:lnTo>
                      <a:lnTo>
                        <a:pt x="2540" y="888"/>
                      </a:lnTo>
                      <a:lnTo>
                        <a:pt x="3428" y="0"/>
                      </a:lnTo>
                      <a:lnTo>
                        <a:pt x="331851" y="0"/>
                      </a:lnTo>
                      <a:lnTo>
                        <a:pt x="333501" y="888"/>
                      </a:lnTo>
                      <a:lnTo>
                        <a:pt x="334390" y="1777"/>
                      </a:lnTo>
                      <a:lnTo>
                        <a:pt x="335280" y="2794"/>
                      </a:lnTo>
                      <a:lnTo>
                        <a:pt x="335280" y="4571"/>
                      </a:lnTo>
                      <a:lnTo>
                        <a:pt x="335280" y="22859"/>
                      </a:lnTo>
                      <a:lnTo>
                        <a:pt x="335280" y="24637"/>
                      </a:lnTo>
                      <a:lnTo>
                        <a:pt x="334390" y="25653"/>
                      </a:lnTo>
                      <a:lnTo>
                        <a:pt x="333501" y="26543"/>
                      </a:lnTo>
                      <a:lnTo>
                        <a:pt x="331851" y="27431"/>
                      </a:lnTo>
                      <a:lnTo>
                        <a:pt x="330072" y="26543"/>
                      </a:lnTo>
                      <a:lnTo>
                        <a:pt x="329183" y="25653"/>
                      </a:lnTo>
                      <a:lnTo>
                        <a:pt x="328295" y="24637"/>
                      </a:lnTo>
                      <a:lnTo>
                        <a:pt x="327532" y="22859"/>
                      </a:lnTo>
                      <a:lnTo>
                        <a:pt x="327532" y="8255"/>
                      </a:lnTo>
                      <a:lnTo>
                        <a:pt x="7746" y="8255"/>
                      </a:lnTo>
                      <a:lnTo>
                        <a:pt x="7746" y="22859"/>
                      </a:lnTo>
                      <a:lnTo>
                        <a:pt x="7746" y="24637"/>
                      </a:lnTo>
                      <a:lnTo>
                        <a:pt x="6984" y="25653"/>
                      </a:lnTo>
                      <a:lnTo>
                        <a:pt x="5206" y="26543"/>
                      </a:lnTo>
                      <a:lnTo>
                        <a:pt x="3428" y="27431"/>
                      </a:lnTo>
                      <a:lnTo>
                        <a:pt x="0" y="22859"/>
                      </a:lnTo>
                      <a:close/>
                      <a:moveTo>
                        <a:pt x="220980" y="3270503"/>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70" name="Freeform 760">
                  <a:extLst>
                    <a:ext uri="{FF2B5EF4-FFF2-40B4-BE49-F238E27FC236}">
                      <a16:creationId xmlns:a16="http://schemas.microsoft.com/office/drawing/2014/main" id="{1A333910-D66E-4C4B-B8A4-1118021C2C7A}"/>
                    </a:ext>
                  </a:extLst>
                </p:cNvPr>
                <p:cNvSpPr/>
                <p:nvPr/>
              </p:nvSpPr>
              <p:spPr>
                <a:xfrm>
                  <a:off x="3028265" y="3587416"/>
                  <a:ext cx="335105" cy="27417"/>
                </a:xfrm>
                <a:custGeom>
                  <a:avLst/>
                  <a:gdLst/>
                  <a:ahLst/>
                  <a:cxnLst/>
                  <a:rect l="0" t="0" r="0" b="0"/>
                  <a:pathLst>
                    <a:path w="335280" h="27431">
                      <a:moveTo>
                        <a:pt x="0" y="22859"/>
                      </a:moveTo>
                      <a:lnTo>
                        <a:pt x="0" y="4571"/>
                      </a:lnTo>
                      <a:lnTo>
                        <a:pt x="0" y="2794"/>
                      </a:lnTo>
                      <a:lnTo>
                        <a:pt x="888" y="1777"/>
                      </a:lnTo>
                      <a:lnTo>
                        <a:pt x="2540" y="888"/>
                      </a:lnTo>
                      <a:lnTo>
                        <a:pt x="3428" y="0"/>
                      </a:lnTo>
                      <a:lnTo>
                        <a:pt x="331851" y="0"/>
                      </a:lnTo>
                      <a:lnTo>
                        <a:pt x="333501" y="888"/>
                      </a:lnTo>
                      <a:lnTo>
                        <a:pt x="334390" y="1777"/>
                      </a:lnTo>
                      <a:lnTo>
                        <a:pt x="335280" y="2794"/>
                      </a:lnTo>
                      <a:lnTo>
                        <a:pt x="335280" y="4571"/>
                      </a:lnTo>
                      <a:lnTo>
                        <a:pt x="335280" y="22859"/>
                      </a:lnTo>
                      <a:lnTo>
                        <a:pt x="335280" y="24637"/>
                      </a:lnTo>
                      <a:lnTo>
                        <a:pt x="334390" y="25653"/>
                      </a:lnTo>
                      <a:lnTo>
                        <a:pt x="333501" y="26543"/>
                      </a:lnTo>
                      <a:lnTo>
                        <a:pt x="331851" y="27431"/>
                      </a:lnTo>
                      <a:lnTo>
                        <a:pt x="330072" y="26543"/>
                      </a:lnTo>
                      <a:lnTo>
                        <a:pt x="329183" y="25653"/>
                      </a:lnTo>
                      <a:lnTo>
                        <a:pt x="328295" y="24637"/>
                      </a:lnTo>
                      <a:lnTo>
                        <a:pt x="327532" y="22859"/>
                      </a:lnTo>
                      <a:lnTo>
                        <a:pt x="327532" y="8255"/>
                      </a:lnTo>
                      <a:lnTo>
                        <a:pt x="7746" y="8255"/>
                      </a:lnTo>
                      <a:lnTo>
                        <a:pt x="7746" y="22859"/>
                      </a:lnTo>
                      <a:lnTo>
                        <a:pt x="7746" y="24637"/>
                      </a:lnTo>
                      <a:lnTo>
                        <a:pt x="6984" y="25653"/>
                      </a:lnTo>
                      <a:lnTo>
                        <a:pt x="5206" y="26543"/>
                      </a:lnTo>
                      <a:lnTo>
                        <a:pt x="3428" y="27431"/>
                      </a:ln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71" name="Freeform 761">
                  <a:extLst>
                    <a:ext uri="{FF2B5EF4-FFF2-40B4-BE49-F238E27FC236}">
                      <a16:creationId xmlns:a16="http://schemas.microsoft.com/office/drawing/2014/main" id="{3C85614B-757D-4FF2-85CE-A89B9B63982E}"/>
                    </a:ext>
                  </a:extLst>
                </p:cNvPr>
                <p:cNvSpPr/>
                <p:nvPr/>
              </p:nvSpPr>
              <p:spPr>
                <a:xfrm>
                  <a:off x="3064821" y="3508208"/>
                  <a:ext cx="60929" cy="67021"/>
                </a:xfrm>
                <a:custGeom>
                  <a:avLst/>
                  <a:gdLst/>
                  <a:ahLst/>
                  <a:cxnLst/>
                  <a:rect l="0" t="0" r="0" b="0"/>
                  <a:pathLst>
                    <a:path w="60961" h="67056">
                      <a:moveTo>
                        <a:pt x="57531" y="67056"/>
                      </a:moveTo>
                      <a:lnTo>
                        <a:pt x="3430" y="67056"/>
                      </a:lnTo>
                      <a:lnTo>
                        <a:pt x="2540" y="67056"/>
                      </a:lnTo>
                      <a:lnTo>
                        <a:pt x="890" y="66168"/>
                      </a:lnTo>
                      <a:lnTo>
                        <a:pt x="0" y="65279"/>
                      </a:lnTo>
                      <a:lnTo>
                        <a:pt x="0" y="63627"/>
                      </a:lnTo>
                      <a:lnTo>
                        <a:pt x="0" y="3430"/>
                      </a:lnTo>
                      <a:lnTo>
                        <a:pt x="0" y="1779"/>
                      </a:lnTo>
                      <a:lnTo>
                        <a:pt x="890" y="889"/>
                      </a:lnTo>
                      <a:lnTo>
                        <a:pt x="2540" y="0"/>
                      </a:lnTo>
                      <a:lnTo>
                        <a:pt x="3430" y="0"/>
                      </a:lnTo>
                      <a:lnTo>
                        <a:pt x="57531" y="0"/>
                      </a:lnTo>
                      <a:lnTo>
                        <a:pt x="58421" y="0"/>
                      </a:lnTo>
                      <a:lnTo>
                        <a:pt x="60071" y="889"/>
                      </a:lnTo>
                      <a:lnTo>
                        <a:pt x="60961" y="1779"/>
                      </a:lnTo>
                      <a:lnTo>
                        <a:pt x="60961" y="3430"/>
                      </a:lnTo>
                      <a:lnTo>
                        <a:pt x="60961" y="63627"/>
                      </a:lnTo>
                      <a:lnTo>
                        <a:pt x="60961" y="65279"/>
                      </a:lnTo>
                      <a:lnTo>
                        <a:pt x="60071" y="66168"/>
                      </a:lnTo>
                      <a:lnTo>
                        <a:pt x="58421" y="67056"/>
                      </a:lnTo>
                      <a:lnTo>
                        <a:pt x="57531" y="67056"/>
                      </a:lnTo>
                      <a:close/>
                      <a:moveTo>
                        <a:pt x="219457" y="3349752"/>
                      </a:moveTo>
                      <a:moveTo>
                        <a:pt x="7747" y="59182"/>
                      </a:moveTo>
                      <a:lnTo>
                        <a:pt x="53213" y="59182"/>
                      </a:lnTo>
                      <a:lnTo>
                        <a:pt x="53213" y="7874"/>
                      </a:lnTo>
                      <a:lnTo>
                        <a:pt x="7747" y="7874"/>
                      </a:lnTo>
                      <a:lnTo>
                        <a:pt x="7747" y="59182"/>
                      </a:lnTo>
                      <a:close/>
                      <a:moveTo>
                        <a:pt x="227331" y="3349752"/>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72" name="Freeform 762">
                  <a:extLst>
                    <a:ext uri="{FF2B5EF4-FFF2-40B4-BE49-F238E27FC236}">
                      <a16:creationId xmlns:a16="http://schemas.microsoft.com/office/drawing/2014/main" id="{060100A8-8447-47FB-8632-0697E71E784F}"/>
                    </a:ext>
                  </a:extLst>
                </p:cNvPr>
                <p:cNvSpPr/>
                <p:nvPr/>
              </p:nvSpPr>
              <p:spPr>
                <a:xfrm>
                  <a:off x="3134888" y="3508208"/>
                  <a:ext cx="60928" cy="67021"/>
                </a:xfrm>
                <a:custGeom>
                  <a:avLst/>
                  <a:gdLst/>
                  <a:ahLst/>
                  <a:cxnLst/>
                  <a:rect l="0" t="0" r="0" b="0"/>
                  <a:pathLst>
                    <a:path w="60960" h="67056">
                      <a:moveTo>
                        <a:pt x="56769" y="67056"/>
                      </a:moveTo>
                      <a:lnTo>
                        <a:pt x="4191" y="67056"/>
                      </a:lnTo>
                      <a:lnTo>
                        <a:pt x="2539" y="67056"/>
                      </a:lnTo>
                      <a:lnTo>
                        <a:pt x="1651" y="66168"/>
                      </a:lnTo>
                      <a:lnTo>
                        <a:pt x="888" y="65279"/>
                      </a:lnTo>
                      <a:lnTo>
                        <a:pt x="0" y="63627"/>
                      </a:lnTo>
                      <a:lnTo>
                        <a:pt x="0" y="3430"/>
                      </a:lnTo>
                      <a:lnTo>
                        <a:pt x="888" y="1779"/>
                      </a:lnTo>
                      <a:lnTo>
                        <a:pt x="1651" y="889"/>
                      </a:lnTo>
                      <a:lnTo>
                        <a:pt x="2539" y="0"/>
                      </a:lnTo>
                      <a:lnTo>
                        <a:pt x="4191" y="0"/>
                      </a:lnTo>
                      <a:lnTo>
                        <a:pt x="56769" y="0"/>
                      </a:lnTo>
                      <a:lnTo>
                        <a:pt x="58420" y="0"/>
                      </a:lnTo>
                      <a:lnTo>
                        <a:pt x="59308" y="889"/>
                      </a:lnTo>
                      <a:lnTo>
                        <a:pt x="60070" y="1779"/>
                      </a:lnTo>
                      <a:lnTo>
                        <a:pt x="60960" y="3430"/>
                      </a:lnTo>
                      <a:lnTo>
                        <a:pt x="60960" y="63627"/>
                      </a:lnTo>
                      <a:lnTo>
                        <a:pt x="60070" y="65279"/>
                      </a:lnTo>
                      <a:lnTo>
                        <a:pt x="59308" y="66168"/>
                      </a:lnTo>
                      <a:lnTo>
                        <a:pt x="58420" y="67056"/>
                      </a:lnTo>
                      <a:lnTo>
                        <a:pt x="56769" y="67056"/>
                      </a:lnTo>
                      <a:close/>
                      <a:moveTo>
                        <a:pt x="149352" y="3349752"/>
                      </a:moveTo>
                      <a:moveTo>
                        <a:pt x="7620" y="59182"/>
                      </a:moveTo>
                      <a:lnTo>
                        <a:pt x="53339" y="59182"/>
                      </a:lnTo>
                      <a:lnTo>
                        <a:pt x="53339" y="7874"/>
                      </a:lnTo>
                      <a:lnTo>
                        <a:pt x="7620" y="7874"/>
                      </a:lnTo>
                      <a:lnTo>
                        <a:pt x="7620" y="59182"/>
                      </a:lnTo>
                      <a:close/>
                      <a:moveTo>
                        <a:pt x="157226" y="3349752"/>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73" name="Freeform 763">
                  <a:extLst>
                    <a:ext uri="{FF2B5EF4-FFF2-40B4-BE49-F238E27FC236}">
                      <a16:creationId xmlns:a16="http://schemas.microsoft.com/office/drawing/2014/main" id="{33F37189-D04A-40D7-A06B-59AAA3698F0F}"/>
                    </a:ext>
                  </a:extLst>
                </p:cNvPr>
                <p:cNvSpPr/>
                <p:nvPr/>
              </p:nvSpPr>
              <p:spPr>
                <a:xfrm>
                  <a:off x="3204956" y="3508208"/>
                  <a:ext cx="60928" cy="67021"/>
                </a:xfrm>
                <a:custGeom>
                  <a:avLst/>
                  <a:gdLst/>
                  <a:ahLst/>
                  <a:cxnLst/>
                  <a:rect l="0" t="0" r="0" b="0"/>
                  <a:pathLst>
                    <a:path w="60960" h="67056">
                      <a:moveTo>
                        <a:pt x="57530" y="67056"/>
                      </a:moveTo>
                      <a:lnTo>
                        <a:pt x="3428" y="67056"/>
                      </a:lnTo>
                      <a:lnTo>
                        <a:pt x="1778" y="67056"/>
                      </a:lnTo>
                      <a:lnTo>
                        <a:pt x="888" y="66168"/>
                      </a:lnTo>
                      <a:lnTo>
                        <a:pt x="0" y="65279"/>
                      </a:lnTo>
                      <a:lnTo>
                        <a:pt x="0" y="63627"/>
                      </a:lnTo>
                      <a:lnTo>
                        <a:pt x="0" y="3430"/>
                      </a:lnTo>
                      <a:lnTo>
                        <a:pt x="0" y="1779"/>
                      </a:lnTo>
                      <a:lnTo>
                        <a:pt x="888" y="889"/>
                      </a:lnTo>
                      <a:lnTo>
                        <a:pt x="1778" y="0"/>
                      </a:lnTo>
                      <a:lnTo>
                        <a:pt x="3428" y="0"/>
                      </a:lnTo>
                      <a:lnTo>
                        <a:pt x="57530" y="0"/>
                      </a:lnTo>
                      <a:lnTo>
                        <a:pt x="58419" y="0"/>
                      </a:lnTo>
                      <a:lnTo>
                        <a:pt x="60071" y="889"/>
                      </a:lnTo>
                      <a:lnTo>
                        <a:pt x="60960" y="1779"/>
                      </a:lnTo>
                      <a:lnTo>
                        <a:pt x="60960" y="3430"/>
                      </a:lnTo>
                      <a:lnTo>
                        <a:pt x="60960" y="63627"/>
                      </a:lnTo>
                      <a:lnTo>
                        <a:pt x="60960" y="65279"/>
                      </a:lnTo>
                      <a:lnTo>
                        <a:pt x="60071" y="66168"/>
                      </a:lnTo>
                      <a:lnTo>
                        <a:pt x="58419" y="67056"/>
                      </a:lnTo>
                      <a:lnTo>
                        <a:pt x="57530" y="67056"/>
                      </a:lnTo>
                      <a:close/>
                      <a:moveTo>
                        <a:pt x="79248" y="3349752"/>
                      </a:moveTo>
                      <a:moveTo>
                        <a:pt x="7747" y="59182"/>
                      </a:moveTo>
                      <a:lnTo>
                        <a:pt x="53212" y="59182"/>
                      </a:lnTo>
                      <a:lnTo>
                        <a:pt x="53212" y="7874"/>
                      </a:lnTo>
                      <a:lnTo>
                        <a:pt x="7747" y="7874"/>
                      </a:lnTo>
                      <a:lnTo>
                        <a:pt x="7747" y="59182"/>
                      </a:lnTo>
                      <a:close/>
                      <a:moveTo>
                        <a:pt x="87122" y="3349752"/>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74" name="Freeform 764">
                  <a:extLst>
                    <a:ext uri="{FF2B5EF4-FFF2-40B4-BE49-F238E27FC236}">
                      <a16:creationId xmlns:a16="http://schemas.microsoft.com/office/drawing/2014/main" id="{945C25B1-58E1-465D-9295-DF495574918E}"/>
                    </a:ext>
                  </a:extLst>
                </p:cNvPr>
                <p:cNvSpPr/>
                <p:nvPr/>
              </p:nvSpPr>
              <p:spPr>
                <a:xfrm>
                  <a:off x="3092239" y="3523440"/>
                  <a:ext cx="9139" cy="51788"/>
                </a:xfrm>
                <a:custGeom>
                  <a:avLst/>
                  <a:gdLst/>
                  <a:ahLst/>
                  <a:cxnLst/>
                  <a:rect l="0" t="0" r="0" b="0"/>
                  <a:pathLst>
                    <a:path w="9144" h="51815">
                      <a:moveTo>
                        <a:pt x="5079" y="51815"/>
                      </a:moveTo>
                      <a:lnTo>
                        <a:pt x="5079" y="51815"/>
                      </a:lnTo>
                      <a:lnTo>
                        <a:pt x="3048" y="51815"/>
                      </a:lnTo>
                      <a:lnTo>
                        <a:pt x="1016" y="50927"/>
                      </a:lnTo>
                      <a:lnTo>
                        <a:pt x="0" y="50038"/>
                      </a:lnTo>
                      <a:lnTo>
                        <a:pt x="0" y="48259"/>
                      </a:lnTo>
                      <a:lnTo>
                        <a:pt x="0" y="3556"/>
                      </a:lnTo>
                      <a:lnTo>
                        <a:pt x="0" y="1777"/>
                      </a:lnTo>
                      <a:lnTo>
                        <a:pt x="1016" y="889"/>
                      </a:lnTo>
                      <a:lnTo>
                        <a:pt x="3048" y="0"/>
                      </a:lnTo>
                      <a:lnTo>
                        <a:pt x="5079" y="0"/>
                      </a:lnTo>
                      <a:lnTo>
                        <a:pt x="6095" y="0"/>
                      </a:lnTo>
                      <a:lnTo>
                        <a:pt x="8128" y="889"/>
                      </a:lnTo>
                      <a:lnTo>
                        <a:pt x="9144" y="1777"/>
                      </a:lnTo>
                      <a:lnTo>
                        <a:pt x="9144" y="3556"/>
                      </a:lnTo>
                      <a:lnTo>
                        <a:pt x="9144" y="48259"/>
                      </a:lnTo>
                      <a:lnTo>
                        <a:pt x="9144" y="50038"/>
                      </a:lnTo>
                      <a:lnTo>
                        <a:pt x="8128" y="50927"/>
                      </a:lnTo>
                      <a:lnTo>
                        <a:pt x="6095" y="51815"/>
                      </a:lnTo>
                      <a:lnTo>
                        <a:pt x="5079" y="51815"/>
                      </a:lnTo>
                      <a:close/>
                      <a:moveTo>
                        <a:pt x="192024" y="3334511"/>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75" name="Freeform 765">
                  <a:extLst>
                    <a:ext uri="{FF2B5EF4-FFF2-40B4-BE49-F238E27FC236}">
                      <a16:creationId xmlns:a16="http://schemas.microsoft.com/office/drawing/2014/main" id="{704530AF-57DB-41E4-9629-285665D57CCC}"/>
                    </a:ext>
                  </a:extLst>
                </p:cNvPr>
                <p:cNvSpPr/>
                <p:nvPr/>
              </p:nvSpPr>
              <p:spPr>
                <a:xfrm>
                  <a:off x="3067867" y="3523441"/>
                  <a:ext cx="57882" cy="9139"/>
                </a:xfrm>
                <a:custGeom>
                  <a:avLst/>
                  <a:gdLst/>
                  <a:ahLst/>
                  <a:cxnLst/>
                  <a:rect l="0" t="0" r="0" b="0"/>
                  <a:pathLst>
                    <a:path w="57912" h="9144">
                      <a:moveTo>
                        <a:pt x="53466" y="9144"/>
                      </a:moveTo>
                      <a:lnTo>
                        <a:pt x="3556" y="9144"/>
                      </a:lnTo>
                      <a:lnTo>
                        <a:pt x="1778" y="9144"/>
                      </a:lnTo>
                      <a:lnTo>
                        <a:pt x="888" y="8127"/>
                      </a:lnTo>
                      <a:lnTo>
                        <a:pt x="0" y="6096"/>
                      </a:lnTo>
                      <a:lnTo>
                        <a:pt x="0" y="5079"/>
                      </a:lnTo>
                      <a:lnTo>
                        <a:pt x="0" y="3047"/>
                      </a:lnTo>
                      <a:lnTo>
                        <a:pt x="888" y="1015"/>
                      </a:lnTo>
                      <a:lnTo>
                        <a:pt x="1778" y="0"/>
                      </a:lnTo>
                      <a:lnTo>
                        <a:pt x="3556" y="0"/>
                      </a:lnTo>
                      <a:lnTo>
                        <a:pt x="53466" y="0"/>
                      </a:lnTo>
                      <a:lnTo>
                        <a:pt x="55244" y="0"/>
                      </a:lnTo>
                      <a:lnTo>
                        <a:pt x="56134" y="1015"/>
                      </a:lnTo>
                      <a:lnTo>
                        <a:pt x="57022" y="3047"/>
                      </a:lnTo>
                      <a:lnTo>
                        <a:pt x="57912" y="5079"/>
                      </a:lnTo>
                      <a:lnTo>
                        <a:pt x="57022" y="6096"/>
                      </a:lnTo>
                      <a:lnTo>
                        <a:pt x="56134" y="8127"/>
                      </a:lnTo>
                      <a:lnTo>
                        <a:pt x="55244" y="9144"/>
                      </a:lnTo>
                      <a:lnTo>
                        <a:pt x="53466" y="9144"/>
                      </a:lnTo>
                      <a:close/>
                      <a:moveTo>
                        <a:pt x="259079" y="3334511"/>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76" name="Freeform 766">
                  <a:extLst>
                    <a:ext uri="{FF2B5EF4-FFF2-40B4-BE49-F238E27FC236}">
                      <a16:creationId xmlns:a16="http://schemas.microsoft.com/office/drawing/2014/main" id="{2FBB4819-A311-40F2-8A12-C8D5C6757329}"/>
                    </a:ext>
                  </a:extLst>
                </p:cNvPr>
                <p:cNvSpPr/>
                <p:nvPr/>
              </p:nvSpPr>
              <p:spPr>
                <a:xfrm>
                  <a:off x="3162307" y="3523440"/>
                  <a:ext cx="9139" cy="51788"/>
                </a:xfrm>
                <a:custGeom>
                  <a:avLst/>
                  <a:gdLst/>
                  <a:ahLst/>
                  <a:cxnLst/>
                  <a:rect l="0" t="0" r="0" b="0"/>
                  <a:pathLst>
                    <a:path w="9144" h="51815">
                      <a:moveTo>
                        <a:pt x="4063" y="51815"/>
                      </a:moveTo>
                      <a:lnTo>
                        <a:pt x="4063" y="51815"/>
                      </a:lnTo>
                      <a:lnTo>
                        <a:pt x="2031" y="51815"/>
                      </a:lnTo>
                      <a:lnTo>
                        <a:pt x="1016" y="50927"/>
                      </a:lnTo>
                      <a:lnTo>
                        <a:pt x="0" y="50038"/>
                      </a:lnTo>
                      <a:lnTo>
                        <a:pt x="0" y="48259"/>
                      </a:lnTo>
                      <a:lnTo>
                        <a:pt x="0" y="3556"/>
                      </a:lnTo>
                      <a:lnTo>
                        <a:pt x="0" y="1777"/>
                      </a:lnTo>
                      <a:lnTo>
                        <a:pt x="1016" y="889"/>
                      </a:lnTo>
                      <a:lnTo>
                        <a:pt x="2031" y="0"/>
                      </a:lnTo>
                      <a:lnTo>
                        <a:pt x="4063" y="0"/>
                      </a:lnTo>
                      <a:lnTo>
                        <a:pt x="6096" y="0"/>
                      </a:lnTo>
                      <a:lnTo>
                        <a:pt x="7112" y="889"/>
                      </a:lnTo>
                      <a:lnTo>
                        <a:pt x="8128" y="1777"/>
                      </a:lnTo>
                      <a:lnTo>
                        <a:pt x="9144" y="3556"/>
                      </a:lnTo>
                      <a:lnTo>
                        <a:pt x="9144" y="48259"/>
                      </a:lnTo>
                      <a:lnTo>
                        <a:pt x="8128" y="50038"/>
                      </a:lnTo>
                      <a:lnTo>
                        <a:pt x="7112" y="50927"/>
                      </a:lnTo>
                      <a:lnTo>
                        <a:pt x="6096" y="51815"/>
                      </a:lnTo>
                      <a:lnTo>
                        <a:pt x="4063" y="51815"/>
                      </a:lnTo>
                      <a:close/>
                      <a:moveTo>
                        <a:pt x="121920" y="3334511"/>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77" name="Freeform 767">
                  <a:extLst>
                    <a:ext uri="{FF2B5EF4-FFF2-40B4-BE49-F238E27FC236}">
                      <a16:creationId xmlns:a16="http://schemas.microsoft.com/office/drawing/2014/main" id="{E34AB2AB-131D-4093-BAA8-E1523B8B505A}"/>
                    </a:ext>
                  </a:extLst>
                </p:cNvPr>
                <p:cNvSpPr/>
                <p:nvPr/>
              </p:nvSpPr>
              <p:spPr>
                <a:xfrm>
                  <a:off x="3137934" y="3523441"/>
                  <a:ext cx="57882" cy="9139"/>
                </a:xfrm>
                <a:custGeom>
                  <a:avLst/>
                  <a:gdLst/>
                  <a:ahLst/>
                  <a:cxnLst/>
                  <a:rect l="0" t="0" r="0" b="0"/>
                  <a:pathLst>
                    <a:path w="57912" h="9144">
                      <a:moveTo>
                        <a:pt x="54356" y="9144"/>
                      </a:moveTo>
                      <a:lnTo>
                        <a:pt x="4444" y="9144"/>
                      </a:lnTo>
                      <a:lnTo>
                        <a:pt x="2666" y="9144"/>
                      </a:lnTo>
                      <a:lnTo>
                        <a:pt x="888" y="8127"/>
                      </a:lnTo>
                      <a:lnTo>
                        <a:pt x="0" y="6096"/>
                      </a:lnTo>
                      <a:lnTo>
                        <a:pt x="0" y="5079"/>
                      </a:lnTo>
                      <a:lnTo>
                        <a:pt x="0" y="3047"/>
                      </a:lnTo>
                      <a:lnTo>
                        <a:pt x="888" y="1015"/>
                      </a:lnTo>
                      <a:lnTo>
                        <a:pt x="2666" y="0"/>
                      </a:lnTo>
                      <a:lnTo>
                        <a:pt x="4444" y="0"/>
                      </a:lnTo>
                      <a:lnTo>
                        <a:pt x="54356" y="0"/>
                      </a:lnTo>
                      <a:lnTo>
                        <a:pt x="55244" y="0"/>
                      </a:lnTo>
                      <a:lnTo>
                        <a:pt x="57022" y="1015"/>
                      </a:lnTo>
                      <a:lnTo>
                        <a:pt x="57912" y="3047"/>
                      </a:lnTo>
                      <a:lnTo>
                        <a:pt x="57912" y="5079"/>
                      </a:lnTo>
                      <a:lnTo>
                        <a:pt x="57912" y="6096"/>
                      </a:lnTo>
                      <a:lnTo>
                        <a:pt x="57022" y="8127"/>
                      </a:lnTo>
                      <a:lnTo>
                        <a:pt x="55244" y="9144"/>
                      </a:lnTo>
                      <a:lnTo>
                        <a:pt x="54356" y="9144"/>
                      </a:lnTo>
                      <a:close/>
                      <a:moveTo>
                        <a:pt x="188975" y="3334511"/>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78" name="Freeform 768">
                  <a:extLst>
                    <a:ext uri="{FF2B5EF4-FFF2-40B4-BE49-F238E27FC236}">
                      <a16:creationId xmlns:a16="http://schemas.microsoft.com/office/drawing/2014/main" id="{BA47DC9E-E23E-4478-8ADF-53D2C8C53562}"/>
                    </a:ext>
                  </a:extLst>
                </p:cNvPr>
                <p:cNvSpPr/>
                <p:nvPr/>
              </p:nvSpPr>
              <p:spPr>
                <a:xfrm>
                  <a:off x="3229328" y="3523440"/>
                  <a:ext cx="9139" cy="51788"/>
                </a:xfrm>
                <a:custGeom>
                  <a:avLst/>
                  <a:gdLst/>
                  <a:ahLst/>
                  <a:cxnLst/>
                  <a:rect l="0" t="0" r="0" b="0"/>
                  <a:pathLst>
                    <a:path w="9144" h="51815">
                      <a:moveTo>
                        <a:pt x="4063" y="51815"/>
                      </a:moveTo>
                      <a:lnTo>
                        <a:pt x="4063" y="51815"/>
                      </a:lnTo>
                      <a:lnTo>
                        <a:pt x="2032" y="51815"/>
                      </a:lnTo>
                      <a:lnTo>
                        <a:pt x="1016" y="50927"/>
                      </a:lnTo>
                      <a:lnTo>
                        <a:pt x="0" y="50038"/>
                      </a:lnTo>
                      <a:lnTo>
                        <a:pt x="0" y="48259"/>
                      </a:lnTo>
                      <a:lnTo>
                        <a:pt x="0" y="3556"/>
                      </a:lnTo>
                      <a:lnTo>
                        <a:pt x="0" y="1777"/>
                      </a:lnTo>
                      <a:lnTo>
                        <a:pt x="1016" y="889"/>
                      </a:lnTo>
                      <a:lnTo>
                        <a:pt x="2032" y="0"/>
                      </a:lnTo>
                      <a:lnTo>
                        <a:pt x="4063" y="0"/>
                      </a:lnTo>
                      <a:lnTo>
                        <a:pt x="6095" y="0"/>
                      </a:lnTo>
                      <a:lnTo>
                        <a:pt x="7112" y="889"/>
                      </a:lnTo>
                      <a:lnTo>
                        <a:pt x="8128" y="1777"/>
                      </a:lnTo>
                      <a:lnTo>
                        <a:pt x="9144" y="3556"/>
                      </a:lnTo>
                      <a:lnTo>
                        <a:pt x="9144" y="48259"/>
                      </a:lnTo>
                      <a:lnTo>
                        <a:pt x="8128" y="50038"/>
                      </a:lnTo>
                      <a:lnTo>
                        <a:pt x="7112" y="50927"/>
                      </a:lnTo>
                      <a:lnTo>
                        <a:pt x="6095" y="51815"/>
                      </a:lnTo>
                      <a:lnTo>
                        <a:pt x="4063" y="51815"/>
                      </a:lnTo>
                      <a:close/>
                      <a:moveTo>
                        <a:pt x="54864" y="3334511"/>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79" name="Freeform 769">
                  <a:extLst>
                    <a:ext uri="{FF2B5EF4-FFF2-40B4-BE49-F238E27FC236}">
                      <a16:creationId xmlns:a16="http://schemas.microsoft.com/office/drawing/2014/main" id="{EB4F2486-156D-4651-9C96-C9D410C6EC37}"/>
                    </a:ext>
                  </a:extLst>
                </p:cNvPr>
                <p:cNvSpPr/>
                <p:nvPr/>
              </p:nvSpPr>
              <p:spPr>
                <a:xfrm>
                  <a:off x="3208002" y="3523441"/>
                  <a:ext cx="54835" cy="9139"/>
                </a:xfrm>
                <a:custGeom>
                  <a:avLst/>
                  <a:gdLst/>
                  <a:ahLst/>
                  <a:cxnLst/>
                  <a:rect l="0" t="0" r="0" b="0"/>
                  <a:pathLst>
                    <a:path w="54864" h="9144">
                      <a:moveTo>
                        <a:pt x="51563" y="9144"/>
                      </a:moveTo>
                      <a:lnTo>
                        <a:pt x="4191" y="9144"/>
                      </a:lnTo>
                      <a:lnTo>
                        <a:pt x="2540" y="9144"/>
                      </a:lnTo>
                      <a:lnTo>
                        <a:pt x="890" y="8127"/>
                      </a:lnTo>
                      <a:lnTo>
                        <a:pt x="890" y="6096"/>
                      </a:lnTo>
                      <a:lnTo>
                        <a:pt x="0" y="5079"/>
                      </a:lnTo>
                      <a:lnTo>
                        <a:pt x="890" y="3047"/>
                      </a:lnTo>
                      <a:lnTo>
                        <a:pt x="890" y="1015"/>
                      </a:lnTo>
                      <a:lnTo>
                        <a:pt x="2540" y="0"/>
                      </a:lnTo>
                      <a:lnTo>
                        <a:pt x="4191" y="0"/>
                      </a:lnTo>
                      <a:lnTo>
                        <a:pt x="51563" y="0"/>
                      </a:lnTo>
                      <a:lnTo>
                        <a:pt x="52325" y="0"/>
                      </a:lnTo>
                      <a:lnTo>
                        <a:pt x="53976" y="1015"/>
                      </a:lnTo>
                      <a:lnTo>
                        <a:pt x="54864" y="3047"/>
                      </a:lnTo>
                      <a:lnTo>
                        <a:pt x="54864" y="5079"/>
                      </a:lnTo>
                      <a:lnTo>
                        <a:pt x="54864" y="6096"/>
                      </a:lnTo>
                      <a:lnTo>
                        <a:pt x="53976" y="8127"/>
                      </a:lnTo>
                      <a:lnTo>
                        <a:pt x="52325" y="9144"/>
                      </a:lnTo>
                      <a:lnTo>
                        <a:pt x="51563" y="9144"/>
                      </a:lnTo>
                      <a:close/>
                      <a:moveTo>
                        <a:pt x="118872" y="3334511"/>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80" name="Freeform 770">
                  <a:extLst>
                    <a:ext uri="{FF2B5EF4-FFF2-40B4-BE49-F238E27FC236}">
                      <a16:creationId xmlns:a16="http://schemas.microsoft.com/office/drawing/2014/main" id="{409905E9-78F5-44A3-BAE3-E52DB7A85A7D}"/>
                    </a:ext>
                  </a:extLst>
                </p:cNvPr>
                <p:cNvSpPr/>
                <p:nvPr/>
              </p:nvSpPr>
              <p:spPr>
                <a:xfrm>
                  <a:off x="3064821" y="3322378"/>
                  <a:ext cx="60929" cy="170599"/>
                </a:xfrm>
                <a:custGeom>
                  <a:avLst/>
                  <a:gdLst/>
                  <a:ahLst/>
                  <a:cxnLst/>
                  <a:rect l="0" t="0" r="0" b="0"/>
                  <a:pathLst>
                    <a:path w="60961" h="170688">
                      <a:moveTo>
                        <a:pt x="57531" y="170688"/>
                      </a:moveTo>
                      <a:lnTo>
                        <a:pt x="3430" y="170688"/>
                      </a:lnTo>
                      <a:lnTo>
                        <a:pt x="2540" y="170688"/>
                      </a:lnTo>
                      <a:lnTo>
                        <a:pt x="890" y="169799"/>
                      </a:lnTo>
                      <a:lnTo>
                        <a:pt x="0" y="168147"/>
                      </a:lnTo>
                      <a:lnTo>
                        <a:pt x="0" y="166370"/>
                      </a:lnTo>
                      <a:lnTo>
                        <a:pt x="7747" y="3428"/>
                      </a:lnTo>
                      <a:lnTo>
                        <a:pt x="7747" y="2539"/>
                      </a:lnTo>
                      <a:lnTo>
                        <a:pt x="8637" y="889"/>
                      </a:lnTo>
                      <a:lnTo>
                        <a:pt x="9399" y="889"/>
                      </a:lnTo>
                      <a:lnTo>
                        <a:pt x="11177" y="0"/>
                      </a:lnTo>
                      <a:lnTo>
                        <a:pt x="42037" y="0"/>
                      </a:lnTo>
                      <a:lnTo>
                        <a:pt x="43815" y="889"/>
                      </a:lnTo>
                      <a:lnTo>
                        <a:pt x="44705" y="889"/>
                      </a:lnTo>
                      <a:lnTo>
                        <a:pt x="45466" y="2539"/>
                      </a:lnTo>
                      <a:lnTo>
                        <a:pt x="46356" y="3428"/>
                      </a:lnTo>
                      <a:lnTo>
                        <a:pt x="60961" y="166370"/>
                      </a:lnTo>
                      <a:lnTo>
                        <a:pt x="60961" y="168147"/>
                      </a:lnTo>
                      <a:lnTo>
                        <a:pt x="60071" y="169799"/>
                      </a:lnTo>
                      <a:lnTo>
                        <a:pt x="59183" y="170688"/>
                      </a:lnTo>
                      <a:lnTo>
                        <a:pt x="57531" y="170688"/>
                      </a:lnTo>
                      <a:close/>
                      <a:moveTo>
                        <a:pt x="301752" y="3535679"/>
                      </a:moveTo>
                      <a:moveTo>
                        <a:pt x="7747" y="162940"/>
                      </a:moveTo>
                      <a:lnTo>
                        <a:pt x="53213" y="162940"/>
                      </a:lnTo>
                      <a:lnTo>
                        <a:pt x="38609" y="7746"/>
                      </a:lnTo>
                      <a:lnTo>
                        <a:pt x="14606" y="7746"/>
                      </a:lnTo>
                      <a:lnTo>
                        <a:pt x="7747" y="162940"/>
                      </a:lnTo>
                      <a:close/>
                      <a:moveTo>
                        <a:pt x="309500" y="3535679"/>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81" name="Freeform 771">
                  <a:extLst>
                    <a:ext uri="{FF2B5EF4-FFF2-40B4-BE49-F238E27FC236}">
                      <a16:creationId xmlns:a16="http://schemas.microsoft.com/office/drawing/2014/main" id="{C1ABD732-DAEC-4C01-8EB1-E95474B9D4C6}"/>
                    </a:ext>
                  </a:extLst>
                </p:cNvPr>
                <p:cNvSpPr/>
                <p:nvPr/>
              </p:nvSpPr>
              <p:spPr>
                <a:xfrm>
                  <a:off x="3134888" y="3383304"/>
                  <a:ext cx="60928" cy="109672"/>
                </a:xfrm>
                <a:custGeom>
                  <a:avLst/>
                  <a:gdLst/>
                  <a:ahLst/>
                  <a:cxnLst/>
                  <a:rect l="0" t="0" r="0" b="0"/>
                  <a:pathLst>
                    <a:path w="60960" h="109729">
                      <a:moveTo>
                        <a:pt x="57531" y="109729"/>
                      </a:moveTo>
                      <a:lnTo>
                        <a:pt x="3429" y="109729"/>
                      </a:lnTo>
                      <a:lnTo>
                        <a:pt x="1778" y="109729"/>
                      </a:lnTo>
                      <a:lnTo>
                        <a:pt x="888" y="108840"/>
                      </a:lnTo>
                      <a:lnTo>
                        <a:pt x="0" y="107061"/>
                      </a:lnTo>
                      <a:lnTo>
                        <a:pt x="0" y="105411"/>
                      </a:lnTo>
                      <a:lnTo>
                        <a:pt x="7747" y="3430"/>
                      </a:lnTo>
                      <a:lnTo>
                        <a:pt x="7747" y="1779"/>
                      </a:lnTo>
                      <a:lnTo>
                        <a:pt x="8635" y="890"/>
                      </a:lnTo>
                      <a:lnTo>
                        <a:pt x="9398" y="0"/>
                      </a:lnTo>
                      <a:lnTo>
                        <a:pt x="11176" y="0"/>
                      </a:lnTo>
                      <a:lnTo>
                        <a:pt x="42036" y="0"/>
                      </a:lnTo>
                      <a:lnTo>
                        <a:pt x="44704" y="890"/>
                      </a:lnTo>
                      <a:lnTo>
                        <a:pt x="45466" y="3430"/>
                      </a:lnTo>
                      <a:lnTo>
                        <a:pt x="60960" y="105411"/>
                      </a:lnTo>
                      <a:lnTo>
                        <a:pt x="60960" y="107061"/>
                      </a:lnTo>
                      <a:lnTo>
                        <a:pt x="60070" y="108840"/>
                      </a:lnTo>
                      <a:lnTo>
                        <a:pt x="58420" y="109729"/>
                      </a:lnTo>
                      <a:lnTo>
                        <a:pt x="57531" y="109729"/>
                      </a:lnTo>
                      <a:close/>
                      <a:moveTo>
                        <a:pt x="231647" y="3474720"/>
                      </a:moveTo>
                      <a:moveTo>
                        <a:pt x="7747" y="101855"/>
                      </a:moveTo>
                      <a:lnTo>
                        <a:pt x="52323" y="101855"/>
                      </a:lnTo>
                      <a:lnTo>
                        <a:pt x="38607" y="7874"/>
                      </a:lnTo>
                      <a:lnTo>
                        <a:pt x="14604" y="7874"/>
                      </a:lnTo>
                      <a:lnTo>
                        <a:pt x="7747" y="101855"/>
                      </a:lnTo>
                      <a:close/>
                      <a:moveTo>
                        <a:pt x="239521" y="3474720"/>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82" name="Freeform 772">
                  <a:extLst>
                    <a:ext uri="{FF2B5EF4-FFF2-40B4-BE49-F238E27FC236}">
                      <a16:creationId xmlns:a16="http://schemas.microsoft.com/office/drawing/2014/main" id="{D0006354-0220-47A3-8008-3AA60AD7F066}"/>
                    </a:ext>
                  </a:extLst>
                </p:cNvPr>
                <p:cNvSpPr/>
                <p:nvPr/>
              </p:nvSpPr>
              <p:spPr>
                <a:xfrm>
                  <a:off x="3204955" y="3459464"/>
                  <a:ext cx="118810" cy="33512"/>
                </a:xfrm>
                <a:custGeom>
                  <a:avLst/>
                  <a:gdLst/>
                  <a:ahLst/>
                  <a:cxnLst/>
                  <a:rect l="0" t="0" r="0" b="0"/>
                  <a:pathLst>
                    <a:path w="118872" h="33529">
                      <a:moveTo>
                        <a:pt x="115442" y="33529"/>
                      </a:moveTo>
                      <a:lnTo>
                        <a:pt x="3428" y="33529"/>
                      </a:lnTo>
                      <a:lnTo>
                        <a:pt x="1650" y="33529"/>
                      </a:lnTo>
                      <a:lnTo>
                        <a:pt x="888" y="32767"/>
                      </a:lnTo>
                      <a:lnTo>
                        <a:pt x="0" y="31116"/>
                      </a:lnTo>
                      <a:lnTo>
                        <a:pt x="0" y="30226"/>
                      </a:lnTo>
                      <a:lnTo>
                        <a:pt x="0" y="3303"/>
                      </a:lnTo>
                      <a:lnTo>
                        <a:pt x="0" y="2413"/>
                      </a:lnTo>
                      <a:lnTo>
                        <a:pt x="888" y="762"/>
                      </a:lnTo>
                      <a:lnTo>
                        <a:pt x="1650" y="0"/>
                      </a:lnTo>
                      <a:lnTo>
                        <a:pt x="3428" y="0"/>
                      </a:lnTo>
                      <a:lnTo>
                        <a:pt x="115442" y="0"/>
                      </a:lnTo>
                      <a:lnTo>
                        <a:pt x="116331" y="0"/>
                      </a:lnTo>
                      <a:lnTo>
                        <a:pt x="117982" y="762"/>
                      </a:lnTo>
                      <a:lnTo>
                        <a:pt x="118872" y="2413"/>
                      </a:lnTo>
                      <a:lnTo>
                        <a:pt x="118872" y="3303"/>
                      </a:lnTo>
                      <a:lnTo>
                        <a:pt x="118872" y="30226"/>
                      </a:lnTo>
                      <a:lnTo>
                        <a:pt x="118872" y="31116"/>
                      </a:lnTo>
                      <a:lnTo>
                        <a:pt x="117982" y="32767"/>
                      </a:lnTo>
                      <a:lnTo>
                        <a:pt x="116331" y="33529"/>
                      </a:lnTo>
                      <a:lnTo>
                        <a:pt x="115442" y="33529"/>
                      </a:lnTo>
                      <a:close/>
                      <a:moveTo>
                        <a:pt x="161543" y="3398520"/>
                      </a:moveTo>
                      <a:moveTo>
                        <a:pt x="7619" y="26162"/>
                      </a:moveTo>
                      <a:lnTo>
                        <a:pt x="111252" y="26162"/>
                      </a:lnTo>
                      <a:lnTo>
                        <a:pt x="111252" y="7367"/>
                      </a:lnTo>
                      <a:lnTo>
                        <a:pt x="7619" y="7367"/>
                      </a:lnTo>
                      <a:lnTo>
                        <a:pt x="7619" y="26162"/>
                      </a:lnTo>
                      <a:close/>
                      <a:moveTo>
                        <a:pt x="168910" y="3398520"/>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83" name="Freeform 773">
                  <a:extLst>
                    <a:ext uri="{FF2B5EF4-FFF2-40B4-BE49-F238E27FC236}">
                      <a16:creationId xmlns:a16="http://schemas.microsoft.com/office/drawing/2014/main" id="{2BBB9112-A0F7-45A5-B4FB-764A2AF5D0B6}"/>
                    </a:ext>
                  </a:extLst>
                </p:cNvPr>
                <p:cNvSpPr/>
                <p:nvPr/>
              </p:nvSpPr>
              <p:spPr>
                <a:xfrm>
                  <a:off x="3235420" y="3441186"/>
                  <a:ext cx="57883" cy="24372"/>
                </a:xfrm>
                <a:custGeom>
                  <a:avLst/>
                  <a:gdLst/>
                  <a:ahLst/>
                  <a:cxnLst/>
                  <a:rect l="0" t="0" r="0" b="0"/>
                  <a:pathLst>
                    <a:path w="57913" h="24385">
                      <a:moveTo>
                        <a:pt x="53594" y="24385"/>
                      </a:moveTo>
                      <a:lnTo>
                        <a:pt x="4318" y="24385"/>
                      </a:lnTo>
                      <a:lnTo>
                        <a:pt x="2540" y="24385"/>
                      </a:lnTo>
                      <a:lnTo>
                        <a:pt x="1652" y="23495"/>
                      </a:lnTo>
                      <a:lnTo>
                        <a:pt x="890" y="21844"/>
                      </a:lnTo>
                      <a:lnTo>
                        <a:pt x="0" y="20193"/>
                      </a:lnTo>
                      <a:lnTo>
                        <a:pt x="0" y="4192"/>
                      </a:lnTo>
                      <a:lnTo>
                        <a:pt x="890" y="2541"/>
                      </a:lnTo>
                      <a:lnTo>
                        <a:pt x="1652" y="889"/>
                      </a:lnTo>
                      <a:lnTo>
                        <a:pt x="2540" y="889"/>
                      </a:lnTo>
                      <a:lnTo>
                        <a:pt x="4318" y="0"/>
                      </a:lnTo>
                      <a:lnTo>
                        <a:pt x="53594" y="0"/>
                      </a:lnTo>
                      <a:lnTo>
                        <a:pt x="55373" y="889"/>
                      </a:lnTo>
                      <a:lnTo>
                        <a:pt x="56262" y="889"/>
                      </a:lnTo>
                      <a:lnTo>
                        <a:pt x="57024" y="2541"/>
                      </a:lnTo>
                      <a:lnTo>
                        <a:pt x="57913" y="4192"/>
                      </a:lnTo>
                      <a:lnTo>
                        <a:pt x="57913" y="20193"/>
                      </a:lnTo>
                      <a:lnTo>
                        <a:pt x="57024" y="21844"/>
                      </a:lnTo>
                      <a:lnTo>
                        <a:pt x="56262" y="23495"/>
                      </a:lnTo>
                      <a:lnTo>
                        <a:pt x="55373" y="24385"/>
                      </a:lnTo>
                      <a:lnTo>
                        <a:pt x="53594" y="24385"/>
                      </a:lnTo>
                      <a:close/>
                      <a:moveTo>
                        <a:pt x="158496" y="3416808"/>
                      </a:moveTo>
                      <a:moveTo>
                        <a:pt x="7621" y="16764"/>
                      </a:moveTo>
                      <a:lnTo>
                        <a:pt x="50293" y="16764"/>
                      </a:lnTo>
                      <a:lnTo>
                        <a:pt x="50293" y="7620"/>
                      </a:lnTo>
                      <a:lnTo>
                        <a:pt x="7621" y="7620"/>
                      </a:lnTo>
                      <a:lnTo>
                        <a:pt x="7621" y="16764"/>
                      </a:lnTo>
                      <a:close/>
                      <a:moveTo>
                        <a:pt x="166117" y="3416808"/>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84" name="Freeform 774">
                  <a:extLst>
                    <a:ext uri="{FF2B5EF4-FFF2-40B4-BE49-F238E27FC236}">
                      <a16:creationId xmlns:a16="http://schemas.microsoft.com/office/drawing/2014/main" id="{2863F0F4-8B9D-47A4-9980-BCCF62C6E052}"/>
                    </a:ext>
                  </a:extLst>
                </p:cNvPr>
                <p:cNvSpPr/>
                <p:nvPr/>
              </p:nvSpPr>
              <p:spPr>
                <a:xfrm>
                  <a:off x="3070912" y="3337609"/>
                  <a:ext cx="42650" cy="6093"/>
                </a:xfrm>
                <a:custGeom>
                  <a:avLst/>
                  <a:gdLst/>
                  <a:ahLst/>
                  <a:cxnLst/>
                  <a:rect l="0" t="0" r="0" b="0"/>
                  <a:pathLst>
                    <a:path w="42672" h="6096">
                      <a:moveTo>
                        <a:pt x="38990" y="6096"/>
                      </a:moveTo>
                      <a:lnTo>
                        <a:pt x="3684" y="6096"/>
                      </a:lnTo>
                      <a:lnTo>
                        <a:pt x="2667" y="6096"/>
                      </a:lnTo>
                      <a:lnTo>
                        <a:pt x="890" y="5462"/>
                      </a:lnTo>
                      <a:lnTo>
                        <a:pt x="0" y="4700"/>
                      </a:lnTo>
                      <a:lnTo>
                        <a:pt x="0" y="3430"/>
                      </a:lnTo>
                      <a:lnTo>
                        <a:pt x="0" y="2032"/>
                      </a:lnTo>
                      <a:lnTo>
                        <a:pt x="890" y="1398"/>
                      </a:lnTo>
                      <a:lnTo>
                        <a:pt x="2667" y="636"/>
                      </a:lnTo>
                      <a:lnTo>
                        <a:pt x="3684" y="0"/>
                      </a:lnTo>
                      <a:lnTo>
                        <a:pt x="38990" y="0"/>
                      </a:lnTo>
                      <a:lnTo>
                        <a:pt x="40006" y="636"/>
                      </a:lnTo>
                      <a:lnTo>
                        <a:pt x="41784" y="1398"/>
                      </a:lnTo>
                      <a:lnTo>
                        <a:pt x="42672" y="2032"/>
                      </a:lnTo>
                      <a:lnTo>
                        <a:pt x="42672" y="3430"/>
                      </a:lnTo>
                      <a:lnTo>
                        <a:pt x="42672" y="4700"/>
                      </a:lnTo>
                      <a:lnTo>
                        <a:pt x="41784" y="5462"/>
                      </a:lnTo>
                      <a:lnTo>
                        <a:pt x="40006" y="6096"/>
                      </a:lnTo>
                      <a:lnTo>
                        <a:pt x="38990" y="6096"/>
                      </a:lnTo>
                      <a:close/>
                      <a:moveTo>
                        <a:pt x="445009" y="3520440"/>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85" name="Freeform 775">
                  <a:extLst>
                    <a:ext uri="{FF2B5EF4-FFF2-40B4-BE49-F238E27FC236}">
                      <a16:creationId xmlns:a16="http://schemas.microsoft.com/office/drawing/2014/main" id="{0A0F7078-F125-483E-B8BC-0C4E88FCC5B2}"/>
                    </a:ext>
                  </a:extLst>
                </p:cNvPr>
                <p:cNvSpPr/>
                <p:nvPr/>
              </p:nvSpPr>
              <p:spPr>
                <a:xfrm>
                  <a:off x="3140980" y="3398538"/>
                  <a:ext cx="42650" cy="9139"/>
                </a:xfrm>
                <a:custGeom>
                  <a:avLst/>
                  <a:gdLst/>
                  <a:ahLst/>
                  <a:cxnLst/>
                  <a:rect l="0" t="0" r="0" b="0"/>
                  <a:pathLst>
                    <a:path w="42672" h="9144">
                      <a:moveTo>
                        <a:pt x="38228" y="9144"/>
                      </a:moveTo>
                      <a:lnTo>
                        <a:pt x="4446" y="9144"/>
                      </a:lnTo>
                      <a:lnTo>
                        <a:pt x="2668" y="9144"/>
                      </a:lnTo>
                      <a:lnTo>
                        <a:pt x="1778" y="8127"/>
                      </a:lnTo>
                      <a:lnTo>
                        <a:pt x="890" y="6095"/>
                      </a:lnTo>
                      <a:lnTo>
                        <a:pt x="0" y="5079"/>
                      </a:lnTo>
                      <a:lnTo>
                        <a:pt x="890" y="3047"/>
                      </a:lnTo>
                      <a:lnTo>
                        <a:pt x="1778" y="1015"/>
                      </a:lnTo>
                      <a:lnTo>
                        <a:pt x="2668" y="1015"/>
                      </a:lnTo>
                      <a:lnTo>
                        <a:pt x="4446" y="0"/>
                      </a:lnTo>
                      <a:lnTo>
                        <a:pt x="38228" y="0"/>
                      </a:lnTo>
                      <a:lnTo>
                        <a:pt x="40006" y="1015"/>
                      </a:lnTo>
                      <a:lnTo>
                        <a:pt x="40894" y="1015"/>
                      </a:lnTo>
                      <a:lnTo>
                        <a:pt x="41784" y="3047"/>
                      </a:lnTo>
                      <a:lnTo>
                        <a:pt x="42672" y="5079"/>
                      </a:lnTo>
                      <a:lnTo>
                        <a:pt x="41784" y="6095"/>
                      </a:lnTo>
                      <a:lnTo>
                        <a:pt x="40894" y="8127"/>
                      </a:lnTo>
                      <a:lnTo>
                        <a:pt x="40006" y="9144"/>
                      </a:lnTo>
                      <a:lnTo>
                        <a:pt x="38228" y="9144"/>
                      </a:lnTo>
                      <a:close/>
                      <a:moveTo>
                        <a:pt x="310896" y="3459479"/>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86" name="Freeform 776">
                  <a:extLst>
                    <a:ext uri="{FF2B5EF4-FFF2-40B4-BE49-F238E27FC236}">
                      <a16:creationId xmlns:a16="http://schemas.microsoft.com/office/drawing/2014/main" id="{C5E7DBA5-2C40-4E77-8AC4-45B25404B3FA}"/>
                    </a:ext>
                  </a:extLst>
                </p:cNvPr>
                <p:cNvSpPr/>
                <p:nvPr/>
              </p:nvSpPr>
              <p:spPr>
                <a:xfrm>
                  <a:off x="3275024" y="3508208"/>
                  <a:ext cx="48743" cy="88347"/>
                </a:xfrm>
                <a:custGeom>
                  <a:avLst/>
                  <a:gdLst/>
                  <a:ahLst/>
                  <a:cxnLst/>
                  <a:rect l="0" t="0" r="0" b="0"/>
                  <a:pathLst>
                    <a:path w="48768" h="88393">
                      <a:moveTo>
                        <a:pt x="45465" y="88393"/>
                      </a:moveTo>
                      <a:lnTo>
                        <a:pt x="3301" y="88393"/>
                      </a:lnTo>
                      <a:lnTo>
                        <a:pt x="1651" y="88393"/>
                      </a:lnTo>
                      <a:lnTo>
                        <a:pt x="888" y="87504"/>
                      </a:lnTo>
                      <a:lnTo>
                        <a:pt x="0" y="86614"/>
                      </a:lnTo>
                      <a:lnTo>
                        <a:pt x="0" y="84837"/>
                      </a:lnTo>
                      <a:lnTo>
                        <a:pt x="0" y="3556"/>
                      </a:lnTo>
                      <a:lnTo>
                        <a:pt x="0" y="1779"/>
                      </a:lnTo>
                      <a:lnTo>
                        <a:pt x="888" y="889"/>
                      </a:lnTo>
                      <a:lnTo>
                        <a:pt x="1651" y="0"/>
                      </a:lnTo>
                      <a:lnTo>
                        <a:pt x="3301" y="0"/>
                      </a:lnTo>
                      <a:lnTo>
                        <a:pt x="45465" y="0"/>
                      </a:lnTo>
                      <a:lnTo>
                        <a:pt x="46227" y="0"/>
                      </a:lnTo>
                      <a:lnTo>
                        <a:pt x="47878" y="889"/>
                      </a:lnTo>
                      <a:lnTo>
                        <a:pt x="48768" y="1779"/>
                      </a:lnTo>
                      <a:lnTo>
                        <a:pt x="48768" y="3556"/>
                      </a:lnTo>
                      <a:lnTo>
                        <a:pt x="48768" y="84837"/>
                      </a:lnTo>
                      <a:lnTo>
                        <a:pt x="48768" y="86614"/>
                      </a:lnTo>
                      <a:lnTo>
                        <a:pt x="47878" y="87504"/>
                      </a:lnTo>
                      <a:lnTo>
                        <a:pt x="46227" y="88393"/>
                      </a:lnTo>
                      <a:lnTo>
                        <a:pt x="45465" y="88393"/>
                      </a:lnTo>
                      <a:close/>
                      <a:moveTo>
                        <a:pt x="-12193" y="3349752"/>
                      </a:moveTo>
                      <a:moveTo>
                        <a:pt x="7619" y="80518"/>
                      </a:moveTo>
                      <a:lnTo>
                        <a:pt x="41148" y="80518"/>
                      </a:lnTo>
                      <a:lnTo>
                        <a:pt x="41148" y="7874"/>
                      </a:lnTo>
                      <a:lnTo>
                        <a:pt x="7619" y="7874"/>
                      </a:lnTo>
                      <a:lnTo>
                        <a:pt x="7619" y="80518"/>
                      </a:lnTo>
                      <a:close/>
                      <a:moveTo>
                        <a:pt x="-4318" y="3349752"/>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87" name="Freeform 777">
                  <a:extLst>
                    <a:ext uri="{FF2B5EF4-FFF2-40B4-BE49-F238E27FC236}">
                      <a16:creationId xmlns:a16="http://schemas.microsoft.com/office/drawing/2014/main" id="{C6804F73-0A4F-4BA7-B385-9818EA34031C}"/>
                    </a:ext>
                  </a:extLst>
                </p:cNvPr>
                <p:cNvSpPr/>
                <p:nvPr/>
              </p:nvSpPr>
              <p:spPr>
                <a:xfrm>
                  <a:off x="3296349" y="3508208"/>
                  <a:ext cx="6093" cy="88347"/>
                </a:xfrm>
                <a:custGeom>
                  <a:avLst/>
                  <a:gdLst/>
                  <a:ahLst/>
                  <a:cxnLst/>
                  <a:rect l="0" t="0" r="0" b="0"/>
                  <a:pathLst>
                    <a:path w="6096" h="88393">
                      <a:moveTo>
                        <a:pt x="3428" y="88393"/>
                      </a:moveTo>
                      <a:lnTo>
                        <a:pt x="3428" y="88393"/>
                      </a:lnTo>
                      <a:lnTo>
                        <a:pt x="2032" y="88393"/>
                      </a:lnTo>
                      <a:lnTo>
                        <a:pt x="1396" y="87504"/>
                      </a:lnTo>
                      <a:lnTo>
                        <a:pt x="634" y="86614"/>
                      </a:lnTo>
                      <a:lnTo>
                        <a:pt x="0" y="84837"/>
                      </a:lnTo>
                      <a:lnTo>
                        <a:pt x="0" y="3556"/>
                      </a:lnTo>
                      <a:lnTo>
                        <a:pt x="634" y="1779"/>
                      </a:lnTo>
                      <a:lnTo>
                        <a:pt x="1396" y="889"/>
                      </a:lnTo>
                      <a:lnTo>
                        <a:pt x="2032" y="0"/>
                      </a:lnTo>
                      <a:lnTo>
                        <a:pt x="3428" y="0"/>
                      </a:lnTo>
                      <a:lnTo>
                        <a:pt x="4698" y="0"/>
                      </a:lnTo>
                      <a:lnTo>
                        <a:pt x="5460" y="889"/>
                      </a:lnTo>
                      <a:lnTo>
                        <a:pt x="6096" y="1779"/>
                      </a:lnTo>
                      <a:lnTo>
                        <a:pt x="6096" y="3556"/>
                      </a:lnTo>
                      <a:lnTo>
                        <a:pt x="6096" y="84837"/>
                      </a:lnTo>
                      <a:lnTo>
                        <a:pt x="6096" y="86614"/>
                      </a:lnTo>
                      <a:lnTo>
                        <a:pt x="5460" y="87504"/>
                      </a:lnTo>
                      <a:lnTo>
                        <a:pt x="4698" y="88393"/>
                      </a:lnTo>
                      <a:lnTo>
                        <a:pt x="3428" y="88393"/>
                      </a:lnTo>
                      <a:close/>
                      <a:moveTo>
                        <a:pt x="-33529" y="3349752"/>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88" name="Freeform 778">
                  <a:extLst>
                    <a:ext uri="{FF2B5EF4-FFF2-40B4-BE49-F238E27FC236}">
                      <a16:creationId xmlns:a16="http://schemas.microsoft.com/office/drawing/2014/main" id="{0DA3041C-727D-4E03-83FF-6C6862669E96}"/>
                    </a:ext>
                  </a:extLst>
                </p:cNvPr>
                <p:cNvSpPr/>
                <p:nvPr/>
              </p:nvSpPr>
              <p:spPr>
                <a:xfrm>
                  <a:off x="3110517" y="3249262"/>
                  <a:ext cx="118810" cy="76160"/>
                </a:xfrm>
                <a:custGeom>
                  <a:avLst/>
                  <a:gdLst/>
                  <a:ahLst/>
                  <a:cxnLst/>
                  <a:rect l="0" t="0" r="0" b="0"/>
                  <a:pathLst>
                    <a:path w="118872" h="76200">
                      <a:moveTo>
                        <a:pt x="23367" y="76200"/>
                      </a:moveTo>
                      <a:lnTo>
                        <a:pt x="23367" y="76200"/>
                      </a:lnTo>
                      <a:lnTo>
                        <a:pt x="18160" y="76200"/>
                      </a:lnTo>
                      <a:lnTo>
                        <a:pt x="13842" y="75311"/>
                      </a:lnTo>
                      <a:lnTo>
                        <a:pt x="10413" y="72644"/>
                      </a:lnTo>
                      <a:lnTo>
                        <a:pt x="6985" y="70867"/>
                      </a:lnTo>
                      <a:lnTo>
                        <a:pt x="3429" y="67184"/>
                      </a:lnTo>
                      <a:lnTo>
                        <a:pt x="1778" y="63628"/>
                      </a:lnTo>
                      <a:lnTo>
                        <a:pt x="0" y="60072"/>
                      </a:lnTo>
                      <a:lnTo>
                        <a:pt x="0" y="55627"/>
                      </a:lnTo>
                      <a:lnTo>
                        <a:pt x="0" y="51943"/>
                      </a:lnTo>
                      <a:lnTo>
                        <a:pt x="1778" y="47498"/>
                      </a:lnTo>
                      <a:lnTo>
                        <a:pt x="4317" y="43942"/>
                      </a:lnTo>
                      <a:lnTo>
                        <a:pt x="6985" y="40386"/>
                      </a:lnTo>
                      <a:lnTo>
                        <a:pt x="11303" y="38609"/>
                      </a:lnTo>
                      <a:lnTo>
                        <a:pt x="15620" y="36704"/>
                      </a:lnTo>
                      <a:lnTo>
                        <a:pt x="19938" y="35815"/>
                      </a:lnTo>
                      <a:lnTo>
                        <a:pt x="25145" y="35815"/>
                      </a:lnTo>
                      <a:lnTo>
                        <a:pt x="26923" y="32259"/>
                      </a:lnTo>
                      <a:lnTo>
                        <a:pt x="29463" y="29592"/>
                      </a:lnTo>
                      <a:lnTo>
                        <a:pt x="32131" y="26924"/>
                      </a:lnTo>
                      <a:lnTo>
                        <a:pt x="35560" y="25147"/>
                      </a:lnTo>
                      <a:lnTo>
                        <a:pt x="38988" y="23368"/>
                      </a:lnTo>
                      <a:lnTo>
                        <a:pt x="42544" y="21463"/>
                      </a:lnTo>
                      <a:lnTo>
                        <a:pt x="46863" y="20574"/>
                      </a:lnTo>
                      <a:lnTo>
                        <a:pt x="51181" y="20574"/>
                      </a:lnTo>
                      <a:lnTo>
                        <a:pt x="53847" y="16129"/>
                      </a:lnTo>
                      <a:lnTo>
                        <a:pt x="56388" y="12573"/>
                      </a:lnTo>
                      <a:lnTo>
                        <a:pt x="59816" y="9017"/>
                      </a:lnTo>
                      <a:lnTo>
                        <a:pt x="63372" y="5335"/>
                      </a:lnTo>
                      <a:lnTo>
                        <a:pt x="68579" y="3556"/>
                      </a:lnTo>
                      <a:lnTo>
                        <a:pt x="73787" y="1779"/>
                      </a:lnTo>
                      <a:lnTo>
                        <a:pt x="78994" y="0"/>
                      </a:lnTo>
                      <a:lnTo>
                        <a:pt x="85090" y="0"/>
                      </a:lnTo>
                      <a:lnTo>
                        <a:pt x="91947" y="890"/>
                      </a:lnTo>
                      <a:lnTo>
                        <a:pt x="98044" y="1779"/>
                      </a:lnTo>
                      <a:lnTo>
                        <a:pt x="104140" y="4446"/>
                      </a:lnTo>
                      <a:lnTo>
                        <a:pt x="109347" y="8129"/>
                      </a:lnTo>
                      <a:lnTo>
                        <a:pt x="113665" y="12573"/>
                      </a:lnTo>
                      <a:lnTo>
                        <a:pt x="116332" y="17018"/>
                      </a:lnTo>
                      <a:lnTo>
                        <a:pt x="118872" y="22353"/>
                      </a:lnTo>
                      <a:lnTo>
                        <a:pt x="118872" y="27813"/>
                      </a:lnTo>
                      <a:lnTo>
                        <a:pt x="118872" y="33148"/>
                      </a:lnTo>
                      <a:lnTo>
                        <a:pt x="116332" y="38609"/>
                      </a:lnTo>
                      <a:lnTo>
                        <a:pt x="113665" y="43054"/>
                      </a:lnTo>
                      <a:lnTo>
                        <a:pt x="109347" y="47498"/>
                      </a:lnTo>
                      <a:lnTo>
                        <a:pt x="104140" y="51054"/>
                      </a:lnTo>
                      <a:lnTo>
                        <a:pt x="98044" y="53848"/>
                      </a:lnTo>
                      <a:lnTo>
                        <a:pt x="91947" y="55627"/>
                      </a:lnTo>
                      <a:lnTo>
                        <a:pt x="85090" y="55627"/>
                      </a:lnTo>
                      <a:lnTo>
                        <a:pt x="79882" y="55627"/>
                      </a:lnTo>
                      <a:lnTo>
                        <a:pt x="74675" y="54737"/>
                      </a:lnTo>
                      <a:lnTo>
                        <a:pt x="72009" y="57404"/>
                      </a:lnTo>
                      <a:lnTo>
                        <a:pt x="68579" y="60072"/>
                      </a:lnTo>
                      <a:lnTo>
                        <a:pt x="65023" y="61849"/>
                      </a:lnTo>
                      <a:lnTo>
                        <a:pt x="61594" y="63628"/>
                      </a:lnTo>
                      <a:lnTo>
                        <a:pt x="58166" y="64517"/>
                      </a:lnTo>
                      <a:lnTo>
                        <a:pt x="53847" y="64517"/>
                      </a:lnTo>
                      <a:lnTo>
                        <a:pt x="49403" y="64517"/>
                      </a:lnTo>
                      <a:lnTo>
                        <a:pt x="45085" y="64517"/>
                      </a:lnTo>
                      <a:lnTo>
                        <a:pt x="41656" y="69088"/>
                      </a:lnTo>
                      <a:lnTo>
                        <a:pt x="36448" y="73534"/>
                      </a:lnTo>
                      <a:lnTo>
                        <a:pt x="30353" y="75311"/>
                      </a:lnTo>
                      <a:lnTo>
                        <a:pt x="23367" y="76200"/>
                      </a:lnTo>
                      <a:close/>
                      <a:moveTo>
                        <a:pt x="423672" y="3608832"/>
                      </a:moveTo>
                      <a:moveTo>
                        <a:pt x="23367" y="43054"/>
                      </a:moveTo>
                      <a:lnTo>
                        <a:pt x="23367" y="43054"/>
                      </a:lnTo>
                      <a:lnTo>
                        <a:pt x="17398" y="44831"/>
                      </a:lnTo>
                      <a:lnTo>
                        <a:pt x="12191" y="47498"/>
                      </a:lnTo>
                      <a:lnTo>
                        <a:pt x="10413" y="49277"/>
                      </a:lnTo>
                      <a:lnTo>
                        <a:pt x="8635" y="51054"/>
                      </a:lnTo>
                      <a:lnTo>
                        <a:pt x="7747" y="53848"/>
                      </a:lnTo>
                      <a:lnTo>
                        <a:pt x="7747" y="55627"/>
                      </a:lnTo>
                      <a:lnTo>
                        <a:pt x="7747" y="58293"/>
                      </a:lnTo>
                      <a:lnTo>
                        <a:pt x="8635" y="60961"/>
                      </a:lnTo>
                      <a:lnTo>
                        <a:pt x="10413" y="62738"/>
                      </a:lnTo>
                      <a:lnTo>
                        <a:pt x="12191" y="64517"/>
                      </a:lnTo>
                      <a:lnTo>
                        <a:pt x="17398" y="67184"/>
                      </a:lnTo>
                      <a:lnTo>
                        <a:pt x="23367" y="68073"/>
                      </a:lnTo>
                      <a:lnTo>
                        <a:pt x="28575" y="68073"/>
                      </a:lnTo>
                      <a:lnTo>
                        <a:pt x="33019" y="65405"/>
                      </a:lnTo>
                      <a:lnTo>
                        <a:pt x="37338" y="62738"/>
                      </a:lnTo>
                      <a:lnTo>
                        <a:pt x="38988" y="58293"/>
                      </a:lnTo>
                      <a:lnTo>
                        <a:pt x="39878" y="57404"/>
                      </a:lnTo>
                      <a:lnTo>
                        <a:pt x="40766" y="56516"/>
                      </a:lnTo>
                      <a:lnTo>
                        <a:pt x="42544" y="55627"/>
                      </a:lnTo>
                      <a:lnTo>
                        <a:pt x="44195" y="55627"/>
                      </a:lnTo>
                      <a:lnTo>
                        <a:pt x="47751" y="56516"/>
                      </a:lnTo>
                      <a:lnTo>
                        <a:pt x="51181" y="56516"/>
                      </a:lnTo>
                      <a:lnTo>
                        <a:pt x="55498" y="56516"/>
                      </a:lnTo>
                      <a:lnTo>
                        <a:pt x="59054" y="55627"/>
                      </a:lnTo>
                      <a:lnTo>
                        <a:pt x="62484" y="54737"/>
                      </a:lnTo>
                      <a:lnTo>
                        <a:pt x="65023" y="52832"/>
                      </a:lnTo>
                      <a:lnTo>
                        <a:pt x="67691" y="50166"/>
                      </a:lnTo>
                      <a:lnTo>
                        <a:pt x="69469" y="47498"/>
                      </a:lnTo>
                      <a:lnTo>
                        <a:pt x="71119" y="45721"/>
                      </a:lnTo>
                      <a:lnTo>
                        <a:pt x="73787" y="45721"/>
                      </a:lnTo>
                      <a:lnTo>
                        <a:pt x="78994" y="47498"/>
                      </a:lnTo>
                      <a:lnTo>
                        <a:pt x="85090" y="47498"/>
                      </a:lnTo>
                      <a:lnTo>
                        <a:pt x="90297" y="47498"/>
                      </a:lnTo>
                      <a:lnTo>
                        <a:pt x="95504" y="45721"/>
                      </a:lnTo>
                      <a:lnTo>
                        <a:pt x="99822" y="43942"/>
                      </a:lnTo>
                      <a:lnTo>
                        <a:pt x="103250" y="42165"/>
                      </a:lnTo>
                      <a:lnTo>
                        <a:pt x="106679" y="38609"/>
                      </a:lnTo>
                      <a:lnTo>
                        <a:pt x="109347" y="35815"/>
                      </a:lnTo>
                      <a:lnTo>
                        <a:pt x="111125" y="32259"/>
                      </a:lnTo>
                      <a:lnTo>
                        <a:pt x="111125" y="27813"/>
                      </a:lnTo>
                      <a:lnTo>
                        <a:pt x="111125" y="24257"/>
                      </a:lnTo>
                      <a:lnTo>
                        <a:pt x="109347" y="19686"/>
                      </a:lnTo>
                      <a:lnTo>
                        <a:pt x="106679" y="17018"/>
                      </a:lnTo>
                      <a:lnTo>
                        <a:pt x="103250" y="13462"/>
                      </a:lnTo>
                      <a:lnTo>
                        <a:pt x="99822" y="11685"/>
                      </a:lnTo>
                      <a:lnTo>
                        <a:pt x="95504" y="9906"/>
                      </a:lnTo>
                      <a:lnTo>
                        <a:pt x="90297" y="8129"/>
                      </a:lnTo>
                      <a:lnTo>
                        <a:pt x="85090" y="8129"/>
                      </a:lnTo>
                      <a:lnTo>
                        <a:pt x="79882" y="8129"/>
                      </a:lnTo>
                      <a:lnTo>
                        <a:pt x="75438" y="9017"/>
                      </a:lnTo>
                      <a:lnTo>
                        <a:pt x="71119" y="10796"/>
                      </a:lnTo>
                      <a:lnTo>
                        <a:pt x="66801" y="13462"/>
                      </a:lnTo>
                      <a:lnTo>
                        <a:pt x="64262" y="15241"/>
                      </a:lnTo>
                      <a:lnTo>
                        <a:pt x="61594" y="18797"/>
                      </a:lnTo>
                      <a:lnTo>
                        <a:pt x="59054" y="22353"/>
                      </a:lnTo>
                      <a:lnTo>
                        <a:pt x="58166" y="26036"/>
                      </a:lnTo>
                      <a:lnTo>
                        <a:pt x="58166" y="26924"/>
                      </a:lnTo>
                      <a:lnTo>
                        <a:pt x="57276" y="27813"/>
                      </a:lnTo>
                      <a:lnTo>
                        <a:pt x="55498" y="28703"/>
                      </a:lnTo>
                      <a:lnTo>
                        <a:pt x="53847" y="28703"/>
                      </a:lnTo>
                      <a:lnTo>
                        <a:pt x="51181" y="28703"/>
                      </a:lnTo>
                      <a:lnTo>
                        <a:pt x="44195" y="29592"/>
                      </a:lnTo>
                      <a:lnTo>
                        <a:pt x="38226" y="32259"/>
                      </a:lnTo>
                      <a:lnTo>
                        <a:pt x="34670" y="35815"/>
                      </a:lnTo>
                      <a:lnTo>
                        <a:pt x="33019" y="38609"/>
                      </a:lnTo>
                      <a:lnTo>
                        <a:pt x="32131" y="41275"/>
                      </a:lnTo>
                      <a:lnTo>
                        <a:pt x="31241" y="42165"/>
                      </a:lnTo>
                      <a:lnTo>
                        <a:pt x="30353" y="43054"/>
                      </a:lnTo>
                      <a:lnTo>
                        <a:pt x="28575" y="43942"/>
                      </a:lnTo>
                      <a:lnTo>
                        <a:pt x="27813" y="43942"/>
                      </a:lnTo>
                      <a:lnTo>
                        <a:pt x="23367" y="43054"/>
                      </a:lnTo>
                      <a:close/>
                      <a:moveTo>
                        <a:pt x="456818" y="3608832"/>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pic>
              <p:nvPicPr>
                <p:cNvPr id="1190" name="Picture 780">
                  <a:extLst>
                    <a:ext uri="{FF2B5EF4-FFF2-40B4-BE49-F238E27FC236}">
                      <a16:creationId xmlns:a16="http://schemas.microsoft.com/office/drawing/2014/main" id="{B5C11A88-FB52-45D2-9739-F71298C56A33}"/>
                    </a:ext>
                  </a:extLst>
                </p:cNvPr>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a:xfrm>
                  <a:off x="4676374" y="3249264"/>
                  <a:ext cx="365569" cy="365569"/>
                </a:xfrm>
                <a:prstGeom prst="rect">
                  <a:avLst/>
                </a:prstGeom>
                <a:noFill/>
              </p:spPr>
            </p:pic>
            <p:sp>
              <p:nvSpPr>
                <p:cNvPr id="1191" name="Rectangle 1076">
                  <a:extLst>
                    <a:ext uri="{FF2B5EF4-FFF2-40B4-BE49-F238E27FC236}">
                      <a16:creationId xmlns:a16="http://schemas.microsoft.com/office/drawing/2014/main" id="{30564F98-C342-444F-B0A8-B53F64C27781}"/>
                    </a:ext>
                  </a:extLst>
                </p:cNvPr>
                <p:cNvSpPr/>
                <p:nvPr/>
              </p:nvSpPr>
              <p:spPr>
                <a:xfrm>
                  <a:off x="2154831" y="3694538"/>
                  <a:ext cx="445635" cy="242502"/>
                </a:xfrm>
                <a:prstGeom prst="rect">
                  <a:avLst/>
                </a:prstGeom>
              </p:spPr>
              <p:txBody>
                <a:bodyPr wrap="none" lIns="0" tIns="0" rIns="0" bIns="0">
                  <a:spAutoFit/>
                </a:bodyPr>
                <a:lstStyle/>
                <a:p>
                  <a:pPr marL="60900" marR="0" lvl="0" indent="0" algn="l" defTabSz="913486" rtl="0" eaLnBrk="1" fontAlgn="auto" latinLnBrk="0" hangingPunct="1">
                    <a:lnSpc>
                      <a:spcPct val="100000"/>
                    </a:lnSpc>
                    <a:spcBef>
                      <a:spcPts val="0"/>
                    </a:spcBef>
                    <a:spcAft>
                      <a:spcPts val="0"/>
                    </a:spcAft>
                    <a:buClrTx/>
                    <a:buSzTx/>
                    <a:buFontTx/>
                    <a:buNone/>
                    <a:tabLst/>
                    <a:defRPr/>
                  </a:pP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Partial </a:t>
                  </a:r>
                </a:p>
                <a:p>
                  <a:pPr marL="0" marR="0" lvl="0" indent="0" algn="l" defTabSz="913486" rtl="0" eaLnBrk="1" fontAlgn="auto" latinLnBrk="0" hangingPunct="1">
                    <a:lnSpc>
                      <a:spcPts val="960"/>
                    </a:lnSpc>
                    <a:spcBef>
                      <a:spcPts val="0"/>
                    </a:spcBef>
                    <a:spcAft>
                      <a:spcPts val="0"/>
                    </a:spcAft>
                    <a:buClrTx/>
                    <a:buSzTx/>
                    <a:buFontTx/>
                    <a:buNone/>
                    <a:tabLst/>
                    <a:defRPr/>
                  </a:pP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oxidation</a:t>
                  </a:r>
                </a:p>
              </p:txBody>
            </p:sp>
            <p:sp>
              <p:nvSpPr>
                <p:cNvPr id="1192" name="Rectangle 1077">
                  <a:extLst>
                    <a:ext uri="{FF2B5EF4-FFF2-40B4-BE49-F238E27FC236}">
                      <a16:creationId xmlns:a16="http://schemas.microsoft.com/office/drawing/2014/main" id="{06D02DFA-5AFA-450E-BA6B-1D2D0600BE5C}"/>
                    </a:ext>
                  </a:extLst>
                </p:cNvPr>
                <p:cNvSpPr/>
                <p:nvPr/>
              </p:nvSpPr>
              <p:spPr>
                <a:xfrm>
                  <a:off x="2571301" y="4161547"/>
                  <a:ext cx="2134174" cy="122213"/>
                </a:xfrm>
                <a:prstGeom prst="rect">
                  <a:avLst/>
                </a:prstGeom>
              </p:spPr>
              <p:txBody>
                <a:bodyPr wrap="square" lIns="0" tIns="0" rIns="0" bIns="0">
                  <a:spAutoFit/>
                </a:bodyPr>
                <a:lstStyle/>
                <a:p>
                  <a:pPr marL="0" marR="0" lvl="0" indent="0" algn="l" defTabSz="913486" rtl="0" eaLnBrk="1" fontAlgn="auto" latinLnBrk="0" hangingPunct="1">
                    <a:lnSpc>
                      <a:spcPct val="100000"/>
                    </a:lnSpc>
                    <a:spcBef>
                      <a:spcPts val="0"/>
                    </a:spcBef>
                    <a:spcAft>
                      <a:spcPts val="0"/>
                    </a:spcAft>
                    <a:buClrTx/>
                    <a:buSzTx/>
                    <a:buFontTx/>
                    <a:buNone/>
                    <a:tabLst/>
                    <a:defRPr/>
                  </a:pPr>
                  <a:r>
                    <a:rPr kumimoji="0" lang="en-US" sz="794" b="1" i="0" u="none" strike="noStrike" kern="0" cap="none" spc="0" normalizeH="0" baseline="0" noProof="0" dirty="0">
                      <a:ln>
                        <a:noFill/>
                      </a:ln>
                      <a:solidFill>
                        <a:srgbClr val="2E2E38"/>
                      </a:solidFill>
                      <a:effectLst/>
                      <a:uLnTx/>
                      <a:uFillTx/>
                      <a:latin typeface="EYInterstate-LightBold"/>
                      <a:ea typeface="+mn-ea"/>
                      <a:cs typeface="+mn-cs"/>
                    </a:rPr>
                    <a:t>Carbon</a:t>
                  </a:r>
                  <a:r>
                    <a:rPr kumimoji="0" lang="en-US" sz="794" b="1" i="0" u="none" strike="noStrike" kern="0" cap="none" spc="-23" normalizeH="0" baseline="0" noProof="0" dirty="0">
                      <a:ln>
                        <a:noFill/>
                      </a:ln>
                      <a:solidFill>
                        <a:srgbClr val="2E2E38"/>
                      </a:solidFill>
                      <a:effectLst/>
                      <a:uLnTx/>
                      <a:uFillTx/>
                      <a:latin typeface="EYInterstate-LightBold"/>
                      <a:ea typeface="+mn-ea"/>
                      <a:cs typeface="+mn-cs"/>
                    </a:rPr>
                    <a:t> </a:t>
                  </a:r>
                  <a:r>
                    <a:rPr kumimoji="0" lang="en-US" sz="794" b="1" i="0" u="none" strike="noStrike" kern="0" cap="none" spc="0" normalizeH="0" baseline="0" noProof="0" dirty="0">
                      <a:ln>
                        <a:noFill/>
                      </a:ln>
                      <a:solidFill>
                        <a:srgbClr val="2E2E38"/>
                      </a:solidFill>
                      <a:effectLst/>
                      <a:uLnTx/>
                      <a:uFillTx/>
                      <a:latin typeface="EYInterstate-LightBold"/>
                      <a:ea typeface="+mn-ea"/>
                      <a:cs typeface="+mn-cs"/>
                    </a:rPr>
                    <a:t>capture utili</a:t>
                  </a:r>
                  <a:r>
                    <a:rPr kumimoji="0" lang="en-US" sz="794" b="1" i="0" u="none" strike="noStrike" kern="0" cap="none" spc="-11" normalizeH="0" baseline="0" noProof="0" dirty="0">
                      <a:ln>
                        <a:noFill/>
                      </a:ln>
                      <a:solidFill>
                        <a:srgbClr val="2E2E38"/>
                      </a:solidFill>
                      <a:effectLst/>
                      <a:uLnTx/>
                      <a:uFillTx/>
                      <a:latin typeface="EYInterstate-LightBold"/>
                      <a:ea typeface="+mn-ea"/>
                      <a:cs typeface="+mn-cs"/>
                    </a:rPr>
                    <a:t>z</a:t>
                  </a:r>
                  <a:r>
                    <a:rPr kumimoji="0" lang="en-US" sz="794" b="1" i="0" u="none" strike="noStrike" kern="0" cap="none" spc="0" normalizeH="0" baseline="0" noProof="0" dirty="0">
                      <a:ln>
                        <a:noFill/>
                      </a:ln>
                      <a:solidFill>
                        <a:srgbClr val="2E2E38"/>
                      </a:solidFill>
                      <a:effectLst/>
                      <a:uLnTx/>
                      <a:uFillTx/>
                      <a:latin typeface="EYInterstate-LightBold"/>
                      <a:ea typeface="+mn-ea"/>
                      <a:cs typeface="+mn-cs"/>
                    </a:rPr>
                    <a:t>ation </a:t>
                  </a:r>
                  <a:r>
                    <a:rPr kumimoji="0" lang="en-US" sz="794" b="1" i="0" u="none" strike="noStrike" kern="0" cap="none" spc="-11" normalizeH="0" baseline="0" noProof="0" dirty="0">
                      <a:ln>
                        <a:noFill/>
                      </a:ln>
                      <a:solidFill>
                        <a:srgbClr val="2E2E38"/>
                      </a:solidFill>
                      <a:effectLst/>
                      <a:uLnTx/>
                      <a:uFillTx/>
                      <a:latin typeface="EYInterstate-LightBold"/>
                      <a:ea typeface="+mn-ea"/>
                      <a:cs typeface="+mn-cs"/>
                    </a:rPr>
                    <a:t>&amp;</a:t>
                  </a:r>
                  <a:r>
                    <a:rPr kumimoji="0" lang="en-US" sz="794" b="1" i="0" u="none" strike="noStrike" kern="0" cap="none" spc="0" normalizeH="0" baseline="0" noProof="0" dirty="0">
                      <a:ln>
                        <a:noFill/>
                      </a:ln>
                      <a:solidFill>
                        <a:srgbClr val="2E2E38"/>
                      </a:solidFill>
                      <a:effectLst/>
                      <a:uLnTx/>
                      <a:uFillTx/>
                      <a:latin typeface="EYInterstate-LightBold"/>
                      <a:ea typeface="+mn-ea"/>
                      <a:cs typeface="+mn-cs"/>
                    </a:rPr>
                    <a:t> </a:t>
                  </a:r>
                  <a:r>
                    <a:rPr kumimoji="0" lang="en-US" sz="794" b="1" i="0" u="none" strike="noStrike" kern="0" cap="none" spc="-13" normalizeH="0" baseline="0" noProof="0" dirty="0">
                      <a:ln>
                        <a:noFill/>
                      </a:ln>
                      <a:solidFill>
                        <a:srgbClr val="2E2E38"/>
                      </a:solidFill>
                      <a:effectLst/>
                      <a:uLnTx/>
                      <a:uFillTx/>
                      <a:latin typeface="EYInterstate-LightBold"/>
                      <a:ea typeface="+mn-ea"/>
                      <a:cs typeface="+mn-cs"/>
                    </a:rPr>
                    <a:t>s</a:t>
                  </a:r>
                  <a:r>
                    <a:rPr kumimoji="0" lang="en-US" sz="794" b="1" i="0" u="none" strike="noStrike" kern="0" cap="none" spc="0" normalizeH="0" baseline="0" noProof="0" dirty="0">
                      <a:ln>
                        <a:noFill/>
                      </a:ln>
                      <a:solidFill>
                        <a:srgbClr val="2E2E38"/>
                      </a:solidFill>
                      <a:effectLst/>
                      <a:uLnTx/>
                      <a:uFillTx/>
                      <a:latin typeface="EYInterstate-LightBold"/>
                      <a:ea typeface="+mn-ea"/>
                      <a:cs typeface="+mn-cs"/>
                    </a:rPr>
                    <a:t>torage (CCUS)</a:t>
                  </a:r>
                </a:p>
              </p:txBody>
            </p:sp>
            <p:sp>
              <p:nvSpPr>
                <p:cNvPr id="1194" name="Freeform 1060">
                  <a:extLst>
                    <a:ext uri="{FF2B5EF4-FFF2-40B4-BE49-F238E27FC236}">
                      <a16:creationId xmlns:a16="http://schemas.microsoft.com/office/drawing/2014/main" id="{59424F3B-4102-48DB-A3F6-B3EA9326F7DD}"/>
                    </a:ext>
                  </a:extLst>
                </p:cNvPr>
                <p:cNvSpPr/>
                <p:nvPr/>
              </p:nvSpPr>
              <p:spPr>
                <a:xfrm>
                  <a:off x="3430390" y="2914157"/>
                  <a:ext cx="350338" cy="185831"/>
                </a:xfrm>
                <a:custGeom>
                  <a:avLst/>
                  <a:gdLst/>
                  <a:ahLst/>
                  <a:cxnLst/>
                  <a:rect l="0" t="0" r="0" b="0"/>
                  <a:pathLst>
                    <a:path w="350520" h="185928">
                      <a:moveTo>
                        <a:pt x="0" y="185928"/>
                      </a:moveTo>
                      <a:lnTo>
                        <a:pt x="350520" y="185928"/>
                      </a:lnTo>
                      <a:lnTo>
                        <a:pt x="350520" y="0"/>
                      </a:lnTo>
                      <a:lnTo>
                        <a:pt x="0" y="0"/>
                      </a:lnTo>
                      <a:lnTo>
                        <a:pt x="0" y="185928"/>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89" name="Freeform 779">
                  <a:extLst>
                    <a:ext uri="{FF2B5EF4-FFF2-40B4-BE49-F238E27FC236}">
                      <a16:creationId xmlns:a16="http://schemas.microsoft.com/office/drawing/2014/main" id="{7306F961-D44B-499F-8D08-BA0D751D71F7}"/>
                    </a:ext>
                  </a:extLst>
                </p:cNvPr>
                <p:cNvSpPr/>
                <p:nvPr/>
              </p:nvSpPr>
              <p:spPr>
                <a:xfrm>
                  <a:off x="3901210" y="3262220"/>
                  <a:ext cx="252853" cy="377755"/>
                </a:xfrm>
                <a:custGeom>
                  <a:avLst/>
                  <a:gdLst/>
                  <a:ahLst/>
                  <a:cxnLst/>
                  <a:rect l="0" t="0" r="0" b="0"/>
                  <a:pathLst>
                    <a:path w="252985" h="377952">
                      <a:moveTo>
                        <a:pt x="97663" y="377952"/>
                      </a:moveTo>
                      <a:cubicBezTo>
                        <a:pt x="84710" y="376302"/>
                        <a:pt x="71248" y="374651"/>
                        <a:pt x="58293" y="372873"/>
                      </a:cubicBezTo>
                      <a:cubicBezTo>
                        <a:pt x="54992" y="372364"/>
                        <a:pt x="51562" y="371856"/>
                        <a:pt x="48768" y="370714"/>
                      </a:cubicBezTo>
                      <a:cubicBezTo>
                        <a:pt x="29211" y="365633"/>
                        <a:pt x="25781" y="361696"/>
                        <a:pt x="26417" y="342138"/>
                      </a:cubicBezTo>
                      <a:cubicBezTo>
                        <a:pt x="26417" y="334900"/>
                        <a:pt x="24638" y="328676"/>
                        <a:pt x="20193" y="323088"/>
                      </a:cubicBezTo>
                      <a:cubicBezTo>
                        <a:pt x="7874" y="306832"/>
                        <a:pt x="1143" y="288418"/>
                        <a:pt x="1143" y="267589"/>
                      </a:cubicBezTo>
                      <a:cubicBezTo>
                        <a:pt x="1143" y="231775"/>
                        <a:pt x="0" y="195962"/>
                        <a:pt x="1143" y="160148"/>
                      </a:cubicBezTo>
                      <a:cubicBezTo>
                        <a:pt x="2286" y="120905"/>
                        <a:pt x="22479" y="92330"/>
                        <a:pt x="56642" y="73914"/>
                      </a:cubicBezTo>
                      <a:cubicBezTo>
                        <a:pt x="62230" y="71120"/>
                        <a:pt x="64517" y="68326"/>
                        <a:pt x="64009" y="62738"/>
                      </a:cubicBezTo>
                      <a:cubicBezTo>
                        <a:pt x="63373" y="54864"/>
                        <a:pt x="64009" y="47625"/>
                        <a:pt x="64009" y="39751"/>
                      </a:cubicBezTo>
                      <a:cubicBezTo>
                        <a:pt x="62230" y="20194"/>
                        <a:pt x="70104" y="6732"/>
                        <a:pt x="89154" y="0"/>
                      </a:cubicBezTo>
                      <a:cubicBezTo>
                        <a:pt x="114428" y="0"/>
                        <a:pt x="139700" y="0"/>
                        <a:pt x="164973" y="0"/>
                      </a:cubicBezTo>
                      <a:cubicBezTo>
                        <a:pt x="183388" y="6732"/>
                        <a:pt x="191262" y="20194"/>
                        <a:pt x="190119" y="39751"/>
                      </a:cubicBezTo>
                      <a:cubicBezTo>
                        <a:pt x="189611" y="48133"/>
                        <a:pt x="189611" y="56515"/>
                        <a:pt x="190119" y="64898"/>
                      </a:cubicBezTo>
                      <a:cubicBezTo>
                        <a:pt x="190119" y="67692"/>
                        <a:pt x="192405" y="71120"/>
                        <a:pt x="194692" y="72263"/>
                      </a:cubicBezTo>
                      <a:cubicBezTo>
                        <a:pt x="233935" y="92964"/>
                        <a:pt x="252985" y="125476"/>
                        <a:pt x="252985" y="169673"/>
                      </a:cubicBezTo>
                      <a:cubicBezTo>
                        <a:pt x="252477" y="199899"/>
                        <a:pt x="252477" y="230125"/>
                        <a:pt x="252985" y="259843"/>
                      </a:cubicBezTo>
                      <a:cubicBezTo>
                        <a:pt x="252985" y="284988"/>
                        <a:pt x="245746" y="307340"/>
                        <a:pt x="231141" y="327025"/>
                      </a:cubicBezTo>
                      <a:cubicBezTo>
                        <a:pt x="227711" y="330963"/>
                        <a:pt x="227711" y="337694"/>
                        <a:pt x="227711" y="342646"/>
                      </a:cubicBezTo>
                      <a:cubicBezTo>
                        <a:pt x="227204" y="361696"/>
                        <a:pt x="224917" y="365633"/>
                        <a:pt x="206375" y="370078"/>
                      </a:cubicBezTo>
                      <a:cubicBezTo>
                        <a:pt x="194056" y="372873"/>
                        <a:pt x="181229" y="374015"/>
                        <a:pt x="168784" y="376302"/>
                      </a:cubicBezTo>
                      <a:cubicBezTo>
                        <a:pt x="164338" y="376809"/>
                        <a:pt x="160402" y="377445"/>
                        <a:pt x="156465" y="377952"/>
                      </a:cubicBezTo>
                      <a:cubicBezTo>
                        <a:pt x="136906" y="377952"/>
                        <a:pt x="117222" y="377952"/>
                        <a:pt x="97663" y="377952"/>
                      </a:cubicBezTo>
                      <a:close/>
                      <a:moveTo>
                        <a:pt x="-621791" y="3614928"/>
                      </a:moveTo>
                      <a:moveTo>
                        <a:pt x="240030" y="170181"/>
                      </a:moveTo>
                      <a:cubicBezTo>
                        <a:pt x="243967" y="121539"/>
                        <a:pt x="204217" y="76708"/>
                        <a:pt x="156465" y="75565"/>
                      </a:cubicBezTo>
                      <a:cubicBezTo>
                        <a:pt x="138558" y="75057"/>
                        <a:pt x="120016" y="75057"/>
                        <a:pt x="102109" y="75565"/>
                      </a:cubicBezTo>
                      <a:cubicBezTo>
                        <a:pt x="68454" y="76200"/>
                        <a:pt x="42673" y="91313"/>
                        <a:pt x="25273" y="119888"/>
                      </a:cubicBezTo>
                      <a:cubicBezTo>
                        <a:pt x="16256" y="135001"/>
                        <a:pt x="11811" y="151765"/>
                        <a:pt x="13971" y="170181"/>
                      </a:cubicBezTo>
                      <a:cubicBezTo>
                        <a:pt x="40386" y="170181"/>
                        <a:pt x="66167" y="170181"/>
                        <a:pt x="91948" y="169673"/>
                      </a:cubicBezTo>
                      <a:cubicBezTo>
                        <a:pt x="94235" y="169673"/>
                        <a:pt x="98172" y="166878"/>
                        <a:pt x="98679" y="164593"/>
                      </a:cubicBezTo>
                      <a:cubicBezTo>
                        <a:pt x="102109" y="155068"/>
                        <a:pt x="104394" y="145034"/>
                        <a:pt x="107697" y="135001"/>
                      </a:cubicBezTo>
                      <a:cubicBezTo>
                        <a:pt x="108840" y="132081"/>
                        <a:pt x="110491" y="127127"/>
                        <a:pt x="112777" y="126493"/>
                      </a:cubicBezTo>
                      <a:cubicBezTo>
                        <a:pt x="114936" y="125984"/>
                        <a:pt x="119508" y="128778"/>
                        <a:pt x="121667" y="131064"/>
                      </a:cubicBezTo>
                      <a:cubicBezTo>
                        <a:pt x="133478" y="142240"/>
                        <a:pt x="145288" y="153925"/>
                        <a:pt x="157099" y="165736"/>
                      </a:cubicBezTo>
                      <a:cubicBezTo>
                        <a:pt x="159259" y="167387"/>
                        <a:pt x="162053" y="169673"/>
                        <a:pt x="164973" y="169673"/>
                      </a:cubicBezTo>
                      <a:cubicBezTo>
                        <a:pt x="189611" y="170181"/>
                        <a:pt x="214249" y="170181"/>
                        <a:pt x="240030" y="170181"/>
                      </a:cubicBezTo>
                      <a:close/>
                      <a:moveTo>
                        <a:pt x="-414020" y="3614928"/>
                      </a:moveTo>
                      <a:moveTo>
                        <a:pt x="13971" y="245238"/>
                      </a:moveTo>
                      <a:cubicBezTo>
                        <a:pt x="11177" y="276099"/>
                        <a:pt x="16256" y="295657"/>
                        <a:pt x="29718" y="315214"/>
                      </a:cubicBezTo>
                      <a:cubicBezTo>
                        <a:pt x="37592" y="326390"/>
                        <a:pt x="47117" y="334264"/>
                        <a:pt x="61723" y="335915"/>
                      </a:cubicBezTo>
                      <a:cubicBezTo>
                        <a:pt x="103252" y="341503"/>
                        <a:pt x="144146" y="341503"/>
                        <a:pt x="185167" y="337058"/>
                      </a:cubicBezTo>
                      <a:cubicBezTo>
                        <a:pt x="194692" y="335915"/>
                        <a:pt x="206375" y="333757"/>
                        <a:pt x="213106" y="327533"/>
                      </a:cubicBezTo>
                      <a:cubicBezTo>
                        <a:pt x="236729" y="305689"/>
                        <a:pt x="243460" y="277114"/>
                        <a:pt x="239523" y="245238"/>
                      </a:cubicBezTo>
                      <a:cubicBezTo>
                        <a:pt x="222631" y="245238"/>
                        <a:pt x="205867" y="245745"/>
                        <a:pt x="188977" y="245238"/>
                      </a:cubicBezTo>
                      <a:cubicBezTo>
                        <a:pt x="182880" y="244730"/>
                        <a:pt x="180086" y="246888"/>
                        <a:pt x="176658" y="252476"/>
                      </a:cubicBezTo>
                      <a:cubicBezTo>
                        <a:pt x="165990" y="271526"/>
                        <a:pt x="152528" y="287275"/>
                        <a:pt x="127381" y="283338"/>
                      </a:cubicBezTo>
                      <a:cubicBezTo>
                        <a:pt x="121667" y="282702"/>
                        <a:pt x="116713" y="283338"/>
                        <a:pt x="111125" y="283338"/>
                      </a:cubicBezTo>
                      <a:cubicBezTo>
                        <a:pt x="108204" y="282702"/>
                        <a:pt x="105411" y="282702"/>
                        <a:pt x="103252" y="281051"/>
                      </a:cubicBezTo>
                      <a:cubicBezTo>
                        <a:pt x="89154" y="273305"/>
                        <a:pt x="76328" y="263780"/>
                        <a:pt x="68454" y="249682"/>
                      </a:cubicBezTo>
                      <a:cubicBezTo>
                        <a:pt x="67311" y="247524"/>
                        <a:pt x="64517" y="245238"/>
                        <a:pt x="62866" y="245238"/>
                      </a:cubicBezTo>
                      <a:cubicBezTo>
                        <a:pt x="46610" y="245238"/>
                        <a:pt x="30354" y="245238"/>
                        <a:pt x="13971" y="245238"/>
                      </a:cubicBezTo>
                      <a:close/>
                      <a:moveTo>
                        <a:pt x="-489077" y="3614928"/>
                      </a:moveTo>
                      <a:moveTo>
                        <a:pt x="177292" y="65532"/>
                      </a:moveTo>
                      <a:cubicBezTo>
                        <a:pt x="177292" y="53213"/>
                        <a:pt x="177800" y="41402"/>
                        <a:pt x="177292" y="29719"/>
                      </a:cubicBezTo>
                      <a:cubicBezTo>
                        <a:pt x="176658" y="19558"/>
                        <a:pt x="168784" y="12827"/>
                        <a:pt x="158242" y="12319"/>
                      </a:cubicBezTo>
                      <a:cubicBezTo>
                        <a:pt x="137415" y="12319"/>
                        <a:pt x="116713" y="12319"/>
                        <a:pt x="95886" y="12319"/>
                      </a:cubicBezTo>
                      <a:cubicBezTo>
                        <a:pt x="86361" y="12319"/>
                        <a:pt x="78486" y="17400"/>
                        <a:pt x="77471" y="25782"/>
                      </a:cubicBezTo>
                      <a:cubicBezTo>
                        <a:pt x="76328" y="38608"/>
                        <a:pt x="77471" y="52070"/>
                        <a:pt x="77471" y="65532"/>
                      </a:cubicBezTo>
                      <a:cubicBezTo>
                        <a:pt x="83567" y="64898"/>
                        <a:pt x="89154" y="64389"/>
                        <a:pt x="94742" y="63246"/>
                      </a:cubicBezTo>
                      <a:cubicBezTo>
                        <a:pt x="97663" y="62738"/>
                        <a:pt x="101473" y="61595"/>
                        <a:pt x="101473" y="60452"/>
                      </a:cubicBezTo>
                      <a:cubicBezTo>
                        <a:pt x="101473" y="54864"/>
                        <a:pt x="102109" y="45975"/>
                        <a:pt x="99823" y="44832"/>
                      </a:cubicBezTo>
                      <a:cubicBezTo>
                        <a:pt x="91948" y="41402"/>
                        <a:pt x="97029" y="36450"/>
                        <a:pt x="95378" y="32513"/>
                      </a:cubicBezTo>
                      <a:cubicBezTo>
                        <a:pt x="116713" y="32513"/>
                        <a:pt x="137415" y="32513"/>
                        <a:pt x="158242" y="32513"/>
                      </a:cubicBezTo>
                      <a:cubicBezTo>
                        <a:pt x="158242" y="36450"/>
                        <a:pt x="158750" y="42038"/>
                        <a:pt x="157099" y="42545"/>
                      </a:cubicBezTo>
                      <a:cubicBezTo>
                        <a:pt x="147574" y="45339"/>
                        <a:pt x="153162" y="53213"/>
                        <a:pt x="152019" y="58801"/>
                      </a:cubicBezTo>
                      <a:cubicBezTo>
                        <a:pt x="152019" y="59944"/>
                        <a:pt x="154813" y="62738"/>
                        <a:pt x="156465" y="63246"/>
                      </a:cubicBezTo>
                      <a:cubicBezTo>
                        <a:pt x="162687" y="64389"/>
                        <a:pt x="169418" y="64898"/>
                        <a:pt x="177292" y="65532"/>
                      </a:cubicBezTo>
                      <a:close/>
                      <a:moveTo>
                        <a:pt x="-309371" y="3614928"/>
                      </a:moveTo>
                      <a:moveTo>
                        <a:pt x="63373" y="232919"/>
                      </a:moveTo>
                      <a:cubicBezTo>
                        <a:pt x="65024" y="211709"/>
                        <a:pt x="84710" y="201550"/>
                        <a:pt x="91441" y="183134"/>
                      </a:cubicBezTo>
                      <a:cubicBezTo>
                        <a:pt x="65024" y="183134"/>
                        <a:pt x="39879" y="183134"/>
                        <a:pt x="13971" y="183134"/>
                      </a:cubicBezTo>
                      <a:cubicBezTo>
                        <a:pt x="13971" y="199899"/>
                        <a:pt x="13971" y="216155"/>
                        <a:pt x="13971" y="232919"/>
                      </a:cubicBezTo>
                      <a:cubicBezTo>
                        <a:pt x="30354" y="232919"/>
                        <a:pt x="46610" y="232919"/>
                        <a:pt x="63373" y="232919"/>
                      </a:cubicBezTo>
                      <a:close/>
                      <a:moveTo>
                        <a:pt x="-476758" y="3614928"/>
                      </a:moveTo>
                      <a:moveTo>
                        <a:pt x="170561" y="183134"/>
                      </a:moveTo>
                      <a:cubicBezTo>
                        <a:pt x="174498" y="191517"/>
                        <a:pt x="178436" y="198756"/>
                        <a:pt x="180594" y="207138"/>
                      </a:cubicBezTo>
                      <a:cubicBezTo>
                        <a:pt x="183388" y="215519"/>
                        <a:pt x="184023" y="224537"/>
                        <a:pt x="185167" y="232919"/>
                      </a:cubicBezTo>
                      <a:cubicBezTo>
                        <a:pt x="203581" y="232919"/>
                        <a:pt x="221616" y="232919"/>
                        <a:pt x="240030" y="232919"/>
                      </a:cubicBezTo>
                      <a:cubicBezTo>
                        <a:pt x="240030" y="216155"/>
                        <a:pt x="240030" y="199390"/>
                        <a:pt x="240030" y="183134"/>
                      </a:cubicBezTo>
                      <a:cubicBezTo>
                        <a:pt x="216536" y="183134"/>
                        <a:pt x="193548" y="183134"/>
                        <a:pt x="170561" y="183134"/>
                      </a:cubicBezTo>
                      <a:close/>
                      <a:moveTo>
                        <a:pt x="-426973" y="3614928"/>
                      </a:moveTo>
                      <a:moveTo>
                        <a:pt x="165990" y="245238"/>
                      </a:moveTo>
                      <a:cubicBezTo>
                        <a:pt x="173355" y="232411"/>
                        <a:pt x="172721" y="219457"/>
                        <a:pt x="167767" y="205994"/>
                      </a:cubicBezTo>
                      <a:cubicBezTo>
                        <a:pt x="158242" y="180849"/>
                        <a:pt x="138049" y="163450"/>
                        <a:pt x="118365" y="145034"/>
                      </a:cubicBezTo>
                      <a:cubicBezTo>
                        <a:pt x="117856" y="147320"/>
                        <a:pt x="116713" y="148337"/>
                        <a:pt x="116713" y="150114"/>
                      </a:cubicBezTo>
                      <a:cubicBezTo>
                        <a:pt x="109983" y="175261"/>
                        <a:pt x="100458" y="198756"/>
                        <a:pt x="82423" y="218313"/>
                      </a:cubicBezTo>
                      <a:cubicBezTo>
                        <a:pt x="80773" y="220092"/>
                        <a:pt x="79629" y="222250"/>
                        <a:pt x="78486" y="224537"/>
                      </a:cubicBezTo>
                      <a:cubicBezTo>
                        <a:pt x="73534" y="234569"/>
                        <a:pt x="78486" y="248032"/>
                        <a:pt x="86996" y="252476"/>
                      </a:cubicBezTo>
                      <a:cubicBezTo>
                        <a:pt x="89154" y="244730"/>
                        <a:pt x="89154" y="235205"/>
                        <a:pt x="94235" y="229617"/>
                      </a:cubicBezTo>
                      <a:cubicBezTo>
                        <a:pt x="104903" y="216663"/>
                        <a:pt x="114428" y="203200"/>
                        <a:pt x="120650" y="187580"/>
                      </a:cubicBezTo>
                      <a:cubicBezTo>
                        <a:pt x="122810" y="182500"/>
                        <a:pt x="126747" y="181357"/>
                        <a:pt x="131318" y="184277"/>
                      </a:cubicBezTo>
                      <a:cubicBezTo>
                        <a:pt x="152019" y="198756"/>
                        <a:pt x="168784" y="216155"/>
                        <a:pt x="165990" y="245238"/>
                      </a:cubicBezTo>
                      <a:close/>
                      <a:moveTo>
                        <a:pt x="-489077" y="3614928"/>
                      </a:moveTo>
                      <a:moveTo>
                        <a:pt x="129541" y="198756"/>
                      </a:moveTo>
                      <a:cubicBezTo>
                        <a:pt x="126747" y="204978"/>
                        <a:pt x="123953" y="210567"/>
                        <a:pt x="120650" y="215519"/>
                      </a:cubicBezTo>
                      <a:cubicBezTo>
                        <a:pt x="117222" y="220600"/>
                        <a:pt x="113919" y="225680"/>
                        <a:pt x="109983" y="230125"/>
                      </a:cubicBezTo>
                      <a:cubicBezTo>
                        <a:pt x="98172" y="242951"/>
                        <a:pt x="98172" y="254763"/>
                        <a:pt x="109348" y="267589"/>
                      </a:cubicBezTo>
                      <a:cubicBezTo>
                        <a:pt x="112142" y="271526"/>
                        <a:pt x="140843" y="272162"/>
                        <a:pt x="144146" y="268225"/>
                      </a:cubicBezTo>
                      <a:cubicBezTo>
                        <a:pt x="145288" y="267082"/>
                        <a:pt x="145288" y="265938"/>
                        <a:pt x="146431" y="264795"/>
                      </a:cubicBezTo>
                      <a:cubicBezTo>
                        <a:pt x="159893" y="239142"/>
                        <a:pt x="154813" y="218313"/>
                        <a:pt x="129541" y="198756"/>
                      </a:cubicBezTo>
                      <a:close/>
                      <a:moveTo>
                        <a:pt x="-442595" y="3614928"/>
                      </a:moveTo>
                      <a:moveTo>
                        <a:pt x="214885" y="343789"/>
                      </a:moveTo>
                      <a:cubicBezTo>
                        <a:pt x="155956" y="356108"/>
                        <a:pt x="97663" y="356108"/>
                        <a:pt x="39243" y="343789"/>
                      </a:cubicBezTo>
                      <a:cubicBezTo>
                        <a:pt x="38100" y="353823"/>
                        <a:pt x="38100" y="354457"/>
                        <a:pt x="47117" y="357251"/>
                      </a:cubicBezTo>
                      <a:cubicBezTo>
                        <a:pt x="51562" y="358902"/>
                        <a:pt x="56642" y="360045"/>
                        <a:pt x="61087" y="360553"/>
                      </a:cubicBezTo>
                      <a:cubicBezTo>
                        <a:pt x="97029" y="366777"/>
                        <a:pt x="133478" y="366142"/>
                        <a:pt x="169927" y="363983"/>
                      </a:cubicBezTo>
                      <a:cubicBezTo>
                        <a:pt x="182246" y="362839"/>
                        <a:pt x="194056" y="360045"/>
                        <a:pt x="205867" y="357251"/>
                      </a:cubicBezTo>
                      <a:cubicBezTo>
                        <a:pt x="213742" y="356108"/>
                        <a:pt x="217043" y="351663"/>
                        <a:pt x="214885" y="343789"/>
                      </a:cubicBezTo>
                      <a:close/>
                      <a:moveTo>
                        <a:pt x="-587628" y="3614928"/>
                      </a:moveTo>
                      <a:moveTo>
                        <a:pt x="114428" y="62738"/>
                      </a:moveTo>
                      <a:cubicBezTo>
                        <a:pt x="122810" y="62738"/>
                        <a:pt x="130684" y="62738"/>
                        <a:pt x="139066" y="62738"/>
                      </a:cubicBezTo>
                      <a:cubicBezTo>
                        <a:pt x="139066" y="56007"/>
                        <a:pt x="139066" y="50419"/>
                        <a:pt x="139066" y="44196"/>
                      </a:cubicBezTo>
                      <a:cubicBezTo>
                        <a:pt x="130684" y="44196"/>
                        <a:pt x="122810" y="44196"/>
                        <a:pt x="114428" y="44196"/>
                      </a:cubicBezTo>
                      <a:cubicBezTo>
                        <a:pt x="114428" y="50927"/>
                        <a:pt x="114428" y="56515"/>
                        <a:pt x="114428" y="62738"/>
                      </a:cubicBezTo>
                      <a:close/>
                      <a:moveTo>
                        <a:pt x="-306577" y="3614928"/>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193" name="Rectangle 1078">
                  <a:extLst>
                    <a:ext uri="{FF2B5EF4-FFF2-40B4-BE49-F238E27FC236}">
                      <a16:creationId xmlns:a16="http://schemas.microsoft.com/office/drawing/2014/main" id="{8AAD01D9-B920-4356-BECB-1D70E987762D}"/>
                    </a:ext>
                  </a:extLst>
                </p:cNvPr>
                <p:cNvSpPr/>
                <p:nvPr/>
              </p:nvSpPr>
              <p:spPr>
                <a:xfrm>
                  <a:off x="3009503" y="3812461"/>
                  <a:ext cx="2135660" cy="123047"/>
                </a:xfrm>
                <a:prstGeom prst="rect">
                  <a:avLst/>
                </a:prstGeom>
              </p:spPr>
              <p:txBody>
                <a:bodyPr wrap="square" lIns="0" tIns="0" rIns="0" bIns="0">
                  <a:spAutoFit/>
                </a:bodyPr>
                <a:lstStyle/>
                <a:p>
                  <a:pPr marL="0" marR="0" lvl="0" indent="0" algn="l" defTabSz="913486" rtl="0" eaLnBrk="1" fontAlgn="auto" latinLnBrk="0" hangingPunct="1">
                    <a:lnSpc>
                      <a:spcPct val="100000"/>
                    </a:lnSpc>
                    <a:spcBef>
                      <a:spcPts val="0"/>
                    </a:spcBef>
                    <a:spcAft>
                      <a:spcPts val="0"/>
                    </a:spcAft>
                    <a:buClrTx/>
                    <a:buSzTx/>
                    <a:buFontTx/>
                    <a:buNone/>
                    <a:tabLst>
                      <a:tab pos="974238" algn="l"/>
                      <a:tab pos="1819953" algn="l"/>
                    </a:tabLst>
                    <a:defRPr/>
                  </a:pPr>
                  <a:r>
                    <a:rPr kumimoji="0" lang="en-US" sz="1198" b="1" i="0" u="none" strike="noStrike" kern="0" cap="none" spc="0" normalizeH="0" baseline="-3914" noProof="0" dirty="0">
                      <a:ln>
                        <a:noFill/>
                      </a:ln>
                      <a:solidFill>
                        <a:srgbClr val="2E2E38"/>
                      </a:solidFill>
                      <a:effectLst/>
                      <a:uLnTx/>
                      <a:uFillTx/>
                      <a:latin typeface="EYInterstate-LightBold"/>
                      <a:ea typeface="+mn-ea"/>
                      <a:cs typeface="+mn-cs"/>
                    </a:rPr>
                    <a:t>Ga</a:t>
                  </a:r>
                  <a:r>
                    <a:rPr kumimoji="0" lang="en-US" sz="1198" b="1" i="0" u="none" strike="noStrike" kern="0" cap="none" spc="-12" normalizeH="0" baseline="-3914" noProof="0" dirty="0">
                      <a:ln>
                        <a:noFill/>
                      </a:ln>
                      <a:solidFill>
                        <a:srgbClr val="2E2E38"/>
                      </a:solidFill>
                      <a:effectLst/>
                      <a:uLnTx/>
                      <a:uFillTx/>
                      <a:latin typeface="EYInterstate-LightBold"/>
                      <a:ea typeface="+mn-ea"/>
                      <a:cs typeface="+mn-cs"/>
                    </a:rPr>
                    <a:t>s</a:t>
                  </a:r>
                  <a:r>
                    <a:rPr kumimoji="0" lang="en-US" sz="1198" b="1" i="0" u="none" strike="noStrike" kern="0" cap="none" spc="0" normalizeH="0" baseline="-3914" noProof="0" dirty="0">
                      <a:ln>
                        <a:noFill/>
                      </a:ln>
                      <a:solidFill>
                        <a:srgbClr val="2E2E38"/>
                      </a:solidFill>
                      <a:effectLst/>
                      <a:uLnTx/>
                      <a:uFillTx/>
                      <a:latin typeface="EYInterstate-LightBold"/>
                      <a:ea typeface="+mn-ea"/>
                      <a:cs typeface="+mn-cs"/>
                    </a:rPr>
                    <a:t>ification	WGS</a:t>
                  </a: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R	         ATR</a:t>
                  </a:r>
                </a:p>
              </p:txBody>
            </p:sp>
          </p:grpSp>
          <p:sp>
            <p:nvSpPr>
              <p:cNvPr id="521" name="Rectangle 520">
                <a:extLst>
                  <a:ext uri="{FF2B5EF4-FFF2-40B4-BE49-F238E27FC236}">
                    <a16:creationId xmlns:a16="http://schemas.microsoft.com/office/drawing/2014/main" id="{DED4E432-CE94-452A-AFC1-A750F058D44E}"/>
                  </a:ext>
                </a:extLst>
              </p:cNvPr>
              <p:cNvSpPr/>
              <p:nvPr/>
            </p:nvSpPr>
            <p:spPr>
              <a:xfrm>
                <a:off x="3957777" y="3207591"/>
                <a:ext cx="832723" cy="785202"/>
              </a:xfrm>
              <a:prstGeom prst="rect">
                <a:avLst/>
              </a:prstGeom>
              <a:solidFill>
                <a:schemeClr val="accent3">
                  <a:lumMod val="60000"/>
                  <a:lumOff val="40000"/>
                </a:schemeClr>
              </a:solidFill>
              <a:ln w="381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522" name="Freeform 779">
                <a:extLst>
                  <a:ext uri="{FF2B5EF4-FFF2-40B4-BE49-F238E27FC236}">
                    <a16:creationId xmlns:a16="http://schemas.microsoft.com/office/drawing/2014/main" id="{019964DA-6B39-4D52-83A9-E7571AC66246}"/>
                  </a:ext>
                </a:extLst>
              </p:cNvPr>
              <p:cNvSpPr/>
              <p:nvPr/>
            </p:nvSpPr>
            <p:spPr>
              <a:xfrm>
                <a:off x="4248129" y="3246469"/>
                <a:ext cx="295133" cy="377558"/>
              </a:xfrm>
              <a:custGeom>
                <a:avLst/>
                <a:gdLst/>
                <a:ahLst/>
                <a:cxnLst/>
                <a:rect l="0" t="0" r="0" b="0"/>
                <a:pathLst>
                  <a:path w="252985" h="377952">
                    <a:moveTo>
                      <a:pt x="97663" y="377952"/>
                    </a:moveTo>
                    <a:cubicBezTo>
                      <a:pt x="84710" y="376302"/>
                      <a:pt x="71248" y="374651"/>
                      <a:pt x="58293" y="372873"/>
                    </a:cubicBezTo>
                    <a:cubicBezTo>
                      <a:pt x="54992" y="372364"/>
                      <a:pt x="51562" y="371856"/>
                      <a:pt x="48768" y="370714"/>
                    </a:cubicBezTo>
                    <a:cubicBezTo>
                      <a:pt x="29211" y="365633"/>
                      <a:pt x="25781" y="361696"/>
                      <a:pt x="26417" y="342138"/>
                    </a:cubicBezTo>
                    <a:cubicBezTo>
                      <a:pt x="26417" y="334900"/>
                      <a:pt x="24638" y="328676"/>
                      <a:pt x="20193" y="323088"/>
                    </a:cubicBezTo>
                    <a:cubicBezTo>
                      <a:pt x="7874" y="306832"/>
                      <a:pt x="1143" y="288418"/>
                      <a:pt x="1143" y="267589"/>
                    </a:cubicBezTo>
                    <a:cubicBezTo>
                      <a:pt x="1143" y="231775"/>
                      <a:pt x="0" y="195962"/>
                      <a:pt x="1143" y="160148"/>
                    </a:cubicBezTo>
                    <a:cubicBezTo>
                      <a:pt x="2286" y="120905"/>
                      <a:pt x="22479" y="92330"/>
                      <a:pt x="56642" y="73914"/>
                    </a:cubicBezTo>
                    <a:cubicBezTo>
                      <a:pt x="62230" y="71120"/>
                      <a:pt x="64517" y="68326"/>
                      <a:pt x="64009" y="62738"/>
                    </a:cubicBezTo>
                    <a:cubicBezTo>
                      <a:pt x="63373" y="54864"/>
                      <a:pt x="64009" y="47625"/>
                      <a:pt x="64009" y="39751"/>
                    </a:cubicBezTo>
                    <a:cubicBezTo>
                      <a:pt x="62230" y="20194"/>
                      <a:pt x="70104" y="6732"/>
                      <a:pt x="89154" y="0"/>
                    </a:cubicBezTo>
                    <a:cubicBezTo>
                      <a:pt x="114428" y="0"/>
                      <a:pt x="139700" y="0"/>
                      <a:pt x="164973" y="0"/>
                    </a:cubicBezTo>
                    <a:cubicBezTo>
                      <a:pt x="183388" y="6732"/>
                      <a:pt x="191262" y="20194"/>
                      <a:pt x="190119" y="39751"/>
                    </a:cubicBezTo>
                    <a:cubicBezTo>
                      <a:pt x="189611" y="48133"/>
                      <a:pt x="189611" y="56515"/>
                      <a:pt x="190119" y="64898"/>
                    </a:cubicBezTo>
                    <a:cubicBezTo>
                      <a:pt x="190119" y="67692"/>
                      <a:pt x="192405" y="71120"/>
                      <a:pt x="194692" y="72263"/>
                    </a:cubicBezTo>
                    <a:cubicBezTo>
                      <a:pt x="233935" y="92964"/>
                      <a:pt x="252985" y="125476"/>
                      <a:pt x="252985" y="169673"/>
                    </a:cubicBezTo>
                    <a:cubicBezTo>
                      <a:pt x="252477" y="199899"/>
                      <a:pt x="252477" y="230125"/>
                      <a:pt x="252985" y="259843"/>
                    </a:cubicBezTo>
                    <a:cubicBezTo>
                      <a:pt x="252985" y="284988"/>
                      <a:pt x="245746" y="307340"/>
                      <a:pt x="231141" y="327025"/>
                    </a:cubicBezTo>
                    <a:cubicBezTo>
                      <a:pt x="227711" y="330963"/>
                      <a:pt x="227711" y="337694"/>
                      <a:pt x="227711" y="342646"/>
                    </a:cubicBezTo>
                    <a:cubicBezTo>
                      <a:pt x="227204" y="361696"/>
                      <a:pt x="224917" y="365633"/>
                      <a:pt x="206375" y="370078"/>
                    </a:cubicBezTo>
                    <a:cubicBezTo>
                      <a:pt x="194056" y="372873"/>
                      <a:pt x="181229" y="374015"/>
                      <a:pt x="168784" y="376302"/>
                    </a:cubicBezTo>
                    <a:cubicBezTo>
                      <a:pt x="164338" y="376809"/>
                      <a:pt x="160402" y="377445"/>
                      <a:pt x="156465" y="377952"/>
                    </a:cubicBezTo>
                    <a:cubicBezTo>
                      <a:pt x="136906" y="377952"/>
                      <a:pt x="117222" y="377952"/>
                      <a:pt x="97663" y="377952"/>
                    </a:cubicBezTo>
                    <a:close/>
                    <a:moveTo>
                      <a:pt x="-621791" y="3614928"/>
                    </a:moveTo>
                    <a:moveTo>
                      <a:pt x="240030" y="170181"/>
                    </a:moveTo>
                    <a:cubicBezTo>
                      <a:pt x="243967" y="121539"/>
                      <a:pt x="204217" y="76708"/>
                      <a:pt x="156465" y="75565"/>
                    </a:cubicBezTo>
                    <a:cubicBezTo>
                      <a:pt x="138558" y="75057"/>
                      <a:pt x="120016" y="75057"/>
                      <a:pt x="102109" y="75565"/>
                    </a:cubicBezTo>
                    <a:cubicBezTo>
                      <a:pt x="68454" y="76200"/>
                      <a:pt x="42673" y="91313"/>
                      <a:pt x="25273" y="119888"/>
                    </a:cubicBezTo>
                    <a:cubicBezTo>
                      <a:pt x="16256" y="135001"/>
                      <a:pt x="11811" y="151765"/>
                      <a:pt x="13971" y="170181"/>
                    </a:cubicBezTo>
                    <a:cubicBezTo>
                      <a:pt x="40386" y="170181"/>
                      <a:pt x="66167" y="170181"/>
                      <a:pt x="91948" y="169673"/>
                    </a:cubicBezTo>
                    <a:cubicBezTo>
                      <a:pt x="94235" y="169673"/>
                      <a:pt x="98172" y="166878"/>
                      <a:pt x="98679" y="164593"/>
                    </a:cubicBezTo>
                    <a:cubicBezTo>
                      <a:pt x="102109" y="155068"/>
                      <a:pt x="104394" y="145034"/>
                      <a:pt x="107697" y="135001"/>
                    </a:cubicBezTo>
                    <a:cubicBezTo>
                      <a:pt x="108840" y="132081"/>
                      <a:pt x="110491" y="127127"/>
                      <a:pt x="112777" y="126493"/>
                    </a:cubicBezTo>
                    <a:cubicBezTo>
                      <a:pt x="114936" y="125984"/>
                      <a:pt x="119508" y="128778"/>
                      <a:pt x="121667" y="131064"/>
                    </a:cubicBezTo>
                    <a:cubicBezTo>
                      <a:pt x="133478" y="142240"/>
                      <a:pt x="145288" y="153925"/>
                      <a:pt x="157099" y="165736"/>
                    </a:cubicBezTo>
                    <a:cubicBezTo>
                      <a:pt x="159259" y="167387"/>
                      <a:pt x="162053" y="169673"/>
                      <a:pt x="164973" y="169673"/>
                    </a:cubicBezTo>
                    <a:cubicBezTo>
                      <a:pt x="189611" y="170181"/>
                      <a:pt x="214249" y="170181"/>
                      <a:pt x="240030" y="170181"/>
                    </a:cubicBezTo>
                    <a:close/>
                    <a:moveTo>
                      <a:pt x="-414020" y="3614928"/>
                    </a:moveTo>
                    <a:moveTo>
                      <a:pt x="13971" y="245238"/>
                    </a:moveTo>
                    <a:cubicBezTo>
                      <a:pt x="11177" y="276099"/>
                      <a:pt x="16256" y="295657"/>
                      <a:pt x="29718" y="315214"/>
                    </a:cubicBezTo>
                    <a:cubicBezTo>
                      <a:pt x="37592" y="326390"/>
                      <a:pt x="47117" y="334264"/>
                      <a:pt x="61723" y="335915"/>
                    </a:cubicBezTo>
                    <a:cubicBezTo>
                      <a:pt x="103252" y="341503"/>
                      <a:pt x="144146" y="341503"/>
                      <a:pt x="185167" y="337058"/>
                    </a:cubicBezTo>
                    <a:cubicBezTo>
                      <a:pt x="194692" y="335915"/>
                      <a:pt x="206375" y="333757"/>
                      <a:pt x="213106" y="327533"/>
                    </a:cubicBezTo>
                    <a:cubicBezTo>
                      <a:pt x="236729" y="305689"/>
                      <a:pt x="243460" y="277114"/>
                      <a:pt x="239523" y="245238"/>
                    </a:cubicBezTo>
                    <a:cubicBezTo>
                      <a:pt x="222631" y="245238"/>
                      <a:pt x="205867" y="245745"/>
                      <a:pt x="188977" y="245238"/>
                    </a:cubicBezTo>
                    <a:cubicBezTo>
                      <a:pt x="182880" y="244730"/>
                      <a:pt x="180086" y="246888"/>
                      <a:pt x="176658" y="252476"/>
                    </a:cubicBezTo>
                    <a:cubicBezTo>
                      <a:pt x="165990" y="271526"/>
                      <a:pt x="152528" y="287275"/>
                      <a:pt x="127381" y="283338"/>
                    </a:cubicBezTo>
                    <a:cubicBezTo>
                      <a:pt x="121667" y="282702"/>
                      <a:pt x="116713" y="283338"/>
                      <a:pt x="111125" y="283338"/>
                    </a:cubicBezTo>
                    <a:cubicBezTo>
                      <a:pt x="108204" y="282702"/>
                      <a:pt x="105411" y="282702"/>
                      <a:pt x="103252" y="281051"/>
                    </a:cubicBezTo>
                    <a:cubicBezTo>
                      <a:pt x="89154" y="273305"/>
                      <a:pt x="76328" y="263780"/>
                      <a:pt x="68454" y="249682"/>
                    </a:cubicBezTo>
                    <a:cubicBezTo>
                      <a:pt x="67311" y="247524"/>
                      <a:pt x="64517" y="245238"/>
                      <a:pt x="62866" y="245238"/>
                    </a:cubicBezTo>
                    <a:cubicBezTo>
                      <a:pt x="46610" y="245238"/>
                      <a:pt x="30354" y="245238"/>
                      <a:pt x="13971" y="245238"/>
                    </a:cubicBezTo>
                    <a:close/>
                    <a:moveTo>
                      <a:pt x="-489077" y="3614928"/>
                    </a:moveTo>
                    <a:moveTo>
                      <a:pt x="177292" y="65532"/>
                    </a:moveTo>
                    <a:cubicBezTo>
                      <a:pt x="177292" y="53213"/>
                      <a:pt x="177800" y="41402"/>
                      <a:pt x="177292" y="29719"/>
                    </a:cubicBezTo>
                    <a:cubicBezTo>
                      <a:pt x="176658" y="19558"/>
                      <a:pt x="168784" y="12827"/>
                      <a:pt x="158242" y="12319"/>
                    </a:cubicBezTo>
                    <a:cubicBezTo>
                      <a:pt x="137415" y="12319"/>
                      <a:pt x="116713" y="12319"/>
                      <a:pt x="95886" y="12319"/>
                    </a:cubicBezTo>
                    <a:cubicBezTo>
                      <a:pt x="86361" y="12319"/>
                      <a:pt x="78486" y="17400"/>
                      <a:pt x="77471" y="25782"/>
                    </a:cubicBezTo>
                    <a:cubicBezTo>
                      <a:pt x="76328" y="38608"/>
                      <a:pt x="77471" y="52070"/>
                      <a:pt x="77471" y="65532"/>
                    </a:cubicBezTo>
                    <a:cubicBezTo>
                      <a:pt x="83567" y="64898"/>
                      <a:pt x="89154" y="64389"/>
                      <a:pt x="94742" y="63246"/>
                    </a:cubicBezTo>
                    <a:cubicBezTo>
                      <a:pt x="97663" y="62738"/>
                      <a:pt x="101473" y="61595"/>
                      <a:pt x="101473" y="60452"/>
                    </a:cubicBezTo>
                    <a:cubicBezTo>
                      <a:pt x="101473" y="54864"/>
                      <a:pt x="102109" y="45975"/>
                      <a:pt x="99823" y="44832"/>
                    </a:cubicBezTo>
                    <a:cubicBezTo>
                      <a:pt x="91948" y="41402"/>
                      <a:pt x="97029" y="36450"/>
                      <a:pt x="95378" y="32513"/>
                    </a:cubicBezTo>
                    <a:cubicBezTo>
                      <a:pt x="116713" y="32513"/>
                      <a:pt x="137415" y="32513"/>
                      <a:pt x="158242" y="32513"/>
                    </a:cubicBezTo>
                    <a:cubicBezTo>
                      <a:pt x="158242" y="36450"/>
                      <a:pt x="158750" y="42038"/>
                      <a:pt x="157099" y="42545"/>
                    </a:cubicBezTo>
                    <a:cubicBezTo>
                      <a:pt x="147574" y="45339"/>
                      <a:pt x="153162" y="53213"/>
                      <a:pt x="152019" y="58801"/>
                    </a:cubicBezTo>
                    <a:cubicBezTo>
                      <a:pt x="152019" y="59944"/>
                      <a:pt x="154813" y="62738"/>
                      <a:pt x="156465" y="63246"/>
                    </a:cubicBezTo>
                    <a:cubicBezTo>
                      <a:pt x="162687" y="64389"/>
                      <a:pt x="169418" y="64898"/>
                      <a:pt x="177292" y="65532"/>
                    </a:cubicBezTo>
                    <a:close/>
                    <a:moveTo>
                      <a:pt x="-309371" y="3614928"/>
                    </a:moveTo>
                    <a:moveTo>
                      <a:pt x="63373" y="232919"/>
                    </a:moveTo>
                    <a:cubicBezTo>
                      <a:pt x="65024" y="211709"/>
                      <a:pt x="84710" y="201550"/>
                      <a:pt x="91441" y="183134"/>
                    </a:cubicBezTo>
                    <a:cubicBezTo>
                      <a:pt x="65024" y="183134"/>
                      <a:pt x="39879" y="183134"/>
                      <a:pt x="13971" y="183134"/>
                    </a:cubicBezTo>
                    <a:cubicBezTo>
                      <a:pt x="13971" y="199899"/>
                      <a:pt x="13971" y="216155"/>
                      <a:pt x="13971" y="232919"/>
                    </a:cubicBezTo>
                    <a:cubicBezTo>
                      <a:pt x="30354" y="232919"/>
                      <a:pt x="46610" y="232919"/>
                      <a:pt x="63373" y="232919"/>
                    </a:cubicBezTo>
                    <a:close/>
                    <a:moveTo>
                      <a:pt x="-476758" y="3614928"/>
                    </a:moveTo>
                    <a:moveTo>
                      <a:pt x="170561" y="183134"/>
                    </a:moveTo>
                    <a:cubicBezTo>
                      <a:pt x="174498" y="191517"/>
                      <a:pt x="178436" y="198756"/>
                      <a:pt x="180594" y="207138"/>
                    </a:cubicBezTo>
                    <a:cubicBezTo>
                      <a:pt x="183388" y="215519"/>
                      <a:pt x="184023" y="224537"/>
                      <a:pt x="185167" y="232919"/>
                    </a:cubicBezTo>
                    <a:cubicBezTo>
                      <a:pt x="203581" y="232919"/>
                      <a:pt x="221616" y="232919"/>
                      <a:pt x="240030" y="232919"/>
                    </a:cubicBezTo>
                    <a:cubicBezTo>
                      <a:pt x="240030" y="216155"/>
                      <a:pt x="240030" y="199390"/>
                      <a:pt x="240030" y="183134"/>
                    </a:cubicBezTo>
                    <a:cubicBezTo>
                      <a:pt x="216536" y="183134"/>
                      <a:pt x="193548" y="183134"/>
                      <a:pt x="170561" y="183134"/>
                    </a:cubicBezTo>
                    <a:close/>
                    <a:moveTo>
                      <a:pt x="-426973" y="3614928"/>
                    </a:moveTo>
                    <a:moveTo>
                      <a:pt x="165990" y="245238"/>
                    </a:moveTo>
                    <a:cubicBezTo>
                      <a:pt x="173355" y="232411"/>
                      <a:pt x="172721" y="219457"/>
                      <a:pt x="167767" y="205994"/>
                    </a:cubicBezTo>
                    <a:cubicBezTo>
                      <a:pt x="158242" y="180849"/>
                      <a:pt x="138049" y="163450"/>
                      <a:pt x="118365" y="145034"/>
                    </a:cubicBezTo>
                    <a:cubicBezTo>
                      <a:pt x="117856" y="147320"/>
                      <a:pt x="116713" y="148337"/>
                      <a:pt x="116713" y="150114"/>
                    </a:cubicBezTo>
                    <a:cubicBezTo>
                      <a:pt x="109983" y="175261"/>
                      <a:pt x="100458" y="198756"/>
                      <a:pt x="82423" y="218313"/>
                    </a:cubicBezTo>
                    <a:cubicBezTo>
                      <a:pt x="80773" y="220092"/>
                      <a:pt x="79629" y="222250"/>
                      <a:pt x="78486" y="224537"/>
                    </a:cubicBezTo>
                    <a:cubicBezTo>
                      <a:pt x="73534" y="234569"/>
                      <a:pt x="78486" y="248032"/>
                      <a:pt x="86996" y="252476"/>
                    </a:cubicBezTo>
                    <a:cubicBezTo>
                      <a:pt x="89154" y="244730"/>
                      <a:pt x="89154" y="235205"/>
                      <a:pt x="94235" y="229617"/>
                    </a:cubicBezTo>
                    <a:cubicBezTo>
                      <a:pt x="104903" y="216663"/>
                      <a:pt x="114428" y="203200"/>
                      <a:pt x="120650" y="187580"/>
                    </a:cubicBezTo>
                    <a:cubicBezTo>
                      <a:pt x="122810" y="182500"/>
                      <a:pt x="126747" y="181357"/>
                      <a:pt x="131318" y="184277"/>
                    </a:cubicBezTo>
                    <a:cubicBezTo>
                      <a:pt x="152019" y="198756"/>
                      <a:pt x="168784" y="216155"/>
                      <a:pt x="165990" y="245238"/>
                    </a:cubicBezTo>
                    <a:close/>
                    <a:moveTo>
                      <a:pt x="-489077" y="3614928"/>
                    </a:moveTo>
                    <a:moveTo>
                      <a:pt x="129541" y="198756"/>
                    </a:moveTo>
                    <a:cubicBezTo>
                      <a:pt x="126747" y="204978"/>
                      <a:pt x="123953" y="210567"/>
                      <a:pt x="120650" y="215519"/>
                    </a:cubicBezTo>
                    <a:cubicBezTo>
                      <a:pt x="117222" y="220600"/>
                      <a:pt x="113919" y="225680"/>
                      <a:pt x="109983" y="230125"/>
                    </a:cubicBezTo>
                    <a:cubicBezTo>
                      <a:pt x="98172" y="242951"/>
                      <a:pt x="98172" y="254763"/>
                      <a:pt x="109348" y="267589"/>
                    </a:cubicBezTo>
                    <a:cubicBezTo>
                      <a:pt x="112142" y="271526"/>
                      <a:pt x="140843" y="272162"/>
                      <a:pt x="144146" y="268225"/>
                    </a:cubicBezTo>
                    <a:cubicBezTo>
                      <a:pt x="145288" y="267082"/>
                      <a:pt x="145288" y="265938"/>
                      <a:pt x="146431" y="264795"/>
                    </a:cubicBezTo>
                    <a:cubicBezTo>
                      <a:pt x="159893" y="239142"/>
                      <a:pt x="154813" y="218313"/>
                      <a:pt x="129541" y="198756"/>
                    </a:cubicBezTo>
                    <a:close/>
                    <a:moveTo>
                      <a:pt x="-442595" y="3614928"/>
                    </a:moveTo>
                    <a:moveTo>
                      <a:pt x="214885" y="343789"/>
                    </a:moveTo>
                    <a:cubicBezTo>
                      <a:pt x="155956" y="356108"/>
                      <a:pt x="97663" y="356108"/>
                      <a:pt x="39243" y="343789"/>
                    </a:cubicBezTo>
                    <a:cubicBezTo>
                      <a:pt x="38100" y="353823"/>
                      <a:pt x="38100" y="354457"/>
                      <a:pt x="47117" y="357251"/>
                    </a:cubicBezTo>
                    <a:cubicBezTo>
                      <a:pt x="51562" y="358902"/>
                      <a:pt x="56642" y="360045"/>
                      <a:pt x="61087" y="360553"/>
                    </a:cubicBezTo>
                    <a:cubicBezTo>
                      <a:pt x="97029" y="366777"/>
                      <a:pt x="133478" y="366142"/>
                      <a:pt x="169927" y="363983"/>
                    </a:cubicBezTo>
                    <a:cubicBezTo>
                      <a:pt x="182246" y="362839"/>
                      <a:pt x="194056" y="360045"/>
                      <a:pt x="205867" y="357251"/>
                    </a:cubicBezTo>
                    <a:cubicBezTo>
                      <a:pt x="213742" y="356108"/>
                      <a:pt x="217043" y="351663"/>
                      <a:pt x="214885" y="343789"/>
                    </a:cubicBezTo>
                    <a:close/>
                    <a:moveTo>
                      <a:pt x="-587628" y="3614928"/>
                    </a:moveTo>
                    <a:moveTo>
                      <a:pt x="114428" y="62738"/>
                    </a:moveTo>
                    <a:cubicBezTo>
                      <a:pt x="122810" y="62738"/>
                      <a:pt x="130684" y="62738"/>
                      <a:pt x="139066" y="62738"/>
                    </a:cubicBezTo>
                    <a:cubicBezTo>
                      <a:pt x="139066" y="56007"/>
                      <a:pt x="139066" y="50419"/>
                      <a:pt x="139066" y="44196"/>
                    </a:cubicBezTo>
                    <a:cubicBezTo>
                      <a:pt x="130684" y="44196"/>
                      <a:pt x="122810" y="44196"/>
                      <a:pt x="114428" y="44196"/>
                    </a:cubicBezTo>
                    <a:cubicBezTo>
                      <a:pt x="114428" y="50927"/>
                      <a:pt x="114428" y="56515"/>
                      <a:pt x="114428" y="62738"/>
                    </a:cubicBezTo>
                    <a:close/>
                    <a:moveTo>
                      <a:pt x="-306577" y="3614928"/>
                    </a:moveTo>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523" name="Rectangle 1078">
                <a:extLst>
                  <a:ext uri="{FF2B5EF4-FFF2-40B4-BE49-F238E27FC236}">
                    <a16:creationId xmlns:a16="http://schemas.microsoft.com/office/drawing/2014/main" id="{273B3DC2-D97A-4655-A50C-DB2FC01D7DEF}"/>
                  </a:ext>
                </a:extLst>
              </p:cNvPr>
              <p:cNvSpPr/>
              <p:nvPr/>
            </p:nvSpPr>
            <p:spPr>
              <a:xfrm>
                <a:off x="4240858" y="3809028"/>
                <a:ext cx="543150" cy="244747"/>
              </a:xfrm>
              <a:prstGeom prst="rect">
                <a:avLst/>
              </a:prstGeom>
            </p:spPr>
            <p:txBody>
              <a:bodyPr wrap="square" lIns="0" tIns="0" rIns="0" bIns="0">
                <a:spAutoFit/>
              </a:bodyPr>
              <a:lstStyle/>
              <a:p>
                <a:pPr marL="0" marR="0" lvl="0" indent="0" algn="ctr" defTabSz="913486" rtl="0" eaLnBrk="1" fontAlgn="auto" latinLnBrk="0" hangingPunct="1">
                  <a:lnSpc>
                    <a:spcPct val="100000"/>
                  </a:lnSpc>
                  <a:spcBef>
                    <a:spcPts val="0"/>
                  </a:spcBef>
                  <a:spcAft>
                    <a:spcPts val="0"/>
                  </a:spcAft>
                  <a:buClrTx/>
                  <a:buSzTx/>
                  <a:buFontTx/>
                  <a:buNone/>
                  <a:tabLst>
                    <a:tab pos="974238" algn="l"/>
                    <a:tab pos="1819953" algn="l"/>
                  </a:tabLst>
                  <a:defRPr/>
                </a:pPr>
                <a:r>
                  <a:rPr kumimoji="0" lang="en-US" sz="1198" b="1" i="0" u="none" strike="noStrike" kern="0" cap="none" spc="0" normalizeH="0" baseline="-3914" noProof="0" dirty="0">
                    <a:ln>
                      <a:noFill/>
                    </a:ln>
                    <a:solidFill>
                      <a:srgbClr val="2E2E38"/>
                    </a:solidFill>
                    <a:effectLst/>
                    <a:uLnTx/>
                    <a:uFillTx/>
                    <a:latin typeface="EYInterstate-LightBold"/>
                    <a:ea typeface="+mn-ea"/>
                    <a:cs typeface="+mn-cs"/>
                  </a:rPr>
                  <a:t>WGS</a:t>
                </a:r>
                <a:r>
                  <a:rPr kumimoji="0" lang="en-US" sz="792" b="1" i="0" u="none" strike="noStrike" kern="0" cap="none" spc="0" normalizeH="0" baseline="0" noProof="0" dirty="0">
                    <a:ln>
                      <a:noFill/>
                    </a:ln>
                    <a:solidFill>
                      <a:srgbClr val="2E2E38"/>
                    </a:solidFill>
                    <a:effectLst/>
                    <a:uLnTx/>
                    <a:uFillTx/>
                    <a:latin typeface="EYInterstate-LightBold"/>
                    <a:ea typeface="+mn-ea"/>
                    <a:cs typeface="+mn-cs"/>
                  </a:rPr>
                  <a:t>R	</a:t>
                </a:r>
              </a:p>
            </p:txBody>
          </p:sp>
        </p:grpSp>
        <p:sp>
          <p:nvSpPr>
            <p:cNvPr id="412" name="Rectangle 1097">
              <a:extLst>
                <a:ext uri="{FF2B5EF4-FFF2-40B4-BE49-F238E27FC236}">
                  <a16:creationId xmlns:a16="http://schemas.microsoft.com/office/drawing/2014/main" id="{A7F2A080-4BD6-40E6-94C7-1C25310A27FA}"/>
                </a:ext>
              </a:extLst>
            </p:cNvPr>
            <p:cNvSpPr/>
            <p:nvPr/>
          </p:nvSpPr>
          <p:spPr>
            <a:xfrm>
              <a:off x="3009195" y="4431630"/>
              <a:ext cx="1614169" cy="184346"/>
            </a:xfrm>
            <a:prstGeom prst="rect">
              <a:avLst/>
            </a:prstGeom>
            <a:solidFill>
              <a:srgbClr val="2E2E38"/>
            </a:solidFill>
          </p:spPr>
          <p:txBody>
            <a:bodyPr wrap="square" lIns="0" tIns="0" rIns="0" bIns="0">
              <a:spAutoFit/>
            </a:bodyPr>
            <a:lstStyle/>
            <a:p>
              <a:pPr marL="0" marR="0" lvl="0" indent="0" algn="ctr" defTabSz="913486" rtl="0" eaLnBrk="1" fontAlgn="auto" latinLnBrk="0" hangingPunct="1">
                <a:lnSpc>
                  <a:spcPct val="100000"/>
                </a:lnSpc>
                <a:spcBef>
                  <a:spcPts val="0"/>
                </a:spcBef>
                <a:spcAft>
                  <a:spcPts val="0"/>
                </a:spcAft>
                <a:buClrTx/>
                <a:buSzTx/>
                <a:buFontTx/>
                <a:buNone/>
                <a:tabLst/>
                <a:defRPr/>
              </a:pPr>
              <a:r>
                <a:rPr kumimoji="0" lang="en-US" sz="1198" b="1" i="0" u="none" strike="noStrike" kern="0" cap="none" spc="-12" normalizeH="0" baseline="0" noProof="0" dirty="0">
                  <a:ln>
                    <a:noFill/>
                  </a:ln>
                  <a:solidFill>
                    <a:prstClr val="white"/>
                  </a:solidFill>
                  <a:effectLst/>
                  <a:uLnTx/>
                  <a:uFillTx/>
                  <a:latin typeface="EYInterstate-LightBold"/>
                  <a:ea typeface="+mn-ea"/>
                  <a:cs typeface="+mn-cs"/>
                </a:rPr>
                <a:t>Low Carbon H</a:t>
              </a:r>
              <a:r>
                <a:rPr kumimoji="0" lang="en-US" sz="1198" b="1" i="0" u="none" strike="noStrike" kern="0" cap="none" spc="-12" normalizeH="0" baseline="-25000" noProof="0" dirty="0">
                  <a:ln>
                    <a:noFill/>
                  </a:ln>
                  <a:solidFill>
                    <a:prstClr val="white"/>
                  </a:solidFill>
                  <a:effectLst/>
                  <a:uLnTx/>
                  <a:uFillTx/>
                  <a:latin typeface="EYInterstate-LightBold"/>
                  <a:ea typeface="+mn-ea"/>
                  <a:cs typeface="+mn-cs"/>
                </a:rPr>
                <a:t>2</a:t>
              </a:r>
            </a:p>
          </p:txBody>
        </p:sp>
      </p:grpSp>
      <p:grpSp>
        <p:nvGrpSpPr>
          <p:cNvPr id="428" name="Group 427">
            <a:extLst>
              <a:ext uri="{FF2B5EF4-FFF2-40B4-BE49-F238E27FC236}">
                <a16:creationId xmlns:a16="http://schemas.microsoft.com/office/drawing/2014/main" id="{D26C63DD-D4C2-49C0-A7B0-CDCB4DF54667}"/>
              </a:ext>
            </a:extLst>
          </p:cNvPr>
          <p:cNvGrpSpPr/>
          <p:nvPr/>
        </p:nvGrpSpPr>
        <p:grpSpPr>
          <a:xfrm>
            <a:off x="2380894" y="2723325"/>
            <a:ext cx="2953777" cy="474928"/>
            <a:chOff x="2380894" y="2556630"/>
            <a:chExt cx="2953777" cy="474928"/>
          </a:xfrm>
        </p:grpSpPr>
        <p:cxnSp>
          <p:nvCxnSpPr>
            <p:cNvPr id="429" name="Connector: Elbow 1196">
              <a:extLst>
                <a:ext uri="{FF2B5EF4-FFF2-40B4-BE49-F238E27FC236}">
                  <a16:creationId xmlns:a16="http://schemas.microsoft.com/office/drawing/2014/main" id="{4E6EFE44-8FFB-46E8-9579-E7A16DC9B602}"/>
                </a:ext>
              </a:extLst>
            </p:cNvPr>
            <p:cNvCxnSpPr>
              <a:cxnSpLocks/>
            </p:cNvCxnSpPr>
            <p:nvPr/>
          </p:nvCxnSpPr>
          <p:spPr>
            <a:xfrm flipH="1">
              <a:off x="2383923" y="2793412"/>
              <a:ext cx="2641873" cy="0"/>
            </a:xfrm>
            <a:prstGeom prst="straightConnector1">
              <a:avLst/>
            </a:prstGeom>
            <a:ln w="9525">
              <a:solidFill>
                <a:srgbClr val="C4C4CD"/>
              </a:solidFill>
              <a:tailEnd type="none"/>
            </a:ln>
          </p:spPr>
          <p:style>
            <a:lnRef idx="1">
              <a:schemeClr val="accent1"/>
            </a:lnRef>
            <a:fillRef idx="0">
              <a:schemeClr val="accent1"/>
            </a:fillRef>
            <a:effectRef idx="0">
              <a:schemeClr val="accent1"/>
            </a:effectRef>
            <a:fontRef idx="minor">
              <a:schemeClr val="tx1"/>
            </a:fontRef>
          </p:style>
        </p:cxnSp>
        <p:grpSp>
          <p:nvGrpSpPr>
            <p:cNvPr id="430" name="Grey to Blue Lines">
              <a:extLst>
                <a:ext uri="{FF2B5EF4-FFF2-40B4-BE49-F238E27FC236}">
                  <a16:creationId xmlns:a16="http://schemas.microsoft.com/office/drawing/2014/main" id="{E2DFAD15-E89D-4F04-80BC-105C6D89FE75}"/>
                </a:ext>
              </a:extLst>
            </p:cNvPr>
            <p:cNvGrpSpPr/>
            <p:nvPr/>
          </p:nvGrpSpPr>
          <p:grpSpPr>
            <a:xfrm>
              <a:off x="2380894" y="2556630"/>
              <a:ext cx="2953777" cy="474928"/>
              <a:chOff x="2379751" y="2553798"/>
              <a:chExt cx="2955317" cy="475173"/>
            </a:xfrm>
          </p:grpSpPr>
          <p:cxnSp>
            <p:nvCxnSpPr>
              <p:cNvPr id="431" name="Connector: Elbow 430">
                <a:extLst>
                  <a:ext uri="{FF2B5EF4-FFF2-40B4-BE49-F238E27FC236}">
                    <a16:creationId xmlns:a16="http://schemas.microsoft.com/office/drawing/2014/main" id="{E408B4C2-4EF9-44E6-9425-58E2C6B3A446}"/>
                  </a:ext>
                </a:extLst>
              </p:cNvPr>
              <p:cNvCxnSpPr>
                <a:cxnSpLocks/>
              </p:cNvCxnSpPr>
              <p:nvPr/>
            </p:nvCxnSpPr>
            <p:spPr>
              <a:xfrm rot="16200000" flipH="1">
                <a:off x="4942963" y="2636866"/>
                <a:ext cx="475173" cy="309037"/>
              </a:xfrm>
              <a:prstGeom prst="bentConnector3">
                <a:avLst>
                  <a:gd name="adj1" fmla="val 50000"/>
                </a:avLst>
              </a:prstGeom>
              <a:ln w="9525">
                <a:solidFill>
                  <a:srgbClr val="C4C4CD"/>
                </a:solidFill>
                <a:tailEnd type="triangle"/>
              </a:ln>
            </p:spPr>
            <p:style>
              <a:lnRef idx="1">
                <a:schemeClr val="accent1"/>
              </a:lnRef>
              <a:fillRef idx="0">
                <a:schemeClr val="accent1"/>
              </a:fillRef>
              <a:effectRef idx="0">
                <a:schemeClr val="accent1"/>
              </a:effectRef>
              <a:fontRef idx="minor">
                <a:schemeClr val="tx1"/>
              </a:fontRef>
            </p:style>
          </p:cxnSp>
          <p:cxnSp>
            <p:nvCxnSpPr>
              <p:cNvPr id="432" name="Connector: Elbow 1196">
                <a:extLst>
                  <a:ext uri="{FF2B5EF4-FFF2-40B4-BE49-F238E27FC236}">
                    <a16:creationId xmlns:a16="http://schemas.microsoft.com/office/drawing/2014/main" id="{797CBC21-0629-4A24-9EBE-187DD075E244}"/>
                  </a:ext>
                </a:extLst>
              </p:cNvPr>
              <p:cNvCxnSpPr>
                <a:cxnSpLocks/>
              </p:cNvCxnSpPr>
              <p:nvPr/>
            </p:nvCxnSpPr>
            <p:spPr>
              <a:xfrm>
                <a:off x="2379751" y="2789023"/>
                <a:ext cx="0" cy="210700"/>
              </a:xfrm>
              <a:prstGeom prst="straightConnector1">
                <a:avLst/>
              </a:prstGeom>
              <a:ln w="9525">
                <a:solidFill>
                  <a:srgbClr val="C4C4CD"/>
                </a:solidFill>
                <a:tailEnd type="triangle"/>
              </a:ln>
            </p:spPr>
            <p:style>
              <a:lnRef idx="1">
                <a:schemeClr val="accent1"/>
              </a:lnRef>
              <a:fillRef idx="0">
                <a:schemeClr val="accent1"/>
              </a:fillRef>
              <a:effectRef idx="0">
                <a:schemeClr val="accent1"/>
              </a:effectRef>
              <a:fontRef idx="minor">
                <a:schemeClr val="tx1"/>
              </a:fontRef>
            </p:style>
          </p:cxnSp>
          <p:cxnSp>
            <p:nvCxnSpPr>
              <p:cNvPr id="433" name="Straight Arrow Connector 432">
                <a:extLst>
                  <a:ext uri="{FF2B5EF4-FFF2-40B4-BE49-F238E27FC236}">
                    <a16:creationId xmlns:a16="http://schemas.microsoft.com/office/drawing/2014/main" id="{65AB7834-7940-485A-9FCD-B563EB7E5822}"/>
                  </a:ext>
                </a:extLst>
              </p:cNvPr>
              <p:cNvCxnSpPr>
                <a:cxnSpLocks/>
              </p:cNvCxnSpPr>
              <p:nvPr/>
            </p:nvCxnSpPr>
            <p:spPr>
              <a:xfrm>
                <a:off x="2990847" y="2793504"/>
                <a:ext cx="0" cy="224330"/>
              </a:xfrm>
              <a:prstGeom prst="straightConnector1">
                <a:avLst/>
              </a:prstGeom>
              <a:ln w="9525">
                <a:solidFill>
                  <a:srgbClr val="C4C4CD"/>
                </a:solidFill>
                <a:tailEnd type="triangle"/>
              </a:ln>
            </p:spPr>
            <p:style>
              <a:lnRef idx="1">
                <a:schemeClr val="accent1"/>
              </a:lnRef>
              <a:fillRef idx="0">
                <a:schemeClr val="accent1"/>
              </a:fillRef>
              <a:effectRef idx="0">
                <a:schemeClr val="accent1"/>
              </a:effectRef>
              <a:fontRef idx="minor">
                <a:schemeClr val="tx1"/>
              </a:fontRef>
            </p:style>
          </p:cxnSp>
          <p:cxnSp>
            <p:nvCxnSpPr>
              <p:cNvPr id="434" name="Straight Arrow Connector 433">
                <a:extLst>
                  <a:ext uri="{FF2B5EF4-FFF2-40B4-BE49-F238E27FC236}">
                    <a16:creationId xmlns:a16="http://schemas.microsoft.com/office/drawing/2014/main" id="{B2187C7E-4CC6-498A-B0D3-DFAF4F650F72}"/>
                  </a:ext>
                </a:extLst>
              </p:cNvPr>
              <p:cNvCxnSpPr>
                <a:cxnSpLocks/>
              </p:cNvCxnSpPr>
              <p:nvPr/>
            </p:nvCxnSpPr>
            <p:spPr>
              <a:xfrm>
                <a:off x="4493886" y="2793115"/>
                <a:ext cx="0" cy="232198"/>
              </a:xfrm>
              <a:prstGeom prst="straightConnector1">
                <a:avLst/>
              </a:prstGeom>
              <a:ln w="9525">
                <a:solidFill>
                  <a:srgbClr val="C4C4CD"/>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413" name="Rectangle 1097">
            <a:extLst>
              <a:ext uri="{FF2B5EF4-FFF2-40B4-BE49-F238E27FC236}">
                <a16:creationId xmlns:a16="http://schemas.microsoft.com/office/drawing/2014/main" id="{5A0C31FA-B9C2-4178-9CA2-AC6FB8A3C185}"/>
              </a:ext>
            </a:extLst>
          </p:cNvPr>
          <p:cNvSpPr/>
          <p:nvPr/>
        </p:nvSpPr>
        <p:spPr>
          <a:xfrm>
            <a:off x="3155602" y="2831614"/>
            <a:ext cx="1244155" cy="368691"/>
          </a:xfrm>
          <a:prstGeom prst="rect">
            <a:avLst/>
          </a:prstGeom>
          <a:solidFill>
            <a:srgbClr val="2E2E38"/>
          </a:solidFill>
        </p:spPr>
        <p:txBody>
          <a:bodyPr wrap="square" lIns="0" tIns="0" rIns="0" bIns="0">
            <a:spAutoFit/>
          </a:bodyPr>
          <a:lstStyle/>
          <a:p>
            <a:pPr marL="91440" marR="0" lvl="0" indent="0" algn="ctr" defTabSz="913486" rtl="0" eaLnBrk="1" fontAlgn="auto" latinLnBrk="0" hangingPunct="1">
              <a:lnSpc>
                <a:spcPct val="100000"/>
              </a:lnSpc>
              <a:spcBef>
                <a:spcPts val="0"/>
              </a:spcBef>
              <a:spcAft>
                <a:spcPts val="0"/>
              </a:spcAft>
              <a:buClrTx/>
              <a:buSzTx/>
              <a:buFontTx/>
              <a:buNone/>
              <a:tabLst/>
              <a:defRPr/>
            </a:pPr>
            <a:r>
              <a:rPr kumimoji="0" lang="en-US" sz="1198" b="1" i="0" u="none" strike="noStrike" kern="0" cap="none" spc="-12" normalizeH="0" baseline="0" noProof="0" dirty="0">
                <a:ln>
                  <a:noFill/>
                </a:ln>
                <a:solidFill>
                  <a:srgbClr val="188CE5"/>
                </a:solidFill>
                <a:effectLst/>
                <a:uLnTx/>
                <a:uFillTx/>
                <a:latin typeface="EYInterstate-LightBold"/>
                <a:ea typeface="+mn-ea"/>
                <a:cs typeface="+mn-cs"/>
              </a:rPr>
              <a:t>Blue Hydrogen  </a:t>
            </a:r>
            <a:r>
              <a:rPr kumimoji="0" lang="en-US" sz="1198" b="1" i="0" u="none" strike="noStrike" kern="0" cap="none" spc="-12" normalizeH="0" baseline="0" noProof="0" dirty="0">
                <a:ln>
                  <a:noFill/>
                </a:ln>
                <a:solidFill>
                  <a:prstClr val="white"/>
                </a:solidFill>
                <a:effectLst/>
                <a:uLnTx/>
                <a:uFillTx/>
                <a:latin typeface="EYInterstate-LightBold"/>
                <a:ea typeface="+mn-ea"/>
                <a:cs typeface="+mn-cs"/>
              </a:rPr>
              <a:t>Low Carbon  </a:t>
            </a:r>
          </a:p>
        </p:txBody>
      </p:sp>
      <p:sp>
        <p:nvSpPr>
          <p:cNvPr id="411" name="Footer Placeholder 2">
            <a:extLst>
              <a:ext uri="{FF2B5EF4-FFF2-40B4-BE49-F238E27FC236}">
                <a16:creationId xmlns:a16="http://schemas.microsoft.com/office/drawing/2014/main" id="{FE27CEE1-8A18-4E41-A90B-06A3EC91EE3F}"/>
              </a:ext>
            </a:extLst>
          </p:cNvPr>
          <p:cNvSpPr txBox="1">
            <a:spLocks/>
          </p:cNvSpPr>
          <p:nvPr/>
        </p:nvSpPr>
        <p:spPr>
          <a:xfrm>
            <a:off x="4553753" y="6471244"/>
            <a:ext cx="3367734" cy="180000"/>
          </a:xfrm>
          <a:prstGeom prst="rect">
            <a:avLst/>
          </a:prstGeom>
        </p:spPr>
        <p:txBody>
          <a:bodyPr/>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Page </a:t>
            </a:r>
            <a:fld id="{F1BC30E3-FFE5-4B91-AA19-87A149EBB9EE}" type="slidenum">
              <a:rPr smtClean="0"/>
              <a:pPr/>
              <a:t>5</a:t>
            </a:fld>
            <a:r>
              <a:rPr lang="en-US" dirty="0"/>
              <a:t> | Draft</a:t>
            </a:r>
          </a:p>
        </p:txBody>
      </p:sp>
    </p:spTree>
    <p:extLst>
      <p:ext uri="{BB962C8B-B14F-4D97-AF65-F5344CB8AC3E}">
        <p14:creationId xmlns:p14="http://schemas.microsoft.com/office/powerpoint/2010/main" val="425377007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p:cTn id="11" dur="500" fill="hold"/>
                                        <p:tgtEl>
                                          <p:spTgt spid="5"/>
                                        </p:tgtEl>
                                        <p:attrNameLst>
                                          <p:attrName>ppt_w</p:attrName>
                                        </p:attrNameLst>
                                      </p:cBhvr>
                                      <p:tavLst>
                                        <p:tav tm="0">
                                          <p:val>
                                            <p:fltVal val="0"/>
                                          </p:val>
                                        </p:tav>
                                        <p:tav tm="100000">
                                          <p:val>
                                            <p:strVal val="#ppt_w"/>
                                          </p:val>
                                        </p:tav>
                                      </p:tavLst>
                                    </p:anim>
                                    <p:anim calcmode="lin" valueType="num">
                                      <p:cBhvr>
                                        <p:cTn id="12" dur="500" fill="hold"/>
                                        <p:tgtEl>
                                          <p:spTgt spid="5"/>
                                        </p:tgtEl>
                                        <p:attrNameLst>
                                          <p:attrName>ppt_h</p:attrName>
                                        </p:attrNameLst>
                                      </p:cBhvr>
                                      <p:tavLst>
                                        <p:tav tm="0">
                                          <p:val>
                                            <p:fltVal val="0"/>
                                          </p:val>
                                        </p:tav>
                                        <p:tav tm="100000">
                                          <p:val>
                                            <p:strVal val="#ppt_h"/>
                                          </p:val>
                                        </p:tav>
                                      </p:tavLst>
                                    </p:anim>
                                    <p:animEffect transition="in" filter="fade">
                                      <p:cBhvr>
                                        <p:cTn id="13" dur="500"/>
                                        <p:tgtEl>
                                          <p:spTgt spid="5"/>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wipe(left)">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wipe(left)">
                                      <p:cBhvr>
                                        <p:cTn id="23" dur="5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nodeType="clickEffect">
                                  <p:stCondLst>
                                    <p:cond delay="0"/>
                                  </p:stCondLst>
                                  <p:childTnLst>
                                    <p:set>
                                      <p:cBhvr>
                                        <p:cTn id="27" dur="1" fill="hold">
                                          <p:stCondLst>
                                            <p:cond delay="0"/>
                                          </p:stCondLst>
                                        </p:cTn>
                                        <p:tgtEl>
                                          <p:spTgt spid="52"/>
                                        </p:tgtEl>
                                        <p:attrNameLst>
                                          <p:attrName>style.visibility</p:attrName>
                                        </p:attrNameLst>
                                      </p:cBhvr>
                                      <p:to>
                                        <p:strVal val="visible"/>
                                      </p:to>
                                    </p:set>
                                    <p:animEffect transition="in" filter="wipe(up)">
                                      <p:cBhvr>
                                        <p:cTn id="28" dur="500"/>
                                        <p:tgtEl>
                                          <p:spTgt spid="52"/>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nodeType="clickEffect">
                                  <p:stCondLst>
                                    <p:cond delay="0"/>
                                  </p:stCondLst>
                                  <p:childTnLst>
                                    <p:set>
                                      <p:cBhvr>
                                        <p:cTn id="32" dur="1" fill="hold">
                                          <p:stCondLst>
                                            <p:cond delay="0"/>
                                          </p:stCondLst>
                                        </p:cTn>
                                        <p:tgtEl>
                                          <p:spTgt spid="44"/>
                                        </p:tgtEl>
                                        <p:attrNameLst>
                                          <p:attrName>style.visibility</p:attrName>
                                        </p:attrNameLst>
                                      </p:cBhvr>
                                      <p:to>
                                        <p:strVal val="visible"/>
                                      </p:to>
                                    </p:set>
                                    <p:animEffect transition="in" filter="wipe(up)">
                                      <p:cBhvr>
                                        <p:cTn id="33" dur="500"/>
                                        <p:tgtEl>
                                          <p:spTgt spid="44"/>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1" fill="hold" nodeType="click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wipe(up)">
                                      <p:cBhvr>
                                        <p:cTn id="38" dur="500"/>
                                        <p:tgtEl>
                                          <p:spTgt spid="13"/>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413"/>
                                        </p:tgtEl>
                                        <p:attrNameLst>
                                          <p:attrName>style.visibility</p:attrName>
                                        </p:attrNameLst>
                                      </p:cBhvr>
                                      <p:to>
                                        <p:strVal val="visible"/>
                                      </p:to>
                                    </p:set>
                                    <p:animEffect transition="in" filter="wipe(up)">
                                      <p:cBhvr>
                                        <p:cTn id="41" dur="500"/>
                                        <p:tgtEl>
                                          <p:spTgt spid="413"/>
                                        </p:tgtEl>
                                      </p:cBhvr>
                                    </p:animEffect>
                                  </p:childTnLst>
                                </p:cTn>
                              </p:par>
                            </p:childTnLst>
                          </p:cTn>
                        </p:par>
                        <p:par>
                          <p:cTn id="42" fill="hold">
                            <p:stCondLst>
                              <p:cond delay="500"/>
                            </p:stCondLst>
                            <p:childTnLst>
                              <p:par>
                                <p:cTn id="43" presetID="10" presetClass="exit" presetSubtype="0" fill="hold" nodeType="afterEffect">
                                  <p:stCondLst>
                                    <p:cond delay="0"/>
                                  </p:stCondLst>
                                  <p:childTnLst>
                                    <p:animEffect transition="out" filter="fade">
                                      <p:cBhvr>
                                        <p:cTn id="44" dur="500"/>
                                        <p:tgtEl>
                                          <p:spTgt spid="52"/>
                                        </p:tgtEl>
                                      </p:cBhvr>
                                    </p:animEffect>
                                    <p:set>
                                      <p:cBhvr>
                                        <p:cTn id="45" dur="1" fill="hold">
                                          <p:stCondLst>
                                            <p:cond delay="499"/>
                                          </p:stCondLst>
                                        </p:cTn>
                                        <p:tgtEl>
                                          <p:spTgt spid="52"/>
                                        </p:tgtEl>
                                        <p:attrNameLst>
                                          <p:attrName>style.visibility</p:attrName>
                                        </p:attrNameLst>
                                      </p:cBhvr>
                                      <p:to>
                                        <p:strVal val="hidden"/>
                                      </p:to>
                                    </p:set>
                                  </p:childTnLst>
                                </p:cTn>
                              </p:par>
                              <p:par>
                                <p:cTn id="46" presetID="10" presetClass="exit" presetSubtype="0" fill="hold" nodeType="withEffect">
                                  <p:stCondLst>
                                    <p:cond delay="100"/>
                                  </p:stCondLst>
                                  <p:childTnLst>
                                    <p:animEffect transition="out" filter="fade">
                                      <p:cBhvr>
                                        <p:cTn id="47" dur="500"/>
                                        <p:tgtEl>
                                          <p:spTgt spid="44"/>
                                        </p:tgtEl>
                                      </p:cBhvr>
                                    </p:animEffect>
                                    <p:set>
                                      <p:cBhvr>
                                        <p:cTn id="48" dur="1" fill="hold">
                                          <p:stCondLst>
                                            <p:cond delay="499"/>
                                          </p:stCondLst>
                                        </p:cTn>
                                        <p:tgtEl>
                                          <p:spTgt spid="44"/>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22" presetClass="entr" presetSubtype="1" repeatCount="indefinite" fill="hold" nodeType="clickEffect">
                                  <p:stCondLst>
                                    <p:cond delay="0"/>
                                  </p:stCondLst>
                                  <p:endCondLst>
                                    <p:cond evt="onNext" delay="0">
                                      <p:tgtEl>
                                        <p:sldTgt/>
                                      </p:tgtEl>
                                    </p:cond>
                                  </p:endCondLst>
                                  <p:childTnLst>
                                    <p:set>
                                      <p:cBhvr>
                                        <p:cTn id="52" dur="1" fill="hold">
                                          <p:stCondLst>
                                            <p:cond delay="0"/>
                                          </p:stCondLst>
                                        </p:cTn>
                                        <p:tgtEl>
                                          <p:spTgt spid="428"/>
                                        </p:tgtEl>
                                        <p:attrNameLst>
                                          <p:attrName>style.visibility</p:attrName>
                                        </p:attrNameLst>
                                      </p:cBhvr>
                                      <p:to>
                                        <p:strVal val="visible"/>
                                      </p:to>
                                    </p:set>
                                    <p:animEffect transition="in" filter="wipe(up)">
                                      <p:cBhvr>
                                        <p:cTn id="53" dur="1000"/>
                                        <p:tgtEl>
                                          <p:spTgt spid="428"/>
                                        </p:tgtEl>
                                      </p:cBhvr>
                                    </p:animEffect>
                                  </p:childTnLst>
                                </p:cTn>
                              </p:par>
                            </p:childTnLst>
                          </p:cTn>
                        </p:par>
                      </p:childTnLst>
                    </p:cTn>
                  </p:par>
                  <p:par>
                    <p:cTn id="54" fill="hold">
                      <p:stCondLst>
                        <p:cond delay="indefinite"/>
                      </p:stCondLst>
                      <p:childTnLst>
                        <p:par>
                          <p:cTn id="55" fill="hold">
                            <p:stCondLst>
                              <p:cond delay="0"/>
                            </p:stCondLst>
                            <p:childTnLst>
                              <p:par>
                                <p:cTn id="56" presetID="53" presetClass="entr" presetSubtype="16" fill="hold" nodeType="clickEffect">
                                  <p:stCondLst>
                                    <p:cond delay="0"/>
                                  </p:stCondLst>
                                  <p:childTnLst>
                                    <p:set>
                                      <p:cBhvr>
                                        <p:cTn id="57" dur="1" fill="hold">
                                          <p:stCondLst>
                                            <p:cond delay="0"/>
                                          </p:stCondLst>
                                        </p:cTn>
                                        <p:tgtEl>
                                          <p:spTgt spid="2"/>
                                        </p:tgtEl>
                                        <p:attrNameLst>
                                          <p:attrName>style.visibility</p:attrName>
                                        </p:attrNameLst>
                                      </p:cBhvr>
                                      <p:to>
                                        <p:strVal val="visible"/>
                                      </p:to>
                                    </p:set>
                                    <p:anim calcmode="lin" valueType="num">
                                      <p:cBhvr>
                                        <p:cTn id="58" dur="500" fill="hold"/>
                                        <p:tgtEl>
                                          <p:spTgt spid="2"/>
                                        </p:tgtEl>
                                        <p:attrNameLst>
                                          <p:attrName>ppt_w</p:attrName>
                                        </p:attrNameLst>
                                      </p:cBhvr>
                                      <p:tavLst>
                                        <p:tav tm="0">
                                          <p:val>
                                            <p:fltVal val="0"/>
                                          </p:val>
                                        </p:tav>
                                        <p:tav tm="100000">
                                          <p:val>
                                            <p:strVal val="#ppt_w"/>
                                          </p:val>
                                        </p:tav>
                                      </p:tavLst>
                                    </p:anim>
                                    <p:anim calcmode="lin" valueType="num">
                                      <p:cBhvr>
                                        <p:cTn id="59" dur="500" fill="hold"/>
                                        <p:tgtEl>
                                          <p:spTgt spid="2"/>
                                        </p:tgtEl>
                                        <p:attrNameLst>
                                          <p:attrName>ppt_h</p:attrName>
                                        </p:attrNameLst>
                                      </p:cBhvr>
                                      <p:tavLst>
                                        <p:tav tm="0">
                                          <p:val>
                                            <p:fltVal val="0"/>
                                          </p:val>
                                        </p:tav>
                                        <p:tav tm="100000">
                                          <p:val>
                                            <p:strVal val="#ppt_h"/>
                                          </p:val>
                                        </p:tav>
                                      </p:tavLst>
                                    </p:anim>
                                    <p:animEffect transition="in" filter="fade">
                                      <p:cBhvr>
                                        <p:cTn id="60" dur="500"/>
                                        <p:tgtEl>
                                          <p:spTgt spid="2"/>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1" fill="hold" nodeType="clickEffect">
                                  <p:stCondLst>
                                    <p:cond delay="0"/>
                                  </p:stCondLst>
                                  <p:childTnLst>
                                    <p:set>
                                      <p:cBhvr>
                                        <p:cTn id="64" dur="1" fill="hold">
                                          <p:stCondLst>
                                            <p:cond delay="0"/>
                                          </p:stCondLst>
                                        </p:cTn>
                                        <p:tgtEl>
                                          <p:spTgt spid="56"/>
                                        </p:tgtEl>
                                        <p:attrNameLst>
                                          <p:attrName>style.visibility</p:attrName>
                                        </p:attrNameLst>
                                      </p:cBhvr>
                                      <p:to>
                                        <p:strVal val="visible"/>
                                      </p:to>
                                    </p:set>
                                    <p:animEffect transition="in" filter="wipe(up)">
                                      <p:cBhvr>
                                        <p:cTn id="65" dur="500"/>
                                        <p:tgtEl>
                                          <p:spTgt spid="56"/>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467"/>
                                        </p:tgtEl>
                                        <p:attrNameLst>
                                          <p:attrName>style.visibility</p:attrName>
                                        </p:attrNameLst>
                                      </p:cBhvr>
                                      <p:to>
                                        <p:strVal val="visible"/>
                                      </p:to>
                                    </p:set>
                                    <p:animEffect transition="in" filter="fade">
                                      <p:cBhvr>
                                        <p:cTn id="68" dur="500"/>
                                        <p:tgtEl>
                                          <p:spTgt spid="467"/>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1318"/>
                                        </p:tgtEl>
                                        <p:attrNameLst>
                                          <p:attrName>style.visibility</p:attrName>
                                        </p:attrNameLst>
                                      </p:cBhvr>
                                      <p:to>
                                        <p:strVal val="visible"/>
                                      </p:to>
                                    </p:set>
                                    <p:animEffect transition="in" filter="fade">
                                      <p:cBhvr>
                                        <p:cTn id="72" dur="500"/>
                                        <p:tgtEl>
                                          <p:spTgt spid="1318"/>
                                        </p:tgtEl>
                                      </p:cBhvr>
                                    </p:animEffect>
                                  </p:childTnLst>
                                </p:cTn>
                              </p:par>
                            </p:childTnLst>
                          </p:cTn>
                        </p:par>
                        <p:par>
                          <p:cTn id="73" fill="hold">
                            <p:stCondLst>
                              <p:cond delay="1000"/>
                            </p:stCondLst>
                            <p:childTnLst>
                              <p:par>
                                <p:cTn id="74" presetID="10" presetClass="entr" presetSubtype="0" fill="hold" nodeType="afterEffect">
                                  <p:stCondLst>
                                    <p:cond delay="0"/>
                                  </p:stCondLst>
                                  <p:childTnLst>
                                    <p:set>
                                      <p:cBhvr>
                                        <p:cTn id="75" dur="1" fill="hold">
                                          <p:stCondLst>
                                            <p:cond delay="0"/>
                                          </p:stCondLst>
                                        </p:cTn>
                                        <p:tgtEl>
                                          <p:spTgt spid="14"/>
                                        </p:tgtEl>
                                        <p:attrNameLst>
                                          <p:attrName>style.visibility</p:attrName>
                                        </p:attrNameLst>
                                      </p:cBhvr>
                                      <p:to>
                                        <p:strVal val="visible"/>
                                      </p:to>
                                    </p:set>
                                    <p:animEffect transition="in" filter="fade">
                                      <p:cBhvr>
                                        <p:cTn id="76" dur="500"/>
                                        <p:tgtEl>
                                          <p:spTgt spid="14"/>
                                        </p:tgtEl>
                                      </p:cBhvr>
                                    </p:animEffect>
                                  </p:childTnLst>
                                </p:cTn>
                              </p:par>
                              <p:par>
                                <p:cTn id="77" presetID="10" presetClass="entr" presetSubtype="0" fill="hold" nodeType="withEffect">
                                  <p:stCondLst>
                                    <p:cond delay="0"/>
                                  </p:stCondLst>
                                  <p:childTnLst>
                                    <p:set>
                                      <p:cBhvr>
                                        <p:cTn id="78" dur="1" fill="hold">
                                          <p:stCondLst>
                                            <p:cond delay="0"/>
                                          </p:stCondLst>
                                        </p:cTn>
                                        <p:tgtEl>
                                          <p:spTgt spid="15"/>
                                        </p:tgtEl>
                                        <p:attrNameLst>
                                          <p:attrName>style.visibility</p:attrName>
                                        </p:attrNameLst>
                                      </p:cBhvr>
                                      <p:to>
                                        <p:strVal val="visible"/>
                                      </p:to>
                                    </p:set>
                                    <p:animEffect transition="in" filter="fade">
                                      <p:cBhvr>
                                        <p:cTn id="79" dur="500"/>
                                        <p:tgtEl>
                                          <p:spTgt spid="15"/>
                                        </p:tgtEl>
                                      </p:cBhvr>
                                    </p:animEffect>
                                  </p:childTnLst>
                                </p:cTn>
                              </p:par>
                              <p:par>
                                <p:cTn id="80" presetID="10" presetClass="entr" presetSubtype="0" fill="hold" nodeType="withEffect">
                                  <p:stCondLst>
                                    <p:cond delay="0"/>
                                  </p:stCondLst>
                                  <p:childTnLst>
                                    <p:set>
                                      <p:cBhvr>
                                        <p:cTn id="81" dur="1" fill="hold">
                                          <p:stCondLst>
                                            <p:cond delay="0"/>
                                          </p:stCondLst>
                                        </p:cTn>
                                        <p:tgtEl>
                                          <p:spTgt spid="16"/>
                                        </p:tgtEl>
                                        <p:attrNameLst>
                                          <p:attrName>style.visibility</p:attrName>
                                        </p:attrNameLst>
                                      </p:cBhvr>
                                      <p:to>
                                        <p:strVal val="visible"/>
                                      </p:to>
                                    </p:set>
                                    <p:animEffect transition="in" filter="fade">
                                      <p:cBhvr>
                                        <p:cTn id="82" dur="500"/>
                                        <p:tgtEl>
                                          <p:spTgt spid="16"/>
                                        </p:tgtEl>
                                      </p:cBhvr>
                                    </p:animEffect>
                                  </p:childTnLst>
                                </p:cTn>
                              </p:par>
                              <p:par>
                                <p:cTn id="83" presetID="10" presetClass="entr" presetSubtype="0" fill="hold" nodeType="withEffect">
                                  <p:stCondLst>
                                    <p:cond delay="0"/>
                                  </p:stCondLst>
                                  <p:childTnLst>
                                    <p:set>
                                      <p:cBhvr>
                                        <p:cTn id="84" dur="1" fill="hold">
                                          <p:stCondLst>
                                            <p:cond delay="0"/>
                                          </p:stCondLst>
                                        </p:cTn>
                                        <p:tgtEl>
                                          <p:spTgt spid="19"/>
                                        </p:tgtEl>
                                        <p:attrNameLst>
                                          <p:attrName>style.visibility</p:attrName>
                                        </p:attrNameLst>
                                      </p:cBhvr>
                                      <p:to>
                                        <p:strVal val="visible"/>
                                      </p:to>
                                    </p:set>
                                    <p:animEffect transition="in" filter="fade">
                                      <p:cBhvr>
                                        <p:cTn id="85" dur="500"/>
                                        <p:tgtEl>
                                          <p:spTgt spid="19"/>
                                        </p:tgtEl>
                                      </p:cBhvr>
                                    </p:animEffect>
                                  </p:childTnLst>
                                </p:cTn>
                              </p:par>
                              <p:par>
                                <p:cTn id="86" presetID="10" presetClass="entr" presetSubtype="0" fill="hold" nodeType="withEffect">
                                  <p:stCondLst>
                                    <p:cond delay="0"/>
                                  </p:stCondLst>
                                  <p:childTnLst>
                                    <p:set>
                                      <p:cBhvr>
                                        <p:cTn id="87" dur="1" fill="hold">
                                          <p:stCondLst>
                                            <p:cond delay="0"/>
                                          </p:stCondLst>
                                        </p:cTn>
                                        <p:tgtEl>
                                          <p:spTgt spid="17"/>
                                        </p:tgtEl>
                                        <p:attrNameLst>
                                          <p:attrName>style.visibility</p:attrName>
                                        </p:attrNameLst>
                                      </p:cBhvr>
                                      <p:to>
                                        <p:strVal val="visible"/>
                                      </p:to>
                                    </p:set>
                                    <p:animEffect transition="in" filter="fade">
                                      <p:cBhvr>
                                        <p:cTn id="88"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8" grpId="0" animBg="1"/>
      <p:bldP spid="467" grpId="0" animBg="1"/>
      <p:bldP spid="4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98" name="Picture 1398"/>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4557475" y="3454629"/>
            <a:ext cx="3218490" cy="105059"/>
          </a:xfrm>
          <a:prstGeom prst="rect">
            <a:avLst/>
          </a:prstGeom>
          <a:noFill/>
        </p:spPr>
      </p:pic>
      <p:pic>
        <p:nvPicPr>
          <p:cNvPr id="1399" name="Picture 1399"/>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8214462" y="2796096"/>
            <a:ext cx="99336" cy="552077"/>
          </a:xfrm>
          <a:prstGeom prst="rect">
            <a:avLst/>
          </a:prstGeom>
          <a:noFill/>
        </p:spPr>
      </p:pic>
      <p:pic>
        <p:nvPicPr>
          <p:cNvPr id="1420" name="Picture 1420"/>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4557476" y="3312789"/>
            <a:ext cx="1504144" cy="221511"/>
          </a:xfrm>
          <a:prstGeom prst="rect">
            <a:avLst/>
          </a:prstGeom>
          <a:noFill/>
        </p:spPr>
      </p:pic>
      <p:pic>
        <p:nvPicPr>
          <p:cNvPr id="1421" name="Picture 1421"/>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4557476" y="3495228"/>
            <a:ext cx="1504144" cy="183831"/>
          </a:xfrm>
          <a:prstGeom prst="rect">
            <a:avLst/>
          </a:prstGeom>
          <a:noFill/>
        </p:spPr>
      </p:pic>
      <p:sp>
        <p:nvSpPr>
          <p:cNvPr id="1446" name="Freeform 1446"/>
          <p:cNvSpPr/>
          <p:nvPr/>
        </p:nvSpPr>
        <p:spPr>
          <a:xfrm>
            <a:off x="612139" y="1230636"/>
            <a:ext cx="2225769" cy="252720"/>
          </a:xfrm>
          <a:custGeom>
            <a:avLst/>
            <a:gdLst/>
            <a:ahLst/>
            <a:cxnLst/>
            <a:rect l="0" t="0" r="0" b="0"/>
            <a:pathLst>
              <a:path w="2228088" h="252984">
                <a:moveTo>
                  <a:pt x="0" y="0"/>
                </a:moveTo>
                <a:lnTo>
                  <a:pt x="2161794" y="0"/>
                </a:lnTo>
                <a:lnTo>
                  <a:pt x="2228088" y="126491"/>
                </a:lnTo>
                <a:lnTo>
                  <a:pt x="2161794" y="252984"/>
                </a:lnTo>
                <a:lnTo>
                  <a:pt x="0" y="252984"/>
                </a:lnTo>
                <a:close/>
                <a:moveTo>
                  <a:pt x="5020055" y="5629655"/>
                </a:moveTo>
              </a:path>
            </a:pathLst>
          </a:custGeom>
          <a:solidFill>
            <a:srgbClr val="7F73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447" name="Freeform 1447"/>
          <p:cNvSpPr/>
          <p:nvPr/>
        </p:nvSpPr>
        <p:spPr>
          <a:xfrm>
            <a:off x="2795280" y="1230636"/>
            <a:ext cx="2216634" cy="252720"/>
          </a:xfrm>
          <a:custGeom>
            <a:avLst/>
            <a:gdLst/>
            <a:ahLst/>
            <a:cxnLst/>
            <a:rect l="0" t="0" r="0" b="0"/>
            <a:pathLst>
              <a:path w="2218943" h="252984">
                <a:moveTo>
                  <a:pt x="0" y="0"/>
                </a:moveTo>
                <a:lnTo>
                  <a:pt x="2160524" y="0"/>
                </a:lnTo>
                <a:lnTo>
                  <a:pt x="2218943" y="126491"/>
                </a:lnTo>
                <a:lnTo>
                  <a:pt x="2160524" y="252984"/>
                </a:lnTo>
                <a:lnTo>
                  <a:pt x="0" y="252984"/>
                </a:lnTo>
                <a:lnTo>
                  <a:pt x="58419" y="126491"/>
                </a:lnTo>
                <a:close/>
                <a:moveTo>
                  <a:pt x="2834639" y="5629655"/>
                </a:moveTo>
              </a:path>
            </a:pathLst>
          </a:custGeom>
          <a:solidFill>
            <a:srgbClr val="BFAD00">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449" name="Freeform 1449"/>
          <p:cNvSpPr/>
          <p:nvPr/>
        </p:nvSpPr>
        <p:spPr>
          <a:xfrm>
            <a:off x="7170697" y="1230636"/>
            <a:ext cx="2225769" cy="252720"/>
          </a:xfrm>
          <a:custGeom>
            <a:avLst/>
            <a:gdLst/>
            <a:ahLst/>
            <a:cxnLst/>
            <a:rect l="0" t="0" r="0" b="0"/>
            <a:pathLst>
              <a:path w="2228088" h="252984">
                <a:moveTo>
                  <a:pt x="0" y="0"/>
                </a:moveTo>
                <a:lnTo>
                  <a:pt x="2161793" y="0"/>
                </a:lnTo>
                <a:lnTo>
                  <a:pt x="2228088" y="126491"/>
                </a:lnTo>
                <a:lnTo>
                  <a:pt x="2161793" y="252984"/>
                </a:lnTo>
                <a:lnTo>
                  <a:pt x="0" y="252984"/>
                </a:lnTo>
                <a:lnTo>
                  <a:pt x="66293" y="126491"/>
                </a:lnTo>
                <a:close/>
                <a:moveTo>
                  <a:pt x="-1545337" y="5629655"/>
                </a:moveTo>
              </a:path>
            </a:pathLst>
          </a:custGeom>
          <a:solidFill>
            <a:srgbClr val="FFF599">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450" name="Freeform 1450"/>
          <p:cNvSpPr/>
          <p:nvPr/>
        </p:nvSpPr>
        <p:spPr>
          <a:xfrm>
            <a:off x="9353839" y="1230636"/>
            <a:ext cx="2228814" cy="252720"/>
          </a:xfrm>
          <a:custGeom>
            <a:avLst/>
            <a:gdLst/>
            <a:ahLst/>
            <a:cxnLst/>
            <a:rect l="0" t="0" r="0" b="0"/>
            <a:pathLst>
              <a:path w="2231136" h="252984">
                <a:moveTo>
                  <a:pt x="0" y="0"/>
                </a:moveTo>
                <a:lnTo>
                  <a:pt x="2168779" y="0"/>
                </a:lnTo>
                <a:lnTo>
                  <a:pt x="2231136" y="126491"/>
                </a:lnTo>
                <a:lnTo>
                  <a:pt x="2168779" y="252984"/>
                </a:lnTo>
                <a:lnTo>
                  <a:pt x="0" y="252984"/>
                </a:lnTo>
                <a:lnTo>
                  <a:pt x="62358" y="126491"/>
                </a:lnTo>
                <a:close/>
                <a:moveTo>
                  <a:pt x="-3730752" y="5629655"/>
                </a:moveTo>
              </a:path>
            </a:pathLst>
          </a:custGeom>
          <a:solidFill>
            <a:srgbClr val="FFFACC">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529" name="Freeform 1529"/>
          <p:cNvSpPr/>
          <p:nvPr/>
        </p:nvSpPr>
        <p:spPr>
          <a:xfrm>
            <a:off x="7560434" y="2335907"/>
            <a:ext cx="1150945" cy="292304"/>
          </a:xfrm>
          <a:custGeom>
            <a:avLst/>
            <a:gdLst/>
            <a:ahLst/>
            <a:cxnLst/>
            <a:rect l="0" t="0" r="0" b="0"/>
            <a:pathLst>
              <a:path w="1152144" h="292608">
                <a:moveTo>
                  <a:pt x="0" y="292608"/>
                </a:moveTo>
                <a:lnTo>
                  <a:pt x="1152144" y="292608"/>
                </a:lnTo>
                <a:lnTo>
                  <a:pt x="1152144" y="0"/>
                </a:lnTo>
                <a:lnTo>
                  <a:pt x="0" y="0"/>
                </a:lnTo>
                <a:lnTo>
                  <a:pt x="0" y="292608"/>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grpSp>
        <p:nvGrpSpPr>
          <p:cNvPr id="14" name="5. End Use - Power and Heat">
            <a:extLst>
              <a:ext uri="{FF2B5EF4-FFF2-40B4-BE49-F238E27FC236}">
                <a16:creationId xmlns:a16="http://schemas.microsoft.com/office/drawing/2014/main" id="{01C63FB7-62B5-44CD-9AFD-915C6E4FBA3F}"/>
              </a:ext>
            </a:extLst>
          </p:cNvPr>
          <p:cNvGrpSpPr/>
          <p:nvPr/>
        </p:nvGrpSpPr>
        <p:grpSpPr>
          <a:xfrm>
            <a:off x="9525951" y="4888835"/>
            <a:ext cx="2230546" cy="873865"/>
            <a:chOff x="9378512" y="5194398"/>
            <a:chExt cx="2231708" cy="874320"/>
          </a:xfrm>
        </p:grpSpPr>
        <p:sp>
          <p:nvSpPr>
            <p:cNvPr id="1163" name="Freeform 1163"/>
            <p:cNvSpPr/>
            <p:nvPr/>
          </p:nvSpPr>
          <p:spPr>
            <a:xfrm>
              <a:off x="11070794" y="5375659"/>
              <a:ext cx="143182" cy="292456"/>
            </a:xfrm>
            <a:custGeom>
              <a:avLst/>
              <a:gdLst/>
              <a:ahLst/>
              <a:cxnLst/>
              <a:rect l="0" t="0" r="0" b="0"/>
              <a:pathLst>
                <a:path w="143257" h="292608">
                  <a:moveTo>
                    <a:pt x="143257" y="292608"/>
                  </a:moveTo>
                  <a:lnTo>
                    <a:pt x="0" y="292608"/>
                  </a:lnTo>
                  <a:lnTo>
                    <a:pt x="0" y="0"/>
                  </a:lnTo>
                  <a:lnTo>
                    <a:pt x="143257" y="0"/>
                  </a:lnTo>
                  <a:lnTo>
                    <a:pt x="143257" y="292608"/>
                  </a:lnTo>
                  <a:close/>
                  <a:moveTo>
                    <a:pt x="-9884664" y="1481327"/>
                  </a:moveTo>
                  <a:moveTo>
                    <a:pt x="10034" y="285495"/>
                  </a:moveTo>
                  <a:lnTo>
                    <a:pt x="133223" y="285495"/>
                  </a:lnTo>
                  <a:lnTo>
                    <a:pt x="133223" y="7111"/>
                  </a:lnTo>
                  <a:lnTo>
                    <a:pt x="10034" y="7111"/>
                  </a:lnTo>
                  <a:lnTo>
                    <a:pt x="10034" y="285495"/>
                  </a:lnTo>
                  <a:close/>
                  <a:moveTo>
                    <a:pt x="-9877551" y="1481327"/>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64" name="Freeform 1164"/>
            <p:cNvSpPr/>
            <p:nvPr/>
          </p:nvSpPr>
          <p:spPr>
            <a:xfrm>
              <a:off x="10933706" y="5515795"/>
              <a:ext cx="146229" cy="152321"/>
            </a:xfrm>
            <a:custGeom>
              <a:avLst/>
              <a:gdLst/>
              <a:ahLst/>
              <a:cxnLst/>
              <a:rect l="0" t="0" r="0" b="0"/>
              <a:pathLst>
                <a:path w="146305" h="152400">
                  <a:moveTo>
                    <a:pt x="146305" y="152400"/>
                  </a:moveTo>
                  <a:lnTo>
                    <a:pt x="0" y="152400"/>
                  </a:lnTo>
                  <a:lnTo>
                    <a:pt x="0" y="0"/>
                  </a:lnTo>
                  <a:lnTo>
                    <a:pt x="146305" y="0"/>
                  </a:lnTo>
                  <a:lnTo>
                    <a:pt x="146305" y="152400"/>
                  </a:lnTo>
                  <a:close/>
                  <a:moveTo>
                    <a:pt x="-9747504" y="1341119"/>
                  </a:moveTo>
                  <a:moveTo>
                    <a:pt x="10033" y="145287"/>
                  </a:moveTo>
                  <a:lnTo>
                    <a:pt x="136271" y="145287"/>
                  </a:lnTo>
                  <a:lnTo>
                    <a:pt x="136271" y="7111"/>
                  </a:lnTo>
                  <a:lnTo>
                    <a:pt x="10033" y="7111"/>
                  </a:lnTo>
                  <a:lnTo>
                    <a:pt x="10033" y="145287"/>
                  </a:lnTo>
                  <a:close/>
                  <a:moveTo>
                    <a:pt x="-9740391" y="1341119"/>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65" name="Freeform 1165"/>
            <p:cNvSpPr/>
            <p:nvPr/>
          </p:nvSpPr>
          <p:spPr>
            <a:xfrm>
              <a:off x="10961124" y="5537119"/>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66" name="Freeform 1166"/>
            <p:cNvSpPr/>
            <p:nvPr/>
          </p:nvSpPr>
          <p:spPr>
            <a:xfrm>
              <a:off x="10988542" y="5537119"/>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67" name="Freeform 1167"/>
            <p:cNvSpPr/>
            <p:nvPr/>
          </p:nvSpPr>
          <p:spPr>
            <a:xfrm>
              <a:off x="11015959" y="5537119"/>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68" name="Freeform 1168"/>
            <p:cNvSpPr/>
            <p:nvPr/>
          </p:nvSpPr>
          <p:spPr>
            <a:xfrm>
              <a:off x="11043378" y="5537119"/>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69" name="Freeform 1169"/>
            <p:cNvSpPr/>
            <p:nvPr/>
          </p:nvSpPr>
          <p:spPr>
            <a:xfrm>
              <a:off x="10961124" y="5558445"/>
              <a:ext cx="12186" cy="9139"/>
            </a:xfrm>
            <a:custGeom>
              <a:avLst/>
              <a:gdLst/>
              <a:ahLst/>
              <a:cxnLst/>
              <a:rect l="0" t="0" r="0" b="0"/>
              <a:pathLst>
                <a:path w="12192" h="9144">
                  <a:moveTo>
                    <a:pt x="0" y="9144"/>
                  </a:moveTo>
                  <a:lnTo>
                    <a:pt x="12192" y="9144"/>
                  </a:lnTo>
                  <a:lnTo>
                    <a:pt x="12192"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70" name="Freeform 1170"/>
            <p:cNvSpPr/>
            <p:nvPr/>
          </p:nvSpPr>
          <p:spPr>
            <a:xfrm>
              <a:off x="10988542" y="5558445"/>
              <a:ext cx="9138" cy="9139"/>
            </a:xfrm>
            <a:custGeom>
              <a:avLst/>
              <a:gdLst/>
              <a:ahLst/>
              <a:cxnLst/>
              <a:rect l="0" t="0" r="0" b="0"/>
              <a:pathLst>
                <a:path w="9143" h="9144">
                  <a:moveTo>
                    <a:pt x="0" y="9144"/>
                  </a:moveTo>
                  <a:lnTo>
                    <a:pt x="9143" y="9144"/>
                  </a:lnTo>
                  <a:lnTo>
                    <a:pt x="9143"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71" name="Freeform 1171"/>
            <p:cNvSpPr/>
            <p:nvPr/>
          </p:nvSpPr>
          <p:spPr>
            <a:xfrm>
              <a:off x="11015959" y="5558445"/>
              <a:ext cx="9139" cy="9139"/>
            </a:xfrm>
            <a:custGeom>
              <a:avLst/>
              <a:gdLst/>
              <a:ahLst/>
              <a:cxnLst/>
              <a:rect l="0" t="0" r="0" b="0"/>
              <a:pathLst>
                <a:path w="9144" h="9144">
                  <a:moveTo>
                    <a:pt x="0" y="9144"/>
                  </a:moveTo>
                  <a:lnTo>
                    <a:pt x="9144" y="9144"/>
                  </a:lnTo>
                  <a:lnTo>
                    <a:pt x="9144"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72" name="Freeform 1172"/>
            <p:cNvSpPr/>
            <p:nvPr/>
          </p:nvSpPr>
          <p:spPr>
            <a:xfrm>
              <a:off x="11043378" y="5558445"/>
              <a:ext cx="9138" cy="9139"/>
            </a:xfrm>
            <a:custGeom>
              <a:avLst/>
              <a:gdLst/>
              <a:ahLst/>
              <a:cxnLst/>
              <a:rect l="0" t="0" r="0" b="0"/>
              <a:pathLst>
                <a:path w="9143" h="9144">
                  <a:moveTo>
                    <a:pt x="0" y="9144"/>
                  </a:moveTo>
                  <a:lnTo>
                    <a:pt x="9143" y="9144"/>
                  </a:lnTo>
                  <a:lnTo>
                    <a:pt x="9143"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73" name="Freeform 1173"/>
            <p:cNvSpPr/>
            <p:nvPr/>
          </p:nvSpPr>
          <p:spPr>
            <a:xfrm>
              <a:off x="10961124" y="5576722"/>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74" name="Freeform 1174"/>
            <p:cNvSpPr/>
            <p:nvPr/>
          </p:nvSpPr>
          <p:spPr>
            <a:xfrm>
              <a:off x="10988542" y="5576722"/>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75" name="Freeform 1175"/>
            <p:cNvSpPr/>
            <p:nvPr/>
          </p:nvSpPr>
          <p:spPr>
            <a:xfrm>
              <a:off x="11015959" y="5576722"/>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76" name="Freeform 1176"/>
            <p:cNvSpPr/>
            <p:nvPr/>
          </p:nvSpPr>
          <p:spPr>
            <a:xfrm>
              <a:off x="11043378" y="5576722"/>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77" name="Freeform 1177"/>
            <p:cNvSpPr/>
            <p:nvPr/>
          </p:nvSpPr>
          <p:spPr>
            <a:xfrm>
              <a:off x="10961124" y="5595002"/>
              <a:ext cx="12186" cy="12185"/>
            </a:xfrm>
            <a:custGeom>
              <a:avLst/>
              <a:gdLst/>
              <a:ahLst/>
              <a:cxnLst/>
              <a:rect l="0" t="0" r="0" b="0"/>
              <a:pathLst>
                <a:path w="12192" h="12191">
                  <a:moveTo>
                    <a:pt x="0" y="12191"/>
                  </a:moveTo>
                  <a:lnTo>
                    <a:pt x="12192" y="12191"/>
                  </a:lnTo>
                  <a:lnTo>
                    <a:pt x="12192" y="0"/>
                  </a:lnTo>
                  <a:lnTo>
                    <a:pt x="0" y="0"/>
                  </a:lnTo>
                  <a:lnTo>
                    <a:pt x="0" y="12191"/>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78" name="Freeform 1178"/>
            <p:cNvSpPr/>
            <p:nvPr/>
          </p:nvSpPr>
          <p:spPr>
            <a:xfrm>
              <a:off x="10988542" y="5595002"/>
              <a:ext cx="9138" cy="12185"/>
            </a:xfrm>
            <a:custGeom>
              <a:avLst/>
              <a:gdLst/>
              <a:ahLst/>
              <a:cxnLst/>
              <a:rect l="0" t="0" r="0" b="0"/>
              <a:pathLst>
                <a:path w="9143" h="12191">
                  <a:moveTo>
                    <a:pt x="0" y="12191"/>
                  </a:moveTo>
                  <a:lnTo>
                    <a:pt x="9143" y="12191"/>
                  </a:lnTo>
                  <a:lnTo>
                    <a:pt x="9143" y="0"/>
                  </a:lnTo>
                  <a:lnTo>
                    <a:pt x="0" y="0"/>
                  </a:lnTo>
                  <a:lnTo>
                    <a:pt x="0" y="12191"/>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79" name="Freeform 1179"/>
            <p:cNvSpPr/>
            <p:nvPr/>
          </p:nvSpPr>
          <p:spPr>
            <a:xfrm>
              <a:off x="11015959" y="5595002"/>
              <a:ext cx="9139" cy="12185"/>
            </a:xfrm>
            <a:custGeom>
              <a:avLst/>
              <a:gdLst/>
              <a:ahLst/>
              <a:cxnLst/>
              <a:rect l="0" t="0" r="0" b="0"/>
              <a:pathLst>
                <a:path w="9144" h="12191">
                  <a:moveTo>
                    <a:pt x="0" y="12191"/>
                  </a:moveTo>
                  <a:lnTo>
                    <a:pt x="9144" y="12191"/>
                  </a:lnTo>
                  <a:lnTo>
                    <a:pt x="9144" y="0"/>
                  </a:lnTo>
                  <a:lnTo>
                    <a:pt x="0" y="0"/>
                  </a:lnTo>
                  <a:lnTo>
                    <a:pt x="0" y="12191"/>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80" name="Freeform 1180"/>
            <p:cNvSpPr/>
            <p:nvPr/>
          </p:nvSpPr>
          <p:spPr>
            <a:xfrm>
              <a:off x="11043378" y="5595002"/>
              <a:ext cx="9138" cy="12185"/>
            </a:xfrm>
            <a:custGeom>
              <a:avLst/>
              <a:gdLst/>
              <a:ahLst/>
              <a:cxnLst/>
              <a:rect l="0" t="0" r="0" b="0"/>
              <a:pathLst>
                <a:path w="9143" h="12191">
                  <a:moveTo>
                    <a:pt x="0" y="12191"/>
                  </a:moveTo>
                  <a:lnTo>
                    <a:pt x="9143" y="12191"/>
                  </a:lnTo>
                  <a:lnTo>
                    <a:pt x="9143" y="0"/>
                  </a:lnTo>
                  <a:lnTo>
                    <a:pt x="0" y="0"/>
                  </a:lnTo>
                  <a:lnTo>
                    <a:pt x="0" y="12191"/>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81" name="Freeform 1181"/>
            <p:cNvSpPr/>
            <p:nvPr/>
          </p:nvSpPr>
          <p:spPr>
            <a:xfrm>
              <a:off x="10961125" y="5616326"/>
              <a:ext cx="91391" cy="30465"/>
            </a:xfrm>
            <a:custGeom>
              <a:avLst/>
              <a:gdLst/>
              <a:ahLst/>
              <a:cxnLst/>
              <a:rect l="0" t="0" r="0" b="0"/>
              <a:pathLst>
                <a:path w="91439" h="30481">
                  <a:moveTo>
                    <a:pt x="91439" y="30481"/>
                  </a:moveTo>
                  <a:lnTo>
                    <a:pt x="0" y="30481"/>
                  </a:lnTo>
                  <a:lnTo>
                    <a:pt x="0" y="0"/>
                  </a:lnTo>
                  <a:lnTo>
                    <a:pt x="91439" y="0"/>
                  </a:lnTo>
                  <a:lnTo>
                    <a:pt x="91439" y="30481"/>
                  </a:lnTo>
                  <a:close/>
                  <a:moveTo>
                    <a:pt x="-9753601" y="1240536"/>
                  </a:moveTo>
                  <a:moveTo>
                    <a:pt x="10033" y="22861"/>
                  </a:moveTo>
                  <a:lnTo>
                    <a:pt x="81407" y="22861"/>
                  </a:lnTo>
                  <a:lnTo>
                    <a:pt x="81407" y="7620"/>
                  </a:lnTo>
                  <a:lnTo>
                    <a:pt x="10033" y="7620"/>
                  </a:lnTo>
                  <a:lnTo>
                    <a:pt x="10033" y="22861"/>
                  </a:lnTo>
                  <a:close/>
                  <a:moveTo>
                    <a:pt x="-9745981" y="1240536"/>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82" name="Freeform 1182"/>
            <p:cNvSpPr/>
            <p:nvPr/>
          </p:nvSpPr>
          <p:spPr>
            <a:xfrm>
              <a:off x="11201791" y="5470099"/>
              <a:ext cx="146229" cy="198017"/>
            </a:xfrm>
            <a:custGeom>
              <a:avLst/>
              <a:gdLst/>
              <a:ahLst/>
              <a:cxnLst/>
              <a:rect l="0" t="0" r="0" b="0"/>
              <a:pathLst>
                <a:path w="146305" h="198120">
                  <a:moveTo>
                    <a:pt x="146305" y="198120"/>
                  </a:moveTo>
                  <a:lnTo>
                    <a:pt x="0" y="198120"/>
                  </a:lnTo>
                  <a:lnTo>
                    <a:pt x="0" y="0"/>
                  </a:lnTo>
                  <a:lnTo>
                    <a:pt x="146305" y="0"/>
                  </a:lnTo>
                  <a:lnTo>
                    <a:pt x="146305" y="99059"/>
                  </a:lnTo>
                  <a:lnTo>
                    <a:pt x="136271" y="99059"/>
                  </a:lnTo>
                  <a:lnTo>
                    <a:pt x="136271" y="7112"/>
                  </a:lnTo>
                  <a:lnTo>
                    <a:pt x="10034" y="7112"/>
                  </a:lnTo>
                  <a:lnTo>
                    <a:pt x="10034" y="190982"/>
                  </a:lnTo>
                  <a:lnTo>
                    <a:pt x="146305" y="190982"/>
                  </a:lnTo>
                  <a:lnTo>
                    <a:pt x="146305" y="198120"/>
                  </a:lnTo>
                  <a:close/>
                  <a:moveTo>
                    <a:pt x="-10015728" y="1386839"/>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83" name="Freeform 1183"/>
            <p:cNvSpPr/>
            <p:nvPr/>
          </p:nvSpPr>
          <p:spPr>
            <a:xfrm>
              <a:off x="11229208" y="5537119"/>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84" name="Freeform 1184"/>
            <p:cNvSpPr/>
            <p:nvPr/>
          </p:nvSpPr>
          <p:spPr>
            <a:xfrm>
              <a:off x="11256626" y="5537119"/>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85" name="Freeform 1185"/>
            <p:cNvSpPr/>
            <p:nvPr/>
          </p:nvSpPr>
          <p:spPr>
            <a:xfrm>
              <a:off x="11284044" y="5537119"/>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86" name="Freeform 1186"/>
            <p:cNvSpPr/>
            <p:nvPr/>
          </p:nvSpPr>
          <p:spPr>
            <a:xfrm>
              <a:off x="11311462" y="5537119"/>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87" name="Freeform 1187"/>
            <p:cNvSpPr/>
            <p:nvPr/>
          </p:nvSpPr>
          <p:spPr>
            <a:xfrm>
              <a:off x="11229208" y="5515794"/>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88" name="Freeform 1188"/>
            <p:cNvSpPr/>
            <p:nvPr/>
          </p:nvSpPr>
          <p:spPr>
            <a:xfrm>
              <a:off x="11256626" y="5515794"/>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89" name="Freeform 1189"/>
            <p:cNvSpPr/>
            <p:nvPr/>
          </p:nvSpPr>
          <p:spPr>
            <a:xfrm>
              <a:off x="11284044" y="5515794"/>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90" name="Freeform 1190"/>
            <p:cNvSpPr/>
            <p:nvPr/>
          </p:nvSpPr>
          <p:spPr>
            <a:xfrm>
              <a:off x="11311462" y="5515794"/>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91" name="Freeform 1191"/>
            <p:cNvSpPr/>
            <p:nvPr/>
          </p:nvSpPr>
          <p:spPr>
            <a:xfrm>
              <a:off x="11229208" y="5494469"/>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92" name="Freeform 1192"/>
            <p:cNvSpPr/>
            <p:nvPr/>
          </p:nvSpPr>
          <p:spPr>
            <a:xfrm>
              <a:off x="11256626" y="5494469"/>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93" name="Freeform 1193"/>
            <p:cNvSpPr/>
            <p:nvPr/>
          </p:nvSpPr>
          <p:spPr>
            <a:xfrm>
              <a:off x="11284044" y="5494469"/>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94" name="Freeform 1194"/>
            <p:cNvSpPr/>
            <p:nvPr/>
          </p:nvSpPr>
          <p:spPr>
            <a:xfrm>
              <a:off x="11311462" y="5494469"/>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95" name="Freeform 1195"/>
            <p:cNvSpPr/>
            <p:nvPr/>
          </p:nvSpPr>
          <p:spPr>
            <a:xfrm>
              <a:off x="11229208" y="5558445"/>
              <a:ext cx="12186" cy="9139"/>
            </a:xfrm>
            <a:custGeom>
              <a:avLst/>
              <a:gdLst/>
              <a:ahLst/>
              <a:cxnLst/>
              <a:rect l="0" t="0" r="0" b="0"/>
              <a:pathLst>
                <a:path w="12192" h="9144">
                  <a:moveTo>
                    <a:pt x="0" y="9144"/>
                  </a:moveTo>
                  <a:lnTo>
                    <a:pt x="12192" y="9144"/>
                  </a:lnTo>
                  <a:lnTo>
                    <a:pt x="12192"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96" name="Freeform 1196"/>
            <p:cNvSpPr/>
            <p:nvPr/>
          </p:nvSpPr>
          <p:spPr>
            <a:xfrm>
              <a:off x="11256626" y="5558445"/>
              <a:ext cx="9139" cy="9139"/>
            </a:xfrm>
            <a:custGeom>
              <a:avLst/>
              <a:gdLst/>
              <a:ahLst/>
              <a:cxnLst/>
              <a:rect l="0" t="0" r="0" b="0"/>
              <a:pathLst>
                <a:path w="9144" h="9144">
                  <a:moveTo>
                    <a:pt x="0" y="9144"/>
                  </a:moveTo>
                  <a:lnTo>
                    <a:pt x="9144" y="9144"/>
                  </a:lnTo>
                  <a:lnTo>
                    <a:pt x="9144"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97" name="Freeform 1197"/>
            <p:cNvSpPr/>
            <p:nvPr/>
          </p:nvSpPr>
          <p:spPr>
            <a:xfrm>
              <a:off x="11284044" y="5558445"/>
              <a:ext cx="9139" cy="9139"/>
            </a:xfrm>
            <a:custGeom>
              <a:avLst/>
              <a:gdLst/>
              <a:ahLst/>
              <a:cxnLst/>
              <a:rect l="0" t="0" r="0" b="0"/>
              <a:pathLst>
                <a:path w="9144" h="9144">
                  <a:moveTo>
                    <a:pt x="0" y="9144"/>
                  </a:moveTo>
                  <a:lnTo>
                    <a:pt x="9144" y="9144"/>
                  </a:lnTo>
                  <a:lnTo>
                    <a:pt x="9144"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98" name="Freeform 1198"/>
            <p:cNvSpPr/>
            <p:nvPr/>
          </p:nvSpPr>
          <p:spPr>
            <a:xfrm>
              <a:off x="11311462" y="5558445"/>
              <a:ext cx="9138" cy="9139"/>
            </a:xfrm>
            <a:custGeom>
              <a:avLst/>
              <a:gdLst/>
              <a:ahLst/>
              <a:cxnLst/>
              <a:rect l="0" t="0" r="0" b="0"/>
              <a:pathLst>
                <a:path w="9143" h="9144">
                  <a:moveTo>
                    <a:pt x="0" y="9144"/>
                  </a:moveTo>
                  <a:lnTo>
                    <a:pt x="9143" y="9144"/>
                  </a:lnTo>
                  <a:lnTo>
                    <a:pt x="9143"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99" name="Freeform 1199"/>
            <p:cNvSpPr/>
            <p:nvPr/>
          </p:nvSpPr>
          <p:spPr>
            <a:xfrm>
              <a:off x="11229208" y="5576722"/>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00" name="Freeform 1200"/>
            <p:cNvSpPr/>
            <p:nvPr/>
          </p:nvSpPr>
          <p:spPr>
            <a:xfrm>
              <a:off x="11256626" y="5576722"/>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01" name="Freeform 1201"/>
            <p:cNvSpPr/>
            <p:nvPr/>
          </p:nvSpPr>
          <p:spPr>
            <a:xfrm>
              <a:off x="11284044" y="5576722"/>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02" name="Freeform 1202"/>
            <p:cNvSpPr/>
            <p:nvPr/>
          </p:nvSpPr>
          <p:spPr>
            <a:xfrm>
              <a:off x="11311462" y="5576722"/>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03" name="Freeform 1203"/>
            <p:cNvSpPr/>
            <p:nvPr/>
          </p:nvSpPr>
          <p:spPr>
            <a:xfrm>
              <a:off x="11229208" y="5595002"/>
              <a:ext cx="12186" cy="12185"/>
            </a:xfrm>
            <a:custGeom>
              <a:avLst/>
              <a:gdLst/>
              <a:ahLst/>
              <a:cxnLst/>
              <a:rect l="0" t="0" r="0" b="0"/>
              <a:pathLst>
                <a:path w="12192" h="12191">
                  <a:moveTo>
                    <a:pt x="0" y="12191"/>
                  </a:moveTo>
                  <a:lnTo>
                    <a:pt x="12192" y="12191"/>
                  </a:lnTo>
                  <a:lnTo>
                    <a:pt x="12192" y="0"/>
                  </a:lnTo>
                  <a:lnTo>
                    <a:pt x="0" y="0"/>
                  </a:lnTo>
                  <a:lnTo>
                    <a:pt x="0" y="12191"/>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04" name="Freeform 1204"/>
            <p:cNvSpPr/>
            <p:nvPr/>
          </p:nvSpPr>
          <p:spPr>
            <a:xfrm>
              <a:off x="11256626" y="5595002"/>
              <a:ext cx="9139" cy="12185"/>
            </a:xfrm>
            <a:custGeom>
              <a:avLst/>
              <a:gdLst/>
              <a:ahLst/>
              <a:cxnLst/>
              <a:rect l="0" t="0" r="0" b="0"/>
              <a:pathLst>
                <a:path w="9144" h="12191">
                  <a:moveTo>
                    <a:pt x="0" y="12191"/>
                  </a:moveTo>
                  <a:lnTo>
                    <a:pt x="9144" y="12191"/>
                  </a:lnTo>
                  <a:lnTo>
                    <a:pt x="9144" y="0"/>
                  </a:lnTo>
                  <a:lnTo>
                    <a:pt x="0" y="0"/>
                  </a:lnTo>
                  <a:lnTo>
                    <a:pt x="0" y="12191"/>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05" name="Freeform 1205"/>
            <p:cNvSpPr/>
            <p:nvPr/>
          </p:nvSpPr>
          <p:spPr>
            <a:xfrm>
              <a:off x="11284044" y="5595002"/>
              <a:ext cx="9139" cy="12185"/>
            </a:xfrm>
            <a:custGeom>
              <a:avLst/>
              <a:gdLst/>
              <a:ahLst/>
              <a:cxnLst/>
              <a:rect l="0" t="0" r="0" b="0"/>
              <a:pathLst>
                <a:path w="9144" h="12191">
                  <a:moveTo>
                    <a:pt x="0" y="12191"/>
                  </a:moveTo>
                  <a:lnTo>
                    <a:pt x="9144" y="12191"/>
                  </a:lnTo>
                  <a:lnTo>
                    <a:pt x="9144" y="0"/>
                  </a:lnTo>
                  <a:lnTo>
                    <a:pt x="0" y="0"/>
                  </a:lnTo>
                  <a:lnTo>
                    <a:pt x="0" y="12191"/>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06" name="Freeform 1206"/>
            <p:cNvSpPr/>
            <p:nvPr/>
          </p:nvSpPr>
          <p:spPr>
            <a:xfrm>
              <a:off x="11311462" y="5595002"/>
              <a:ext cx="9138" cy="12185"/>
            </a:xfrm>
            <a:custGeom>
              <a:avLst/>
              <a:gdLst/>
              <a:ahLst/>
              <a:cxnLst/>
              <a:rect l="0" t="0" r="0" b="0"/>
              <a:pathLst>
                <a:path w="9143" h="12191">
                  <a:moveTo>
                    <a:pt x="0" y="12191"/>
                  </a:moveTo>
                  <a:lnTo>
                    <a:pt x="9143" y="12191"/>
                  </a:lnTo>
                  <a:lnTo>
                    <a:pt x="9143" y="0"/>
                  </a:lnTo>
                  <a:lnTo>
                    <a:pt x="0" y="0"/>
                  </a:lnTo>
                  <a:lnTo>
                    <a:pt x="0" y="12191"/>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07" name="Freeform 1207"/>
            <p:cNvSpPr/>
            <p:nvPr/>
          </p:nvSpPr>
          <p:spPr>
            <a:xfrm>
              <a:off x="11098213" y="5537119"/>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08" name="Freeform 1208"/>
            <p:cNvSpPr/>
            <p:nvPr/>
          </p:nvSpPr>
          <p:spPr>
            <a:xfrm>
              <a:off x="11122583" y="5537119"/>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09" name="Freeform 1209"/>
            <p:cNvSpPr/>
            <p:nvPr/>
          </p:nvSpPr>
          <p:spPr>
            <a:xfrm>
              <a:off x="11150001" y="5537119"/>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10" name="Freeform 1210"/>
            <p:cNvSpPr/>
            <p:nvPr/>
          </p:nvSpPr>
          <p:spPr>
            <a:xfrm>
              <a:off x="11177420" y="5537119"/>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11" name="Freeform 1211"/>
            <p:cNvSpPr/>
            <p:nvPr/>
          </p:nvSpPr>
          <p:spPr>
            <a:xfrm>
              <a:off x="11098213" y="5515794"/>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12" name="Freeform 1212"/>
            <p:cNvSpPr/>
            <p:nvPr/>
          </p:nvSpPr>
          <p:spPr>
            <a:xfrm>
              <a:off x="11122583" y="5515794"/>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13" name="Freeform 1213"/>
            <p:cNvSpPr/>
            <p:nvPr/>
          </p:nvSpPr>
          <p:spPr>
            <a:xfrm>
              <a:off x="11150001" y="5515794"/>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14" name="Freeform 1214"/>
            <p:cNvSpPr/>
            <p:nvPr/>
          </p:nvSpPr>
          <p:spPr>
            <a:xfrm>
              <a:off x="11177420" y="5515794"/>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15" name="Freeform 1215"/>
            <p:cNvSpPr/>
            <p:nvPr/>
          </p:nvSpPr>
          <p:spPr>
            <a:xfrm>
              <a:off x="11098213" y="5494469"/>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16" name="Freeform 1216"/>
            <p:cNvSpPr/>
            <p:nvPr/>
          </p:nvSpPr>
          <p:spPr>
            <a:xfrm>
              <a:off x="11122583" y="5494469"/>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17" name="Freeform 1217"/>
            <p:cNvSpPr/>
            <p:nvPr/>
          </p:nvSpPr>
          <p:spPr>
            <a:xfrm>
              <a:off x="11150001" y="5494469"/>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18" name="Freeform 1218"/>
            <p:cNvSpPr/>
            <p:nvPr/>
          </p:nvSpPr>
          <p:spPr>
            <a:xfrm>
              <a:off x="11177420" y="5494469"/>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19" name="Freeform 1219"/>
            <p:cNvSpPr/>
            <p:nvPr/>
          </p:nvSpPr>
          <p:spPr>
            <a:xfrm>
              <a:off x="11098213" y="5473145"/>
              <a:ext cx="9138" cy="9139"/>
            </a:xfrm>
            <a:custGeom>
              <a:avLst/>
              <a:gdLst/>
              <a:ahLst/>
              <a:cxnLst/>
              <a:rect l="0" t="0" r="0" b="0"/>
              <a:pathLst>
                <a:path w="9143" h="9144">
                  <a:moveTo>
                    <a:pt x="0" y="9144"/>
                  </a:moveTo>
                  <a:lnTo>
                    <a:pt x="9143" y="9144"/>
                  </a:lnTo>
                  <a:lnTo>
                    <a:pt x="9143"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20" name="Freeform 1220"/>
            <p:cNvSpPr/>
            <p:nvPr/>
          </p:nvSpPr>
          <p:spPr>
            <a:xfrm>
              <a:off x="11122583" y="5473145"/>
              <a:ext cx="12186" cy="9139"/>
            </a:xfrm>
            <a:custGeom>
              <a:avLst/>
              <a:gdLst/>
              <a:ahLst/>
              <a:cxnLst/>
              <a:rect l="0" t="0" r="0" b="0"/>
              <a:pathLst>
                <a:path w="12192" h="9144">
                  <a:moveTo>
                    <a:pt x="0" y="9144"/>
                  </a:moveTo>
                  <a:lnTo>
                    <a:pt x="12192" y="9144"/>
                  </a:lnTo>
                  <a:lnTo>
                    <a:pt x="12192"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21" name="Freeform 1221"/>
            <p:cNvSpPr/>
            <p:nvPr/>
          </p:nvSpPr>
          <p:spPr>
            <a:xfrm>
              <a:off x="11150001" y="5473145"/>
              <a:ext cx="9139" cy="9139"/>
            </a:xfrm>
            <a:custGeom>
              <a:avLst/>
              <a:gdLst/>
              <a:ahLst/>
              <a:cxnLst/>
              <a:rect l="0" t="0" r="0" b="0"/>
              <a:pathLst>
                <a:path w="9144" h="9144">
                  <a:moveTo>
                    <a:pt x="0" y="9144"/>
                  </a:moveTo>
                  <a:lnTo>
                    <a:pt x="9144" y="9144"/>
                  </a:lnTo>
                  <a:lnTo>
                    <a:pt x="9144"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22" name="Freeform 1222"/>
            <p:cNvSpPr/>
            <p:nvPr/>
          </p:nvSpPr>
          <p:spPr>
            <a:xfrm>
              <a:off x="11177420" y="5473145"/>
              <a:ext cx="9138" cy="9139"/>
            </a:xfrm>
            <a:custGeom>
              <a:avLst/>
              <a:gdLst/>
              <a:ahLst/>
              <a:cxnLst/>
              <a:rect l="0" t="0" r="0" b="0"/>
              <a:pathLst>
                <a:path w="9143" h="9144">
                  <a:moveTo>
                    <a:pt x="0" y="9144"/>
                  </a:moveTo>
                  <a:lnTo>
                    <a:pt x="9143" y="9144"/>
                  </a:lnTo>
                  <a:lnTo>
                    <a:pt x="9143"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23" name="Freeform 1223"/>
            <p:cNvSpPr/>
            <p:nvPr/>
          </p:nvSpPr>
          <p:spPr>
            <a:xfrm>
              <a:off x="11098213" y="5448773"/>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24" name="Freeform 1224"/>
            <p:cNvSpPr/>
            <p:nvPr/>
          </p:nvSpPr>
          <p:spPr>
            <a:xfrm>
              <a:off x="11122583" y="5448773"/>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25" name="Freeform 1225"/>
            <p:cNvSpPr/>
            <p:nvPr/>
          </p:nvSpPr>
          <p:spPr>
            <a:xfrm>
              <a:off x="11150001" y="5448773"/>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26" name="Freeform 1226"/>
            <p:cNvSpPr/>
            <p:nvPr/>
          </p:nvSpPr>
          <p:spPr>
            <a:xfrm>
              <a:off x="11177420" y="5448773"/>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27" name="Freeform 1227"/>
            <p:cNvSpPr/>
            <p:nvPr/>
          </p:nvSpPr>
          <p:spPr>
            <a:xfrm>
              <a:off x="11098213" y="5427448"/>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28" name="Freeform 1228"/>
            <p:cNvSpPr/>
            <p:nvPr/>
          </p:nvSpPr>
          <p:spPr>
            <a:xfrm>
              <a:off x="11122583" y="5427448"/>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29" name="Freeform 1229"/>
            <p:cNvSpPr/>
            <p:nvPr/>
          </p:nvSpPr>
          <p:spPr>
            <a:xfrm>
              <a:off x="11150001" y="5427448"/>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30" name="Freeform 1230"/>
            <p:cNvSpPr/>
            <p:nvPr/>
          </p:nvSpPr>
          <p:spPr>
            <a:xfrm>
              <a:off x="11177420" y="5427448"/>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31" name="Freeform 1231"/>
            <p:cNvSpPr/>
            <p:nvPr/>
          </p:nvSpPr>
          <p:spPr>
            <a:xfrm>
              <a:off x="11098213" y="5406124"/>
              <a:ext cx="9138" cy="9139"/>
            </a:xfrm>
            <a:custGeom>
              <a:avLst/>
              <a:gdLst/>
              <a:ahLst/>
              <a:cxnLst/>
              <a:rect l="0" t="0" r="0" b="0"/>
              <a:pathLst>
                <a:path w="9143" h="9144">
                  <a:moveTo>
                    <a:pt x="0" y="9144"/>
                  </a:moveTo>
                  <a:lnTo>
                    <a:pt x="9143" y="9144"/>
                  </a:lnTo>
                  <a:lnTo>
                    <a:pt x="9143"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32" name="Freeform 1232"/>
            <p:cNvSpPr/>
            <p:nvPr/>
          </p:nvSpPr>
          <p:spPr>
            <a:xfrm>
              <a:off x="11122583" y="5406124"/>
              <a:ext cx="12186" cy="9139"/>
            </a:xfrm>
            <a:custGeom>
              <a:avLst/>
              <a:gdLst/>
              <a:ahLst/>
              <a:cxnLst/>
              <a:rect l="0" t="0" r="0" b="0"/>
              <a:pathLst>
                <a:path w="12192" h="9144">
                  <a:moveTo>
                    <a:pt x="0" y="9144"/>
                  </a:moveTo>
                  <a:lnTo>
                    <a:pt x="12192" y="9144"/>
                  </a:lnTo>
                  <a:lnTo>
                    <a:pt x="12192"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33" name="Freeform 1233"/>
            <p:cNvSpPr/>
            <p:nvPr/>
          </p:nvSpPr>
          <p:spPr>
            <a:xfrm>
              <a:off x="11150001" y="5406124"/>
              <a:ext cx="9139" cy="9139"/>
            </a:xfrm>
            <a:custGeom>
              <a:avLst/>
              <a:gdLst/>
              <a:ahLst/>
              <a:cxnLst/>
              <a:rect l="0" t="0" r="0" b="0"/>
              <a:pathLst>
                <a:path w="9144" h="9144">
                  <a:moveTo>
                    <a:pt x="0" y="9144"/>
                  </a:moveTo>
                  <a:lnTo>
                    <a:pt x="9144" y="9144"/>
                  </a:lnTo>
                  <a:lnTo>
                    <a:pt x="9144"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34" name="Freeform 1234"/>
            <p:cNvSpPr/>
            <p:nvPr/>
          </p:nvSpPr>
          <p:spPr>
            <a:xfrm>
              <a:off x="11177420" y="5406124"/>
              <a:ext cx="9138" cy="9139"/>
            </a:xfrm>
            <a:custGeom>
              <a:avLst/>
              <a:gdLst/>
              <a:ahLst/>
              <a:cxnLst/>
              <a:rect l="0" t="0" r="0" b="0"/>
              <a:pathLst>
                <a:path w="9143" h="9144">
                  <a:moveTo>
                    <a:pt x="0" y="9144"/>
                  </a:moveTo>
                  <a:lnTo>
                    <a:pt x="9143" y="9144"/>
                  </a:lnTo>
                  <a:lnTo>
                    <a:pt x="9143"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35" name="Freeform 1235"/>
            <p:cNvSpPr/>
            <p:nvPr/>
          </p:nvSpPr>
          <p:spPr>
            <a:xfrm>
              <a:off x="11098213" y="5558445"/>
              <a:ext cx="9138" cy="9139"/>
            </a:xfrm>
            <a:custGeom>
              <a:avLst/>
              <a:gdLst/>
              <a:ahLst/>
              <a:cxnLst/>
              <a:rect l="0" t="0" r="0" b="0"/>
              <a:pathLst>
                <a:path w="9143" h="9144">
                  <a:moveTo>
                    <a:pt x="0" y="9144"/>
                  </a:moveTo>
                  <a:lnTo>
                    <a:pt x="9143" y="9144"/>
                  </a:lnTo>
                  <a:lnTo>
                    <a:pt x="9143"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36" name="Freeform 1236"/>
            <p:cNvSpPr/>
            <p:nvPr/>
          </p:nvSpPr>
          <p:spPr>
            <a:xfrm>
              <a:off x="11122583" y="5558445"/>
              <a:ext cx="12186" cy="9139"/>
            </a:xfrm>
            <a:custGeom>
              <a:avLst/>
              <a:gdLst/>
              <a:ahLst/>
              <a:cxnLst/>
              <a:rect l="0" t="0" r="0" b="0"/>
              <a:pathLst>
                <a:path w="12192" h="9144">
                  <a:moveTo>
                    <a:pt x="0" y="9144"/>
                  </a:moveTo>
                  <a:lnTo>
                    <a:pt x="12192" y="9144"/>
                  </a:lnTo>
                  <a:lnTo>
                    <a:pt x="12192"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37" name="Freeform 1237"/>
            <p:cNvSpPr/>
            <p:nvPr/>
          </p:nvSpPr>
          <p:spPr>
            <a:xfrm>
              <a:off x="11150001" y="5558445"/>
              <a:ext cx="9139" cy="9139"/>
            </a:xfrm>
            <a:custGeom>
              <a:avLst/>
              <a:gdLst/>
              <a:ahLst/>
              <a:cxnLst/>
              <a:rect l="0" t="0" r="0" b="0"/>
              <a:pathLst>
                <a:path w="9144" h="9144">
                  <a:moveTo>
                    <a:pt x="0" y="9144"/>
                  </a:moveTo>
                  <a:lnTo>
                    <a:pt x="9144" y="9144"/>
                  </a:lnTo>
                  <a:lnTo>
                    <a:pt x="9144"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38" name="Freeform 1238"/>
            <p:cNvSpPr/>
            <p:nvPr/>
          </p:nvSpPr>
          <p:spPr>
            <a:xfrm>
              <a:off x="11177420" y="5558445"/>
              <a:ext cx="9138" cy="9139"/>
            </a:xfrm>
            <a:custGeom>
              <a:avLst/>
              <a:gdLst/>
              <a:ahLst/>
              <a:cxnLst/>
              <a:rect l="0" t="0" r="0" b="0"/>
              <a:pathLst>
                <a:path w="9143" h="9144">
                  <a:moveTo>
                    <a:pt x="0" y="9144"/>
                  </a:moveTo>
                  <a:lnTo>
                    <a:pt x="9143" y="9144"/>
                  </a:lnTo>
                  <a:lnTo>
                    <a:pt x="9143"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39" name="Freeform 1239"/>
            <p:cNvSpPr/>
            <p:nvPr/>
          </p:nvSpPr>
          <p:spPr>
            <a:xfrm>
              <a:off x="11098213" y="5576722"/>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40" name="Freeform 1240"/>
            <p:cNvSpPr/>
            <p:nvPr/>
          </p:nvSpPr>
          <p:spPr>
            <a:xfrm>
              <a:off x="11122583" y="5576722"/>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41" name="Freeform 1241"/>
            <p:cNvSpPr/>
            <p:nvPr/>
          </p:nvSpPr>
          <p:spPr>
            <a:xfrm>
              <a:off x="11150001" y="5576722"/>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42" name="Freeform 1242"/>
            <p:cNvSpPr/>
            <p:nvPr/>
          </p:nvSpPr>
          <p:spPr>
            <a:xfrm>
              <a:off x="11177420" y="5576722"/>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43" name="Freeform 1243"/>
            <p:cNvSpPr/>
            <p:nvPr/>
          </p:nvSpPr>
          <p:spPr>
            <a:xfrm>
              <a:off x="11098213" y="5595002"/>
              <a:ext cx="9138" cy="12185"/>
            </a:xfrm>
            <a:custGeom>
              <a:avLst/>
              <a:gdLst/>
              <a:ahLst/>
              <a:cxnLst/>
              <a:rect l="0" t="0" r="0" b="0"/>
              <a:pathLst>
                <a:path w="9143" h="12191">
                  <a:moveTo>
                    <a:pt x="0" y="12191"/>
                  </a:moveTo>
                  <a:lnTo>
                    <a:pt x="9143" y="12191"/>
                  </a:lnTo>
                  <a:lnTo>
                    <a:pt x="9143" y="0"/>
                  </a:lnTo>
                  <a:lnTo>
                    <a:pt x="0" y="0"/>
                  </a:lnTo>
                  <a:lnTo>
                    <a:pt x="0" y="12191"/>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44" name="Freeform 1244"/>
            <p:cNvSpPr/>
            <p:nvPr/>
          </p:nvSpPr>
          <p:spPr>
            <a:xfrm>
              <a:off x="11122583" y="5595002"/>
              <a:ext cx="12186" cy="12185"/>
            </a:xfrm>
            <a:custGeom>
              <a:avLst/>
              <a:gdLst/>
              <a:ahLst/>
              <a:cxnLst/>
              <a:rect l="0" t="0" r="0" b="0"/>
              <a:pathLst>
                <a:path w="12192" h="12191">
                  <a:moveTo>
                    <a:pt x="0" y="12191"/>
                  </a:moveTo>
                  <a:lnTo>
                    <a:pt x="12192" y="12191"/>
                  </a:lnTo>
                  <a:lnTo>
                    <a:pt x="12192" y="0"/>
                  </a:lnTo>
                  <a:lnTo>
                    <a:pt x="0" y="0"/>
                  </a:lnTo>
                  <a:lnTo>
                    <a:pt x="0" y="12191"/>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45" name="Freeform 1245"/>
            <p:cNvSpPr/>
            <p:nvPr/>
          </p:nvSpPr>
          <p:spPr>
            <a:xfrm>
              <a:off x="11150001" y="5595002"/>
              <a:ext cx="9139" cy="12185"/>
            </a:xfrm>
            <a:custGeom>
              <a:avLst/>
              <a:gdLst/>
              <a:ahLst/>
              <a:cxnLst/>
              <a:rect l="0" t="0" r="0" b="0"/>
              <a:pathLst>
                <a:path w="9144" h="12191">
                  <a:moveTo>
                    <a:pt x="0" y="12191"/>
                  </a:moveTo>
                  <a:lnTo>
                    <a:pt x="9144" y="12191"/>
                  </a:lnTo>
                  <a:lnTo>
                    <a:pt x="9144" y="0"/>
                  </a:lnTo>
                  <a:lnTo>
                    <a:pt x="0" y="0"/>
                  </a:lnTo>
                  <a:lnTo>
                    <a:pt x="0" y="12191"/>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46" name="Freeform 1246"/>
            <p:cNvSpPr/>
            <p:nvPr/>
          </p:nvSpPr>
          <p:spPr>
            <a:xfrm>
              <a:off x="11177420" y="5595002"/>
              <a:ext cx="9138" cy="12185"/>
            </a:xfrm>
            <a:custGeom>
              <a:avLst/>
              <a:gdLst/>
              <a:ahLst/>
              <a:cxnLst/>
              <a:rect l="0" t="0" r="0" b="0"/>
              <a:pathLst>
                <a:path w="9143" h="12191">
                  <a:moveTo>
                    <a:pt x="0" y="12191"/>
                  </a:moveTo>
                  <a:lnTo>
                    <a:pt x="9143" y="12191"/>
                  </a:lnTo>
                  <a:lnTo>
                    <a:pt x="9143" y="0"/>
                  </a:lnTo>
                  <a:lnTo>
                    <a:pt x="0" y="0"/>
                  </a:lnTo>
                  <a:lnTo>
                    <a:pt x="0" y="12191"/>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47" name="Freeform 1247"/>
            <p:cNvSpPr/>
            <p:nvPr/>
          </p:nvSpPr>
          <p:spPr>
            <a:xfrm>
              <a:off x="11229210" y="5616326"/>
              <a:ext cx="91391" cy="30465"/>
            </a:xfrm>
            <a:custGeom>
              <a:avLst/>
              <a:gdLst/>
              <a:ahLst/>
              <a:cxnLst/>
              <a:rect l="0" t="0" r="0" b="0"/>
              <a:pathLst>
                <a:path w="91439" h="30481">
                  <a:moveTo>
                    <a:pt x="91439" y="30481"/>
                  </a:moveTo>
                  <a:lnTo>
                    <a:pt x="0" y="30481"/>
                  </a:lnTo>
                  <a:lnTo>
                    <a:pt x="0" y="0"/>
                  </a:lnTo>
                  <a:lnTo>
                    <a:pt x="91439" y="0"/>
                  </a:lnTo>
                  <a:lnTo>
                    <a:pt x="91439" y="30481"/>
                  </a:lnTo>
                  <a:close/>
                  <a:moveTo>
                    <a:pt x="-10021825" y="1240536"/>
                  </a:moveTo>
                  <a:moveTo>
                    <a:pt x="10033" y="22861"/>
                  </a:moveTo>
                  <a:lnTo>
                    <a:pt x="81406" y="22861"/>
                  </a:lnTo>
                  <a:lnTo>
                    <a:pt x="81406" y="7620"/>
                  </a:lnTo>
                  <a:lnTo>
                    <a:pt x="10033" y="7620"/>
                  </a:lnTo>
                  <a:lnTo>
                    <a:pt x="10033" y="22861"/>
                  </a:lnTo>
                  <a:close/>
                  <a:moveTo>
                    <a:pt x="-10014205" y="1240536"/>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48" name="Freeform 1248"/>
            <p:cNvSpPr/>
            <p:nvPr/>
          </p:nvSpPr>
          <p:spPr>
            <a:xfrm>
              <a:off x="11098214" y="5616325"/>
              <a:ext cx="88345" cy="51790"/>
            </a:xfrm>
            <a:custGeom>
              <a:avLst/>
              <a:gdLst/>
              <a:ahLst/>
              <a:cxnLst/>
              <a:rect l="0" t="0" r="0" b="0"/>
              <a:pathLst>
                <a:path w="88391" h="51817">
                  <a:moveTo>
                    <a:pt x="88391" y="51817"/>
                  </a:moveTo>
                  <a:lnTo>
                    <a:pt x="0" y="51817"/>
                  </a:lnTo>
                  <a:lnTo>
                    <a:pt x="0" y="0"/>
                  </a:lnTo>
                  <a:lnTo>
                    <a:pt x="88391" y="0"/>
                  </a:lnTo>
                  <a:lnTo>
                    <a:pt x="88391" y="51817"/>
                  </a:lnTo>
                  <a:close/>
                  <a:moveTo>
                    <a:pt x="-9912097" y="1240536"/>
                  </a:moveTo>
                  <a:moveTo>
                    <a:pt x="9778" y="44412"/>
                  </a:moveTo>
                  <a:lnTo>
                    <a:pt x="78613" y="44412"/>
                  </a:lnTo>
                  <a:lnTo>
                    <a:pt x="78613" y="7405"/>
                  </a:lnTo>
                  <a:lnTo>
                    <a:pt x="9778" y="7405"/>
                  </a:lnTo>
                  <a:lnTo>
                    <a:pt x="9778" y="44412"/>
                  </a:lnTo>
                  <a:close/>
                  <a:moveTo>
                    <a:pt x="-9904692" y="1240536"/>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49" name="Freeform 1249"/>
            <p:cNvSpPr/>
            <p:nvPr/>
          </p:nvSpPr>
          <p:spPr>
            <a:xfrm>
              <a:off x="11137816" y="5616327"/>
              <a:ext cx="9138" cy="51789"/>
            </a:xfrm>
            <a:custGeom>
              <a:avLst/>
              <a:gdLst/>
              <a:ahLst/>
              <a:cxnLst/>
              <a:rect l="0" t="0" r="0" b="0"/>
              <a:pathLst>
                <a:path w="9143" h="51816">
                  <a:moveTo>
                    <a:pt x="0" y="51816"/>
                  </a:moveTo>
                  <a:lnTo>
                    <a:pt x="9143" y="51816"/>
                  </a:lnTo>
                  <a:lnTo>
                    <a:pt x="9143" y="0"/>
                  </a:lnTo>
                  <a:lnTo>
                    <a:pt x="0" y="0"/>
                  </a:lnTo>
                  <a:lnTo>
                    <a:pt x="0" y="51816"/>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50" name="Freeform 1250"/>
            <p:cNvSpPr/>
            <p:nvPr/>
          </p:nvSpPr>
          <p:spPr>
            <a:xfrm>
              <a:off x="11089074" y="5360427"/>
              <a:ext cx="103579" cy="21324"/>
            </a:xfrm>
            <a:custGeom>
              <a:avLst/>
              <a:gdLst/>
              <a:ahLst/>
              <a:cxnLst/>
              <a:rect l="0" t="0" r="0" b="0"/>
              <a:pathLst>
                <a:path w="103633" h="21335">
                  <a:moveTo>
                    <a:pt x="103633" y="21335"/>
                  </a:moveTo>
                  <a:lnTo>
                    <a:pt x="0" y="21335"/>
                  </a:lnTo>
                  <a:lnTo>
                    <a:pt x="0" y="0"/>
                  </a:lnTo>
                  <a:lnTo>
                    <a:pt x="103633" y="0"/>
                  </a:lnTo>
                  <a:lnTo>
                    <a:pt x="103633" y="21335"/>
                  </a:lnTo>
                  <a:close/>
                  <a:moveTo>
                    <a:pt x="-9616439" y="1496567"/>
                  </a:moveTo>
                  <a:moveTo>
                    <a:pt x="10034" y="14731"/>
                  </a:moveTo>
                  <a:lnTo>
                    <a:pt x="93599" y="14731"/>
                  </a:lnTo>
                  <a:lnTo>
                    <a:pt x="93599" y="6604"/>
                  </a:lnTo>
                  <a:lnTo>
                    <a:pt x="10034" y="6604"/>
                  </a:lnTo>
                  <a:lnTo>
                    <a:pt x="10034" y="14731"/>
                  </a:lnTo>
                  <a:close/>
                  <a:moveTo>
                    <a:pt x="-9609835" y="1496567"/>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51" name="Freeform 1251"/>
            <p:cNvSpPr/>
            <p:nvPr/>
          </p:nvSpPr>
          <p:spPr>
            <a:xfrm>
              <a:off x="11137816" y="5342149"/>
              <a:ext cx="9138" cy="24371"/>
            </a:xfrm>
            <a:custGeom>
              <a:avLst/>
              <a:gdLst/>
              <a:ahLst/>
              <a:cxnLst/>
              <a:rect l="0" t="0" r="0" b="0"/>
              <a:pathLst>
                <a:path w="9143" h="24384">
                  <a:moveTo>
                    <a:pt x="0" y="24384"/>
                  </a:moveTo>
                  <a:lnTo>
                    <a:pt x="9143" y="24384"/>
                  </a:lnTo>
                  <a:lnTo>
                    <a:pt x="9143" y="0"/>
                  </a:lnTo>
                  <a:lnTo>
                    <a:pt x="0" y="0"/>
                  </a:lnTo>
                  <a:lnTo>
                    <a:pt x="0" y="2438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52" name="Freeform 1252"/>
            <p:cNvSpPr/>
            <p:nvPr/>
          </p:nvSpPr>
          <p:spPr>
            <a:xfrm>
              <a:off x="11326695" y="5567584"/>
              <a:ext cx="45695" cy="67021"/>
            </a:xfrm>
            <a:custGeom>
              <a:avLst/>
              <a:gdLst/>
              <a:ahLst/>
              <a:cxnLst/>
              <a:rect l="0" t="0" r="0" b="0"/>
              <a:pathLst>
                <a:path w="45719" h="67056">
                  <a:moveTo>
                    <a:pt x="26542" y="67056"/>
                  </a:moveTo>
                  <a:lnTo>
                    <a:pt x="26542" y="67056"/>
                  </a:lnTo>
                  <a:lnTo>
                    <a:pt x="22352" y="66281"/>
                  </a:lnTo>
                  <a:lnTo>
                    <a:pt x="18034" y="64719"/>
                  </a:lnTo>
                  <a:lnTo>
                    <a:pt x="13842" y="61595"/>
                  </a:lnTo>
                  <a:lnTo>
                    <a:pt x="9525" y="58483"/>
                  </a:lnTo>
                  <a:lnTo>
                    <a:pt x="6350" y="53797"/>
                  </a:lnTo>
                  <a:lnTo>
                    <a:pt x="3175" y="49123"/>
                  </a:lnTo>
                  <a:lnTo>
                    <a:pt x="1015" y="42887"/>
                  </a:lnTo>
                  <a:lnTo>
                    <a:pt x="0" y="37426"/>
                  </a:lnTo>
                  <a:lnTo>
                    <a:pt x="1015" y="29629"/>
                  </a:lnTo>
                  <a:lnTo>
                    <a:pt x="4190" y="22606"/>
                  </a:lnTo>
                  <a:lnTo>
                    <a:pt x="7492" y="16382"/>
                  </a:lnTo>
                  <a:lnTo>
                    <a:pt x="11684" y="11684"/>
                  </a:lnTo>
                  <a:lnTo>
                    <a:pt x="16002" y="6984"/>
                  </a:lnTo>
                  <a:lnTo>
                    <a:pt x="19177" y="4698"/>
                  </a:lnTo>
                  <a:lnTo>
                    <a:pt x="23367" y="1523"/>
                  </a:lnTo>
                  <a:lnTo>
                    <a:pt x="26542" y="0"/>
                  </a:lnTo>
                  <a:lnTo>
                    <a:pt x="29717" y="1523"/>
                  </a:lnTo>
                  <a:lnTo>
                    <a:pt x="34036" y="4698"/>
                  </a:lnTo>
                  <a:lnTo>
                    <a:pt x="38227" y="8636"/>
                  </a:lnTo>
                  <a:lnTo>
                    <a:pt x="42544" y="13207"/>
                  </a:lnTo>
                  <a:lnTo>
                    <a:pt x="44703" y="16382"/>
                  </a:lnTo>
                  <a:lnTo>
                    <a:pt x="37211" y="19494"/>
                  </a:lnTo>
                  <a:lnTo>
                    <a:pt x="34036" y="17145"/>
                  </a:lnTo>
                  <a:lnTo>
                    <a:pt x="29717" y="12445"/>
                  </a:lnTo>
                  <a:lnTo>
                    <a:pt x="26542" y="9398"/>
                  </a:lnTo>
                  <a:lnTo>
                    <a:pt x="21209" y="13207"/>
                  </a:lnTo>
                  <a:lnTo>
                    <a:pt x="16002" y="19494"/>
                  </a:lnTo>
                  <a:lnTo>
                    <a:pt x="13842" y="23393"/>
                  </a:lnTo>
                  <a:lnTo>
                    <a:pt x="11684" y="27292"/>
                  </a:lnTo>
                  <a:lnTo>
                    <a:pt x="10667" y="31965"/>
                  </a:lnTo>
                  <a:lnTo>
                    <a:pt x="9525" y="37426"/>
                  </a:lnTo>
                  <a:lnTo>
                    <a:pt x="10667" y="42100"/>
                  </a:lnTo>
                  <a:lnTo>
                    <a:pt x="11684" y="46786"/>
                  </a:lnTo>
                  <a:lnTo>
                    <a:pt x="13842" y="50685"/>
                  </a:lnTo>
                  <a:lnTo>
                    <a:pt x="17017" y="53797"/>
                  </a:lnTo>
                  <a:lnTo>
                    <a:pt x="22352" y="58483"/>
                  </a:lnTo>
                  <a:lnTo>
                    <a:pt x="26542" y="60032"/>
                  </a:lnTo>
                  <a:lnTo>
                    <a:pt x="27686" y="60032"/>
                  </a:lnTo>
                  <a:lnTo>
                    <a:pt x="29717" y="59258"/>
                  </a:lnTo>
                  <a:lnTo>
                    <a:pt x="35052" y="54584"/>
                  </a:lnTo>
                  <a:lnTo>
                    <a:pt x="37211" y="52235"/>
                  </a:lnTo>
                  <a:lnTo>
                    <a:pt x="45719" y="56134"/>
                  </a:lnTo>
                  <a:lnTo>
                    <a:pt x="42544" y="58483"/>
                  </a:lnTo>
                  <a:lnTo>
                    <a:pt x="38227" y="63157"/>
                  </a:lnTo>
                  <a:lnTo>
                    <a:pt x="34036" y="65493"/>
                  </a:lnTo>
                  <a:lnTo>
                    <a:pt x="29717" y="67056"/>
                  </a:lnTo>
                  <a:lnTo>
                    <a:pt x="26542" y="67056"/>
                  </a:lnTo>
                  <a:close/>
                  <a:moveTo>
                    <a:pt x="-10107169" y="1289303"/>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53" name="Freeform 1253"/>
            <p:cNvSpPr/>
            <p:nvPr/>
          </p:nvSpPr>
          <p:spPr>
            <a:xfrm>
              <a:off x="10878870" y="5658977"/>
              <a:ext cx="578819" cy="9139"/>
            </a:xfrm>
            <a:custGeom>
              <a:avLst/>
              <a:gdLst/>
              <a:ahLst/>
              <a:cxnLst/>
              <a:rect l="0" t="0" r="0" b="0"/>
              <a:pathLst>
                <a:path w="579120" h="9144">
                  <a:moveTo>
                    <a:pt x="0" y="9144"/>
                  </a:moveTo>
                  <a:lnTo>
                    <a:pt x="579120" y="9144"/>
                  </a:lnTo>
                  <a:lnTo>
                    <a:pt x="579120"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54" name="Freeform 1254"/>
            <p:cNvSpPr/>
            <p:nvPr/>
          </p:nvSpPr>
          <p:spPr>
            <a:xfrm>
              <a:off x="11348019" y="5628513"/>
              <a:ext cx="9138" cy="39603"/>
            </a:xfrm>
            <a:custGeom>
              <a:avLst/>
              <a:gdLst/>
              <a:ahLst/>
              <a:cxnLst/>
              <a:rect l="0" t="0" r="0" b="0"/>
              <a:pathLst>
                <a:path w="9143" h="39624">
                  <a:moveTo>
                    <a:pt x="0" y="39624"/>
                  </a:moveTo>
                  <a:lnTo>
                    <a:pt x="9143" y="39624"/>
                  </a:lnTo>
                  <a:lnTo>
                    <a:pt x="9143" y="0"/>
                  </a:lnTo>
                  <a:lnTo>
                    <a:pt x="0" y="0"/>
                  </a:lnTo>
                  <a:lnTo>
                    <a:pt x="0" y="3962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55" name="Freeform 1255"/>
            <p:cNvSpPr/>
            <p:nvPr/>
          </p:nvSpPr>
          <p:spPr>
            <a:xfrm>
              <a:off x="11354110" y="5567584"/>
              <a:ext cx="48744" cy="67021"/>
            </a:xfrm>
            <a:custGeom>
              <a:avLst/>
              <a:gdLst/>
              <a:ahLst/>
              <a:cxnLst/>
              <a:rect l="0" t="0" r="0" b="0"/>
              <a:pathLst>
                <a:path w="48769" h="67056">
                  <a:moveTo>
                    <a:pt x="28321" y="67056"/>
                  </a:moveTo>
                  <a:lnTo>
                    <a:pt x="28321" y="67056"/>
                  </a:lnTo>
                  <a:lnTo>
                    <a:pt x="23876" y="66281"/>
                  </a:lnTo>
                  <a:lnTo>
                    <a:pt x="19305" y="64719"/>
                  </a:lnTo>
                  <a:lnTo>
                    <a:pt x="14733" y="61595"/>
                  </a:lnTo>
                  <a:lnTo>
                    <a:pt x="10160" y="58483"/>
                  </a:lnTo>
                  <a:lnTo>
                    <a:pt x="6859" y="53797"/>
                  </a:lnTo>
                  <a:lnTo>
                    <a:pt x="3430" y="49123"/>
                  </a:lnTo>
                  <a:lnTo>
                    <a:pt x="1144" y="42887"/>
                  </a:lnTo>
                  <a:lnTo>
                    <a:pt x="0" y="37426"/>
                  </a:lnTo>
                  <a:lnTo>
                    <a:pt x="1144" y="29629"/>
                  </a:lnTo>
                  <a:lnTo>
                    <a:pt x="4572" y="22606"/>
                  </a:lnTo>
                  <a:lnTo>
                    <a:pt x="8001" y="16382"/>
                  </a:lnTo>
                  <a:lnTo>
                    <a:pt x="12446" y="11684"/>
                  </a:lnTo>
                  <a:lnTo>
                    <a:pt x="17019" y="6984"/>
                  </a:lnTo>
                  <a:lnTo>
                    <a:pt x="20447" y="4698"/>
                  </a:lnTo>
                  <a:lnTo>
                    <a:pt x="24893" y="1523"/>
                  </a:lnTo>
                  <a:lnTo>
                    <a:pt x="28321" y="0"/>
                  </a:lnTo>
                  <a:lnTo>
                    <a:pt x="31750" y="1523"/>
                  </a:lnTo>
                  <a:lnTo>
                    <a:pt x="36322" y="4698"/>
                  </a:lnTo>
                  <a:lnTo>
                    <a:pt x="40768" y="8636"/>
                  </a:lnTo>
                  <a:lnTo>
                    <a:pt x="45339" y="13207"/>
                  </a:lnTo>
                  <a:lnTo>
                    <a:pt x="48769" y="16382"/>
                  </a:lnTo>
                  <a:lnTo>
                    <a:pt x="39751" y="20269"/>
                  </a:lnTo>
                  <a:lnTo>
                    <a:pt x="37466" y="17145"/>
                  </a:lnTo>
                  <a:lnTo>
                    <a:pt x="31750" y="12445"/>
                  </a:lnTo>
                  <a:lnTo>
                    <a:pt x="28321" y="9398"/>
                  </a:lnTo>
                  <a:lnTo>
                    <a:pt x="22734" y="13207"/>
                  </a:lnTo>
                  <a:lnTo>
                    <a:pt x="17019" y="19494"/>
                  </a:lnTo>
                  <a:lnTo>
                    <a:pt x="14733" y="23393"/>
                  </a:lnTo>
                  <a:lnTo>
                    <a:pt x="12446" y="27292"/>
                  </a:lnTo>
                  <a:lnTo>
                    <a:pt x="11304" y="31965"/>
                  </a:lnTo>
                  <a:lnTo>
                    <a:pt x="10160" y="37426"/>
                  </a:lnTo>
                  <a:lnTo>
                    <a:pt x="11304" y="42100"/>
                  </a:lnTo>
                  <a:lnTo>
                    <a:pt x="12446" y="46786"/>
                  </a:lnTo>
                  <a:lnTo>
                    <a:pt x="14733" y="50685"/>
                  </a:lnTo>
                  <a:lnTo>
                    <a:pt x="18161" y="53797"/>
                  </a:lnTo>
                  <a:lnTo>
                    <a:pt x="23876" y="58483"/>
                  </a:lnTo>
                  <a:lnTo>
                    <a:pt x="28321" y="60032"/>
                  </a:lnTo>
                  <a:lnTo>
                    <a:pt x="30608" y="59258"/>
                  </a:lnTo>
                  <a:lnTo>
                    <a:pt x="36322" y="55359"/>
                  </a:lnTo>
                  <a:lnTo>
                    <a:pt x="39751" y="52235"/>
                  </a:lnTo>
                  <a:lnTo>
                    <a:pt x="47625" y="56134"/>
                  </a:lnTo>
                  <a:lnTo>
                    <a:pt x="45339" y="59258"/>
                  </a:lnTo>
                  <a:lnTo>
                    <a:pt x="40768" y="62382"/>
                  </a:lnTo>
                  <a:lnTo>
                    <a:pt x="36322" y="64719"/>
                  </a:lnTo>
                  <a:lnTo>
                    <a:pt x="31750" y="66281"/>
                  </a:lnTo>
                  <a:lnTo>
                    <a:pt x="28321" y="67056"/>
                  </a:lnTo>
                  <a:close/>
                  <a:moveTo>
                    <a:pt x="-10134600" y="1289303"/>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56" name="Freeform 1256"/>
            <p:cNvSpPr/>
            <p:nvPr/>
          </p:nvSpPr>
          <p:spPr>
            <a:xfrm>
              <a:off x="11375436" y="5628513"/>
              <a:ext cx="12187" cy="39603"/>
            </a:xfrm>
            <a:custGeom>
              <a:avLst/>
              <a:gdLst/>
              <a:ahLst/>
              <a:cxnLst/>
              <a:rect l="0" t="0" r="0" b="0"/>
              <a:pathLst>
                <a:path w="12193" h="39624">
                  <a:moveTo>
                    <a:pt x="0" y="39624"/>
                  </a:moveTo>
                  <a:lnTo>
                    <a:pt x="12193" y="39624"/>
                  </a:lnTo>
                  <a:lnTo>
                    <a:pt x="12193" y="0"/>
                  </a:lnTo>
                  <a:lnTo>
                    <a:pt x="0" y="0"/>
                  </a:lnTo>
                  <a:lnTo>
                    <a:pt x="0" y="3962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57" name="Freeform 1257"/>
            <p:cNvSpPr/>
            <p:nvPr/>
          </p:nvSpPr>
          <p:spPr>
            <a:xfrm>
              <a:off x="11384576" y="5567584"/>
              <a:ext cx="51788" cy="67021"/>
            </a:xfrm>
            <a:custGeom>
              <a:avLst/>
              <a:gdLst/>
              <a:ahLst/>
              <a:cxnLst/>
              <a:rect l="0" t="0" r="0" b="0"/>
              <a:pathLst>
                <a:path w="51815" h="67056">
                  <a:moveTo>
                    <a:pt x="26415" y="67056"/>
                  </a:moveTo>
                  <a:lnTo>
                    <a:pt x="26415" y="67056"/>
                  </a:lnTo>
                  <a:lnTo>
                    <a:pt x="22225" y="66281"/>
                  </a:lnTo>
                  <a:lnTo>
                    <a:pt x="18033" y="64719"/>
                  </a:lnTo>
                  <a:lnTo>
                    <a:pt x="13715" y="61595"/>
                  </a:lnTo>
                  <a:lnTo>
                    <a:pt x="9525" y="58483"/>
                  </a:lnTo>
                  <a:lnTo>
                    <a:pt x="6350" y="53797"/>
                  </a:lnTo>
                  <a:lnTo>
                    <a:pt x="3175" y="49123"/>
                  </a:lnTo>
                  <a:lnTo>
                    <a:pt x="1015" y="42887"/>
                  </a:lnTo>
                  <a:lnTo>
                    <a:pt x="0" y="37426"/>
                  </a:lnTo>
                  <a:lnTo>
                    <a:pt x="1015" y="29629"/>
                  </a:lnTo>
                  <a:lnTo>
                    <a:pt x="4190" y="22606"/>
                  </a:lnTo>
                  <a:lnTo>
                    <a:pt x="7365" y="16382"/>
                  </a:lnTo>
                  <a:lnTo>
                    <a:pt x="11683" y="11684"/>
                  </a:lnTo>
                  <a:lnTo>
                    <a:pt x="15875" y="6984"/>
                  </a:lnTo>
                  <a:lnTo>
                    <a:pt x="19050" y="4698"/>
                  </a:lnTo>
                  <a:lnTo>
                    <a:pt x="23240" y="1523"/>
                  </a:lnTo>
                  <a:lnTo>
                    <a:pt x="26415" y="0"/>
                  </a:lnTo>
                  <a:lnTo>
                    <a:pt x="29590" y="1523"/>
                  </a:lnTo>
                  <a:lnTo>
                    <a:pt x="32765" y="4698"/>
                  </a:lnTo>
                  <a:lnTo>
                    <a:pt x="36956" y="6984"/>
                  </a:lnTo>
                  <a:lnTo>
                    <a:pt x="41275" y="11684"/>
                  </a:lnTo>
                  <a:lnTo>
                    <a:pt x="44450" y="16382"/>
                  </a:lnTo>
                  <a:lnTo>
                    <a:pt x="48640" y="22606"/>
                  </a:lnTo>
                  <a:lnTo>
                    <a:pt x="50800" y="29629"/>
                  </a:lnTo>
                  <a:lnTo>
                    <a:pt x="51815" y="37426"/>
                  </a:lnTo>
                  <a:lnTo>
                    <a:pt x="50800" y="42887"/>
                  </a:lnTo>
                  <a:lnTo>
                    <a:pt x="49656" y="49123"/>
                  </a:lnTo>
                  <a:lnTo>
                    <a:pt x="46481" y="53797"/>
                  </a:lnTo>
                  <a:lnTo>
                    <a:pt x="42290" y="58483"/>
                  </a:lnTo>
                  <a:lnTo>
                    <a:pt x="39115" y="61595"/>
                  </a:lnTo>
                  <a:lnTo>
                    <a:pt x="33781" y="64719"/>
                  </a:lnTo>
                  <a:lnTo>
                    <a:pt x="29590" y="66281"/>
                  </a:lnTo>
                  <a:lnTo>
                    <a:pt x="26415" y="67056"/>
                  </a:lnTo>
                  <a:close/>
                  <a:moveTo>
                    <a:pt x="-10165081" y="1289303"/>
                  </a:moveTo>
                  <a:moveTo>
                    <a:pt x="26415" y="9398"/>
                  </a:moveTo>
                  <a:lnTo>
                    <a:pt x="26415" y="9398"/>
                  </a:lnTo>
                  <a:lnTo>
                    <a:pt x="21208" y="13207"/>
                  </a:lnTo>
                  <a:lnTo>
                    <a:pt x="15875" y="19494"/>
                  </a:lnTo>
                  <a:lnTo>
                    <a:pt x="13715" y="23393"/>
                  </a:lnTo>
                  <a:lnTo>
                    <a:pt x="11683" y="27292"/>
                  </a:lnTo>
                  <a:lnTo>
                    <a:pt x="10540" y="31965"/>
                  </a:lnTo>
                  <a:lnTo>
                    <a:pt x="9525" y="37426"/>
                  </a:lnTo>
                  <a:lnTo>
                    <a:pt x="10540" y="42100"/>
                  </a:lnTo>
                  <a:lnTo>
                    <a:pt x="11683" y="46786"/>
                  </a:lnTo>
                  <a:lnTo>
                    <a:pt x="13715" y="50685"/>
                  </a:lnTo>
                  <a:lnTo>
                    <a:pt x="16890" y="53797"/>
                  </a:lnTo>
                  <a:lnTo>
                    <a:pt x="22225" y="58483"/>
                  </a:lnTo>
                  <a:lnTo>
                    <a:pt x="26415" y="60032"/>
                  </a:lnTo>
                  <a:lnTo>
                    <a:pt x="29590" y="58483"/>
                  </a:lnTo>
                  <a:lnTo>
                    <a:pt x="35940" y="53797"/>
                  </a:lnTo>
                  <a:lnTo>
                    <a:pt x="38100" y="50685"/>
                  </a:lnTo>
                  <a:lnTo>
                    <a:pt x="40131" y="46786"/>
                  </a:lnTo>
                  <a:lnTo>
                    <a:pt x="41275" y="42100"/>
                  </a:lnTo>
                  <a:lnTo>
                    <a:pt x="42290" y="37426"/>
                  </a:lnTo>
                  <a:lnTo>
                    <a:pt x="42290" y="31965"/>
                  </a:lnTo>
                  <a:lnTo>
                    <a:pt x="40131" y="27292"/>
                  </a:lnTo>
                  <a:lnTo>
                    <a:pt x="39115" y="23393"/>
                  </a:lnTo>
                  <a:lnTo>
                    <a:pt x="35940" y="19494"/>
                  </a:lnTo>
                  <a:lnTo>
                    <a:pt x="30606" y="13207"/>
                  </a:lnTo>
                  <a:lnTo>
                    <a:pt x="26415" y="9398"/>
                  </a:lnTo>
                  <a:close/>
                  <a:moveTo>
                    <a:pt x="-10107423" y="1289303"/>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58" name="Freeform 1258"/>
            <p:cNvSpPr/>
            <p:nvPr/>
          </p:nvSpPr>
          <p:spPr>
            <a:xfrm>
              <a:off x="11405901" y="5628513"/>
              <a:ext cx="9138" cy="39603"/>
            </a:xfrm>
            <a:custGeom>
              <a:avLst/>
              <a:gdLst/>
              <a:ahLst/>
              <a:cxnLst/>
              <a:rect l="0" t="0" r="0" b="0"/>
              <a:pathLst>
                <a:path w="9143" h="39624">
                  <a:moveTo>
                    <a:pt x="0" y="39624"/>
                  </a:moveTo>
                  <a:lnTo>
                    <a:pt x="9143" y="39624"/>
                  </a:lnTo>
                  <a:lnTo>
                    <a:pt x="9143" y="0"/>
                  </a:lnTo>
                  <a:lnTo>
                    <a:pt x="0" y="0"/>
                  </a:lnTo>
                  <a:lnTo>
                    <a:pt x="0" y="3962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59" name="Freeform 1259"/>
            <p:cNvSpPr/>
            <p:nvPr/>
          </p:nvSpPr>
          <p:spPr>
            <a:xfrm>
              <a:off x="10211705" y="5515794"/>
              <a:ext cx="27418" cy="149274"/>
            </a:xfrm>
            <a:custGeom>
              <a:avLst/>
              <a:gdLst/>
              <a:ahLst/>
              <a:cxnLst/>
              <a:rect l="0" t="0" r="0" b="0"/>
              <a:pathLst>
                <a:path w="27432" h="149352">
                  <a:moveTo>
                    <a:pt x="0" y="149352"/>
                  </a:moveTo>
                  <a:lnTo>
                    <a:pt x="27432" y="149352"/>
                  </a:lnTo>
                  <a:lnTo>
                    <a:pt x="27432" y="0"/>
                  </a:lnTo>
                  <a:lnTo>
                    <a:pt x="0" y="0"/>
                  </a:lnTo>
                  <a:lnTo>
                    <a:pt x="0" y="14935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60" name="Freeform 1260"/>
            <p:cNvSpPr/>
            <p:nvPr/>
          </p:nvSpPr>
          <p:spPr>
            <a:xfrm>
              <a:off x="10589462" y="5515794"/>
              <a:ext cx="24370" cy="149274"/>
            </a:xfrm>
            <a:custGeom>
              <a:avLst/>
              <a:gdLst/>
              <a:ahLst/>
              <a:cxnLst/>
              <a:rect l="0" t="0" r="0" b="0"/>
              <a:pathLst>
                <a:path w="24383" h="149352">
                  <a:moveTo>
                    <a:pt x="24383" y="0"/>
                  </a:moveTo>
                  <a:lnTo>
                    <a:pt x="24383" y="51816"/>
                  </a:lnTo>
                  <a:lnTo>
                    <a:pt x="24383" y="149352"/>
                  </a:lnTo>
                  <a:lnTo>
                    <a:pt x="0" y="149352"/>
                  </a:lnTo>
                  <a:lnTo>
                    <a:pt x="0" y="0"/>
                  </a:lnTo>
                  <a:lnTo>
                    <a:pt x="24383" y="0"/>
                  </a:lnTo>
                  <a:close/>
                  <a:moveTo>
                    <a:pt x="-9250681" y="1341119"/>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61" name="Freeform 1261"/>
            <p:cNvSpPr/>
            <p:nvPr/>
          </p:nvSpPr>
          <p:spPr>
            <a:xfrm>
              <a:off x="10211706" y="5381751"/>
              <a:ext cx="402127" cy="124904"/>
            </a:xfrm>
            <a:custGeom>
              <a:avLst/>
              <a:gdLst/>
              <a:ahLst/>
              <a:cxnLst/>
              <a:rect l="0" t="0" r="0" b="0"/>
              <a:pathLst>
                <a:path w="402336" h="124969">
                  <a:moveTo>
                    <a:pt x="0" y="118872"/>
                  </a:moveTo>
                  <a:lnTo>
                    <a:pt x="0" y="124969"/>
                  </a:lnTo>
                  <a:lnTo>
                    <a:pt x="26544" y="124969"/>
                  </a:lnTo>
                  <a:lnTo>
                    <a:pt x="375921" y="124969"/>
                  </a:lnTo>
                  <a:lnTo>
                    <a:pt x="402336" y="124969"/>
                  </a:lnTo>
                  <a:lnTo>
                    <a:pt x="402336" y="118872"/>
                  </a:lnTo>
                  <a:lnTo>
                    <a:pt x="402209" y="115190"/>
                  </a:lnTo>
                  <a:lnTo>
                    <a:pt x="402083" y="111507"/>
                  </a:lnTo>
                  <a:lnTo>
                    <a:pt x="401701" y="107950"/>
                  </a:lnTo>
                  <a:lnTo>
                    <a:pt x="401194" y="104268"/>
                  </a:lnTo>
                  <a:lnTo>
                    <a:pt x="400559" y="100711"/>
                  </a:lnTo>
                  <a:lnTo>
                    <a:pt x="399796" y="97282"/>
                  </a:lnTo>
                  <a:lnTo>
                    <a:pt x="398908" y="93980"/>
                  </a:lnTo>
                  <a:lnTo>
                    <a:pt x="398019" y="90679"/>
                  </a:lnTo>
                  <a:lnTo>
                    <a:pt x="396495" y="87377"/>
                  </a:lnTo>
                  <a:lnTo>
                    <a:pt x="395479" y="84202"/>
                  </a:lnTo>
                  <a:lnTo>
                    <a:pt x="393955" y="81027"/>
                  </a:lnTo>
                  <a:lnTo>
                    <a:pt x="392558" y="77979"/>
                  </a:lnTo>
                  <a:lnTo>
                    <a:pt x="390780" y="74930"/>
                  </a:lnTo>
                  <a:lnTo>
                    <a:pt x="389001" y="72010"/>
                  </a:lnTo>
                  <a:lnTo>
                    <a:pt x="386970" y="69088"/>
                  </a:lnTo>
                  <a:lnTo>
                    <a:pt x="384937" y="66294"/>
                  </a:lnTo>
                  <a:lnTo>
                    <a:pt x="383159" y="63500"/>
                  </a:lnTo>
                  <a:lnTo>
                    <a:pt x="380746" y="60833"/>
                  </a:lnTo>
                  <a:lnTo>
                    <a:pt x="378460" y="58166"/>
                  </a:lnTo>
                  <a:lnTo>
                    <a:pt x="375921" y="55499"/>
                  </a:lnTo>
                  <a:lnTo>
                    <a:pt x="373381" y="52960"/>
                  </a:lnTo>
                  <a:lnTo>
                    <a:pt x="370841" y="50546"/>
                  </a:lnTo>
                  <a:lnTo>
                    <a:pt x="367920" y="48133"/>
                  </a:lnTo>
                  <a:lnTo>
                    <a:pt x="365125" y="45847"/>
                  </a:lnTo>
                  <a:lnTo>
                    <a:pt x="362332" y="43435"/>
                  </a:lnTo>
                  <a:lnTo>
                    <a:pt x="359410" y="41149"/>
                  </a:lnTo>
                  <a:lnTo>
                    <a:pt x="356235" y="38990"/>
                  </a:lnTo>
                  <a:lnTo>
                    <a:pt x="353187" y="36830"/>
                  </a:lnTo>
                  <a:lnTo>
                    <a:pt x="349885" y="34799"/>
                  </a:lnTo>
                  <a:lnTo>
                    <a:pt x="346457" y="32766"/>
                  </a:lnTo>
                  <a:lnTo>
                    <a:pt x="343028" y="30988"/>
                  </a:lnTo>
                  <a:lnTo>
                    <a:pt x="339598" y="28957"/>
                  </a:lnTo>
                  <a:lnTo>
                    <a:pt x="335916" y="27179"/>
                  </a:lnTo>
                  <a:lnTo>
                    <a:pt x="332233" y="25400"/>
                  </a:lnTo>
                  <a:lnTo>
                    <a:pt x="328676" y="23622"/>
                  </a:lnTo>
                  <a:lnTo>
                    <a:pt x="324867" y="22099"/>
                  </a:lnTo>
                  <a:lnTo>
                    <a:pt x="320930" y="20574"/>
                  </a:lnTo>
                  <a:lnTo>
                    <a:pt x="317120" y="19050"/>
                  </a:lnTo>
                  <a:lnTo>
                    <a:pt x="313056" y="17527"/>
                  </a:lnTo>
                  <a:lnTo>
                    <a:pt x="309119" y="16130"/>
                  </a:lnTo>
                  <a:lnTo>
                    <a:pt x="300863" y="13463"/>
                  </a:lnTo>
                  <a:lnTo>
                    <a:pt x="292355" y="11177"/>
                  </a:lnTo>
                  <a:lnTo>
                    <a:pt x="283846" y="8891"/>
                  </a:lnTo>
                  <a:lnTo>
                    <a:pt x="275083" y="6985"/>
                  </a:lnTo>
                  <a:lnTo>
                    <a:pt x="266193" y="5335"/>
                  </a:lnTo>
                  <a:lnTo>
                    <a:pt x="257048" y="3810"/>
                  </a:lnTo>
                  <a:lnTo>
                    <a:pt x="248032" y="2794"/>
                  </a:lnTo>
                  <a:lnTo>
                    <a:pt x="238760" y="1652"/>
                  </a:lnTo>
                  <a:lnTo>
                    <a:pt x="229235" y="1016"/>
                  </a:lnTo>
                  <a:lnTo>
                    <a:pt x="220092" y="382"/>
                  </a:lnTo>
                  <a:lnTo>
                    <a:pt x="210694" y="127"/>
                  </a:lnTo>
                  <a:lnTo>
                    <a:pt x="201169" y="0"/>
                  </a:lnTo>
                  <a:lnTo>
                    <a:pt x="191771" y="255"/>
                  </a:lnTo>
                  <a:lnTo>
                    <a:pt x="182246" y="763"/>
                  </a:lnTo>
                  <a:lnTo>
                    <a:pt x="172847" y="1271"/>
                  </a:lnTo>
                  <a:lnTo>
                    <a:pt x="163704" y="2160"/>
                  </a:lnTo>
                  <a:lnTo>
                    <a:pt x="154306" y="3302"/>
                  </a:lnTo>
                  <a:lnTo>
                    <a:pt x="145288" y="4699"/>
                  </a:lnTo>
                  <a:lnTo>
                    <a:pt x="136145" y="6224"/>
                  </a:lnTo>
                  <a:lnTo>
                    <a:pt x="127255" y="7874"/>
                  </a:lnTo>
                  <a:lnTo>
                    <a:pt x="118492" y="10033"/>
                  </a:lnTo>
                  <a:lnTo>
                    <a:pt x="109856" y="12319"/>
                  </a:lnTo>
                  <a:lnTo>
                    <a:pt x="101473" y="14732"/>
                  </a:lnTo>
                  <a:lnTo>
                    <a:pt x="93346" y="17527"/>
                  </a:lnTo>
                  <a:lnTo>
                    <a:pt x="85471" y="20447"/>
                  </a:lnTo>
                  <a:lnTo>
                    <a:pt x="81408" y="21971"/>
                  </a:lnTo>
                  <a:lnTo>
                    <a:pt x="77597" y="23622"/>
                  </a:lnTo>
                  <a:lnTo>
                    <a:pt x="73914" y="25274"/>
                  </a:lnTo>
                  <a:lnTo>
                    <a:pt x="69978" y="26924"/>
                  </a:lnTo>
                  <a:lnTo>
                    <a:pt x="66421" y="28702"/>
                  </a:lnTo>
                  <a:lnTo>
                    <a:pt x="62993" y="30607"/>
                  </a:lnTo>
                  <a:lnTo>
                    <a:pt x="59309" y="32513"/>
                  </a:lnTo>
                  <a:lnTo>
                    <a:pt x="55881" y="34418"/>
                  </a:lnTo>
                  <a:lnTo>
                    <a:pt x="52579" y="36449"/>
                  </a:lnTo>
                  <a:lnTo>
                    <a:pt x="49404" y="38482"/>
                  </a:lnTo>
                  <a:lnTo>
                    <a:pt x="46229" y="40641"/>
                  </a:lnTo>
                  <a:lnTo>
                    <a:pt x="42926" y="42799"/>
                  </a:lnTo>
                  <a:lnTo>
                    <a:pt x="40006" y="45085"/>
                  </a:lnTo>
                  <a:lnTo>
                    <a:pt x="36958" y="47244"/>
                  </a:lnTo>
                  <a:lnTo>
                    <a:pt x="34163" y="49530"/>
                  </a:lnTo>
                  <a:lnTo>
                    <a:pt x="31496" y="52071"/>
                  </a:lnTo>
                  <a:lnTo>
                    <a:pt x="28957" y="54483"/>
                  </a:lnTo>
                  <a:lnTo>
                    <a:pt x="26289" y="57024"/>
                  </a:lnTo>
                  <a:lnTo>
                    <a:pt x="24004" y="59691"/>
                  </a:lnTo>
                  <a:lnTo>
                    <a:pt x="21718" y="62230"/>
                  </a:lnTo>
                  <a:lnTo>
                    <a:pt x="19305" y="64897"/>
                  </a:lnTo>
                  <a:lnTo>
                    <a:pt x="17146" y="67691"/>
                  </a:lnTo>
                  <a:lnTo>
                    <a:pt x="15113" y="70485"/>
                  </a:lnTo>
                  <a:lnTo>
                    <a:pt x="13462" y="73280"/>
                  </a:lnTo>
                  <a:lnTo>
                    <a:pt x="11558" y="76200"/>
                  </a:lnTo>
                  <a:lnTo>
                    <a:pt x="10034" y="78994"/>
                  </a:lnTo>
                  <a:lnTo>
                    <a:pt x="8383" y="82169"/>
                  </a:lnTo>
                  <a:lnTo>
                    <a:pt x="6985" y="85091"/>
                  </a:lnTo>
                  <a:lnTo>
                    <a:pt x="5588" y="88266"/>
                  </a:lnTo>
                  <a:lnTo>
                    <a:pt x="4572" y="91441"/>
                  </a:lnTo>
                  <a:lnTo>
                    <a:pt x="3430" y="94743"/>
                  </a:lnTo>
                  <a:lnTo>
                    <a:pt x="2541" y="98044"/>
                  </a:lnTo>
                  <a:lnTo>
                    <a:pt x="1906" y="101346"/>
                  </a:lnTo>
                  <a:lnTo>
                    <a:pt x="1144" y="104649"/>
                  </a:lnTo>
                  <a:lnTo>
                    <a:pt x="635" y="108205"/>
                  </a:lnTo>
                  <a:lnTo>
                    <a:pt x="255" y="111760"/>
                  </a:lnTo>
                  <a:lnTo>
                    <a:pt x="0" y="115316"/>
                  </a:lnTo>
                  <a:lnTo>
                    <a:pt x="0" y="118872"/>
                  </a:lnTo>
                  <a:close/>
                  <a:moveTo>
                    <a:pt x="-8857487" y="1475232"/>
                  </a:moveTo>
                  <a:moveTo>
                    <a:pt x="26544" y="115571"/>
                  </a:moveTo>
                  <a:lnTo>
                    <a:pt x="26544" y="115571"/>
                  </a:lnTo>
                  <a:lnTo>
                    <a:pt x="26671" y="112649"/>
                  </a:lnTo>
                  <a:lnTo>
                    <a:pt x="27051" y="109729"/>
                  </a:lnTo>
                  <a:lnTo>
                    <a:pt x="27433" y="107061"/>
                  </a:lnTo>
                  <a:lnTo>
                    <a:pt x="27941" y="104141"/>
                  </a:lnTo>
                  <a:lnTo>
                    <a:pt x="28575" y="101346"/>
                  </a:lnTo>
                  <a:lnTo>
                    <a:pt x="29464" y="98680"/>
                  </a:lnTo>
                  <a:lnTo>
                    <a:pt x="30354" y="96013"/>
                  </a:lnTo>
                  <a:lnTo>
                    <a:pt x="31243" y="93346"/>
                  </a:lnTo>
                  <a:lnTo>
                    <a:pt x="32512" y="90679"/>
                  </a:lnTo>
                  <a:lnTo>
                    <a:pt x="33529" y="88138"/>
                  </a:lnTo>
                  <a:lnTo>
                    <a:pt x="34925" y="85599"/>
                  </a:lnTo>
                  <a:lnTo>
                    <a:pt x="36449" y="83185"/>
                  </a:lnTo>
                  <a:lnTo>
                    <a:pt x="37973" y="80772"/>
                  </a:lnTo>
                  <a:lnTo>
                    <a:pt x="39371" y="78360"/>
                  </a:lnTo>
                  <a:lnTo>
                    <a:pt x="41275" y="76074"/>
                  </a:lnTo>
                  <a:lnTo>
                    <a:pt x="42926" y="73915"/>
                  </a:lnTo>
                  <a:lnTo>
                    <a:pt x="44832" y="71629"/>
                  </a:lnTo>
                  <a:lnTo>
                    <a:pt x="46863" y="69469"/>
                  </a:lnTo>
                  <a:lnTo>
                    <a:pt x="48896" y="67310"/>
                  </a:lnTo>
                  <a:lnTo>
                    <a:pt x="50928" y="65152"/>
                  </a:lnTo>
                  <a:lnTo>
                    <a:pt x="53213" y="63119"/>
                  </a:lnTo>
                  <a:lnTo>
                    <a:pt x="55626" y="61088"/>
                  </a:lnTo>
                  <a:lnTo>
                    <a:pt x="57912" y="59182"/>
                  </a:lnTo>
                  <a:lnTo>
                    <a:pt x="60453" y="57277"/>
                  </a:lnTo>
                  <a:lnTo>
                    <a:pt x="65659" y="53468"/>
                  </a:lnTo>
                  <a:lnTo>
                    <a:pt x="70867" y="50038"/>
                  </a:lnTo>
                  <a:lnTo>
                    <a:pt x="76835" y="46736"/>
                  </a:lnTo>
                  <a:lnTo>
                    <a:pt x="82805" y="43561"/>
                  </a:lnTo>
                  <a:lnTo>
                    <a:pt x="89028" y="40641"/>
                  </a:lnTo>
                  <a:lnTo>
                    <a:pt x="95378" y="37719"/>
                  </a:lnTo>
                  <a:lnTo>
                    <a:pt x="102109" y="35180"/>
                  </a:lnTo>
                  <a:lnTo>
                    <a:pt x="108967" y="32894"/>
                  </a:lnTo>
                  <a:lnTo>
                    <a:pt x="116079" y="30735"/>
                  </a:lnTo>
                  <a:lnTo>
                    <a:pt x="123191" y="28575"/>
                  </a:lnTo>
                  <a:lnTo>
                    <a:pt x="130557" y="26797"/>
                  </a:lnTo>
                  <a:lnTo>
                    <a:pt x="138176" y="25146"/>
                  </a:lnTo>
                  <a:lnTo>
                    <a:pt x="145670" y="23622"/>
                  </a:lnTo>
                  <a:lnTo>
                    <a:pt x="153544" y="22480"/>
                  </a:lnTo>
                  <a:lnTo>
                    <a:pt x="161291" y="21210"/>
                  </a:lnTo>
                  <a:lnTo>
                    <a:pt x="169292" y="20321"/>
                  </a:lnTo>
                  <a:lnTo>
                    <a:pt x="177293" y="19558"/>
                  </a:lnTo>
                  <a:lnTo>
                    <a:pt x="185039" y="19050"/>
                  </a:lnTo>
                  <a:lnTo>
                    <a:pt x="193168" y="18796"/>
                  </a:lnTo>
                  <a:lnTo>
                    <a:pt x="201169" y="18669"/>
                  </a:lnTo>
                  <a:lnTo>
                    <a:pt x="209296" y="18669"/>
                  </a:lnTo>
                  <a:lnTo>
                    <a:pt x="217424" y="18796"/>
                  </a:lnTo>
                  <a:lnTo>
                    <a:pt x="225425" y="19305"/>
                  </a:lnTo>
                  <a:lnTo>
                    <a:pt x="233299" y="19813"/>
                  </a:lnTo>
                  <a:lnTo>
                    <a:pt x="241300" y="20702"/>
                  </a:lnTo>
                  <a:lnTo>
                    <a:pt x="248921" y="21591"/>
                  </a:lnTo>
                  <a:lnTo>
                    <a:pt x="256795" y="22733"/>
                  </a:lnTo>
                  <a:lnTo>
                    <a:pt x="264414" y="24257"/>
                  </a:lnTo>
                  <a:lnTo>
                    <a:pt x="271908" y="25782"/>
                  </a:lnTo>
                  <a:lnTo>
                    <a:pt x="279273" y="27560"/>
                  </a:lnTo>
                  <a:lnTo>
                    <a:pt x="286385" y="29338"/>
                  </a:lnTo>
                  <a:lnTo>
                    <a:pt x="293497" y="31624"/>
                  </a:lnTo>
                  <a:lnTo>
                    <a:pt x="300483" y="34036"/>
                  </a:lnTo>
                  <a:lnTo>
                    <a:pt x="307086" y="36449"/>
                  </a:lnTo>
                  <a:lnTo>
                    <a:pt x="313563" y="39244"/>
                  </a:lnTo>
                  <a:lnTo>
                    <a:pt x="319659" y="42165"/>
                  </a:lnTo>
                  <a:lnTo>
                    <a:pt x="325756" y="45213"/>
                  </a:lnTo>
                  <a:lnTo>
                    <a:pt x="331471" y="48515"/>
                  </a:lnTo>
                  <a:lnTo>
                    <a:pt x="334264" y="50293"/>
                  </a:lnTo>
                  <a:lnTo>
                    <a:pt x="336932" y="52071"/>
                  </a:lnTo>
                  <a:lnTo>
                    <a:pt x="339598" y="53975"/>
                  </a:lnTo>
                  <a:lnTo>
                    <a:pt x="342011" y="55880"/>
                  </a:lnTo>
                  <a:lnTo>
                    <a:pt x="344551" y="57658"/>
                  </a:lnTo>
                  <a:lnTo>
                    <a:pt x="347092" y="59691"/>
                  </a:lnTo>
                  <a:lnTo>
                    <a:pt x="349250" y="61722"/>
                  </a:lnTo>
                  <a:lnTo>
                    <a:pt x="351409" y="63755"/>
                  </a:lnTo>
                  <a:lnTo>
                    <a:pt x="353569" y="65913"/>
                  </a:lnTo>
                  <a:lnTo>
                    <a:pt x="355600" y="68072"/>
                  </a:lnTo>
                  <a:lnTo>
                    <a:pt x="357506" y="70232"/>
                  </a:lnTo>
                  <a:lnTo>
                    <a:pt x="359537" y="72518"/>
                  </a:lnTo>
                  <a:lnTo>
                    <a:pt x="361316" y="74930"/>
                  </a:lnTo>
                  <a:lnTo>
                    <a:pt x="362967" y="77216"/>
                  </a:lnTo>
                  <a:lnTo>
                    <a:pt x="364491" y="79757"/>
                  </a:lnTo>
                  <a:lnTo>
                    <a:pt x="365887" y="82169"/>
                  </a:lnTo>
                  <a:lnTo>
                    <a:pt x="367538" y="84710"/>
                  </a:lnTo>
                  <a:lnTo>
                    <a:pt x="368809" y="87249"/>
                  </a:lnTo>
                  <a:lnTo>
                    <a:pt x="369951" y="89790"/>
                  </a:lnTo>
                  <a:lnTo>
                    <a:pt x="371095" y="92457"/>
                  </a:lnTo>
                  <a:lnTo>
                    <a:pt x="372237" y="95250"/>
                  </a:lnTo>
                  <a:lnTo>
                    <a:pt x="372999" y="98044"/>
                  </a:lnTo>
                  <a:lnTo>
                    <a:pt x="373761" y="100711"/>
                  </a:lnTo>
                  <a:lnTo>
                    <a:pt x="374396" y="103760"/>
                  </a:lnTo>
                  <a:lnTo>
                    <a:pt x="375032" y="106554"/>
                  </a:lnTo>
                  <a:lnTo>
                    <a:pt x="375285" y="109602"/>
                  </a:lnTo>
                  <a:lnTo>
                    <a:pt x="375667" y="112522"/>
                  </a:lnTo>
                  <a:lnTo>
                    <a:pt x="375794" y="115571"/>
                  </a:lnTo>
                  <a:lnTo>
                    <a:pt x="26544" y="115571"/>
                  </a:lnTo>
                  <a:close/>
                  <a:moveTo>
                    <a:pt x="-8854186" y="1475232"/>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62" name="Freeform 1262"/>
            <p:cNvSpPr/>
            <p:nvPr/>
          </p:nvSpPr>
          <p:spPr>
            <a:xfrm>
              <a:off x="10418862" y="5317778"/>
              <a:ext cx="301596" cy="347291"/>
            </a:xfrm>
            <a:custGeom>
              <a:avLst/>
              <a:gdLst/>
              <a:ahLst/>
              <a:cxnLst/>
              <a:rect l="0" t="0" r="0" b="0"/>
              <a:pathLst>
                <a:path w="301753" h="347472">
                  <a:moveTo>
                    <a:pt x="209932" y="347472"/>
                  </a:moveTo>
                  <a:lnTo>
                    <a:pt x="209932" y="242189"/>
                  </a:lnTo>
                  <a:lnTo>
                    <a:pt x="228093" y="232664"/>
                  </a:lnTo>
                  <a:lnTo>
                    <a:pt x="225807" y="224028"/>
                  </a:lnTo>
                  <a:lnTo>
                    <a:pt x="223394" y="215137"/>
                  </a:lnTo>
                  <a:lnTo>
                    <a:pt x="221361" y="206248"/>
                  </a:lnTo>
                  <a:lnTo>
                    <a:pt x="219583" y="197103"/>
                  </a:lnTo>
                  <a:lnTo>
                    <a:pt x="217679" y="187578"/>
                  </a:lnTo>
                  <a:lnTo>
                    <a:pt x="216282" y="178053"/>
                  </a:lnTo>
                  <a:lnTo>
                    <a:pt x="214884" y="168020"/>
                  </a:lnTo>
                  <a:lnTo>
                    <a:pt x="213995" y="157987"/>
                  </a:lnTo>
                  <a:lnTo>
                    <a:pt x="212853" y="147828"/>
                  </a:lnTo>
                  <a:lnTo>
                    <a:pt x="212218" y="137287"/>
                  </a:lnTo>
                  <a:lnTo>
                    <a:pt x="211709" y="126492"/>
                  </a:lnTo>
                  <a:lnTo>
                    <a:pt x="211582" y="115570"/>
                  </a:lnTo>
                  <a:lnTo>
                    <a:pt x="211582" y="104393"/>
                  </a:lnTo>
                  <a:lnTo>
                    <a:pt x="211964" y="92964"/>
                  </a:lnTo>
                  <a:lnTo>
                    <a:pt x="212345" y="81406"/>
                  </a:lnTo>
                  <a:lnTo>
                    <a:pt x="213233" y="69468"/>
                  </a:lnTo>
                  <a:lnTo>
                    <a:pt x="217679" y="9270"/>
                  </a:lnTo>
                  <a:lnTo>
                    <a:pt x="13717" y="9270"/>
                  </a:lnTo>
                  <a:lnTo>
                    <a:pt x="16257" y="54609"/>
                  </a:lnTo>
                  <a:lnTo>
                    <a:pt x="9653" y="54356"/>
                  </a:lnTo>
                  <a:lnTo>
                    <a:pt x="3048" y="54228"/>
                  </a:lnTo>
                  <a:lnTo>
                    <a:pt x="0" y="0"/>
                  </a:lnTo>
                  <a:lnTo>
                    <a:pt x="231775" y="0"/>
                  </a:lnTo>
                  <a:lnTo>
                    <a:pt x="226442" y="70103"/>
                  </a:lnTo>
                  <a:lnTo>
                    <a:pt x="225933" y="78231"/>
                  </a:lnTo>
                  <a:lnTo>
                    <a:pt x="225425" y="86232"/>
                  </a:lnTo>
                  <a:lnTo>
                    <a:pt x="225171" y="94361"/>
                  </a:lnTo>
                  <a:lnTo>
                    <a:pt x="224918" y="102234"/>
                  </a:lnTo>
                  <a:lnTo>
                    <a:pt x="224918" y="109854"/>
                  </a:lnTo>
                  <a:lnTo>
                    <a:pt x="224918" y="117601"/>
                  </a:lnTo>
                  <a:lnTo>
                    <a:pt x="225171" y="125095"/>
                  </a:lnTo>
                  <a:lnTo>
                    <a:pt x="225425" y="132461"/>
                  </a:lnTo>
                  <a:lnTo>
                    <a:pt x="225807" y="139826"/>
                  </a:lnTo>
                  <a:lnTo>
                    <a:pt x="226187" y="147065"/>
                  </a:lnTo>
                  <a:lnTo>
                    <a:pt x="226822" y="154178"/>
                  </a:lnTo>
                  <a:lnTo>
                    <a:pt x="227711" y="161162"/>
                  </a:lnTo>
                  <a:lnTo>
                    <a:pt x="228473" y="168020"/>
                  </a:lnTo>
                  <a:lnTo>
                    <a:pt x="229235" y="174878"/>
                  </a:lnTo>
                  <a:lnTo>
                    <a:pt x="230379" y="181482"/>
                  </a:lnTo>
                  <a:lnTo>
                    <a:pt x="231395" y="188214"/>
                  </a:lnTo>
                  <a:lnTo>
                    <a:pt x="232537" y="194564"/>
                  </a:lnTo>
                  <a:lnTo>
                    <a:pt x="233807" y="200914"/>
                  </a:lnTo>
                  <a:lnTo>
                    <a:pt x="235078" y="207137"/>
                  </a:lnTo>
                  <a:lnTo>
                    <a:pt x="236602" y="213359"/>
                  </a:lnTo>
                  <a:lnTo>
                    <a:pt x="237998" y="219456"/>
                  </a:lnTo>
                  <a:lnTo>
                    <a:pt x="239649" y="225425"/>
                  </a:lnTo>
                  <a:lnTo>
                    <a:pt x="241300" y="231267"/>
                  </a:lnTo>
                  <a:lnTo>
                    <a:pt x="243079" y="236854"/>
                  </a:lnTo>
                  <a:lnTo>
                    <a:pt x="246889" y="248157"/>
                  </a:lnTo>
                  <a:lnTo>
                    <a:pt x="250825" y="258953"/>
                  </a:lnTo>
                  <a:lnTo>
                    <a:pt x="254890" y="269303"/>
                  </a:lnTo>
                  <a:lnTo>
                    <a:pt x="259334" y="279298"/>
                  </a:lnTo>
                  <a:lnTo>
                    <a:pt x="263018" y="286765"/>
                  </a:lnTo>
                  <a:lnTo>
                    <a:pt x="266955" y="293890"/>
                  </a:lnTo>
                  <a:lnTo>
                    <a:pt x="270765" y="300926"/>
                  </a:lnTo>
                  <a:lnTo>
                    <a:pt x="274702" y="307733"/>
                  </a:lnTo>
                  <a:lnTo>
                    <a:pt x="278893" y="314426"/>
                  </a:lnTo>
                  <a:lnTo>
                    <a:pt x="283083" y="321119"/>
                  </a:lnTo>
                  <a:lnTo>
                    <a:pt x="291466" y="334403"/>
                  </a:lnTo>
                  <a:lnTo>
                    <a:pt x="296672" y="340995"/>
                  </a:lnTo>
                  <a:lnTo>
                    <a:pt x="301753" y="347472"/>
                  </a:lnTo>
                  <a:lnTo>
                    <a:pt x="209932" y="347472"/>
                  </a:lnTo>
                  <a:close/>
                  <a:moveTo>
                    <a:pt x="-9229344" y="1539239"/>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63" name="Freeform 1263"/>
            <p:cNvSpPr/>
            <p:nvPr/>
          </p:nvSpPr>
          <p:spPr>
            <a:xfrm>
              <a:off x="10172103" y="5674208"/>
              <a:ext cx="551401" cy="9139"/>
            </a:xfrm>
            <a:custGeom>
              <a:avLst/>
              <a:gdLst/>
              <a:ahLst/>
              <a:cxnLst/>
              <a:rect l="0" t="0" r="0" b="0"/>
              <a:pathLst>
                <a:path w="551688" h="9144">
                  <a:moveTo>
                    <a:pt x="0" y="9144"/>
                  </a:moveTo>
                  <a:lnTo>
                    <a:pt x="551688" y="9144"/>
                  </a:lnTo>
                  <a:lnTo>
                    <a:pt x="551688"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pic>
          <p:nvPicPr>
            <p:cNvPr id="1264" name="Picture 1264"/>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10300053" y="5513889"/>
              <a:ext cx="201698" cy="140884"/>
            </a:xfrm>
            <a:prstGeom prst="rect">
              <a:avLst/>
            </a:prstGeom>
            <a:noFill/>
          </p:spPr>
        </p:pic>
        <p:pic>
          <p:nvPicPr>
            <p:cNvPr id="1265" name="Picture 1265"/>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9410498" y="5290360"/>
              <a:ext cx="661072" cy="502657"/>
            </a:xfrm>
            <a:prstGeom prst="rect">
              <a:avLst/>
            </a:prstGeom>
            <a:noFill/>
          </p:spPr>
        </p:pic>
        <p:sp>
          <p:nvSpPr>
            <p:cNvPr id="1266" name="Freeform 1266"/>
            <p:cNvSpPr/>
            <p:nvPr/>
          </p:nvSpPr>
          <p:spPr>
            <a:xfrm>
              <a:off x="9378512" y="5194398"/>
              <a:ext cx="2205603" cy="874320"/>
            </a:xfrm>
            <a:custGeom>
              <a:avLst/>
              <a:gdLst/>
              <a:ahLst/>
              <a:cxnLst/>
              <a:rect l="0" t="0" r="0" b="0"/>
              <a:pathLst>
                <a:path w="2206752" h="874775">
                  <a:moveTo>
                    <a:pt x="0" y="874775"/>
                  </a:moveTo>
                  <a:lnTo>
                    <a:pt x="2206752" y="874775"/>
                  </a:lnTo>
                  <a:lnTo>
                    <a:pt x="2206752" y="0"/>
                  </a:lnTo>
                  <a:lnTo>
                    <a:pt x="0" y="0"/>
                  </a:lnTo>
                  <a:lnTo>
                    <a:pt x="0" y="874775"/>
                  </a:lnTo>
                  <a:close/>
                </a:path>
              </a:pathLst>
            </a:custGeom>
            <a:noFill/>
            <a:ln w="9525" cap="flat" cmpd="sng">
              <a:solidFill>
                <a:srgbClr val="FFFACC"/>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1576" name="Rectangle 1576"/>
            <p:cNvSpPr/>
            <p:nvPr/>
          </p:nvSpPr>
          <p:spPr>
            <a:xfrm>
              <a:off x="9471426" y="5789167"/>
              <a:ext cx="594778" cy="154786"/>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12" normalizeH="0" baseline="0" noProof="0" dirty="0">
                  <a:ln>
                    <a:noFill/>
                  </a:ln>
                  <a:solidFill>
                    <a:srgbClr val="FFFFFF"/>
                  </a:solidFill>
                  <a:effectLst/>
                  <a:uLnTx/>
                  <a:uFillTx/>
                  <a:latin typeface="EYInterstate-LightBold"/>
                  <a:ea typeface="+mn-ea"/>
                  <a:cs typeface="+mn-cs"/>
                </a:rPr>
                <a:t>F</a:t>
              </a: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uel Cells</a:t>
              </a:r>
            </a:p>
          </p:txBody>
        </p:sp>
        <p:sp>
          <p:nvSpPr>
            <p:cNvPr id="1542" name="Rectangle 1542"/>
            <p:cNvSpPr/>
            <p:nvPr/>
          </p:nvSpPr>
          <p:spPr>
            <a:xfrm>
              <a:off x="10728568" y="5690158"/>
              <a:ext cx="881652" cy="308674"/>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Decentralized </a:t>
              </a:r>
            </a:p>
            <a:p>
              <a:pPr marL="179651" marR="0" lvl="0" indent="0" algn="l" defTabSz="913943" rtl="0" eaLnBrk="1" fontAlgn="auto" latinLnBrk="0" hangingPunct="1">
                <a:lnSpc>
                  <a:spcPts val="1198"/>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Heating</a:t>
              </a:r>
            </a:p>
          </p:txBody>
        </p:sp>
        <p:sp>
          <p:nvSpPr>
            <p:cNvPr id="1543" name="Rectangle 1543"/>
            <p:cNvSpPr/>
            <p:nvPr/>
          </p:nvSpPr>
          <p:spPr>
            <a:xfrm>
              <a:off x="10186702" y="5690158"/>
              <a:ext cx="532133" cy="308674"/>
            </a:xfrm>
            <a:prstGeom prst="rect">
              <a:avLst/>
            </a:prstGeom>
          </p:spPr>
          <p:txBody>
            <a:bodyPr wrap="none" lIns="0" tIns="0" rIns="0" bIns="0">
              <a:spAutoFit/>
            </a:bodyPr>
            <a:lstStyle/>
            <a:p>
              <a:pPr marL="149202" marR="0" lvl="0" indent="0" algn="l" defTabSz="913943"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12" normalizeH="0" baseline="0" noProof="0" dirty="0">
                  <a:ln>
                    <a:noFill/>
                  </a:ln>
                  <a:solidFill>
                    <a:srgbClr val="FFFFFF"/>
                  </a:solidFill>
                  <a:effectLst/>
                  <a:uLnTx/>
                  <a:uFillTx/>
                  <a:latin typeface="EYInterstate-LightBold"/>
                  <a:ea typeface="+mn-ea"/>
                  <a:cs typeface="+mn-cs"/>
                </a:rPr>
                <a:t>G</a:t>
              </a: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as </a:t>
              </a:r>
            </a:p>
            <a:p>
              <a:pPr marL="0" marR="0" lvl="0" indent="0" algn="l" defTabSz="913943" rtl="0" eaLnBrk="1" fontAlgn="auto" latinLnBrk="0" hangingPunct="1">
                <a:lnSpc>
                  <a:spcPts val="1198"/>
                </a:lnSpc>
                <a:spcBef>
                  <a:spcPts val="0"/>
                </a:spcBef>
                <a:spcAft>
                  <a:spcPts val="0"/>
                </a:spcAft>
                <a:buClrTx/>
                <a:buSzTx/>
                <a:buFontTx/>
                <a:buNone/>
                <a:tabLst/>
                <a:defRPr/>
              </a:pPr>
              <a:r>
                <a:rPr kumimoji="0" lang="en-US" sz="1005" b="1" i="0" u="none" strike="noStrike" kern="1200" cap="none" spc="-13" normalizeH="0" baseline="0" noProof="0" dirty="0">
                  <a:ln>
                    <a:noFill/>
                  </a:ln>
                  <a:solidFill>
                    <a:srgbClr val="FFFFFF"/>
                  </a:solidFill>
                  <a:effectLst/>
                  <a:uLnTx/>
                  <a:uFillTx/>
                  <a:latin typeface="EYInterstate-LightBold"/>
                  <a:ea typeface="+mn-ea"/>
                  <a:cs typeface="+mn-cs"/>
                </a:rPr>
                <a:t>T</a:t>
              </a: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urbines</a:t>
              </a:r>
            </a:p>
          </p:txBody>
        </p:sp>
      </p:grpSp>
      <p:grpSp>
        <p:nvGrpSpPr>
          <p:cNvPr id="13" name="5. End Use - Mobility">
            <a:extLst>
              <a:ext uri="{FF2B5EF4-FFF2-40B4-BE49-F238E27FC236}">
                <a16:creationId xmlns:a16="http://schemas.microsoft.com/office/drawing/2014/main" id="{A8155E35-841D-41B5-ABB3-7EE50F3B3366}"/>
              </a:ext>
            </a:extLst>
          </p:cNvPr>
          <p:cNvGrpSpPr/>
          <p:nvPr/>
        </p:nvGrpSpPr>
        <p:grpSpPr>
          <a:xfrm>
            <a:off x="9527841" y="2674148"/>
            <a:ext cx="2198616" cy="1903017"/>
            <a:chOff x="10066204" y="3101511"/>
            <a:chExt cx="1990186" cy="1904008"/>
          </a:xfrm>
        </p:grpSpPr>
        <p:sp>
          <p:nvSpPr>
            <p:cNvPr id="1422" name="Freeform 1422"/>
            <p:cNvSpPr/>
            <p:nvPr/>
          </p:nvSpPr>
          <p:spPr>
            <a:xfrm>
              <a:off x="11525724" y="3873776"/>
              <a:ext cx="444775" cy="225436"/>
            </a:xfrm>
            <a:custGeom>
              <a:avLst/>
              <a:gdLst/>
              <a:ahLst/>
              <a:cxnLst/>
              <a:rect l="0" t="0" r="0" b="0"/>
              <a:pathLst>
                <a:path w="445007" h="225553">
                  <a:moveTo>
                    <a:pt x="445007" y="187325"/>
                  </a:moveTo>
                  <a:lnTo>
                    <a:pt x="445007" y="113919"/>
                  </a:lnTo>
                  <a:lnTo>
                    <a:pt x="445007" y="112650"/>
                  </a:lnTo>
                  <a:lnTo>
                    <a:pt x="444754" y="111379"/>
                  </a:lnTo>
                  <a:lnTo>
                    <a:pt x="444245" y="110110"/>
                  </a:lnTo>
                  <a:lnTo>
                    <a:pt x="443738" y="108966"/>
                  </a:lnTo>
                  <a:lnTo>
                    <a:pt x="442976" y="107823"/>
                  </a:lnTo>
                  <a:lnTo>
                    <a:pt x="442087" y="106807"/>
                  </a:lnTo>
                  <a:lnTo>
                    <a:pt x="441070" y="105791"/>
                  </a:lnTo>
                  <a:lnTo>
                    <a:pt x="439928" y="104903"/>
                  </a:lnTo>
                  <a:lnTo>
                    <a:pt x="438657" y="104141"/>
                  </a:lnTo>
                  <a:lnTo>
                    <a:pt x="437261" y="103378"/>
                  </a:lnTo>
                  <a:lnTo>
                    <a:pt x="435864" y="102744"/>
                  </a:lnTo>
                  <a:lnTo>
                    <a:pt x="434340" y="102235"/>
                  </a:lnTo>
                  <a:lnTo>
                    <a:pt x="432689" y="101854"/>
                  </a:lnTo>
                  <a:lnTo>
                    <a:pt x="431038" y="101473"/>
                  </a:lnTo>
                  <a:lnTo>
                    <a:pt x="429259" y="101219"/>
                  </a:lnTo>
                  <a:lnTo>
                    <a:pt x="427481" y="101219"/>
                  </a:lnTo>
                  <a:lnTo>
                    <a:pt x="326643" y="101219"/>
                  </a:lnTo>
                  <a:lnTo>
                    <a:pt x="326643" y="22860"/>
                  </a:lnTo>
                  <a:lnTo>
                    <a:pt x="159130" y="22860"/>
                  </a:lnTo>
                  <a:lnTo>
                    <a:pt x="157606" y="25781"/>
                  </a:lnTo>
                  <a:lnTo>
                    <a:pt x="153162" y="33656"/>
                  </a:lnTo>
                  <a:lnTo>
                    <a:pt x="150114" y="39244"/>
                  </a:lnTo>
                  <a:lnTo>
                    <a:pt x="147066" y="45594"/>
                  </a:lnTo>
                  <a:lnTo>
                    <a:pt x="143509" y="52706"/>
                  </a:lnTo>
                  <a:lnTo>
                    <a:pt x="139827" y="60453"/>
                  </a:lnTo>
                  <a:lnTo>
                    <a:pt x="136143" y="68581"/>
                  </a:lnTo>
                  <a:lnTo>
                    <a:pt x="132715" y="77090"/>
                  </a:lnTo>
                  <a:lnTo>
                    <a:pt x="129413" y="85979"/>
                  </a:lnTo>
                  <a:lnTo>
                    <a:pt x="127889" y="90170"/>
                  </a:lnTo>
                  <a:lnTo>
                    <a:pt x="126492" y="94616"/>
                  </a:lnTo>
                  <a:lnTo>
                    <a:pt x="125221" y="99060"/>
                  </a:lnTo>
                  <a:lnTo>
                    <a:pt x="123952" y="103251"/>
                  </a:lnTo>
                  <a:lnTo>
                    <a:pt x="122936" y="107569"/>
                  </a:lnTo>
                  <a:lnTo>
                    <a:pt x="122174" y="111760"/>
                  </a:lnTo>
                  <a:lnTo>
                    <a:pt x="121412" y="115951"/>
                  </a:lnTo>
                  <a:lnTo>
                    <a:pt x="120904" y="119888"/>
                  </a:lnTo>
                  <a:lnTo>
                    <a:pt x="120395" y="123953"/>
                  </a:lnTo>
                  <a:lnTo>
                    <a:pt x="120268" y="127763"/>
                  </a:lnTo>
                  <a:lnTo>
                    <a:pt x="120395" y="132716"/>
                  </a:lnTo>
                  <a:lnTo>
                    <a:pt x="120522" y="137541"/>
                  </a:lnTo>
                  <a:lnTo>
                    <a:pt x="120904" y="142241"/>
                  </a:lnTo>
                  <a:lnTo>
                    <a:pt x="121284" y="146813"/>
                  </a:lnTo>
                  <a:lnTo>
                    <a:pt x="121792" y="151131"/>
                  </a:lnTo>
                  <a:lnTo>
                    <a:pt x="122428" y="155194"/>
                  </a:lnTo>
                  <a:lnTo>
                    <a:pt x="122936" y="159004"/>
                  </a:lnTo>
                  <a:lnTo>
                    <a:pt x="123697" y="162688"/>
                  </a:lnTo>
                  <a:lnTo>
                    <a:pt x="113283" y="158243"/>
                  </a:lnTo>
                  <a:lnTo>
                    <a:pt x="113283" y="0"/>
                  </a:lnTo>
                  <a:lnTo>
                    <a:pt x="95122" y="0"/>
                  </a:lnTo>
                  <a:lnTo>
                    <a:pt x="95122" y="195835"/>
                  </a:lnTo>
                  <a:lnTo>
                    <a:pt x="0" y="195835"/>
                  </a:lnTo>
                  <a:lnTo>
                    <a:pt x="0" y="202312"/>
                  </a:lnTo>
                  <a:lnTo>
                    <a:pt x="132079" y="202312"/>
                  </a:lnTo>
                  <a:lnTo>
                    <a:pt x="133477" y="204978"/>
                  </a:lnTo>
                  <a:lnTo>
                    <a:pt x="134874" y="207138"/>
                  </a:lnTo>
                  <a:lnTo>
                    <a:pt x="136525" y="209550"/>
                  </a:lnTo>
                  <a:lnTo>
                    <a:pt x="138556" y="211582"/>
                  </a:lnTo>
                  <a:lnTo>
                    <a:pt x="140716" y="213741"/>
                  </a:lnTo>
                  <a:lnTo>
                    <a:pt x="143129" y="215519"/>
                  </a:lnTo>
                  <a:lnTo>
                    <a:pt x="145668" y="217297"/>
                  </a:lnTo>
                  <a:lnTo>
                    <a:pt x="148463" y="218948"/>
                  </a:lnTo>
                  <a:lnTo>
                    <a:pt x="151383" y="220345"/>
                  </a:lnTo>
                  <a:lnTo>
                    <a:pt x="154304" y="221743"/>
                  </a:lnTo>
                  <a:lnTo>
                    <a:pt x="157733" y="222759"/>
                  </a:lnTo>
                  <a:lnTo>
                    <a:pt x="161036" y="223775"/>
                  </a:lnTo>
                  <a:lnTo>
                    <a:pt x="164592" y="224537"/>
                  </a:lnTo>
                  <a:lnTo>
                    <a:pt x="168275" y="225044"/>
                  </a:lnTo>
                  <a:lnTo>
                    <a:pt x="171830" y="225425"/>
                  </a:lnTo>
                  <a:lnTo>
                    <a:pt x="175641" y="225553"/>
                  </a:lnTo>
                  <a:lnTo>
                    <a:pt x="179324" y="225425"/>
                  </a:lnTo>
                  <a:lnTo>
                    <a:pt x="183133" y="225044"/>
                  </a:lnTo>
                  <a:lnTo>
                    <a:pt x="186817" y="224537"/>
                  </a:lnTo>
                  <a:lnTo>
                    <a:pt x="190372" y="223775"/>
                  </a:lnTo>
                  <a:lnTo>
                    <a:pt x="193547" y="222759"/>
                  </a:lnTo>
                  <a:lnTo>
                    <a:pt x="196850" y="221743"/>
                  </a:lnTo>
                  <a:lnTo>
                    <a:pt x="199897" y="220345"/>
                  </a:lnTo>
                  <a:lnTo>
                    <a:pt x="203072" y="218948"/>
                  </a:lnTo>
                  <a:lnTo>
                    <a:pt x="205740" y="217297"/>
                  </a:lnTo>
                  <a:lnTo>
                    <a:pt x="208279" y="215519"/>
                  </a:lnTo>
                  <a:lnTo>
                    <a:pt x="210566" y="213741"/>
                  </a:lnTo>
                  <a:lnTo>
                    <a:pt x="212852" y="211582"/>
                  </a:lnTo>
                  <a:lnTo>
                    <a:pt x="214756" y="209550"/>
                  </a:lnTo>
                  <a:lnTo>
                    <a:pt x="216534" y="207138"/>
                  </a:lnTo>
                  <a:lnTo>
                    <a:pt x="217931" y="204978"/>
                  </a:lnTo>
                  <a:lnTo>
                    <a:pt x="219075" y="202312"/>
                  </a:lnTo>
                  <a:lnTo>
                    <a:pt x="341756" y="202312"/>
                  </a:lnTo>
                  <a:lnTo>
                    <a:pt x="343027" y="204978"/>
                  </a:lnTo>
                  <a:lnTo>
                    <a:pt x="344424" y="207138"/>
                  </a:lnTo>
                  <a:lnTo>
                    <a:pt x="346075" y="209550"/>
                  </a:lnTo>
                  <a:lnTo>
                    <a:pt x="348106" y="211582"/>
                  </a:lnTo>
                  <a:lnTo>
                    <a:pt x="350139" y="213741"/>
                  </a:lnTo>
                  <a:lnTo>
                    <a:pt x="352679" y="215519"/>
                  </a:lnTo>
                  <a:lnTo>
                    <a:pt x="355092" y="217297"/>
                  </a:lnTo>
                  <a:lnTo>
                    <a:pt x="357886" y="218948"/>
                  </a:lnTo>
                  <a:lnTo>
                    <a:pt x="360806" y="220345"/>
                  </a:lnTo>
                  <a:lnTo>
                    <a:pt x="363981" y="221743"/>
                  </a:lnTo>
                  <a:lnTo>
                    <a:pt x="367156" y="222759"/>
                  </a:lnTo>
                  <a:lnTo>
                    <a:pt x="370586" y="223775"/>
                  </a:lnTo>
                  <a:lnTo>
                    <a:pt x="374142" y="224537"/>
                  </a:lnTo>
                  <a:lnTo>
                    <a:pt x="377697" y="225044"/>
                  </a:lnTo>
                  <a:lnTo>
                    <a:pt x="381380" y="225425"/>
                  </a:lnTo>
                  <a:lnTo>
                    <a:pt x="385191" y="225553"/>
                  </a:lnTo>
                  <a:lnTo>
                    <a:pt x="387604" y="225425"/>
                  </a:lnTo>
                  <a:lnTo>
                    <a:pt x="389890" y="225425"/>
                  </a:lnTo>
                  <a:lnTo>
                    <a:pt x="392049" y="225172"/>
                  </a:lnTo>
                  <a:lnTo>
                    <a:pt x="394334" y="224791"/>
                  </a:lnTo>
                  <a:lnTo>
                    <a:pt x="396620" y="224537"/>
                  </a:lnTo>
                  <a:lnTo>
                    <a:pt x="398779" y="223901"/>
                  </a:lnTo>
                  <a:lnTo>
                    <a:pt x="400812" y="223520"/>
                  </a:lnTo>
                  <a:lnTo>
                    <a:pt x="402970" y="222885"/>
                  </a:lnTo>
                  <a:lnTo>
                    <a:pt x="404876" y="222250"/>
                  </a:lnTo>
                  <a:lnTo>
                    <a:pt x="406907" y="221616"/>
                  </a:lnTo>
                  <a:lnTo>
                    <a:pt x="408813" y="220726"/>
                  </a:lnTo>
                  <a:lnTo>
                    <a:pt x="410717" y="219838"/>
                  </a:lnTo>
                  <a:lnTo>
                    <a:pt x="412495" y="218948"/>
                  </a:lnTo>
                  <a:lnTo>
                    <a:pt x="414146" y="218060"/>
                  </a:lnTo>
                  <a:lnTo>
                    <a:pt x="415797" y="216916"/>
                  </a:lnTo>
                  <a:lnTo>
                    <a:pt x="417449" y="215900"/>
                  </a:lnTo>
                  <a:lnTo>
                    <a:pt x="418845" y="214757"/>
                  </a:lnTo>
                  <a:lnTo>
                    <a:pt x="420242" y="213615"/>
                  </a:lnTo>
                  <a:lnTo>
                    <a:pt x="421640" y="212344"/>
                  </a:lnTo>
                  <a:lnTo>
                    <a:pt x="422909" y="211075"/>
                  </a:lnTo>
                  <a:lnTo>
                    <a:pt x="424053" y="209678"/>
                  </a:lnTo>
                  <a:lnTo>
                    <a:pt x="425195" y="208281"/>
                  </a:lnTo>
                  <a:lnTo>
                    <a:pt x="426339" y="206884"/>
                  </a:lnTo>
                  <a:lnTo>
                    <a:pt x="427101" y="205360"/>
                  </a:lnTo>
                  <a:lnTo>
                    <a:pt x="427990" y="203963"/>
                  </a:lnTo>
                  <a:lnTo>
                    <a:pt x="428752" y="202438"/>
                  </a:lnTo>
                  <a:lnTo>
                    <a:pt x="429259" y="200915"/>
                  </a:lnTo>
                  <a:lnTo>
                    <a:pt x="429641" y="199391"/>
                  </a:lnTo>
                  <a:lnTo>
                    <a:pt x="430276" y="197613"/>
                  </a:lnTo>
                  <a:lnTo>
                    <a:pt x="430529" y="196088"/>
                  </a:lnTo>
                  <a:lnTo>
                    <a:pt x="430656" y="194310"/>
                  </a:lnTo>
                  <a:lnTo>
                    <a:pt x="430783" y="192787"/>
                  </a:lnTo>
                  <a:lnTo>
                    <a:pt x="430656" y="191009"/>
                  </a:lnTo>
                  <a:lnTo>
                    <a:pt x="430529" y="189357"/>
                  </a:lnTo>
                  <a:lnTo>
                    <a:pt x="430276" y="187706"/>
                  </a:lnTo>
                  <a:lnTo>
                    <a:pt x="429641" y="186182"/>
                  </a:lnTo>
                  <a:lnTo>
                    <a:pt x="429259" y="184531"/>
                  </a:lnTo>
                  <a:lnTo>
                    <a:pt x="428752" y="183007"/>
                  </a:lnTo>
                  <a:lnTo>
                    <a:pt x="427990" y="181356"/>
                  </a:lnTo>
                  <a:lnTo>
                    <a:pt x="427101" y="179960"/>
                  </a:lnTo>
                  <a:lnTo>
                    <a:pt x="426339" y="178435"/>
                  </a:lnTo>
                  <a:lnTo>
                    <a:pt x="425195" y="177038"/>
                  </a:lnTo>
                  <a:lnTo>
                    <a:pt x="424053" y="175641"/>
                  </a:lnTo>
                  <a:lnTo>
                    <a:pt x="422909" y="174372"/>
                  </a:lnTo>
                  <a:lnTo>
                    <a:pt x="421640" y="172975"/>
                  </a:lnTo>
                  <a:lnTo>
                    <a:pt x="420242" y="171831"/>
                  </a:lnTo>
                  <a:lnTo>
                    <a:pt x="418845" y="170562"/>
                  </a:lnTo>
                  <a:lnTo>
                    <a:pt x="417449" y="169545"/>
                  </a:lnTo>
                  <a:lnTo>
                    <a:pt x="415797" y="168403"/>
                  </a:lnTo>
                  <a:lnTo>
                    <a:pt x="414146" y="167387"/>
                  </a:lnTo>
                  <a:lnTo>
                    <a:pt x="412495" y="166370"/>
                  </a:lnTo>
                  <a:lnTo>
                    <a:pt x="410717" y="165481"/>
                  </a:lnTo>
                  <a:lnTo>
                    <a:pt x="408813" y="164593"/>
                  </a:lnTo>
                  <a:lnTo>
                    <a:pt x="406907" y="163703"/>
                  </a:lnTo>
                  <a:lnTo>
                    <a:pt x="404876" y="163069"/>
                  </a:lnTo>
                  <a:lnTo>
                    <a:pt x="402843" y="162434"/>
                  </a:lnTo>
                  <a:lnTo>
                    <a:pt x="400812" y="161925"/>
                  </a:lnTo>
                  <a:lnTo>
                    <a:pt x="398779" y="161418"/>
                  </a:lnTo>
                  <a:lnTo>
                    <a:pt x="396620" y="160782"/>
                  </a:lnTo>
                  <a:lnTo>
                    <a:pt x="394334" y="160528"/>
                  </a:lnTo>
                  <a:lnTo>
                    <a:pt x="392049" y="160275"/>
                  </a:lnTo>
                  <a:lnTo>
                    <a:pt x="389890" y="160020"/>
                  </a:lnTo>
                  <a:lnTo>
                    <a:pt x="387604" y="159894"/>
                  </a:lnTo>
                  <a:lnTo>
                    <a:pt x="385191" y="159894"/>
                  </a:lnTo>
                  <a:lnTo>
                    <a:pt x="383158" y="159894"/>
                  </a:lnTo>
                  <a:lnTo>
                    <a:pt x="380872" y="160020"/>
                  </a:lnTo>
                  <a:lnTo>
                    <a:pt x="378714" y="160275"/>
                  </a:lnTo>
                  <a:lnTo>
                    <a:pt x="376554" y="160401"/>
                  </a:lnTo>
                  <a:lnTo>
                    <a:pt x="374522" y="160782"/>
                  </a:lnTo>
                  <a:lnTo>
                    <a:pt x="372364" y="161163"/>
                  </a:lnTo>
                  <a:lnTo>
                    <a:pt x="370458" y="161544"/>
                  </a:lnTo>
                  <a:lnTo>
                    <a:pt x="368427" y="162179"/>
                  </a:lnTo>
                  <a:lnTo>
                    <a:pt x="366649" y="162688"/>
                  </a:lnTo>
                  <a:lnTo>
                    <a:pt x="364870" y="163322"/>
                  </a:lnTo>
                  <a:lnTo>
                    <a:pt x="362839" y="164085"/>
                  </a:lnTo>
                  <a:lnTo>
                    <a:pt x="361188" y="164847"/>
                  </a:lnTo>
                  <a:lnTo>
                    <a:pt x="359282" y="165609"/>
                  </a:lnTo>
                  <a:lnTo>
                    <a:pt x="357758" y="166497"/>
                  </a:lnTo>
                  <a:lnTo>
                    <a:pt x="356234" y="167387"/>
                  </a:lnTo>
                  <a:lnTo>
                    <a:pt x="354583" y="168403"/>
                  </a:lnTo>
                  <a:lnTo>
                    <a:pt x="353187" y="169545"/>
                  </a:lnTo>
                  <a:lnTo>
                    <a:pt x="351663" y="170562"/>
                  </a:lnTo>
                  <a:lnTo>
                    <a:pt x="350266" y="171578"/>
                  </a:lnTo>
                  <a:lnTo>
                    <a:pt x="348995" y="172720"/>
                  </a:lnTo>
                  <a:lnTo>
                    <a:pt x="347979" y="173863"/>
                  </a:lnTo>
                  <a:lnTo>
                    <a:pt x="346709" y="175260"/>
                  </a:lnTo>
                  <a:lnTo>
                    <a:pt x="345693" y="176403"/>
                  </a:lnTo>
                  <a:lnTo>
                    <a:pt x="344678" y="177673"/>
                  </a:lnTo>
                  <a:lnTo>
                    <a:pt x="343789" y="179070"/>
                  </a:lnTo>
                  <a:lnTo>
                    <a:pt x="343027" y="180468"/>
                  </a:lnTo>
                  <a:lnTo>
                    <a:pt x="342138" y="181991"/>
                  </a:lnTo>
                  <a:lnTo>
                    <a:pt x="341629" y="183262"/>
                  </a:lnTo>
                  <a:lnTo>
                    <a:pt x="340994" y="184785"/>
                  </a:lnTo>
                  <a:lnTo>
                    <a:pt x="340614" y="186310"/>
                  </a:lnTo>
                  <a:lnTo>
                    <a:pt x="340232" y="187834"/>
                  </a:lnTo>
                  <a:lnTo>
                    <a:pt x="339852" y="189357"/>
                  </a:lnTo>
                  <a:lnTo>
                    <a:pt x="220979" y="189357"/>
                  </a:lnTo>
                  <a:lnTo>
                    <a:pt x="220726" y="187834"/>
                  </a:lnTo>
                  <a:lnTo>
                    <a:pt x="220217" y="186310"/>
                  </a:lnTo>
                  <a:lnTo>
                    <a:pt x="219709" y="184785"/>
                  </a:lnTo>
                  <a:lnTo>
                    <a:pt x="219202" y="183262"/>
                  </a:lnTo>
                  <a:lnTo>
                    <a:pt x="218693" y="181991"/>
                  </a:lnTo>
                  <a:lnTo>
                    <a:pt x="217931" y="180468"/>
                  </a:lnTo>
                  <a:lnTo>
                    <a:pt x="217042" y="179070"/>
                  </a:lnTo>
                  <a:lnTo>
                    <a:pt x="216280" y="177673"/>
                  </a:lnTo>
                  <a:lnTo>
                    <a:pt x="215138" y="176403"/>
                  </a:lnTo>
                  <a:lnTo>
                    <a:pt x="214121" y="175260"/>
                  </a:lnTo>
                  <a:lnTo>
                    <a:pt x="212979" y="173863"/>
                  </a:lnTo>
                  <a:lnTo>
                    <a:pt x="211836" y="172720"/>
                  </a:lnTo>
                  <a:lnTo>
                    <a:pt x="210439" y="171578"/>
                  </a:lnTo>
                  <a:lnTo>
                    <a:pt x="209168" y="170562"/>
                  </a:lnTo>
                  <a:lnTo>
                    <a:pt x="207771" y="169545"/>
                  </a:lnTo>
                  <a:lnTo>
                    <a:pt x="206247" y="168403"/>
                  </a:lnTo>
                  <a:lnTo>
                    <a:pt x="204724" y="167387"/>
                  </a:lnTo>
                  <a:lnTo>
                    <a:pt x="203200" y="166497"/>
                  </a:lnTo>
                  <a:lnTo>
                    <a:pt x="201421" y="165609"/>
                  </a:lnTo>
                  <a:lnTo>
                    <a:pt x="199770" y="164847"/>
                  </a:lnTo>
                  <a:lnTo>
                    <a:pt x="197992" y="164085"/>
                  </a:lnTo>
                  <a:lnTo>
                    <a:pt x="196088" y="163322"/>
                  </a:lnTo>
                  <a:lnTo>
                    <a:pt x="194309" y="162688"/>
                  </a:lnTo>
                  <a:lnTo>
                    <a:pt x="192278" y="162179"/>
                  </a:lnTo>
                  <a:lnTo>
                    <a:pt x="190500" y="161544"/>
                  </a:lnTo>
                  <a:lnTo>
                    <a:pt x="188341" y="161163"/>
                  </a:lnTo>
                  <a:lnTo>
                    <a:pt x="186436" y="160782"/>
                  </a:lnTo>
                  <a:lnTo>
                    <a:pt x="184150" y="160401"/>
                  </a:lnTo>
                  <a:lnTo>
                    <a:pt x="182244" y="160275"/>
                  </a:lnTo>
                  <a:lnTo>
                    <a:pt x="179958" y="160020"/>
                  </a:lnTo>
                  <a:lnTo>
                    <a:pt x="177800" y="159894"/>
                  </a:lnTo>
                  <a:lnTo>
                    <a:pt x="175641" y="159894"/>
                  </a:lnTo>
                  <a:lnTo>
                    <a:pt x="173354" y="159894"/>
                  </a:lnTo>
                  <a:lnTo>
                    <a:pt x="170942" y="160020"/>
                  </a:lnTo>
                  <a:lnTo>
                    <a:pt x="168782" y="160275"/>
                  </a:lnTo>
                  <a:lnTo>
                    <a:pt x="166496" y="160528"/>
                  </a:lnTo>
                  <a:lnTo>
                    <a:pt x="164338" y="160782"/>
                  </a:lnTo>
                  <a:lnTo>
                    <a:pt x="162179" y="161418"/>
                  </a:lnTo>
                  <a:lnTo>
                    <a:pt x="160146" y="161798"/>
                  </a:lnTo>
                  <a:lnTo>
                    <a:pt x="157988" y="162434"/>
                  </a:lnTo>
                  <a:lnTo>
                    <a:pt x="156082" y="163069"/>
                  </a:lnTo>
                  <a:lnTo>
                    <a:pt x="154051" y="163703"/>
                  </a:lnTo>
                  <a:lnTo>
                    <a:pt x="152272" y="164593"/>
                  </a:lnTo>
                  <a:lnTo>
                    <a:pt x="150241" y="165481"/>
                  </a:lnTo>
                  <a:lnTo>
                    <a:pt x="148590" y="166244"/>
                  </a:lnTo>
                  <a:lnTo>
                    <a:pt x="146939" y="167260"/>
                  </a:lnTo>
                  <a:lnTo>
                    <a:pt x="145161" y="168275"/>
                  </a:lnTo>
                  <a:lnTo>
                    <a:pt x="143637" y="169291"/>
                  </a:lnTo>
                  <a:lnTo>
                    <a:pt x="142620" y="165481"/>
                  </a:lnTo>
                  <a:lnTo>
                    <a:pt x="141731" y="161163"/>
                  </a:lnTo>
                  <a:lnTo>
                    <a:pt x="140842" y="156465"/>
                  </a:lnTo>
                  <a:lnTo>
                    <a:pt x="139954" y="151257"/>
                  </a:lnTo>
                  <a:lnTo>
                    <a:pt x="139445" y="145923"/>
                  </a:lnTo>
                  <a:lnTo>
                    <a:pt x="138811" y="140209"/>
                  </a:lnTo>
                  <a:lnTo>
                    <a:pt x="138556" y="134113"/>
                  </a:lnTo>
                  <a:lnTo>
                    <a:pt x="138429" y="127763"/>
                  </a:lnTo>
                  <a:lnTo>
                    <a:pt x="138556" y="124334"/>
                  </a:lnTo>
                  <a:lnTo>
                    <a:pt x="138811" y="121031"/>
                  </a:lnTo>
                  <a:lnTo>
                    <a:pt x="139318" y="117348"/>
                  </a:lnTo>
                  <a:lnTo>
                    <a:pt x="139827" y="113666"/>
                  </a:lnTo>
                  <a:lnTo>
                    <a:pt x="140589" y="109856"/>
                  </a:lnTo>
                  <a:lnTo>
                    <a:pt x="141604" y="106045"/>
                  </a:lnTo>
                  <a:lnTo>
                    <a:pt x="142620" y="102109"/>
                  </a:lnTo>
                  <a:lnTo>
                    <a:pt x="143764" y="98172"/>
                  </a:lnTo>
                  <a:lnTo>
                    <a:pt x="145033" y="93981"/>
                  </a:lnTo>
                  <a:lnTo>
                    <a:pt x="146430" y="90044"/>
                  </a:lnTo>
                  <a:lnTo>
                    <a:pt x="149479" y="82043"/>
                  </a:lnTo>
                  <a:lnTo>
                    <a:pt x="152654" y="74295"/>
                  </a:lnTo>
                  <a:lnTo>
                    <a:pt x="155829" y="66675"/>
                  </a:lnTo>
                  <a:lnTo>
                    <a:pt x="160528" y="56897"/>
                  </a:lnTo>
                  <a:lnTo>
                    <a:pt x="164718" y="48388"/>
                  </a:lnTo>
                  <a:lnTo>
                    <a:pt x="168402" y="41148"/>
                  </a:lnTo>
                  <a:lnTo>
                    <a:pt x="171195" y="35941"/>
                  </a:lnTo>
                  <a:lnTo>
                    <a:pt x="308482" y="35941"/>
                  </a:lnTo>
                  <a:lnTo>
                    <a:pt x="308482" y="114300"/>
                  </a:lnTo>
                  <a:lnTo>
                    <a:pt x="426974" y="114300"/>
                  </a:lnTo>
                  <a:lnTo>
                    <a:pt x="426974" y="122428"/>
                  </a:lnTo>
                  <a:lnTo>
                    <a:pt x="402081" y="122428"/>
                  </a:lnTo>
                  <a:lnTo>
                    <a:pt x="402081" y="129032"/>
                  </a:lnTo>
                  <a:lnTo>
                    <a:pt x="426974" y="129032"/>
                  </a:lnTo>
                  <a:lnTo>
                    <a:pt x="426974" y="135510"/>
                  </a:lnTo>
                  <a:lnTo>
                    <a:pt x="402081" y="135510"/>
                  </a:lnTo>
                  <a:lnTo>
                    <a:pt x="402081" y="141987"/>
                  </a:lnTo>
                  <a:lnTo>
                    <a:pt x="426974" y="141987"/>
                  </a:lnTo>
                  <a:lnTo>
                    <a:pt x="426974" y="149606"/>
                  </a:lnTo>
                  <a:lnTo>
                    <a:pt x="402081" y="149606"/>
                  </a:lnTo>
                  <a:lnTo>
                    <a:pt x="402081" y="156084"/>
                  </a:lnTo>
                  <a:lnTo>
                    <a:pt x="426974" y="156084"/>
                  </a:lnTo>
                  <a:lnTo>
                    <a:pt x="426974" y="163703"/>
                  </a:lnTo>
                  <a:lnTo>
                    <a:pt x="445007" y="187325"/>
                  </a:lnTo>
                  <a:close/>
                  <a:moveTo>
                    <a:pt x="-7206869" y="2484120"/>
                  </a:moveTo>
                  <a:moveTo>
                    <a:pt x="385191" y="172847"/>
                  </a:moveTo>
                  <a:lnTo>
                    <a:pt x="385191" y="172847"/>
                  </a:lnTo>
                  <a:lnTo>
                    <a:pt x="387984" y="172975"/>
                  </a:lnTo>
                  <a:lnTo>
                    <a:pt x="390779" y="173356"/>
                  </a:lnTo>
                  <a:lnTo>
                    <a:pt x="393318" y="173863"/>
                  </a:lnTo>
                  <a:lnTo>
                    <a:pt x="395858" y="174498"/>
                  </a:lnTo>
                  <a:lnTo>
                    <a:pt x="398144" y="175388"/>
                  </a:lnTo>
                  <a:lnTo>
                    <a:pt x="400557" y="176276"/>
                  </a:lnTo>
                  <a:lnTo>
                    <a:pt x="402717" y="177419"/>
                  </a:lnTo>
                  <a:lnTo>
                    <a:pt x="404621" y="178690"/>
                  </a:lnTo>
                  <a:lnTo>
                    <a:pt x="406272" y="180087"/>
                  </a:lnTo>
                  <a:lnTo>
                    <a:pt x="408051" y="181610"/>
                  </a:lnTo>
                  <a:lnTo>
                    <a:pt x="409320" y="183262"/>
                  </a:lnTo>
                  <a:lnTo>
                    <a:pt x="410337" y="184913"/>
                  </a:lnTo>
                  <a:lnTo>
                    <a:pt x="411353" y="186818"/>
                  </a:lnTo>
                  <a:lnTo>
                    <a:pt x="411988" y="188722"/>
                  </a:lnTo>
                  <a:lnTo>
                    <a:pt x="412495" y="190628"/>
                  </a:lnTo>
                  <a:lnTo>
                    <a:pt x="412622" y="192787"/>
                  </a:lnTo>
                  <a:lnTo>
                    <a:pt x="412495" y="194691"/>
                  </a:lnTo>
                  <a:lnTo>
                    <a:pt x="411988" y="196723"/>
                  </a:lnTo>
                  <a:lnTo>
                    <a:pt x="411353" y="198628"/>
                  </a:lnTo>
                  <a:lnTo>
                    <a:pt x="410337" y="200406"/>
                  </a:lnTo>
                  <a:lnTo>
                    <a:pt x="409320" y="202057"/>
                  </a:lnTo>
                  <a:lnTo>
                    <a:pt x="408051" y="203835"/>
                  </a:lnTo>
                  <a:lnTo>
                    <a:pt x="406272" y="205232"/>
                  </a:lnTo>
                  <a:lnTo>
                    <a:pt x="404621" y="206756"/>
                  </a:lnTo>
                  <a:lnTo>
                    <a:pt x="402463" y="207900"/>
                  </a:lnTo>
                  <a:lnTo>
                    <a:pt x="400557" y="209043"/>
                  </a:lnTo>
                  <a:lnTo>
                    <a:pt x="398144" y="210059"/>
                  </a:lnTo>
                  <a:lnTo>
                    <a:pt x="395858" y="210820"/>
                  </a:lnTo>
                  <a:lnTo>
                    <a:pt x="393318" y="211456"/>
                  </a:lnTo>
                  <a:lnTo>
                    <a:pt x="390779" y="211963"/>
                  </a:lnTo>
                  <a:lnTo>
                    <a:pt x="387984" y="212344"/>
                  </a:lnTo>
                  <a:lnTo>
                    <a:pt x="385191" y="212472"/>
                  </a:lnTo>
                  <a:lnTo>
                    <a:pt x="382396" y="212344"/>
                  </a:lnTo>
                  <a:lnTo>
                    <a:pt x="379729" y="211963"/>
                  </a:lnTo>
                  <a:lnTo>
                    <a:pt x="377063" y="211456"/>
                  </a:lnTo>
                  <a:lnTo>
                    <a:pt x="374522" y="210820"/>
                  </a:lnTo>
                  <a:lnTo>
                    <a:pt x="372109" y="210059"/>
                  </a:lnTo>
                  <a:lnTo>
                    <a:pt x="369824" y="209043"/>
                  </a:lnTo>
                  <a:lnTo>
                    <a:pt x="367792" y="207900"/>
                  </a:lnTo>
                  <a:lnTo>
                    <a:pt x="365887" y="206756"/>
                  </a:lnTo>
                  <a:lnTo>
                    <a:pt x="363981" y="205232"/>
                  </a:lnTo>
                  <a:lnTo>
                    <a:pt x="362584" y="203835"/>
                  </a:lnTo>
                  <a:lnTo>
                    <a:pt x="361188" y="202057"/>
                  </a:lnTo>
                  <a:lnTo>
                    <a:pt x="360044" y="200406"/>
                  </a:lnTo>
                  <a:lnTo>
                    <a:pt x="359029" y="198628"/>
                  </a:lnTo>
                  <a:lnTo>
                    <a:pt x="358393" y="196723"/>
                  </a:lnTo>
                  <a:lnTo>
                    <a:pt x="357886" y="194691"/>
                  </a:lnTo>
                  <a:lnTo>
                    <a:pt x="357758" y="192787"/>
                  </a:lnTo>
                  <a:lnTo>
                    <a:pt x="357886" y="190628"/>
                  </a:lnTo>
                  <a:lnTo>
                    <a:pt x="358393" y="188722"/>
                  </a:lnTo>
                  <a:lnTo>
                    <a:pt x="359029" y="186818"/>
                  </a:lnTo>
                  <a:lnTo>
                    <a:pt x="360044" y="184913"/>
                  </a:lnTo>
                  <a:lnTo>
                    <a:pt x="361188" y="183262"/>
                  </a:lnTo>
                  <a:lnTo>
                    <a:pt x="362584" y="181610"/>
                  </a:lnTo>
                  <a:lnTo>
                    <a:pt x="363981" y="180087"/>
                  </a:lnTo>
                  <a:lnTo>
                    <a:pt x="365887" y="178690"/>
                  </a:lnTo>
                  <a:lnTo>
                    <a:pt x="367792" y="177419"/>
                  </a:lnTo>
                  <a:lnTo>
                    <a:pt x="369824" y="176276"/>
                  </a:lnTo>
                  <a:lnTo>
                    <a:pt x="372109" y="175388"/>
                  </a:lnTo>
                  <a:lnTo>
                    <a:pt x="374522" y="174498"/>
                  </a:lnTo>
                  <a:lnTo>
                    <a:pt x="377063" y="173863"/>
                  </a:lnTo>
                  <a:lnTo>
                    <a:pt x="379729" y="173356"/>
                  </a:lnTo>
                  <a:lnTo>
                    <a:pt x="382396" y="172975"/>
                  </a:lnTo>
                  <a:lnTo>
                    <a:pt x="385191" y="172847"/>
                  </a:lnTo>
                  <a:close/>
                  <a:moveTo>
                    <a:pt x="-7192391" y="2484120"/>
                  </a:moveTo>
                  <a:moveTo>
                    <a:pt x="175641" y="172847"/>
                  </a:moveTo>
                  <a:lnTo>
                    <a:pt x="175641" y="172847"/>
                  </a:lnTo>
                  <a:lnTo>
                    <a:pt x="178434" y="172975"/>
                  </a:lnTo>
                  <a:lnTo>
                    <a:pt x="181229" y="173356"/>
                  </a:lnTo>
                  <a:lnTo>
                    <a:pt x="183768" y="173863"/>
                  </a:lnTo>
                  <a:lnTo>
                    <a:pt x="186436" y="174498"/>
                  </a:lnTo>
                  <a:lnTo>
                    <a:pt x="188721" y="175388"/>
                  </a:lnTo>
                  <a:lnTo>
                    <a:pt x="191007" y="176276"/>
                  </a:lnTo>
                  <a:lnTo>
                    <a:pt x="193040" y="177419"/>
                  </a:lnTo>
                  <a:lnTo>
                    <a:pt x="194944" y="178690"/>
                  </a:lnTo>
                  <a:lnTo>
                    <a:pt x="196850" y="180087"/>
                  </a:lnTo>
                  <a:lnTo>
                    <a:pt x="198246" y="181610"/>
                  </a:lnTo>
                  <a:lnTo>
                    <a:pt x="199770" y="183262"/>
                  </a:lnTo>
                  <a:lnTo>
                    <a:pt x="200914" y="184913"/>
                  </a:lnTo>
                  <a:lnTo>
                    <a:pt x="201803" y="186818"/>
                  </a:lnTo>
                  <a:lnTo>
                    <a:pt x="202438" y="188722"/>
                  </a:lnTo>
                  <a:lnTo>
                    <a:pt x="203072" y="190628"/>
                  </a:lnTo>
                  <a:lnTo>
                    <a:pt x="203200" y="192787"/>
                  </a:lnTo>
                  <a:lnTo>
                    <a:pt x="203072" y="194691"/>
                  </a:lnTo>
                  <a:lnTo>
                    <a:pt x="202438" y="196723"/>
                  </a:lnTo>
                  <a:lnTo>
                    <a:pt x="201803" y="198628"/>
                  </a:lnTo>
                  <a:lnTo>
                    <a:pt x="200914" y="200406"/>
                  </a:lnTo>
                  <a:lnTo>
                    <a:pt x="199770" y="202057"/>
                  </a:lnTo>
                  <a:lnTo>
                    <a:pt x="198246" y="203835"/>
                  </a:lnTo>
                  <a:lnTo>
                    <a:pt x="196850" y="205232"/>
                  </a:lnTo>
                  <a:lnTo>
                    <a:pt x="194944" y="206756"/>
                  </a:lnTo>
                  <a:lnTo>
                    <a:pt x="193040" y="207900"/>
                  </a:lnTo>
                  <a:lnTo>
                    <a:pt x="190880" y="209043"/>
                  </a:lnTo>
                  <a:lnTo>
                    <a:pt x="188721" y="210059"/>
                  </a:lnTo>
                  <a:lnTo>
                    <a:pt x="186308" y="210820"/>
                  </a:lnTo>
                  <a:lnTo>
                    <a:pt x="183768" y="211456"/>
                  </a:lnTo>
                  <a:lnTo>
                    <a:pt x="181229" y="211963"/>
                  </a:lnTo>
                  <a:lnTo>
                    <a:pt x="178434" y="212344"/>
                  </a:lnTo>
                  <a:lnTo>
                    <a:pt x="175641" y="212472"/>
                  </a:lnTo>
                  <a:lnTo>
                    <a:pt x="172846" y="212344"/>
                  </a:lnTo>
                  <a:lnTo>
                    <a:pt x="170053" y="211963"/>
                  </a:lnTo>
                  <a:lnTo>
                    <a:pt x="167386" y="211456"/>
                  </a:lnTo>
                  <a:lnTo>
                    <a:pt x="164972" y="210820"/>
                  </a:lnTo>
                  <a:lnTo>
                    <a:pt x="162559" y="210059"/>
                  </a:lnTo>
                  <a:lnTo>
                    <a:pt x="160401" y="209043"/>
                  </a:lnTo>
                  <a:lnTo>
                    <a:pt x="158115" y="207900"/>
                  </a:lnTo>
                  <a:lnTo>
                    <a:pt x="156337" y="206756"/>
                  </a:lnTo>
                  <a:lnTo>
                    <a:pt x="154431" y="205232"/>
                  </a:lnTo>
                  <a:lnTo>
                    <a:pt x="152907" y="203835"/>
                  </a:lnTo>
                  <a:lnTo>
                    <a:pt x="151638" y="202057"/>
                  </a:lnTo>
                  <a:lnTo>
                    <a:pt x="150367" y="200406"/>
                  </a:lnTo>
                  <a:lnTo>
                    <a:pt x="149479" y="198628"/>
                  </a:lnTo>
                  <a:lnTo>
                    <a:pt x="148843" y="196723"/>
                  </a:lnTo>
                  <a:lnTo>
                    <a:pt x="148463" y="194691"/>
                  </a:lnTo>
                  <a:lnTo>
                    <a:pt x="148336" y="192787"/>
                  </a:lnTo>
                  <a:lnTo>
                    <a:pt x="148463" y="190628"/>
                  </a:lnTo>
                  <a:lnTo>
                    <a:pt x="148843" y="188722"/>
                  </a:lnTo>
                  <a:lnTo>
                    <a:pt x="149479" y="186818"/>
                  </a:lnTo>
                  <a:lnTo>
                    <a:pt x="150367" y="184913"/>
                  </a:lnTo>
                  <a:lnTo>
                    <a:pt x="151638" y="183262"/>
                  </a:lnTo>
                  <a:lnTo>
                    <a:pt x="152907" y="181610"/>
                  </a:lnTo>
                  <a:lnTo>
                    <a:pt x="154431" y="180087"/>
                  </a:lnTo>
                  <a:lnTo>
                    <a:pt x="156337" y="178690"/>
                  </a:lnTo>
                  <a:lnTo>
                    <a:pt x="158115" y="177419"/>
                  </a:lnTo>
                  <a:lnTo>
                    <a:pt x="160401" y="176276"/>
                  </a:lnTo>
                  <a:lnTo>
                    <a:pt x="162559" y="175388"/>
                  </a:lnTo>
                  <a:lnTo>
                    <a:pt x="164972" y="174498"/>
                  </a:lnTo>
                  <a:lnTo>
                    <a:pt x="167386" y="173863"/>
                  </a:lnTo>
                  <a:lnTo>
                    <a:pt x="170053" y="173356"/>
                  </a:lnTo>
                  <a:lnTo>
                    <a:pt x="172846" y="172975"/>
                  </a:lnTo>
                  <a:lnTo>
                    <a:pt x="175641" y="172847"/>
                  </a:lnTo>
                  <a:close/>
                  <a:moveTo>
                    <a:pt x="-7192391" y="2484120"/>
                  </a:moveTo>
                  <a:moveTo>
                    <a:pt x="145922" y="129794"/>
                  </a:moveTo>
                  <a:lnTo>
                    <a:pt x="145922" y="129794"/>
                  </a:lnTo>
                  <a:lnTo>
                    <a:pt x="145922" y="135510"/>
                  </a:lnTo>
                  <a:lnTo>
                    <a:pt x="146304" y="140844"/>
                  </a:lnTo>
                  <a:lnTo>
                    <a:pt x="146430" y="144019"/>
                  </a:lnTo>
                  <a:lnTo>
                    <a:pt x="214883" y="144019"/>
                  </a:lnTo>
                  <a:lnTo>
                    <a:pt x="300481" y="82678"/>
                  </a:lnTo>
                  <a:lnTo>
                    <a:pt x="300481" y="43307"/>
                  </a:lnTo>
                  <a:lnTo>
                    <a:pt x="175005" y="43307"/>
                  </a:lnTo>
                  <a:lnTo>
                    <a:pt x="173990" y="45340"/>
                  </a:lnTo>
                  <a:lnTo>
                    <a:pt x="169799" y="53848"/>
                  </a:lnTo>
                  <a:lnTo>
                    <a:pt x="165227" y="63373"/>
                  </a:lnTo>
                  <a:lnTo>
                    <a:pt x="162814" y="68707"/>
                  </a:lnTo>
                  <a:lnTo>
                    <a:pt x="160528" y="74169"/>
                  </a:lnTo>
                  <a:lnTo>
                    <a:pt x="158115" y="79756"/>
                  </a:lnTo>
                  <a:lnTo>
                    <a:pt x="156082" y="85344"/>
                  </a:lnTo>
                  <a:lnTo>
                    <a:pt x="153924" y="91060"/>
                  </a:lnTo>
                  <a:lnTo>
                    <a:pt x="152145" y="96901"/>
                  </a:lnTo>
                  <a:lnTo>
                    <a:pt x="150241" y="102744"/>
                  </a:lnTo>
                  <a:lnTo>
                    <a:pt x="148843" y="108331"/>
                  </a:lnTo>
                  <a:lnTo>
                    <a:pt x="147701" y="114047"/>
                  </a:lnTo>
                  <a:lnTo>
                    <a:pt x="146684" y="119507"/>
                  </a:lnTo>
                  <a:lnTo>
                    <a:pt x="146050" y="124715"/>
                  </a:lnTo>
                  <a:lnTo>
                    <a:pt x="145922" y="127254"/>
                  </a:lnTo>
                  <a:lnTo>
                    <a:pt x="145922" y="129794"/>
                  </a:lnTo>
                  <a:close/>
                  <a:moveTo>
                    <a:pt x="-7149338" y="2484120"/>
                  </a:moveTo>
                  <a:moveTo>
                    <a:pt x="255778" y="49785"/>
                  </a:moveTo>
                  <a:lnTo>
                    <a:pt x="291465" y="49785"/>
                  </a:lnTo>
                  <a:lnTo>
                    <a:pt x="291465" y="80010"/>
                  </a:lnTo>
                  <a:lnTo>
                    <a:pt x="255778" y="105538"/>
                  </a:lnTo>
                  <a:lnTo>
                    <a:pt x="255778" y="49785"/>
                  </a:lnTo>
                  <a:close/>
                  <a:moveTo>
                    <a:pt x="-7069329" y="2484120"/>
                  </a:moveTo>
                  <a:moveTo>
                    <a:pt x="181482" y="49785"/>
                  </a:moveTo>
                  <a:lnTo>
                    <a:pt x="246761" y="49785"/>
                  </a:lnTo>
                  <a:lnTo>
                    <a:pt x="246761" y="112015"/>
                  </a:lnTo>
                  <a:lnTo>
                    <a:pt x="211074" y="137415"/>
                  </a:lnTo>
                  <a:lnTo>
                    <a:pt x="155193" y="137415"/>
                  </a:lnTo>
                  <a:lnTo>
                    <a:pt x="155067" y="129794"/>
                  </a:lnTo>
                  <a:lnTo>
                    <a:pt x="155067" y="127509"/>
                  </a:lnTo>
                  <a:lnTo>
                    <a:pt x="155193" y="125222"/>
                  </a:lnTo>
                  <a:lnTo>
                    <a:pt x="155702" y="120397"/>
                  </a:lnTo>
                  <a:lnTo>
                    <a:pt x="156464" y="115316"/>
                  </a:lnTo>
                  <a:lnTo>
                    <a:pt x="157606" y="110237"/>
                  </a:lnTo>
                  <a:lnTo>
                    <a:pt x="158877" y="104903"/>
                  </a:lnTo>
                  <a:lnTo>
                    <a:pt x="160528" y="99441"/>
                  </a:lnTo>
                  <a:lnTo>
                    <a:pt x="162179" y="93981"/>
                  </a:lnTo>
                  <a:lnTo>
                    <a:pt x="164338" y="88519"/>
                  </a:lnTo>
                  <a:lnTo>
                    <a:pt x="166242" y="83185"/>
                  </a:lnTo>
                  <a:lnTo>
                    <a:pt x="168402" y="77978"/>
                  </a:lnTo>
                  <a:lnTo>
                    <a:pt x="170561" y="72644"/>
                  </a:lnTo>
                  <a:lnTo>
                    <a:pt x="172846" y="67691"/>
                  </a:lnTo>
                  <a:lnTo>
                    <a:pt x="177292" y="58166"/>
                  </a:lnTo>
                  <a:lnTo>
                    <a:pt x="181482" y="49785"/>
                  </a:lnTo>
                  <a:close/>
                  <a:moveTo>
                    <a:pt x="-7069329" y="2484120"/>
                  </a:moveTo>
                  <a:moveTo>
                    <a:pt x="220853" y="66675"/>
                  </a:moveTo>
                  <a:lnTo>
                    <a:pt x="214376" y="62103"/>
                  </a:lnTo>
                  <a:lnTo>
                    <a:pt x="181355" y="85725"/>
                  </a:lnTo>
                  <a:lnTo>
                    <a:pt x="187705" y="90297"/>
                  </a:lnTo>
                  <a:lnTo>
                    <a:pt x="220853" y="66675"/>
                  </a:lnTo>
                  <a:close/>
                  <a:moveTo>
                    <a:pt x="-7086219" y="2484120"/>
                  </a:moveTo>
                  <a:moveTo>
                    <a:pt x="201676" y="87757"/>
                  </a:moveTo>
                  <a:lnTo>
                    <a:pt x="208026" y="92203"/>
                  </a:lnTo>
                  <a:lnTo>
                    <a:pt x="223266" y="81026"/>
                  </a:lnTo>
                  <a:lnTo>
                    <a:pt x="216916" y="76454"/>
                  </a:lnTo>
                  <a:lnTo>
                    <a:pt x="201676" y="87757"/>
                  </a:lnTo>
                  <a:close/>
                  <a:moveTo>
                    <a:pt x="-7107301" y="248412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51" name="Freeform 1451"/>
            <p:cNvSpPr/>
            <p:nvPr/>
          </p:nvSpPr>
          <p:spPr>
            <a:xfrm>
              <a:off x="10227057" y="3457379"/>
              <a:ext cx="429545" cy="137089"/>
            </a:xfrm>
            <a:custGeom>
              <a:avLst/>
              <a:gdLst/>
              <a:ahLst/>
              <a:cxnLst/>
              <a:rect l="0" t="0" r="0" b="0"/>
              <a:pathLst>
                <a:path w="429769" h="137160">
                  <a:moveTo>
                    <a:pt x="109856" y="47244"/>
                  </a:moveTo>
                  <a:lnTo>
                    <a:pt x="109856" y="47244"/>
                  </a:lnTo>
                  <a:lnTo>
                    <a:pt x="109094" y="45085"/>
                  </a:lnTo>
                  <a:lnTo>
                    <a:pt x="108459" y="42926"/>
                  </a:lnTo>
                  <a:lnTo>
                    <a:pt x="108204" y="41022"/>
                  </a:lnTo>
                  <a:lnTo>
                    <a:pt x="108077" y="39244"/>
                  </a:lnTo>
                  <a:lnTo>
                    <a:pt x="108204" y="38354"/>
                  </a:lnTo>
                  <a:lnTo>
                    <a:pt x="108332" y="37466"/>
                  </a:lnTo>
                  <a:lnTo>
                    <a:pt x="108459" y="36703"/>
                  </a:lnTo>
                  <a:lnTo>
                    <a:pt x="108839" y="35941"/>
                  </a:lnTo>
                  <a:lnTo>
                    <a:pt x="109221" y="35179"/>
                  </a:lnTo>
                  <a:lnTo>
                    <a:pt x="109474" y="34417"/>
                  </a:lnTo>
                  <a:lnTo>
                    <a:pt x="110490" y="32894"/>
                  </a:lnTo>
                  <a:lnTo>
                    <a:pt x="111761" y="31497"/>
                  </a:lnTo>
                  <a:lnTo>
                    <a:pt x="113285" y="30100"/>
                  </a:lnTo>
                  <a:lnTo>
                    <a:pt x="114809" y="28957"/>
                  </a:lnTo>
                  <a:lnTo>
                    <a:pt x="116840" y="27687"/>
                  </a:lnTo>
                  <a:lnTo>
                    <a:pt x="118999" y="26416"/>
                  </a:lnTo>
                  <a:lnTo>
                    <a:pt x="121539" y="25400"/>
                  </a:lnTo>
                  <a:lnTo>
                    <a:pt x="124207" y="24257"/>
                  </a:lnTo>
                  <a:lnTo>
                    <a:pt x="127000" y="23115"/>
                  </a:lnTo>
                  <a:lnTo>
                    <a:pt x="129795" y="22225"/>
                  </a:lnTo>
                  <a:lnTo>
                    <a:pt x="132461" y="21463"/>
                  </a:lnTo>
                  <a:lnTo>
                    <a:pt x="135256" y="20575"/>
                  </a:lnTo>
                  <a:lnTo>
                    <a:pt x="137669" y="19940"/>
                  </a:lnTo>
                  <a:lnTo>
                    <a:pt x="140082" y="19432"/>
                  </a:lnTo>
                  <a:lnTo>
                    <a:pt x="142495" y="18923"/>
                  </a:lnTo>
                  <a:lnTo>
                    <a:pt x="147066" y="18288"/>
                  </a:lnTo>
                  <a:lnTo>
                    <a:pt x="151385" y="17907"/>
                  </a:lnTo>
                  <a:lnTo>
                    <a:pt x="155322" y="17653"/>
                  </a:lnTo>
                  <a:lnTo>
                    <a:pt x="159004" y="17526"/>
                  </a:lnTo>
                  <a:lnTo>
                    <a:pt x="162434" y="17526"/>
                  </a:lnTo>
                  <a:lnTo>
                    <a:pt x="211456" y="17526"/>
                  </a:lnTo>
                  <a:lnTo>
                    <a:pt x="216154" y="17653"/>
                  </a:lnTo>
                  <a:lnTo>
                    <a:pt x="220473" y="18035"/>
                  </a:lnTo>
                  <a:lnTo>
                    <a:pt x="224536" y="18288"/>
                  </a:lnTo>
                  <a:lnTo>
                    <a:pt x="228220" y="19050"/>
                  </a:lnTo>
                  <a:lnTo>
                    <a:pt x="231902" y="19813"/>
                  </a:lnTo>
                  <a:lnTo>
                    <a:pt x="235332" y="20701"/>
                  </a:lnTo>
                  <a:lnTo>
                    <a:pt x="238379" y="21717"/>
                  </a:lnTo>
                  <a:lnTo>
                    <a:pt x="241427" y="22860"/>
                  </a:lnTo>
                  <a:lnTo>
                    <a:pt x="244095" y="24003"/>
                  </a:lnTo>
                  <a:lnTo>
                    <a:pt x="246635" y="25273"/>
                  </a:lnTo>
                  <a:lnTo>
                    <a:pt x="249174" y="26416"/>
                  </a:lnTo>
                  <a:lnTo>
                    <a:pt x="251461" y="27687"/>
                  </a:lnTo>
                  <a:lnTo>
                    <a:pt x="255651" y="30226"/>
                  </a:lnTo>
                  <a:lnTo>
                    <a:pt x="259335" y="32513"/>
                  </a:lnTo>
                  <a:lnTo>
                    <a:pt x="291720" y="52325"/>
                  </a:lnTo>
                  <a:lnTo>
                    <a:pt x="292100" y="52706"/>
                  </a:lnTo>
                  <a:lnTo>
                    <a:pt x="292354" y="53213"/>
                  </a:lnTo>
                  <a:lnTo>
                    <a:pt x="292354" y="53594"/>
                  </a:lnTo>
                  <a:lnTo>
                    <a:pt x="292227" y="54229"/>
                  </a:lnTo>
                  <a:lnTo>
                    <a:pt x="291847" y="54610"/>
                  </a:lnTo>
                  <a:lnTo>
                    <a:pt x="291593" y="54991"/>
                  </a:lnTo>
                  <a:lnTo>
                    <a:pt x="291085" y="55245"/>
                  </a:lnTo>
                  <a:lnTo>
                    <a:pt x="290576" y="55245"/>
                  </a:lnTo>
                  <a:lnTo>
                    <a:pt x="109856" y="47244"/>
                  </a:lnTo>
                  <a:close/>
                  <a:moveTo>
                    <a:pt x="-6728459" y="2907792"/>
                  </a:moveTo>
                  <a:moveTo>
                    <a:pt x="95124" y="88392"/>
                  </a:moveTo>
                  <a:lnTo>
                    <a:pt x="95124" y="88392"/>
                  </a:lnTo>
                  <a:lnTo>
                    <a:pt x="93346" y="88519"/>
                  </a:lnTo>
                  <a:lnTo>
                    <a:pt x="91568" y="88773"/>
                  </a:lnTo>
                  <a:lnTo>
                    <a:pt x="89916" y="89154"/>
                  </a:lnTo>
                  <a:lnTo>
                    <a:pt x="88393" y="89790"/>
                  </a:lnTo>
                  <a:lnTo>
                    <a:pt x="86869" y="90425"/>
                  </a:lnTo>
                  <a:lnTo>
                    <a:pt x="85472" y="91187"/>
                  </a:lnTo>
                  <a:lnTo>
                    <a:pt x="84201" y="92203"/>
                  </a:lnTo>
                  <a:lnTo>
                    <a:pt x="82932" y="93219"/>
                  </a:lnTo>
                  <a:lnTo>
                    <a:pt x="81788" y="94362"/>
                  </a:lnTo>
                  <a:lnTo>
                    <a:pt x="80899" y="95632"/>
                  </a:lnTo>
                  <a:lnTo>
                    <a:pt x="79884" y="97028"/>
                  </a:lnTo>
                  <a:lnTo>
                    <a:pt x="79249" y="98425"/>
                  </a:lnTo>
                  <a:lnTo>
                    <a:pt x="78613" y="99822"/>
                  </a:lnTo>
                  <a:lnTo>
                    <a:pt x="78233" y="101473"/>
                  </a:lnTo>
                  <a:lnTo>
                    <a:pt x="77851" y="103125"/>
                  </a:lnTo>
                  <a:lnTo>
                    <a:pt x="77851" y="104648"/>
                  </a:lnTo>
                  <a:lnTo>
                    <a:pt x="77851" y="106300"/>
                  </a:lnTo>
                  <a:lnTo>
                    <a:pt x="78233" y="107950"/>
                  </a:lnTo>
                  <a:lnTo>
                    <a:pt x="78613" y="109601"/>
                  </a:lnTo>
                  <a:lnTo>
                    <a:pt x="79249" y="110998"/>
                  </a:lnTo>
                  <a:lnTo>
                    <a:pt x="79884" y="112395"/>
                  </a:lnTo>
                  <a:lnTo>
                    <a:pt x="80899" y="113666"/>
                  </a:lnTo>
                  <a:lnTo>
                    <a:pt x="81788" y="115063"/>
                  </a:lnTo>
                  <a:lnTo>
                    <a:pt x="82932" y="116206"/>
                  </a:lnTo>
                  <a:lnTo>
                    <a:pt x="84201" y="117222"/>
                  </a:lnTo>
                  <a:lnTo>
                    <a:pt x="85472" y="118238"/>
                  </a:lnTo>
                  <a:lnTo>
                    <a:pt x="86869" y="119000"/>
                  </a:lnTo>
                  <a:lnTo>
                    <a:pt x="88393" y="119635"/>
                  </a:lnTo>
                  <a:lnTo>
                    <a:pt x="89916" y="120142"/>
                  </a:lnTo>
                  <a:lnTo>
                    <a:pt x="91568" y="120650"/>
                  </a:lnTo>
                  <a:lnTo>
                    <a:pt x="93346" y="120778"/>
                  </a:lnTo>
                  <a:lnTo>
                    <a:pt x="95124" y="120904"/>
                  </a:lnTo>
                  <a:lnTo>
                    <a:pt x="96901" y="120778"/>
                  </a:lnTo>
                  <a:lnTo>
                    <a:pt x="98552" y="120650"/>
                  </a:lnTo>
                  <a:lnTo>
                    <a:pt x="100203" y="120142"/>
                  </a:lnTo>
                  <a:lnTo>
                    <a:pt x="101854" y="119635"/>
                  </a:lnTo>
                  <a:lnTo>
                    <a:pt x="103251" y="119000"/>
                  </a:lnTo>
                  <a:lnTo>
                    <a:pt x="104649" y="118238"/>
                  </a:lnTo>
                  <a:lnTo>
                    <a:pt x="106046" y="117222"/>
                  </a:lnTo>
                  <a:lnTo>
                    <a:pt x="107315" y="116206"/>
                  </a:lnTo>
                  <a:lnTo>
                    <a:pt x="108459" y="115063"/>
                  </a:lnTo>
                  <a:lnTo>
                    <a:pt x="109348" y="113666"/>
                  </a:lnTo>
                  <a:lnTo>
                    <a:pt x="110236" y="112395"/>
                  </a:lnTo>
                  <a:lnTo>
                    <a:pt x="110999" y="110998"/>
                  </a:lnTo>
                  <a:lnTo>
                    <a:pt x="111507" y="109601"/>
                  </a:lnTo>
                  <a:lnTo>
                    <a:pt x="111887" y="107950"/>
                  </a:lnTo>
                  <a:lnTo>
                    <a:pt x="112269" y="106300"/>
                  </a:lnTo>
                  <a:lnTo>
                    <a:pt x="112269" y="104648"/>
                  </a:lnTo>
                  <a:lnTo>
                    <a:pt x="112269" y="103125"/>
                  </a:lnTo>
                  <a:lnTo>
                    <a:pt x="111887" y="101473"/>
                  </a:lnTo>
                  <a:lnTo>
                    <a:pt x="111507" y="99822"/>
                  </a:lnTo>
                  <a:lnTo>
                    <a:pt x="110999" y="98425"/>
                  </a:lnTo>
                  <a:lnTo>
                    <a:pt x="110236" y="97028"/>
                  </a:lnTo>
                  <a:lnTo>
                    <a:pt x="109348" y="95632"/>
                  </a:lnTo>
                  <a:lnTo>
                    <a:pt x="108459" y="94362"/>
                  </a:lnTo>
                  <a:lnTo>
                    <a:pt x="107315" y="93219"/>
                  </a:lnTo>
                  <a:lnTo>
                    <a:pt x="106046" y="92203"/>
                  </a:lnTo>
                  <a:lnTo>
                    <a:pt x="104649" y="91187"/>
                  </a:lnTo>
                  <a:lnTo>
                    <a:pt x="103251" y="90425"/>
                  </a:lnTo>
                  <a:lnTo>
                    <a:pt x="101854" y="89790"/>
                  </a:lnTo>
                  <a:lnTo>
                    <a:pt x="100203" y="89154"/>
                  </a:lnTo>
                  <a:lnTo>
                    <a:pt x="98552" y="88773"/>
                  </a:lnTo>
                  <a:lnTo>
                    <a:pt x="96901" y="88519"/>
                  </a:lnTo>
                  <a:lnTo>
                    <a:pt x="95124" y="88392"/>
                  </a:lnTo>
                  <a:close/>
                  <a:moveTo>
                    <a:pt x="-6769607" y="2907792"/>
                  </a:moveTo>
                  <a:moveTo>
                    <a:pt x="129413" y="107062"/>
                  </a:moveTo>
                  <a:lnTo>
                    <a:pt x="309499" y="107062"/>
                  </a:lnTo>
                  <a:lnTo>
                    <a:pt x="309499" y="123317"/>
                  </a:lnTo>
                  <a:lnTo>
                    <a:pt x="123318" y="123317"/>
                  </a:lnTo>
                  <a:lnTo>
                    <a:pt x="122174" y="124715"/>
                  </a:lnTo>
                  <a:lnTo>
                    <a:pt x="120777" y="126238"/>
                  </a:lnTo>
                  <a:lnTo>
                    <a:pt x="119508" y="127635"/>
                  </a:lnTo>
                  <a:lnTo>
                    <a:pt x="117984" y="128906"/>
                  </a:lnTo>
                  <a:lnTo>
                    <a:pt x="116333" y="130175"/>
                  </a:lnTo>
                  <a:lnTo>
                    <a:pt x="114682" y="131445"/>
                  </a:lnTo>
                  <a:lnTo>
                    <a:pt x="113031" y="132462"/>
                  </a:lnTo>
                  <a:lnTo>
                    <a:pt x="111252" y="133478"/>
                  </a:lnTo>
                  <a:lnTo>
                    <a:pt x="109474" y="134240"/>
                  </a:lnTo>
                  <a:lnTo>
                    <a:pt x="107570" y="134875"/>
                  </a:lnTo>
                  <a:lnTo>
                    <a:pt x="105537" y="135637"/>
                  </a:lnTo>
                  <a:lnTo>
                    <a:pt x="103506" y="136144"/>
                  </a:lnTo>
                  <a:lnTo>
                    <a:pt x="101474" y="136525"/>
                  </a:lnTo>
                  <a:lnTo>
                    <a:pt x="99441" y="136907"/>
                  </a:lnTo>
                  <a:lnTo>
                    <a:pt x="97283" y="137034"/>
                  </a:lnTo>
                  <a:lnTo>
                    <a:pt x="95124" y="137160"/>
                  </a:lnTo>
                  <a:lnTo>
                    <a:pt x="93346" y="137160"/>
                  </a:lnTo>
                  <a:lnTo>
                    <a:pt x="91568" y="137034"/>
                  </a:lnTo>
                  <a:lnTo>
                    <a:pt x="89916" y="136779"/>
                  </a:lnTo>
                  <a:lnTo>
                    <a:pt x="88138" y="136398"/>
                  </a:lnTo>
                  <a:lnTo>
                    <a:pt x="86487" y="136144"/>
                  </a:lnTo>
                  <a:lnTo>
                    <a:pt x="84836" y="135763"/>
                  </a:lnTo>
                  <a:lnTo>
                    <a:pt x="83186" y="135256"/>
                  </a:lnTo>
                  <a:lnTo>
                    <a:pt x="81661" y="134620"/>
                  </a:lnTo>
                  <a:lnTo>
                    <a:pt x="80137" y="133859"/>
                  </a:lnTo>
                  <a:lnTo>
                    <a:pt x="78613" y="133223"/>
                  </a:lnTo>
                  <a:lnTo>
                    <a:pt x="77216" y="132462"/>
                  </a:lnTo>
                  <a:lnTo>
                    <a:pt x="75820" y="131572"/>
                  </a:lnTo>
                  <a:lnTo>
                    <a:pt x="74423" y="130684"/>
                  </a:lnTo>
                  <a:lnTo>
                    <a:pt x="73152" y="129794"/>
                  </a:lnTo>
                  <a:lnTo>
                    <a:pt x="71883" y="128778"/>
                  </a:lnTo>
                  <a:lnTo>
                    <a:pt x="70739" y="127635"/>
                  </a:lnTo>
                  <a:lnTo>
                    <a:pt x="69597" y="126492"/>
                  </a:lnTo>
                  <a:lnTo>
                    <a:pt x="68581" y="125350"/>
                  </a:lnTo>
                  <a:lnTo>
                    <a:pt x="67564" y="124079"/>
                  </a:lnTo>
                  <a:lnTo>
                    <a:pt x="66549" y="122810"/>
                  </a:lnTo>
                  <a:lnTo>
                    <a:pt x="65660" y="121540"/>
                  </a:lnTo>
                  <a:lnTo>
                    <a:pt x="64771" y="120142"/>
                  </a:lnTo>
                  <a:lnTo>
                    <a:pt x="64009" y="118872"/>
                  </a:lnTo>
                  <a:lnTo>
                    <a:pt x="63374" y="117348"/>
                  </a:lnTo>
                  <a:lnTo>
                    <a:pt x="62738" y="115825"/>
                  </a:lnTo>
                  <a:lnTo>
                    <a:pt x="62231" y="114300"/>
                  </a:lnTo>
                  <a:lnTo>
                    <a:pt x="61723" y="112776"/>
                  </a:lnTo>
                  <a:lnTo>
                    <a:pt x="61341" y="111125"/>
                  </a:lnTo>
                  <a:lnTo>
                    <a:pt x="61087" y="109728"/>
                  </a:lnTo>
                  <a:lnTo>
                    <a:pt x="60834" y="108078"/>
                  </a:lnTo>
                  <a:lnTo>
                    <a:pt x="60707" y="106300"/>
                  </a:lnTo>
                  <a:lnTo>
                    <a:pt x="60579" y="104648"/>
                  </a:lnTo>
                  <a:lnTo>
                    <a:pt x="60707" y="103125"/>
                  </a:lnTo>
                  <a:lnTo>
                    <a:pt x="60834" y="101347"/>
                  </a:lnTo>
                  <a:lnTo>
                    <a:pt x="61087" y="99695"/>
                  </a:lnTo>
                  <a:lnTo>
                    <a:pt x="61341" y="98044"/>
                  </a:lnTo>
                  <a:lnTo>
                    <a:pt x="61723" y="96520"/>
                  </a:lnTo>
                  <a:lnTo>
                    <a:pt x="62231" y="95123"/>
                  </a:lnTo>
                  <a:lnTo>
                    <a:pt x="62738" y="93600"/>
                  </a:lnTo>
                  <a:lnTo>
                    <a:pt x="63374" y="91948"/>
                  </a:lnTo>
                  <a:lnTo>
                    <a:pt x="64009" y="90678"/>
                  </a:lnTo>
                  <a:lnTo>
                    <a:pt x="64771" y="89154"/>
                  </a:lnTo>
                  <a:lnTo>
                    <a:pt x="65660" y="87885"/>
                  </a:lnTo>
                  <a:lnTo>
                    <a:pt x="66549" y="86488"/>
                  </a:lnTo>
                  <a:lnTo>
                    <a:pt x="67564" y="85344"/>
                  </a:lnTo>
                  <a:lnTo>
                    <a:pt x="68581" y="83947"/>
                  </a:lnTo>
                  <a:lnTo>
                    <a:pt x="69597" y="82804"/>
                  </a:lnTo>
                  <a:lnTo>
                    <a:pt x="70739" y="81788"/>
                  </a:lnTo>
                  <a:lnTo>
                    <a:pt x="71883" y="80645"/>
                  </a:lnTo>
                  <a:lnTo>
                    <a:pt x="73152" y="79629"/>
                  </a:lnTo>
                  <a:lnTo>
                    <a:pt x="74423" y="78741"/>
                  </a:lnTo>
                  <a:lnTo>
                    <a:pt x="75820" y="77851"/>
                  </a:lnTo>
                  <a:lnTo>
                    <a:pt x="77216" y="76963"/>
                  </a:lnTo>
                  <a:lnTo>
                    <a:pt x="78613" y="76200"/>
                  </a:lnTo>
                  <a:lnTo>
                    <a:pt x="80137" y="75438"/>
                  </a:lnTo>
                  <a:lnTo>
                    <a:pt x="81661" y="74803"/>
                  </a:lnTo>
                  <a:lnTo>
                    <a:pt x="83186" y="74169"/>
                  </a:lnTo>
                  <a:lnTo>
                    <a:pt x="84836" y="73660"/>
                  </a:lnTo>
                  <a:lnTo>
                    <a:pt x="86487" y="73279"/>
                  </a:lnTo>
                  <a:lnTo>
                    <a:pt x="88138" y="72772"/>
                  </a:lnTo>
                  <a:lnTo>
                    <a:pt x="89916" y="72644"/>
                  </a:lnTo>
                  <a:lnTo>
                    <a:pt x="91568" y="72517"/>
                  </a:lnTo>
                  <a:lnTo>
                    <a:pt x="93346" y="72263"/>
                  </a:lnTo>
                  <a:lnTo>
                    <a:pt x="95124" y="72263"/>
                  </a:lnTo>
                  <a:lnTo>
                    <a:pt x="96901" y="72263"/>
                  </a:lnTo>
                  <a:lnTo>
                    <a:pt x="98552" y="72517"/>
                  </a:lnTo>
                  <a:lnTo>
                    <a:pt x="100331" y="72644"/>
                  </a:lnTo>
                  <a:lnTo>
                    <a:pt x="101982" y="72772"/>
                  </a:lnTo>
                  <a:lnTo>
                    <a:pt x="103633" y="73279"/>
                  </a:lnTo>
                  <a:lnTo>
                    <a:pt x="105411" y="73660"/>
                  </a:lnTo>
                  <a:lnTo>
                    <a:pt x="106808" y="74169"/>
                  </a:lnTo>
                  <a:lnTo>
                    <a:pt x="108459" y="74803"/>
                  </a:lnTo>
                  <a:lnTo>
                    <a:pt x="109983" y="75438"/>
                  </a:lnTo>
                  <a:lnTo>
                    <a:pt x="111507" y="76200"/>
                  </a:lnTo>
                  <a:lnTo>
                    <a:pt x="112903" y="76963"/>
                  </a:lnTo>
                  <a:lnTo>
                    <a:pt x="114300" y="77851"/>
                  </a:lnTo>
                  <a:lnTo>
                    <a:pt x="115698" y="78741"/>
                  </a:lnTo>
                  <a:lnTo>
                    <a:pt x="116968" y="79629"/>
                  </a:lnTo>
                  <a:lnTo>
                    <a:pt x="118237" y="80645"/>
                  </a:lnTo>
                  <a:lnTo>
                    <a:pt x="119508" y="81788"/>
                  </a:lnTo>
                  <a:lnTo>
                    <a:pt x="120524" y="82804"/>
                  </a:lnTo>
                  <a:lnTo>
                    <a:pt x="121666" y="83947"/>
                  </a:lnTo>
                  <a:lnTo>
                    <a:pt x="122683" y="85344"/>
                  </a:lnTo>
                  <a:lnTo>
                    <a:pt x="123699" y="86488"/>
                  </a:lnTo>
                  <a:lnTo>
                    <a:pt x="124587" y="87885"/>
                  </a:lnTo>
                  <a:lnTo>
                    <a:pt x="125349" y="89154"/>
                  </a:lnTo>
                  <a:lnTo>
                    <a:pt x="126111" y="90678"/>
                  </a:lnTo>
                  <a:lnTo>
                    <a:pt x="126747" y="91948"/>
                  </a:lnTo>
                  <a:lnTo>
                    <a:pt x="127382" y="93600"/>
                  </a:lnTo>
                  <a:lnTo>
                    <a:pt x="128016" y="95123"/>
                  </a:lnTo>
                  <a:lnTo>
                    <a:pt x="128398" y="96520"/>
                  </a:lnTo>
                  <a:lnTo>
                    <a:pt x="128778" y="98044"/>
                  </a:lnTo>
                  <a:lnTo>
                    <a:pt x="129160" y="99695"/>
                  </a:lnTo>
                  <a:lnTo>
                    <a:pt x="129413" y="101347"/>
                  </a:lnTo>
                  <a:lnTo>
                    <a:pt x="129413" y="103125"/>
                  </a:lnTo>
                  <a:lnTo>
                    <a:pt x="129413" y="104648"/>
                  </a:lnTo>
                  <a:lnTo>
                    <a:pt x="129413" y="107062"/>
                  </a:lnTo>
                  <a:close/>
                  <a:moveTo>
                    <a:pt x="-6788277" y="2907792"/>
                  </a:moveTo>
                  <a:moveTo>
                    <a:pt x="356616" y="72263"/>
                  </a:moveTo>
                  <a:lnTo>
                    <a:pt x="356616" y="72263"/>
                  </a:lnTo>
                  <a:lnTo>
                    <a:pt x="358395" y="72263"/>
                  </a:lnTo>
                  <a:lnTo>
                    <a:pt x="360173" y="72517"/>
                  </a:lnTo>
                  <a:lnTo>
                    <a:pt x="361824" y="72644"/>
                  </a:lnTo>
                  <a:lnTo>
                    <a:pt x="363601" y="72772"/>
                  </a:lnTo>
                  <a:lnTo>
                    <a:pt x="365252" y="73279"/>
                  </a:lnTo>
                  <a:lnTo>
                    <a:pt x="366776" y="73660"/>
                  </a:lnTo>
                  <a:lnTo>
                    <a:pt x="368427" y="74169"/>
                  </a:lnTo>
                  <a:lnTo>
                    <a:pt x="370078" y="74803"/>
                  </a:lnTo>
                  <a:lnTo>
                    <a:pt x="371475" y="75438"/>
                  </a:lnTo>
                  <a:lnTo>
                    <a:pt x="372999" y="76200"/>
                  </a:lnTo>
                  <a:lnTo>
                    <a:pt x="374397" y="76963"/>
                  </a:lnTo>
                  <a:lnTo>
                    <a:pt x="375794" y="77851"/>
                  </a:lnTo>
                  <a:lnTo>
                    <a:pt x="377318" y="78741"/>
                  </a:lnTo>
                  <a:lnTo>
                    <a:pt x="378587" y="79629"/>
                  </a:lnTo>
                  <a:lnTo>
                    <a:pt x="379731" y="80645"/>
                  </a:lnTo>
                  <a:lnTo>
                    <a:pt x="381000" y="81788"/>
                  </a:lnTo>
                  <a:lnTo>
                    <a:pt x="382144" y="82804"/>
                  </a:lnTo>
                  <a:lnTo>
                    <a:pt x="383160" y="83947"/>
                  </a:lnTo>
                  <a:lnTo>
                    <a:pt x="384175" y="85344"/>
                  </a:lnTo>
                  <a:lnTo>
                    <a:pt x="385191" y="86488"/>
                  </a:lnTo>
                  <a:lnTo>
                    <a:pt x="386081" y="87885"/>
                  </a:lnTo>
                  <a:lnTo>
                    <a:pt x="386970" y="89154"/>
                  </a:lnTo>
                  <a:lnTo>
                    <a:pt x="387604" y="90678"/>
                  </a:lnTo>
                  <a:lnTo>
                    <a:pt x="388366" y="91948"/>
                  </a:lnTo>
                  <a:lnTo>
                    <a:pt x="389001" y="93600"/>
                  </a:lnTo>
                  <a:lnTo>
                    <a:pt x="389510" y="95123"/>
                  </a:lnTo>
                  <a:lnTo>
                    <a:pt x="390018" y="96520"/>
                  </a:lnTo>
                  <a:lnTo>
                    <a:pt x="390399" y="98044"/>
                  </a:lnTo>
                  <a:lnTo>
                    <a:pt x="390779" y="99695"/>
                  </a:lnTo>
                  <a:lnTo>
                    <a:pt x="390907" y="101347"/>
                  </a:lnTo>
                  <a:lnTo>
                    <a:pt x="391034" y="103125"/>
                  </a:lnTo>
                  <a:lnTo>
                    <a:pt x="391034" y="104648"/>
                  </a:lnTo>
                  <a:lnTo>
                    <a:pt x="391034" y="106300"/>
                  </a:lnTo>
                  <a:lnTo>
                    <a:pt x="390907" y="108078"/>
                  </a:lnTo>
                  <a:lnTo>
                    <a:pt x="417958" y="107823"/>
                  </a:lnTo>
                  <a:lnTo>
                    <a:pt x="418593" y="107697"/>
                  </a:lnTo>
                  <a:lnTo>
                    <a:pt x="419227" y="107569"/>
                  </a:lnTo>
                  <a:lnTo>
                    <a:pt x="419736" y="107188"/>
                  </a:lnTo>
                  <a:lnTo>
                    <a:pt x="420116" y="106681"/>
                  </a:lnTo>
                  <a:lnTo>
                    <a:pt x="420371" y="106172"/>
                  </a:lnTo>
                  <a:lnTo>
                    <a:pt x="420371" y="105665"/>
                  </a:lnTo>
                  <a:lnTo>
                    <a:pt x="420371" y="105284"/>
                  </a:lnTo>
                  <a:lnTo>
                    <a:pt x="420244" y="105029"/>
                  </a:lnTo>
                  <a:lnTo>
                    <a:pt x="415925" y="100331"/>
                  </a:lnTo>
                  <a:lnTo>
                    <a:pt x="418720" y="82423"/>
                  </a:lnTo>
                  <a:lnTo>
                    <a:pt x="418974" y="80519"/>
                  </a:lnTo>
                  <a:lnTo>
                    <a:pt x="418974" y="78741"/>
                  </a:lnTo>
                  <a:lnTo>
                    <a:pt x="418974" y="77090"/>
                  </a:lnTo>
                  <a:lnTo>
                    <a:pt x="418720" y="75312"/>
                  </a:lnTo>
                  <a:lnTo>
                    <a:pt x="418338" y="73660"/>
                  </a:lnTo>
                  <a:lnTo>
                    <a:pt x="417831" y="72010"/>
                  </a:lnTo>
                  <a:lnTo>
                    <a:pt x="417196" y="70485"/>
                  </a:lnTo>
                  <a:lnTo>
                    <a:pt x="416307" y="69088"/>
                  </a:lnTo>
                  <a:lnTo>
                    <a:pt x="415290" y="67819"/>
                  </a:lnTo>
                  <a:lnTo>
                    <a:pt x="414021" y="66422"/>
                  </a:lnTo>
                  <a:lnTo>
                    <a:pt x="412624" y="65406"/>
                  </a:lnTo>
                  <a:lnTo>
                    <a:pt x="410973" y="64390"/>
                  </a:lnTo>
                  <a:lnTo>
                    <a:pt x="409068" y="63373"/>
                  </a:lnTo>
                  <a:lnTo>
                    <a:pt x="406909" y="62612"/>
                  </a:lnTo>
                  <a:lnTo>
                    <a:pt x="404623" y="61976"/>
                  </a:lnTo>
                  <a:lnTo>
                    <a:pt x="401956" y="61595"/>
                  </a:lnTo>
                  <a:lnTo>
                    <a:pt x="334137" y="53341"/>
                  </a:lnTo>
                  <a:lnTo>
                    <a:pt x="328549" y="52578"/>
                  </a:lnTo>
                  <a:lnTo>
                    <a:pt x="323597" y="51690"/>
                  </a:lnTo>
                  <a:lnTo>
                    <a:pt x="318771" y="50800"/>
                  </a:lnTo>
                  <a:lnTo>
                    <a:pt x="316611" y="50166"/>
                  </a:lnTo>
                  <a:lnTo>
                    <a:pt x="314452" y="49657"/>
                  </a:lnTo>
                  <a:lnTo>
                    <a:pt x="312421" y="48895"/>
                  </a:lnTo>
                  <a:lnTo>
                    <a:pt x="310261" y="48134"/>
                  </a:lnTo>
                  <a:lnTo>
                    <a:pt x="308357" y="47498"/>
                  </a:lnTo>
                  <a:lnTo>
                    <a:pt x="306324" y="46610"/>
                  </a:lnTo>
                  <a:lnTo>
                    <a:pt x="304420" y="45720"/>
                  </a:lnTo>
                  <a:lnTo>
                    <a:pt x="302387" y="44704"/>
                  </a:lnTo>
                  <a:lnTo>
                    <a:pt x="298450" y="42672"/>
                  </a:lnTo>
                  <a:lnTo>
                    <a:pt x="251587" y="15875"/>
                  </a:lnTo>
                  <a:lnTo>
                    <a:pt x="249174" y="14606"/>
                  </a:lnTo>
                  <a:lnTo>
                    <a:pt x="246508" y="13209"/>
                  </a:lnTo>
                  <a:lnTo>
                    <a:pt x="243460" y="11812"/>
                  </a:lnTo>
                  <a:lnTo>
                    <a:pt x="240411" y="10795"/>
                  </a:lnTo>
                  <a:lnTo>
                    <a:pt x="237363" y="9653"/>
                  </a:lnTo>
                  <a:lnTo>
                    <a:pt x="235712" y="9272"/>
                  </a:lnTo>
                  <a:lnTo>
                    <a:pt x="234061" y="8891"/>
                  </a:lnTo>
                  <a:lnTo>
                    <a:pt x="232537" y="8510"/>
                  </a:lnTo>
                  <a:lnTo>
                    <a:pt x="231013" y="8256"/>
                  </a:lnTo>
                  <a:lnTo>
                    <a:pt x="229362" y="8256"/>
                  </a:lnTo>
                  <a:lnTo>
                    <a:pt x="227838" y="8128"/>
                  </a:lnTo>
                  <a:lnTo>
                    <a:pt x="146177" y="8128"/>
                  </a:lnTo>
                  <a:lnTo>
                    <a:pt x="143511" y="8128"/>
                  </a:lnTo>
                  <a:lnTo>
                    <a:pt x="140971" y="8256"/>
                  </a:lnTo>
                  <a:lnTo>
                    <a:pt x="138685" y="8382"/>
                  </a:lnTo>
                  <a:lnTo>
                    <a:pt x="136399" y="8637"/>
                  </a:lnTo>
                  <a:lnTo>
                    <a:pt x="134239" y="8891"/>
                  </a:lnTo>
                  <a:lnTo>
                    <a:pt x="132208" y="9272"/>
                  </a:lnTo>
                  <a:lnTo>
                    <a:pt x="130175" y="9653"/>
                  </a:lnTo>
                  <a:lnTo>
                    <a:pt x="128271" y="10034"/>
                  </a:lnTo>
                  <a:lnTo>
                    <a:pt x="126365" y="10669"/>
                  </a:lnTo>
                  <a:lnTo>
                    <a:pt x="124587" y="11176"/>
                  </a:lnTo>
                  <a:lnTo>
                    <a:pt x="122810" y="11812"/>
                  </a:lnTo>
                  <a:lnTo>
                    <a:pt x="121032" y="12573"/>
                  </a:lnTo>
                  <a:lnTo>
                    <a:pt x="117349" y="14225"/>
                  </a:lnTo>
                  <a:lnTo>
                    <a:pt x="113920" y="16129"/>
                  </a:lnTo>
                  <a:lnTo>
                    <a:pt x="73787" y="38228"/>
                  </a:lnTo>
                  <a:lnTo>
                    <a:pt x="70486" y="40006"/>
                  </a:lnTo>
                  <a:lnTo>
                    <a:pt x="67564" y="41529"/>
                  </a:lnTo>
                  <a:lnTo>
                    <a:pt x="65024" y="42672"/>
                  </a:lnTo>
                  <a:lnTo>
                    <a:pt x="62358" y="43562"/>
                  </a:lnTo>
                  <a:lnTo>
                    <a:pt x="61087" y="43942"/>
                  </a:lnTo>
                  <a:lnTo>
                    <a:pt x="59818" y="44197"/>
                  </a:lnTo>
                  <a:lnTo>
                    <a:pt x="56897" y="44578"/>
                  </a:lnTo>
                  <a:lnTo>
                    <a:pt x="53468" y="44959"/>
                  </a:lnTo>
                  <a:lnTo>
                    <a:pt x="49403" y="45213"/>
                  </a:lnTo>
                  <a:lnTo>
                    <a:pt x="22352" y="45975"/>
                  </a:lnTo>
                  <a:lnTo>
                    <a:pt x="20321" y="46228"/>
                  </a:lnTo>
                  <a:lnTo>
                    <a:pt x="19432" y="46228"/>
                  </a:lnTo>
                  <a:lnTo>
                    <a:pt x="18670" y="46482"/>
                  </a:lnTo>
                  <a:lnTo>
                    <a:pt x="17781" y="46737"/>
                  </a:lnTo>
                  <a:lnTo>
                    <a:pt x="17146" y="47117"/>
                  </a:lnTo>
                  <a:lnTo>
                    <a:pt x="16511" y="47498"/>
                  </a:lnTo>
                  <a:lnTo>
                    <a:pt x="15875" y="47879"/>
                  </a:lnTo>
                  <a:lnTo>
                    <a:pt x="15368" y="48388"/>
                  </a:lnTo>
                  <a:lnTo>
                    <a:pt x="14860" y="49022"/>
                  </a:lnTo>
                  <a:lnTo>
                    <a:pt x="14606" y="49657"/>
                  </a:lnTo>
                  <a:lnTo>
                    <a:pt x="14224" y="50292"/>
                  </a:lnTo>
                  <a:lnTo>
                    <a:pt x="13971" y="51054"/>
                  </a:lnTo>
                  <a:lnTo>
                    <a:pt x="13844" y="52070"/>
                  </a:lnTo>
                  <a:lnTo>
                    <a:pt x="13716" y="52960"/>
                  </a:lnTo>
                  <a:lnTo>
                    <a:pt x="13716" y="54103"/>
                  </a:lnTo>
                  <a:lnTo>
                    <a:pt x="13716" y="85979"/>
                  </a:lnTo>
                  <a:lnTo>
                    <a:pt x="13589" y="86615"/>
                  </a:lnTo>
                  <a:lnTo>
                    <a:pt x="13336" y="87376"/>
                  </a:lnTo>
                  <a:lnTo>
                    <a:pt x="12827" y="88012"/>
                  </a:lnTo>
                  <a:lnTo>
                    <a:pt x="12447" y="88519"/>
                  </a:lnTo>
                  <a:lnTo>
                    <a:pt x="11938" y="89028"/>
                  </a:lnTo>
                  <a:lnTo>
                    <a:pt x="11431" y="89535"/>
                  </a:lnTo>
                  <a:lnTo>
                    <a:pt x="10161" y="90425"/>
                  </a:lnTo>
                  <a:lnTo>
                    <a:pt x="16764" y="98044"/>
                  </a:lnTo>
                  <a:lnTo>
                    <a:pt x="49785" y="100838"/>
                  </a:lnTo>
                  <a:lnTo>
                    <a:pt x="49785" y="113285"/>
                  </a:lnTo>
                  <a:lnTo>
                    <a:pt x="17399" y="109856"/>
                  </a:lnTo>
                  <a:lnTo>
                    <a:pt x="16764" y="109728"/>
                  </a:lnTo>
                  <a:lnTo>
                    <a:pt x="16002" y="109220"/>
                  </a:lnTo>
                  <a:lnTo>
                    <a:pt x="14986" y="108840"/>
                  </a:lnTo>
                  <a:lnTo>
                    <a:pt x="14606" y="108332"/>
                  </a:lnTo>
                  <a:lnTo>
                    <a:pt x="12447" y="106172"/>
                  </a:lnTo>
                  <a:lnTo>
                    <a:pt x="10541" y="104013"/>
                  </a:lnTo>
                  <a:lnTo>
                    <a:pt x="6859" y="100331"/>
                  </a:lnTo>
                  <a:lnTo>
                    <a:pt x="3811" y="97156"/>
                  </a:lnTo>
                  <a:lnTo>
                    <a:pt x="2540" y="95759"/>
                  </a:lnTo>
                  <a:lnTo>
                    <a:pt x="1524" y="94362"/>
                  </a:lnTo>
                  <a:lnTo>
                    <a:pt x="762" y="93091"/>
                  </a:lnTo>
                  <a:lnTo>
                    <a:pt x="509" y="92457"/>
                  </a:lnTo>
                  <a:lnTo>
                    <a:pt x="254" y="91822"/>
                  </a:lnTo>
                  <a:lnTo>
                    <a:pt x="127" y="91187"/>
                  </a:lnTo>
                  <a:lnTo>
                    <a:pt x="0" y="90678"/>
                  </a:lnTo>
                  <a:lnTo>
                    <a:pt x="127" y="89916"/>
                  </a:lnTo>
                  <a:lnTo>
                    <a:pt x="254" y="89409"/>
                  </a:lnTo>
                  <a:lnTo>
                    <a:pt x="509" y="88647"/>
                  </a:lnTo>
                  <a:lnTo>
                    <a:pt x="762" y="88012"/>
                  </a:lnTo>
                  <a:lnTo>
                    <a:pt x="1271" y="87376"/>
                  </a:lnTo>
                  <a:lnTo>
                    <a:pt x="1778" y="86741"/>
                  </a:lnTo>
                  <a:lnTo>
                    <a:pt x="2413" y="86107"/>
                  </a:lnTo>
                  <a:lnTo>
                    <a:pt x="3175" y="85472"/>
                  </a:lnTo>
                  <a:lnTo>
                    <a:pt x="5081" y="83820"/>
                  </a:lnTo>
                  <a:lnTo>
                    <a:pt x="5081" y="54103"/>
                  </a:lnTo>
                  <a:lnTo>
                    <a:pt x="5208" y="52070"/>
                  </a:lnTo>
                  <a:lnTo>
                    <a:pt x="5335" y="50038"/>
                  </a:lnTo>
                  <a:lnTo>
                    <a:pt x="5843" y="48388"/>
                  </a:lnTo>
                  <a:lnTo>
                    <a:pt x="6477" y="46737"/>
                  </a:lnTo>
                  <a:lnTo>
                    <a:pt x="7112" y="45340"/>
                  </a:lnTo>
                  <a:lnTo>
                    <a:pt x="8001" y="44069"/>
                  </a:lnTo>
                  <a:lnTo>
                    <a:pt x="9018" y="42800"/>
                  </a:lnTo>
                  <a:lnTo>
                    <a:pt x="10161" y="41784"/>
                  </a:lnTo>
                  <a:lnTo>
                    <a:pt x="11303" y="40894"/>
                  </a:lnTo>
                  <a:lnTo>
                    <a:pt x="12700" y="40132"/>
                  </a:lnTo>
                  <a:lnTo>
                    <a:pt x="14098" y="39497"/>
                  </a:lnTo>
                  <a:lnTo>
                    <a:pt x="15495" y="38990"/>
                  </a:lnTo>
                  <a:lnTo>
                    <a:pt x="17146" y="38482"/>
                  </a:lnTo>
                  <a:lnTo>
                    <a:pt x="18797" y="38228"/>
                  </a:lnTo>
                  <a:lnTo>
                    <a:pt x="20321" y="37973"/>
                  </a:lnTo>
                  <a:lnTo>
                    <a:pt x="22099" y="37847"/>
                  </a:lnTo>
                  <a:lnTo>
                    <a:pt x="52706" y="36703"/>
                  </a:lnTo>
                  <a:lnTo>
                    <a:pt x="54229" y="36450"/>
                  </a:lnTo>
                  <a:lnTo>
                    <a:pt x="55753" y="36322"/>
                  </a:lnTo>
                  <a:lnTo>
                    <a:pt x="57404" y="36069"/>
                  </a:lnTo>
                  <a:lnTo>
                    <a:pt x="58928" y="35434"/>
                  </a:lnTo>
                  <a:lnTo>
                    <a:pt x="60325" y="35179"/>
                  </a:lnTo>
                  <a:lnTo>
                    <a:pt x="61723" y="34544"/>
                  </a:lnTo>
                  <a:lnTo>
                    <a:pt x="62993" y="34037"/>
                  </a:lnTo>
                  <a:lnTo>
                    <a:pt x="64009" y="33528"/>
                  </a:lnTo>
                  <a:lnTo>
                    <a:pt x="109728" y="9017"/>
                  </a:lnTo>
                  <a:lnTo>
                    <a:pt x="113793" y="6859"/>
                  </a:lnTo>
                  <a:lnTo>
                    <a:pt x="115698" y="5969"/>
                  </a:lnTo>
                  <a:lnTo>
                    <a:pt x="117729" y="5081"/>
                  </a:lnTo>
                  <a:lnTo>
                    <a:pt x="119635" y="4445"/>
                  </a:lnTo>
                  <a:lnTo>
                    <a:pt x="121794" y="3557"/>
                  </a:lnTo>
                  <a:lnTo>
                    <a:pt x="123825" y="2922"/>
                  </a:lnTo>
                  <a:lnTo>
                    <a:pt x="125985" y="2287"/>
                  </a:lnTo>
                  <a:lnTo>
                    <a:pt x="128016" y="1778"/>
                  </a:lnTo>
                  <a:lnTo>
                    <a:pt x="130302" y="1270"/>
                  </a:lnTo>
                  <a:lnTo>
                    <a:pt x="132715" y="890"/>
                  </a:lnTo>
                  <a:lnTo>
                    <a:pt x="135256" y="635"/>
                  </a:lnTo>
                  <a:lnTo>
                    <a:pt x="137796" y="254"/>
                  </a:lnTo>
                  <a:lnTo>
                    <a:pt x="140462" y="128"/>
                  </a:lnTo>
                  <a:lnTo>
                    <a:pt x="143257" y="128"/>
                  </a:lnTo>
                  <a:lnTo>
                    <a:pt x="146177" y="0"/>
                  </a:lnTo>
                  <a:lnTo>
                    <a:pt x="230251" y="0"/>
                  </a:lnTo>
                  <a:lnTo>
                    <a:pt x="231522" y="128"/>
                  </a:lnTo>
                  <a:lnTo>
                    <a:pt x="232791" y="128"/>
                  </a:lnTo>
                  <a:lnTo>
                    <a:pt x="234315" y="382"/>
                  </a:lnTo>
                  <a:lnTo>
                    <a:pt x="235839" y="763"/>
                  </a:lnTo>
                  <a:lnTo>
                    <a:pt x="239269" y="1651"/>
                  </a:lnTo>
                  <a:lnTo>
                    <a:pt x="243078" y="2794"/>
                  </a:lnTo>
                  <a:lnTo>
                    <a:pt x="247015" y="4319"/>
                  </a:lnTo>
                  <a:lnTo>
                    <a:pt x="251207" y="6097"/>
                  </a:lnTo>
                  <a:lnTo>
                    <a:pt x="255524" y="8256"/>
                  </a:lnTo>
                  <a:lnTo>
                    <a:pt x="259970" y="10541"/>
                  </a:lnTo>
                  <a:lnTo>
                    <a:pt x="306706" y="36831"/>
                  </a:lnTo>
                  <a:lnTo>
                    <a:pt x="309626" y="38228"/>
                  </a:lnTo>
                  <a:lnTo>
                    <a:pt x="312421" y="39625"/>
                  </a:lnTo>
                  <a:lnTo>
                    <a:pt x="315596" y="40767"/>
                  </a:lnTo>
                  <a:lnTo>
                    <a:pt x="318771" y="41657"/>
                  </a:lnTo>
                  <a:lnTo>
                    <a:pt x="322073" y="42545"/>
                  </a:lnTo>
                  <a:lnTo>
                    <a:pt x="325628" y="43181"/>
                  </a:lnTo>
                  <a:lnTo>
                    <a:pt x="329185" y="43816"/>
                  </a:lnTo>
                  <a:lnTo>
                    <a:pt x="332740" y="44323"/>
                  </a:lnTo>
                  <a:lnTo>
                    <a:pt x="400177" y="52578"/>
                  </a:lnTo>
                  <a:lnTo>
                    <a:pt x="403479" y="53087"/>
                  </a:lnTo>
                  <a:lnTo>
                    <a:pt x="406782" y="53722"/>
                  </a:lnTo>
                  <a:lnTo>
                    <a:pt x="409702" y="54610"/>
                  </a:lnTo>
                  <a:lnTo>
                    <a:pt x="412497" y="55626"/>
                  </a:lnTo>
                  <a:lnTo>
                    <a:pt x="415163" y="57023"/>
                  </a:lnTo>
                  <a:lnTo>
                    <a:pt x="416307" y="57785"/>
                  </a:lnTo>
                  <a:lnTo>
                    <a:pt x="417576" y="58420"/>
                  </a:lnTo>
                  <a:lnTo>
                    <a:pt x="418593" y="59182"/>
                  </a:lnTo>
                  <a:lnTo>
                    <a:pt x="419609" y="59944"/>
                  </a:lnTo>
                  <a:lnTo>
                    <a:pt x="420624" y="60834"/>
                  </a:lnTo>
                  <a:lnTo>
                    <a:pt x="421640" y="61722"/>
                  </a:lnTo>
                  <a:lnTo>
                    <a:pt x="422402" y="62612"/>
                  </a:lnTo>
                  <a:lnTo>
                    <a:pt x="423164" y="63628"/>
                  </a:lnTo>
                  <a:lnTo>
                    <a:pt x="423926" y="64516"/>
                  </a:lnTo>
                  <a:lnTo>
                    <a:pt x="424688" y="65532"/>
                  </a:lnTo>
                  <a:lnTo>
                    <a:pt x="425324" y="66548"/>
                  </a:lnTo>
                  <a:lnTo>
                    <a:pt x="425832" y="67691"/>
                  </a:lnTo>
                  <a:lnTo>
                    <a:pt x="426339" y="68835"/>
                  </a:lnTo>
                  <a:lnTo>
                    <a:pt x="426721" y="69850"/>
                  </a:lnTo>
                  <a:lnTo>
                    <a:pt x="427228" y="71120"/>
                  </a:lnTo>
                  <a:lnTo>
                    <a:pt x="427356" y="72263"/>
                  </a:lnTo>
                  <a:lnTo>
                    <a:pt x="427610" y="73407"/>
                  </a:lnTo>
                  <a:lnTo>
                    <a:pt x="427863" y="74676"/>
                  </a:lnTo>
                  <a:lnTo>
                    <a:pt x="427863" y="75947"/>
                  </a:lnTo>
                  <a:lnTo>
                    <a:pt x="427863" y="77344"/>
                  </a:lnTo>
                  <a:lnTo>
                    <a:pt x="427736" y="78487"/>
                  </a:lnTo>
                  <a:lnTo>
                    <a:pt x="427610" y="79884"/>
                  </a:lnTo>
                  <a:lnTo>
                    <a:pt x="424943" y="98172"/>
                  </a:lnTo>
                  <a:lnTo>
                    <a:pt x="425704" y="98679"/>
                  </a:lnTo>
                  <a:lnTo>
                    <a:pt x="426339" y="99188"/>
                  </a:lnTo>
                  <a:lnTo>
                    <a:pt x="426848" y="99695"/>
                  </a:lnTo>
                  <a:lnTo>
                    <a:pt x="427356" y="100331"/>
                  </a:lnTo>
                  <a:lnTo>
                    <a:pt x="428372" y="101728"/>
                  </a:lnTo>
                  <a:lnTo>
                    <a:pt x="429007" y="102997"/>
                  </a:lnTo>
                  <a:lnTo>
                    <a:pt x="429387" y="104394"/>
                  </a:lnTo>
                  <a:lnTo>
                    <a:pt x="429769" y="105919"/>
                  </a:lnTo>
                  <a:lnTo>
                    <a:pt x="429769" y="107316"/>
                  </a:lnTo>
                  <a:lnTo>
                    <a:pt x="429514" y="108840"/>
                  </a:lnTo>
                  <a:lnTo>
                    <a:pt x="429134" y="110110"/>
                  </a:lnTo>
                  <a:lnTo>
                    <a:pt x="428372" y="111507"/>
                  </a:lnTo>
                  <a:lnTo>
                    <a:pt x="427990" y="112141"/>
                  </a:lnTo>
                  <a:lnTo>
                    <a:pt x="427483" y="112650"/>
                  </a:lnTo>
                  <a:lnTo>
                    <a:pt x="426974" y="113285"/>
                  </a:lnTo>
                  <a:lnTo>
                    <a:pt x="426466" y="113666"/>
                  </a:lnTo>
                  <a:lnTo>
                    <a:pt x="425832" y="114300"/>
                  </a:lnTo>
                  <a:lnTo>
                    <a:pt x="425070" y="114554"/>
                  </a:lnTo>
                  <a:lnTo>
                    <a:pt x="424308" y="115063"/>
                  </a:lnTo>
                  <a:lnTo>
                    <a:pt x="423546" y="115316"/>
                  </a:lnTo>
                  <a:lnTo>
                    <a:pt x="422657" y="115570"/>
                  </a:lnTo>
                  <a:lnTo>
                    <a:pt x="421640" y="115697"/>
                  </a:lnTo>
                  <a:lnTo>
                    <a:pt x="420751" y="115825"/>
                  </a:lnTo>
                  <a:lnTo>
                    <a:pt x="419609" y="115951"/>
                  </a:lnTo>
                  <a:lnTo>
                    <a:pt x="388748" y="116206"/>
                  </a:lnTo>
                  <a:lnTo>
                    <a:pt x="387732" y="118619"/>
                  </a:lnTo>
                  <a:lnTo>
                    <a:pt x="386588" y="120778"/>
                  </a:lnTo>
                  <a:lnTo>
                    <a:pt x="385191" y="122682"/>
                  </a:lnTo>
                  <a:lnTo>
                    <a:pt x="383668" y="124715"/>
                  </a:lnTo>
                  <a:lnTo>
                    <a:pt x="382144" y="126492"/>
                  </a:lnTo>
                  <a:lnTo>
                    <a:pt x="380238" y="128270"/>
                  </a:lnTo>
                  <a:lnTo>
                    <a:pt x="378461" y="129922"/>
                  </a:lnTo>
                  <a:lnTo>
                    <a:pt x="376428" y="131319"/>
                  </a:lnTo>
                  <a:lnTo>
                    <a:pt x="374270" y="132588"/>
                  </a:lnTo>
                  <a:lnTo>
                    <a:pt x="371984" y="133732"/>
                  </a:lnTo>
                  <a:lnTo>
                    <a:pt x="369571" y="134875"/>
                  </a:lnTo>
                  <a:lnTo>
                    <a:pt x="367158" y="135637"/>
                  </a:lnTo>
                  <a:lnTo>
                    <a:pt x="364618" y="136272"/>
                  </a:lnTo>
                  <a:lnTo>
                    <a:pt x="361950" y="136779"/>
                  </a:lnTo>
                  <a:lnTo>
                    <a:pt x="359411" y="137034"/>
                  </a:lnTo>
                  <a:lnTo>
                    <a:pt x="356616" y="137160"/>
                  </a:lnTo>
                  <a:lnTo>
                    <a:pt x="354838" y="137160"/>
                  </a:lnTo>
                  <a:lnTo>
                    <a:pt x="353187" y="137034"/>
                  </a:lnTo>
                  <a:lnTo>
                    <a:pt x="351410" y="136779"/>
                  </a:lnTo>
                  <a:lnTo>
                    <a:pt x="349759" y="136398"/>
                  </a:lnTo>
                  <a:lnTo>
                    <a:pt x="347981" y="136144"/>
                  </a:lnTo>
                  <a:lnTo>
                    <a:pt x="346329" y="135763"/>
                  </a:lnTo>
                  <a:lnTo>
                    <a:pt x="344678" y="135256"/>
                  </a:lnTo>
                  <a:lnTo>
                    <a:pt x="343282" y="134620"/>
                  </a:lnTo>
                  <a:lnTo>
                    <a:pt x="341758" y="133859"/>
                  </a:lnTo>
                  <a:lnTo>
                    <a:pt x="340234" y="133223"/>
                  </a:lnTo>
                  <a:lnTo>
                    <a:pt x="338710" y="132462"/>
                  </a:lnTo>
                  <a:lnTo>
                    <a:pt x="337312" y="131572"/>
                  </a:lnTo>
                  <a:lnTo>
                    <a:pt x="336043" y="130684"/>
                  </a:lnTo>
                  <a:lnTo>
                    <a:pt x="334646" y="129794"/>
                  </a:lnTo>
                  <a:lnTo>
                    <a:pt x="333375" y="128778"/>
                  </a:lnTo>
                  <a:lnTo>
                    <a:pt x="332233" y="127635"/>
                  </a:lnTo>
                  <a:lnTo>
                    <a:pt x="331089" y="126492"/>
                  </a:lnTo>
                  <a:lnTo>
                    <a:pt x="329947" y="125350"/>
                  </a:lnTo>
                  <a:lnTo>
                    <a:pt x="329058" y="124079"/>
                  </a:lnTo>
                  <a:lnTo>
                    <a:pt x="328041" y="122810"/>
                  </a:lnTo>
                  <a:lnTo>
                    <a:pt x="327152" y="121540"/>
                  </a:lnTo>
                  <a:lnTo>
                    <a:pt x="326390" y="120142"/>
                  </a:lnTo>
                  <a:lnTo>
                    <a:pt x="325628" y="118872"/>
                  </a:lnTo>
                  <a:lnTo>
                    <a:pt x="324866" y="117348"/>
                  </a:lnTo>
                  <a:lnTo>
                    <a:pt x="324359" y="115825"/>
                  </a:lnTo>
                  <a:lnTo>
                    <a:pt x="323724" y="114300"/>
                  </a:lnTo>
                  <a:lnTo>
                    <a:pt x="323215" y="112776"/>
                  </a:lnTo>
                  <a:lnTo>
                    <a:pt x="322961" y="111125"/>
                  </a:lnTo>
                  <a:lnTo>
                    <a:pt x="322581" y="109728"/>
                  </a:lnTo>
                  <a:lnTo>
                    <a:pt x="322326" y="108078"/>
                  </a:lnTo>
                  <a:lnTo>
                    <a:pt x="322199" y="106300"/>
                  </a:lnTo>
                  <a:lnTo>
                    <a:pt x="322073" y="104648"/>
                  </a:lnTo>
                  <a:lnTo>
                    <a:pt x="322199" y="103125"/>
                  </a:lnTo>
                  <a:lnTo>
                    <a:pt x="322326" y="101347"/>
                  </a:lnTo>
                  <a:lnTo>
                    <a:pt x="322581" y="99695"/>
                  </a:lnTo>
                  <a:lnTo>
                    <a:pt x="322961" y="98044"/>
                  </a:lnTo>
                  <a:lnTo>
                    <a:pt x="323215" y="96520"/>
                  </a:lnTo>
                  <a:lnTo>
                    <a:pt x="323724" y="95123"/>
                  </a:lnTo>
                  <a:lnTo>
                    <a:pt x="324359" y="93600"/>
                  </a:lnTo>
                  <a:lnTo>
                    <a:pt x="324866" y="91948"/>
                  </a:lnTo>
                  <a:lnTo>
                    <a:pt x="325628" y="90678"/>
                  </a:lnTo>
                  <a:lnTo>
                    <a:pt x="326390" y="89154"/>
                  </a:lnTo>
                  <a:lnTo>
                    <a:pt x="327152" y="87885"/>
                  </a:lnTo>
                  <a:lnTo>
                    <a:pt x="328041" y="86488"/>
                  </a:lnTo>
                  <a:lnTo>
                    <a:pt x="329058" y="85344"/>
                  </a:lnTo>
                  <a:lnTo>
                    <a:pt x="329947" y="83947"/>
                  </a:lnTo>
                  <a:lnTo>
                    <a:pt x="331089" y="82804"/>
                  </a:lnTo>
                  <a:lnTo>
                    <a:pt x="332233" y="81788"/>
                  </a:lnTo>
                  <a:lnTo>
                    <a:pt x="333375" y="80645"/>
                  </a:lnTo>
                  <a:lnTo>
                    <a:pt x="334646" y="79629"/>
                  </a:lnTo>
                  <a:lnTo>
                    <a:pt x="336043" y="78741"/>
                  </a:lnTo>
                  <a:lnTo>
                    <a:pt x="337312" y="77851"/>
                  </a:lnTo>
                  <a:lnTo>
                    <a:pt x="338710" y="76963"/>
                  </a:lnTo>
                  <a:lnTo>
                    <a:pt x="340234" y="76200"/>
                  </a:lnTo>
                  <a:lnTo>
                    <a:pt x="341758" y="75438"/>
                  </a:lnTo>
                  <a:lnTo>
                    <a:pt x="343282" y="74803"/>
                  </a:lnTo>
                  <a:lnTo>
                    <a:pt x="344678" y="74169"/>
                  </a:lnTo>
                  <a:lnTo>
                    <a:pt x="346329" y="73660"/>
                  </a:lnTo>
                  <a:lnTo>
                    <a:pt x="347981" y="73279"/>
                  </a:lnTo>
                  <a:lnTo>
                    <a:pt x="349759" y="72772"/>
                  </a:lnTo>
                  <a:lnTo>
                    <a:pt x="351410" y="72644"/>
                  </a:lnTo>
                  <a:lnTo>
                    <a:pt x="353187" y="72517"/>
                  </a:lnTo>
                  <a:lnTo>
                    <a:pt x="354838" y="72263"/>
                  </a:lnTo>
                  <a:lnTo>
                    <a:pt x="356616" y="72263"/>
                  </a:lnTo>
                  <a:close/>
                  <a:moveTo>
                    <a:pt x="-6753478" y="2907792"/>
                  </a:moveTo>
                  <a:moveTo>
                    <a:pt x="356616" y="88392"/>
                  </a:moveTo>
                  <a:lnTo>
                    <a:pt x="356616" y="88392"/>
                  </a:lnTo>
                  <a:lnTo>
                    <a:pt x="354838" y="88519"/>
                  </a:lnTo>
                  <a:lnTo>
                    <a:pt x="353187" y="88773"/>
                  </a:lnTo>
                  <a:lnTo>
                    <a:pt x="351536" y="89154"/>
                  </a:lnTo>
                  <a:lnTo>
                    <a:pt x="349886" y="89790"/>
                  </a:lnTo>
                  <a:lnTo>
                    <a:pt x="348361" y="90425"/>
                  </a:lnTo>
                  <a:lnTo>
                    <a:pt x="346964" y="91187"/>
                  </a:lnTo>
                  <a:lnTo>
                    <a:pt x="345695" y="92203"/>
                  </a:lnTo>
                  <a:lnTo>
                    <a:pt x="344424" y="93219"/>
                  </a:lnTo>
                  <a:lnTo>
                    <a:pt x="343282" y="94362"/>
                  </a:lnTo>
                  <a:lnTo>
                    <a:pt x="342393" y="95632"/>
                  </a:lnTo>
                  <a:lnTo>
                    <a:pt x="341503" y="97028"/>
                  </a:lnTo>
                  <a:lnTo>
                    <a:pt x="340741" y="98425"/>
                  </a:lnTo>
                  <a:lnTo>
                    <a:pt x="340234" y="99822"/>
                  </a:lnTo>
                  <a:lnTo>
                    <a:pt x="339852" y="101473"/>
                  </a:lnTo>
                  <a:lnTo>
                    <a:pt x="339472" y="103125"/>
                  </a:lnTo>
                  <a:lnTo>
                    <a:pt x="339345" y="104648"/>
                  </a:lnTo>
                  <a:lnTo>
                    <a:pt x="339472" y="106300"/>
                  </a:lnTo>
                  <a:lnTo>
                    <a:pt x="339852" y="107950"/>
                  </a:lnTo>
                  <a:lnTo>
                    <a:pt x="340234" y="109601"/>
                  </a:lnTo>
                  <a:lnTo>
                    <a:pt x="340741" y="110998"/>
                  </a:lnTo>
                  <a:lnTo>
                    <a:pt x="341503" y="112395"/>
                  </a:lnTo>
                  <a:lnTo>
                    <a:pt x="342393" y="113666"/>
                  </a:lnTo>
                  <a:lnTo>
                    <a:pt x="343282" y="115063"/>
                  </a:lnTo>
                  <a:lnTo>
                    <a:pt x="344424" y="116206"/>
                  </a:lnTo>
                  <a:lnTo>
                    <a:pt x="345695" y="117222"/>
                  </a:lnTo>
                  <a:lnTo>
                    <a:pt x="346964" y="118238"/>
                  </a:lnTo>
                  <a:lnTo>
                    <a:pt x="348361" y="119000"/>
                  </a:lnTo>
                  <a:lnTo>
                    <a:pt x="349886" y="119635"/>
                  </a:lnTo>
                  <a:lnTo>
                    <a:pt x="351536" y="120142"/>
                  </a:lnTo>
                  <a:lnTo>
                    <a:pt x="353187" y="120650"/>
                  </a:lnTo>
                  <a:lnTo>
                    <a:pt x="354838" y="120778"/>
                  </a:lnTo>
                  <a:lnTo>
                    <a:pt x="356616" y="120904"/>
                  </a:lnTo>
                  <a:lnTo>
                    <a:pt x="358395" y="120778"/>
                  </a:lnTo>
                  <a:lnTo>
                    <a:pt x="360173" y="120650"/>
                  </a:lnTo>
                  <a:lnTo>
                    <a:pt x="361697" y="120142"/>
                  </a:lnTo>
                  <a:lnTo>
                    <a:pt x="363348" y="119635"/>
                  </a:lnTo>
                  <a:lnTo>
                    <a:pt x="364872" y="119000"/>
                  </a:lnTo>
                  <a:lnTo>
                    <a:pt x="366269" y="118238"/>
                  </a:lnTo>
                  <a:lnTo>
                    <a:pt x="367538" y="117222"/>
                  </a:lnTo>
                  <a:lnTo>
                    <a:pt x="368682" y="116206"/>
                  </a:lnTo>
                  <a:lnTo>
                    <a:pt x="369951" y="115063"/>
                  </a:lnTo>
                  <a:lnTo>
                    <a:pt x="370840" y="113666"/>
                  </a:lnTo>
                  <a:lnTo>
                    <a:pt x="371729" y="112395"/>
                  </a:lnTo>
                  <a:lnTo>
                    <a:pt x="372491" y="110998"/>
                  </a:lnTo>
                  <a:lnTo>
                    <a:pt x="372999" y="109601"/>
                  </a:lnTo>
                  <a:lnTo>
                    <a:pt x="373508" y="107950"/>
                  </a:lnTo>
                  <a:lnTo>
                    <a:pt x="373635" y="106300"/>
                  </a:lnTo>
                  <a:lnTo>
                    <a:pt x="373761" y="104648"/>
                  </a:lnTo>
                  <a:lnTo>
                    <a:pt x="373635" y="103125"/>
                  </a:lnTo>
                  <a:lnTo>
                    <a:pt x="373508" y="101473"/>
                  </a:lnTo>
                  <a:lnTo>
                    <a:pt x="372999" y="99822"/>
                  </a:lnTo>
                  <a:lnTo>
                    <a:pt x="372491" y="98425"/>
                  </a:lnTo>
                  <a:lnTo>
                    <a:pt x="371729" y="97028"/>
                  </a:lnTo>
                  <a:lnTo>
                    <a:pt x="370840" y="95632"/>
                  </a:lnTo>
                  <a:lnTo>
                    <a:pt x="369951" y="94362"/>
                  </a:lnTo>
                  <a:lnTo>
                    <a:pt x="368682" y="93219"/>
                  </a:lnTo>
                  <a:lnTo>
                    <a:pt x="367538" y="92203"/>
                  </a:lnTo>
                  <a:lnTo>
                    <a:pt x="366269" y="91187"/>
                  </a:lnTo>
                  <a:lnTo>
                    <a:pt x="364872" y="90425"/>
                  </a:lnTo>
                  <a:lnTo>
                    <a:pt x="363348" y="89790"/>
                  </a:lnTo>
                  <a:lnTo>
                    <a:pt x="361697" y="89154"/>
                  </a:lnTo>
                  <a:lnTo>
                    <a:pt x="360173" y="88773"/>
                  </a:lnTo>
                  <a:lnTo>
                    <a:pt x="358395" y="88519"/>
                  </a:lnTo>
                  <a:lnTo>
                    <a:pt x="356616" y="88392"/>
                  </a:lnTo>
                  <a:close/>
                  <a:moveTo>
                    <a:pt x="-6769607" y="2907792"/>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52" name="Freeform 1452"/>
            <p:cNvSpPr/>
            <p:nvPr/>
          </p:nvSpPr>
          <p:spPr>
            <a:xfrm>
              <a:off x="10937365" y="4558795"/>
              <a:ext cx="480108" cy="201914"/>
            </a:xfrm>
            <a:custGeom>
              <a:avLst/>
              <a:gdLst/>
              <a:ahLst/>
              <a:cxnLst/>
              <a:rect l="0" t="0" r="0" b="0"/>
              <a:pathLst>
                <a:path w="652272" h="274319">
                  <a:moveTo>
                    <a:pt x="390778" y="122554"/>
                  </a:moveTo>
                  <a:lnTo>
                    <a:pt x="469391" y="122554"/>
                  </a:lnTo>
                  <a:lnTo>
                    <a:pt x="472186" y="122682"/>
                  </a:lnTo>
                  <a:lnTo>
                    <a:pt x="475106" y="122682"/>
                  </a:lnTo>
                  <a:lnTo>
                    <a:pt x="478028" y="123190"/>
                  </a:lnTo>
                  <a:lnTo>
                    <a:pt x="480949" y="123570"/>
                  </a:lnTo>
                  <a:lnTo>
                    <a:pt x="483869" y="124078"/>
                  </a:lnTo>
                  <a:lnTo>
                    <a:pt x="486917" y="124967"/>
                  </a:lnTo>
                  <a:lnTo>
                    <a:pt x="489712" y="125729"/>
                  </a:lnTo>
                  <a:lnTo>
                    <a:pt x="492632" y="126745"/>
                  </a:lnTo>
                  <a:lnTo>
                    <a:pt x="495427" y="127762"/>
                  </a:lnTo>
                  <a:lnTo>
                    <a:pt x="498220" y="129032"/>
                  </a:lnTo>
                  <a:lnTo>
                    <a:pt x="500761" y="130175"/>
                  </a:lnTo>
                  <a:lnTo>
                    <a:pt x="503428" y="131825"/>
                  </a:lnTo>
                  <a:lnTo>
                    <a:pt x="505840" y="133222"/>
                  </a:lnTo>
                  <a:lnTo>
                    <a:pt x="508380" y="135128"/>
                  </a:lnTo>
                  <a:lnTo>
                    <a:pt x="510666" y="136906"/>
                  </a:lnTo>
                  <a:lnTo>
                    <a:pt x="512699" y="138684"/>
                  </a:lnTo>
                  <a:lnTo>
                    <a:pt x="534669" y="160147"/>
                  </a:lnTo>
                  <a:lnTo>
                    <a:pt x="422275" y="160147"/>
                  </a:lnTo>
                  <a:lnTo>
                    <a:pt x="390778" y="122554"/>
                  </a:lnTo>
                  <a:close/>
                  <a:moveTo>
                    <a:pt x="-8641715" y="2334767"/>
                  </a:moveTo>
                  <a:moveTo>
                    <a:pt x="623189" y="210566"/>
                  </a:moveTo>
                  <a:lnTo>
                    <a:pt x="623189" y="210566"/>
                  </a:lnTo>
                  <a:lnTo>
                    <a:pt x="620267" y="204469"/>
                  </a:lnTo>
                  <a:lnTo>
                    <a:pt x="616965" y="198373"/>
                  </a:lnTo>
                  <a:lnTo>
                    <a:pt x="613410" y="192532"/>
                  </a:lnTo>
                  <a:lnTo>
                    <a:pt x="609727" y="186944"/>
                  </a:lnTo>
                  <a:lnTo>
                    <a:pt x="605663" y="181482"/>
                  </a:lnTo>
                  <a:lnTo>
                    <a:pt x="601472" y="176022"/>
                  </a:lnTo>
                  <a:lnTo>
                    <a:pt x="597027" y="170688"/>
                  </a:lnTo>
                  <a:lnTo>
                    <a:pt x="592454" y="165735"/>
                  </a:lnTo>
                  <a:lnTo>
                    <a:pt x="587502" y="160782"/>
                  </a:lnTo>
                  <a:lnTo>
                    <a:pt x="582676" y="156082"/>
                  </a:lnTo>
                  <a:lnTo>
                    <a:pt x="577341" y="151638"/>
                  </a:lnTo>
                  <a:lnTo>
                    <a:pt x="572135" y="147066"/>
                  </a:lnTo>
                  <a:lnTo>
                    <a:pt x="566674" y="143001"/>
                  </a:lnTo>
                  <a:lnTo>
                    <a:pt x="561213" y="138938"/>
                  </a:lnTo>
                  <a:lnTo>
                    <a:pt x="555498" y="135128"/>
                  </a:lnTo>
                  <a:lnTo>
                    <a:pt x="549655" y="131317"/>
                  </a:lnTo>
                  <a:lnTo>
                    <a:pt x="543940" y="127762"/>
                  </a:lnTo>
                  <a:lnTo>
                    <a:pt x="537972" y="124587"/>
                  </a:lnTo>
                  <a:lnTo>
                    <a:pt x="532129" y="121538"/>
                  </a:lnTo>
                  <a:lnTo>
                    <a:pt x="526033" y="118744"/>
                  </a:lnTo>
                  <a:lnTo>
                    <a:pt x="520191" y="115823"/>
                  </a:lnTo>
                  <a:lnTo>
                    <a:pt x="514095" y="113538"/>
                  </a:lnTo>
                  <a:lnTo>
                    <a:pt x="508000" y="111251"/>
                  </a:lnTo>
                  <a:lnTo>
                    <a:pt x="502030" y="109219"/>
                  </a:lnTo>
                  <a:lnTo>
                    <a:pt x="496062" y="107441"/>
                  </a:lnTo>
                  <a:lnTo>
                    <a:pt x="490219" y="105791"/>
                  </a:lnTo>
                  <a:lnTo>
                    <a:pt x="484251" y="104520"/>
                  </a:lnTo>
                  <a:lnTo>
                    <a:pt x="478536" y="103378"/>
                  </a:lnTo>
                  <a:lnTo>
                    <a:pt x="472693" y="102488"/>
                  </a:lnTo>
                  <a:lnTo>
                    <a:pt x="466978" y="101981"/>
                  </a:lnTo>
                  <a:lnTo>
                    <a:pt x="461644" y="101600"/>
                  </a:lnTo>
                  <a:lnTo>
                    <a:pt x="456183" y="101600"/>
                  </a:lnTo>
                  <a:lnTo>
                    <a:pt x="126365" y="101600"/>
                  </a:lnTo>
                  <a:lnTo>
                    <a:pt x="99314" y="69215"/>
                  </a:lnTo>
                  <a:lnTo>
                    <a:pt x="456183" y="69215"/>
                  </a:lnTo>
                  <a:lnTo>
                    <a:pt x="462533" y="69215"/>
                  </a:lnTo>
                  <a:lnTo>
                    <a:pt x="469011" y="69595"/>
                  </a:lnTo>
                  <a:lnTo>
                    <a:pt x="475488" y="70485"/>
                  </a:lnTo>
                  <a:lnTo>
                    <a:pt x="482091" y="71373"/>
                  </a:lnTo>
                  <a:lnTo>
                    <a:pt x="488568" y="72770"/>
                  </a:lnTo>
                  <a:lnTo>
                    <a:pt x="495427" y="74041"/>
                  </a:lnTo>
                  <a:lnTo>
                    <a:pt x="502030" y="75945"/>
                  </a:lnTo>
                  <a:lnTo>
                    <a:pt x="508889" y="77978"/>
                  </a:lnTo>
                  <a:lnTo>
                    <a:pt x="515492" y="80137"/>
                  </a:lnTo>
                  <a:lnTo>
                    <a:pt x="522351" y="82676"/>
                  </a:lnTo>
                  <a:lnTo>
                    <a:pt x="528954" y="85344"/>
                  </a:lnTo>
                  <a:lnTo>
                    <a:pt x="535686" y="88519"/>
                  </a:lnTo>
                  <a:lnTo>
                    <a:pt x="542416" y="91694"/>
                  </a:lnTo>
                  <a:lnTo>
                    <a:pt x="548893" y="94995"/>
                  </a:lnTo>
                  <a:lnTo>
                    <a:pt x="555498" y="98678"/>
                  </a:lnTo>
                  <a:lnTo>
                    <a:pt x="561975" y="102488"/>
                  </a:lnTo>
                  <a:lnTo>
                    <a:pt x="568325" y="106807"/>
                  </a:lnTo>
                  <a:lnTo>
                    <a:pt x="574548" y="110997"/>
                  </a:lnTo>
                  <a:lnTo>
                    <a:pt x="580770" y="115697"/>
                  </a:lnTo>
                  <a:lnTo>
                    <a:pt x="586740" y="120269"/>
                  </a:lnTo>
                  <a:lnTo>
                    <a:pt x="592581" y="125348"/>
                  </a:lnTo>
                  <a:lnTo>
                    <a:pt x="598297" y="130428"/>
                  </a:lnTo>
                  <a:lnTo>
                    <a:pt x="604012" y="135763"/>
                  </a:lnTo>
                  <a:lnTo>
                    <a:pt x="609218" y="141223"/>
                  </a:lnTo>
                  <a:lnTo>
                    <a:pt x="614553" y="147066"/>
                  </a:lnTo>
                  <a:lnTo>
                    <a:pt x="619632" y="152907"/>
                  </a:lnTo>
                  <a:lnTo>
                    <a:pt x="624331" y="159003"/>
                  </a:lnTo>
                  <a:lnTo>
                    <a:pt x="629030" y="165353"/>
                  </a:lnTo>
                  <a:lnTo>
                    <a:pt x="633349" y="171831"/>
                  </a:lnTo>
                  <a:lnTo>
                    <a:pt x="637540" y="178435"/>
                  </a:lnTo>
                  <a:lnTo>
                    <a:pt x="641350" y="185166"/>
                  </a:lnTo>
                  <a:lnTo>
                    <a:pt x="644905" y="192150"/>
                  </a:lnTo>
                  <a:lnTo>
                    <a:pt x="646556" y="195579"/>
                  </a:lnTo>
                  <a:lnTo>
                    <a:pt x="647953" y="199009"/>
                  </a:lnTo>
                  <a:lnTo>
                    <a:pt x="649351" y="202691"/>
                  </a:lnTo>
                  <a:lnTo>
                    <a:pt x="650493" y="206501"/>
                  </a:lnTo>
                  <a:lnTo>
                    <a:pt x="651255" y="210185"/>
                  </a:lnTo>
                  <a:lnTo>
                    <a:pt x="652017" y="213741"/>
                  </a:lnTo>
                  <a:lnTo>
                    <a:pt x="652272" y="217423"/>
                  </a:lnTo>
                  <a:lnTo>
                    <a:pt x="652272" y="220979"/>
                  </a:lnTo>
                  <a:lnTo>
                    <a:pt x="652017" y="224535"/>
                  </a:lnTo>
                  <a:lnTo>
                    <a:pt x="651637" y="226313"/>
                  </a:lnTo>
                  <a:lnTo>
                    <a:pt x="651255" y="227965"/>
                  </a:lnTo>
                  <a:lnTo>
                    <a:pt x="650620" y="229488"/>
                  </a:lnTo>
                  <a:lnTo>
                    <a:pt x="650113" y="230885"/>
                  </a:lnTo>
                  <a:lnTo>
                    <a:pt x="649351" y="232537"/>
                  </a:lnTo>
                  <a:lnTo>
                    <a:pt x="648462" y="233934"/>
                  </a:lnTo>
                  <a:lnTo>
                    <a:pt x="647573" y="235331"/>
                  </a:lnTo>
                  <a:lnTo>
                    <a:pt x="646303" y="236473"/>
                  </a:lnTo>
                  <a:lnTo>
                    <a:pt x="645160" y="237870"/>
                  </a:lnTo>
                  <a:lnTo>
                    <a:pt x="643763" y="239013"/>
                  </a:lnTo>
                  <a:lnTo>
                    <a:pt x="642239" y="240029"/>
                  </a:lnTo>
                  <a:lnTo>
                    <a:pt x="640588" y="241045"/>
                  </a:lnTo>
                  <a:lnTo>
                    <a:pt x="638810" y="242062"/>
                  </a:lnTo>
                  <a:lnTo>
                    <a:pt x="636904" y="242823"/>
                  </a:lnTo>
                  <a:lnTo>
                    <a:pt x="604012" y="242823"/>
                  </a:lnTo>
                  <a:lnTo>
                    <a:pt x="576706" y="210566"/>
                  </a:lnTo>
                  <a:lnTo>
                    <a:pt x="623189" y="210566"/>
                  </a:lnTo>
                  <a:close/>
                  <a:moveTo>
                    <a:pt x="-8729727" y="2334767"/>
                  </a:moveTo>
                  <a:moveTo>
                    <a:pt x="41402" y="69215"/>
                  </a:moveTo>
                  <a:lnTo>
                    <a:pt x="10667" y="34925"/>
                  </a:lnTo>
                  <a:lnTo>
                    <a:pt x="84201" y="635"/>
                  </a:lnTo>
                  <a:lnTo>
                    <a:pt x="85725" y="253"/>
                  </a:lnTo>
                  <a:lnTo>
                    <a:pt x="87249" y="0"/>
                  </a:lnTo>
                  <a:lnTo>
                    <a:pt x="88265" y="381"/>
                  </a:lnTo>
                  <a:lnTo>
                    <a:pt x="89662" y="888"/>
                  </a:lnTo>
                  <a:lnTo>
                    <a:pt x="90678" y="1650"/>
                  </a:lnTo>
                  <a:lnTo>
                    <a:pt x="91566" y="2920"/>
                  </a:lnTo>
                  <a:lnTo>
                    <a:pt x="92075" y="4063"/>
                  </a:lnTo>
                  <a:lnTo>
                    <a:pt x="92710" y="5207"/>
                  </a:lnTo>
                  <a:lnTo>
                    <a:pt x="93090" y="6857"/>
                  </a:lnTo>
                  <a:lnTo>
                    <a:pt x="93090" y="8254"/>
                  </a:lnTo>
                  <a:lnTo>
                    <a:pt x="93090" y="9906"/>
                  </a:lnTo>
                  <a:lnTo>
                    <a:pt x="92710" y="11303"/>
                  </a:lnTo>
                  <a:lnTo>
                    <a:pt x="92328" y="12700"/>
                  </a:lnTo>
                  <a:lnTo>
                    <a:pt x="91566" y="13969"/>
                  </a:lnTo>
                  <a:lnTo>
                    <a:pt x="90297" y="14859"/>
                  </a:lnTo>
                  <a:lnTo>
                    <a:pt x="88900" y="15747"/>
                  </a:lnTo>
                  <a:lnTo>
                    <a:pt x="35560" y="40513"/>
                  </a:lnTo>
                  <a:lnTo>
                    <a:pt x="88645" y="101600"/>
                  </a:lnTo>
                  <a:lnTo>
                    <a:pt x="0" y="101600"/>
                  </a:lnTo>
                  <a:lnTo>
                    <a:pt x="0" y="69215"/>
                  </a:lnTo>
                  <a:lnTo>
                    <a:pt x="41402" y="69215"/>
                  </a:lnTo>
                  <a:close/>
                  <a:moveTo>
                    <a:pt x="-8588376" y="2334767"/>
                  </a:moveTo>
                  <a:moveTo>
                    <a:pt x="0" y="177672"/>
                  </a:moveTo>
                  <a:lnTo>
                    <a:pt x="547497" y="177672"/>
                  </a:lnTo>
                  <a:lnTo>
                    <a:pt x="562355" y="193675"/>
                  </a:lnTo>
                  <a:lnTo>
                    <a:pt x="0" y="193675"/>
                  </a:lnTo>
                  <a:lnTo>
                    <a:pt x="0" y="177672"/>
                  </a:lnTo>
                  <a:close/>
                  <a:moveTo>
                    <a:pt x="-8696833" y="2334767"/>
                  </a:moveTo>
                  <a:moveTo>
                    <a:pt x="551433" y="227457"/>
                  </a:moveTo>
                  <a:lnTo>
                    <a:pt x="551433" y="227457"/>
                  </a:lnTo>
                  <a:lnTo>
                    <a:pt x="551815" y="229488"/>
                  </a:lnTo>
                  <a:lnTo>
                    <a:pt x="552195" y="231901"/>
                  </a:lnTo>
                  <a:lnTo>
                    <a:pt x="552195" y="234188"/>
                  </a:lnTo>
                  <a:lnTo>
                    <a:pt x="552195" y="236473"/>
                  </a:lnTo>
                  <a:lnTo>
                    <a:pt x="552195" y="240410"/>
                  </a:lnTo>
                  <a:lnTo>
                    <a:pt x="551688" y="244094"/>
                  </a:lnTo>
                  <a:lnTo>
                    <a:pt x="550926" y="247776"/>
                  </a:lnTo>
                  <a:lnTo>
                    <a:pt x="549782" y="251332"/>
                  </a:lnTo>
                  <a:lnTo>
                    <a:pt x="548513" y="254507"/>
                  </a:lnTo>
                  <a:lnTo>
                    <a:pt x="546989" y="257556"/>
                  </a:lnTo>
                  <a:lnTo>
                    <a:pt x="545211" y="260603"/>
                  </a:lnTo>
                  <a:lnTo>
                    <a:pt x="543178" y="263270"/>
                  </a:lnTo>
                  <a:lnTo>
                    <a:pt x="541147" y="265557"/>
                  </a:lnTo>
                  <a:lnTo>
                    <a:pt x="538733" y="267842"/>
                  </a:lnTo>
                  <a:lnTo>
                    <a:pt x="536193" y="269875"/>
                  </a:lnTo>
                  <a:lnTo>
                    <a:pt x="533400" y="271398"/>
                  </a:lnTo>
                  <a:lnTo>
                    <a:pt x="530605" y="272669"/>
                  </a:lnTo>
                  <a:lnTo>
                    <a:pt x="527685" y="273431"/>
                  </a:lnTo>
                  <a:lnTo>
                    <a:pt x="524764" y="274066"/>
                  </a:lnTo>
                  <a:lnTo>
                    <a:pt x="521462" y="274319"/>
                  </a:lnTo>
                  <a:lnTo>
                    <a:pt x="519303" y="274319"/>
                  </a:lnTo>
                  <a:lnTo>
                    <a:pt x="517143" y="273938"/>
                  </a:lnTo>
                  <a:lnTo>
                    <a:pt x="515112" y="273431"/>
                  </a:lnTo>
                  <a:lnTo>
                    <a:pt x="512953" y="272922"/>
                  </a:lnTo>
                  <a:lnTo>
                    <a:pt x="511048" y="272034"/>
                  </a:lnTo>
                  <a:lnTo>
                    <a:pt x="509015" y="271144"/>
                  </a:lnTo>
                  <a:lnTo>
                    <a:pt x="507238" y="270001"/>
                  </a:lnTo>
                  <a:lnTo>
                    <a:pt x="505332" y="268732"/>
                  </a:lnTo>
                  <a:lnTo>
                    <a:pt x="503681" y="267335"/>
                  </a:lnTo>
                  <a:lnTo>
                    <a:pt x="502030" y="265810"/>
                  </a:lnTo>
                  <a:lnTo>
                    <a:pt x="500379" y="264032"/>
                  </a:lnTo>
                  <a:lnTo>
                    <a:pt x="498982" y="262128"/>
                  </a:lnTo>
                  <a:lnTo>
                    <a:pt x="497713" y="260350"/>
                  </a:lnTo>
                  <a:lnTo>
                    <a:pt x="496315" y="258317"/>
                  </a:lnTo>
                  <a:lnTo>
                    <a:pt x="495173" y="256159"/>
                  </a:lnTo>
                  <a:lnTo>
                    <a:pt x="494283" y="253872"/>
                  </a:lnTo>
                  <a:lnTo>
                    <a:pt x="439165" y="253872"/>
                  </a:lnTo>
                  <a:lnTo>
                    <a:pt x="438023" y="256159"/>
                  </a:lnTo>
                  <a:lnTo>
                    <a:pt x="436879" y="258317"/>
                  </a:lnTo>
                  <a:lnTo>
                    <a:pt x="435737" y="260350"/>
                  </a:lnTo>
                  <a:lnTo>
                    <a:pt x="434340" y="262128"/>
                  </a:lnTo>
                  <a:lnTo>
                    <a:pt x="432942" y="264032"/>
                  </a:lnTo>
                  <a:lnTo>
                    <a:pt x="431291" y="265810"/>
                  </a:lnTo>
                  <a:lnTo>
                    <a:pt x="429640" y="267335"/>
                  </a:lnTo>
                  <a:lnTo>
                    <a:pt x="427990" y="268732"/>
                  </a:lnTo>
                  <a:lnTo>
                    <a:pt x="426212" y="270001"/>
                  </a:lnTo>
                  <a:lnTo>
                    <a:pt x="424179" y="271144"/>
                  </a:lnTo>
                  <a:lnTo>
                    <a:pt x="422528" y="272034"/>
                  </a:lnTo>
                  <a:lnTo>
                    <a:pt x="420369" y="272922"/>
                  </a:lnTo>
                  <a:lnTo>
                    <a:pt x="418338" y="273431"/>
                  </a:lnTo>
                  <a:lnTo>
                    <a:pt x="416178" y="273938"/>
                  </a:lnTo>
                  <a:lnTo>
                    <a:pt x="414019" y="274319"/>
                  </a:lnTo>
                  <a:lnTo>
                    <a:pt x="411861" y="274319"/>
                  </a:lnTo>
                  <a:lnTo>
                    <a:pt x="409066" y="274066"/>
                  </a:lnTo>
                  <a:lnTo>
                    <a:pt x="406273" y="273685"/>
                  </a:lnTo>
                  <a:lnTo>
                    <a:pt x="403605" y="272922"/>
                  </a:lnTo>
                  <a:lnTo>
                    <a:pt x="401065" y="271907"/>
                  </a:lnTo>
                  <a:lnTo>
                    <a:pt x="398653" y="270763"/>
                  </a:lnTo>
                  <a:lnTo>
                    <a:pt x="396240" y="269113"/>
                  </a:lnTo>
                  <a:lnTo>
                    <a:pt x="394080" y="267462"/>
                  </a:lnTo>
                  <a:lnTo>
                    <a:pt x="391922" y="265557"/>
                  </a:lnTo>
                  <a:lnTo>
                    <a:pt x="389890" y="263270"/>
                  </a:lnTo>
                  <a:lnTo>
                    <a:pt x="388239" y="260857"/>
                  </a:lnTo>
                  <a:lnTo>
                    <a:pt x="386715" y="258191"/>
                  </a:lnTo>
                  <a:lnTo>
                    <a:pt x="385190" y="255650"/>
                  </a:lnTo>
                  <a:lnTo>
                    <a:pt x="383920" y="252729"/>
                  </a:lnTo>
                  <a:lnTo>
                    <a:pt x="383031" y="249682"/>
                  </a:lnTo>
                  <a:lnTo>
                    <a:pt x="382142" y="246379"/>
                  </a:lnTo>
                  <a:lnTo>
                    <a:pt x="381380" y="243204"/>
                  </a:lnTo>
                  <a:lnTo>
                    <a:pt x="185547" y="243204"/>
                  </a:lnTo>
                  <a:lnTo>
                    <a:pt x="184912" y="246379"/>
                  </a:lnTo>
                  <a:lnTo>
                    <a:pt x="184023" y="249682"/>
                  </a:lnTo>
                  <a:lnTo>
                    <a:pt x="183133" y="252729"/>
                  </a:lnTo>
                  <a:lnTo>
                    <a:pt x="181737" y="255650"/>
                  </a:lnTo>
                  <a:lnTo>
                    <a:pt x="180466" y="258191"/>
                  </a:lnTo>
                  <a:lnTo>
                    <a:pt x="178815" y="260857"/>
                  </a:lnTo>
                  <a:lnTo>
                    <a:pt x="177038" y="263270"/>
                  </a:lnTo>
                  <a:lnTo>
                    <a:pt x="175132" y="265557"/>
                  </a:lnTo>
                  <a:lnTo>
                    <a:pt x="173101" y="267462"/>
                  </a:lnTo>
                  <a:lnTo>
                    <a:pt x="170815" y="269113"/>
                  </a:lnTo>
                  <a:lnTo>
                    <a:pt x="168528" y="270763"/>
                  </a:lnTo>
                  <a:lnTo>
                    <a:pt x="166115" y="271907"/>
                  </a:lnTo>
                  <a:lnTo>
                    <a:pt x="163449" y="272922"/>
                  </a:lnTo>
                  <a:lnTo>
                    <a:pt x="160781" y="273685"/>
                  </a:lnTo>
                  <a:lnTo>
                    <a:pt x="157988" y="274066"/>
                  </a:lnTo>
                  <a:lnTo>
                    <a:pt x="155193" y="274319"/>
                  </a:lnTo>
                  <a:lnTo>
                    <a:pt x="152907" y="274319"/>
                  </a:lnTo>
                  <a:lnTo>
                    <a:pt x="150749" y="273938"/>
                  </a:lnTo>
                  <a:lnTo>
                    <a:pt x="148590" y="273431"/>
                  </a:lnTo>
                  <a:lnTo>
                    <a:pt x="146557" y="272922"/>
                  </a:lnTo>
                  <a:lnTo>
                    <a:pt x="144526" y="272034"/>
                  </a:lnTo>
                  <a:lnTo>
                    <a:pt x="142620" y="271144"/>
                  </a:lnTo>
                  <a:lnTo>
                    <a:pt x="140589" y="269875"/>
                  </a:lnTo>
                  <a:lnTo>
                    <a:pt x="138811" y="268478"/>
                  </a:lnTo>
                  <a:lnTo>
                    <a:pt x="137160" y="267081"/>
                  </a:lnTo>
                  <a:lnTo>
                    <a:pt x="135508" y="265557"/>
                  </a:lnTo>
                  <a:lnTo>
                    <a:pt x="133857" y="263778"/>
                  </a:lnTo>
                  <a:lnTo>
                    <a:pt x="132461" y="262000"/>
                  </a:lnTo>
                  <a:lnTo>
                    <a:pt x="131064" y="259969"/>
                  </a:lnTo>
                  <a:lnTo>
                    <a:pt x="129793" y="257937"/>
                  </a:lnTo>
                  <a:lnTo>
                    <a:pt x="128651" y="255778"/>
                  </a:lnTo>
                  <a:lnTo>
                    <a:pt x="127762" y="253619"/>
                  </a:lnTo>
                  <a:lnTo>
                    <a:pt x="75945" y="253619"/>
                  </a:lnTo>
                  <a:lnTo>
                    <a:pt x="74929" y="255778"/>
                  </a:lnTo>
                  <a:lnTo>
                    <a:pt x="73787" y="257937"/>
                  </a:lnTo>
                  <a:lnTo>
                    <a:pt x="72643" y="259969"/>
                  </a:lnTo>
                  <a:lnTo>
                    <a:pt x="71119" y="262000"/>
                  </a:lnTo>
                  <a:lnTo>
                    <a:pt x="69850" y="263778"/>
                  </a:lnTo>
                  <a:lnTo>
                    <a:pt x="68199" y="265557"/>
                  </a:lnTo>
                  <a:lnTo>
                    <a:pt x="66548" y="267081"/>
                  </a:lnTo>
                  <a:lnTo>
                    <a:pt x="64769" y="268478"/>
                  </a:lnTo>
                  <a:lnTo>
                    <a:pt x="62991" y="269875"/>
                  </a:lnTo>
                  <a:lnTo>
                    <a:pt x="61087" y="271144"/>
                  </a:lnTo>
                  <a:lnTo>
                    <a:pt x="59181" y="272034"/>
                  </a:lnTo>
                  <a:lnTo>
                    <a:pt x="57023" y="272922"/>
                  </a:lnTo>
                  <a:lnTo>
                    <a:pt x="55117" y="273431"/>
                  </a:lnTo>
                  <a:lnTo>
                    <a:pt x="52958" y="273938"/>
                  </a:lnTo>
                  <a:lnTo>
                    <a:pt x="50673" y="274319"/>
                  </a:lnTo>
                  <a:lnTo>
                    <a:pt x="48514" y="274319"/>
                  </a:lnTo>
                  <a:lnTo>
                    <a:pt x="45212" y="274066"/>
                  </a:lnTo>
                  <a:lnTo>
                    <a:pt x="42290" y="273431"/>
                  </a:lnTo>
                  <a:lnTo>
                    <a:pt x="39369" y="272669"/>
                  </a:lnTo>
                  <a:lnTo>
                    <a:pt x="36449" y="271398"/>
                  </a:lnTo>
                  <a:lnTo>
                    <a:pt x="33781" y="269875"/>
                  </a:lnTo>
                  <a:lnTo>
                    <a:pt x="31241" y="267842"/>
                  </a:lnTo>
                  <a:lnTo>
                    <a:pt x="28828" y="265557"/>
                  </a:lnTo>
                  <a:lnTo>
                    <a:pt x="26669" y="263270"/>
                  </a:lnTo>
                  <a:lnTo>
                    <a:pt x="24765" y="260603"/>
                  </a:lnTo>
                  <a:lnTo>
                    <a:pt x="22987" y="257556"/>
                  </a:lnTo>
                  <a:lnTo>
                    <a:pt x="21463" y="254507"/>
                  </a:lnTo>
                  <a:lnTo>
                    <a:pt x="20192" y="251332"/>
                  </a:lnTo>
                  <a:lnTo>
                    <a:pt x="18923" y="247776"/>
                  </a:lnTo>
                  <a:lnTo>
                    <a:pt x="18415" y="244094"/>
                  </a:lnTo>
                  <a:lnTo>
                    <a:pt x="17906" y="240410"/>
                  </a:lnTo>
                  <a:lnTo>
                    <a:pt x="17779" y="236473"/>
                  </a:lnTo>
                  <a:lnTo>
                    <a:pt x="17779" y="234188"/>
                  </a:lnTo>
                  <a:lnTo>
                    <a:pt x="17906" y="231901"/>
                  </a:lnTo>
                  <a:lnTo>
                    <a:pt x="18161" y="229488"/>
                  </a:lnTo>
                  <a:lnTo>
                    <a:pt x="18541" y="227457"/>
                  </a:lnTo>
                  <a:lnTo>
                    <a:pt x="551433" y="227457"/>
                  </a:lnTo>
                  <a:close/>
                  <a:moveTo>
                    <a:pt x="-8746618" y="233476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53" name="Freeform 1453"/>
            <p:cNvSpPr/>
            <p:nvPr/>
          </p:nvSpPr>
          <p:spPr>
            <a:xfrm>
              <a:off x="11028145" y="3586329"/>
              <a:ext cx="274177" cy="27417"/>
            </a:xfrm>
            <a:custGeom>
              <a:avLst/>
              <a:gdLst/>
              <a:ahLst/>
              <a:cxnLst/>
              <a:rect l="0" t="0" r="0" b="0"/>
              <a:pathLst>
                <a:path w="274320" h="27431">
                  <a:moveTo>
                    <a:pt x="243079" y="27431"/>
                  </a:moveTo>
                  <a:lnTo>
                    <a:pt x="243079" y="27431"/>
                  </a:lnTo>
                  <a:lnTo>
                    <a:pt x="234950" y="26669"/>
                  </a:lnTo>
                  <a:lnTo>
                    <a:pt x="227966" y="24256"/>
                  </a:lnTo>
                  <a:lnTo>
                    <a:pt x="221870" y="20319"/>
                  </a:lnTo>
                  <a:lnTo>
                    <a:pt x="216790" y="15620"/>
                  </a:lnTo>
                  <a:lnTo>
                    <a:pt x="211836" y="20319"/>
                  </a:lnTo>
                  <a:lnTo>
                    <a:pt x="205741" y="24256"/>
                  </a:lnTo>
                  <a:lnTo>
                    <a:pt x="198629" y="26669"/>
                  </a:lnTo>
                  <a:lnTo>
                    <a:pt x="190628" y="27431"/>
                  </a:lnTo>
                  <a:lnTo>
                    <a:pt x="182499" y="26669"/>
                  </a:lnTo>
                  <a:lnTo>
                    <a:pt x="175515" y="24256"/>
                  </a:lnTo>
                  <a:lnTo>
                    <a:pt x="168403" y="20319"/>
                  </a:lnTo>
                  <a:lnTo>
                    <a:pt x="164339" y="15620"/>
                  </a:lnTo>
                  <a:lnTo>
                    <a:pt x="159385" y="20319"/>
                  </a:lnTo>
                  <a:lnTo>
                    <a:pt x="153290" y="24256"/>
                  </a:lnTo>
                  <a:lnTo>
                    <a:pt x="145289" y="26669"/>
                  </a:lnTo>
                  <a:lnTo>
                    <a:pt x="137160" y="27431"/>
                  </a:lnTo>
                  <a:lnTo>
                    <a:pt x="129032" y="26669"/>
                  </a:lnTo>
                  <a:lnTo>
                    <a:pt x="122047" y="24256"/>
                  </a:lnTo>
                  <a:lnTo>
                    <a:pt x="115952" y="20319"/>
                  </a:lnTo>
                  <a:lnTo>
                    <a:pt x="110998" y="15620"/>
                  </a:lnTo>
                  <a:lnTo>
                    <a:pt x="105919" y="20319"/>
                  </a:lnTo>
                  <a:lnTo>
                    <a:pt x="99822" y="24256"/>
                  </a:lnTo>
                  <a:lnTo>
                    <a:pt x="92837" y="26669"/>
                  </a:lnTo>
                  <a:lnTo>
                    <a:pt x="84709" y="27431"/>
                  </a:lnTo>
                  <a:lnTo>
                    <a:pt x="76708" y="26669"/>
                  </a:lnTo>
                  <a:lnTo>
                    <a:pt x="68581" y="24256"/>
                  </a:lnTo>
                  <a:lnTo>
                    <a:pt x="62484" y="20319"/>
                  </a:lnTo>
                  <a:lnTo>
                    <a:pt x="57532" y="15620"/>
                  </a:lnTo>
                  <a:lnTo>
                    <a:pt x="52452" y="20319"/>
                  </a:lnTo>
                  <a:lnTo>
                    <a:pt x="46356" y="24256"/>
                  </a:lnTo>
                  <a:lnTo>
                    <a:pt x="39370" y="26669"/>
                  </a:lnTo>
                  <a:lnTo>
                    <a:pt x="31243" y="27431"/>
                  </a:lnTo>
                  <a:lnTo>
                    <a:pt x="25273" y="26669"/>
                  </a:lnTo>
                  <a:lnTo>
                    <a:pt x="19178" y="25907"/>
                  </a:lnTo>
                  <a:lnTo>
                    <a:pt x="14097" y="23494"/>
                  </a:lnTo>
                  <a:lnTo>
                    <a:pt x="9018" y="20319"/>
                  </a:lnTo>
                  <a:lnTo>
                    <a:pt x="5081" y="16510"/>
                  </a:lnTo>
                  <a:lnTo>
                    <a:pt x="3048" y="12573"/>
                  </a:lnTo>
                  <a:lnTo>
                    <a:pt x="1017" y="7874"/>
                  </a:lnTo>
                  <a:lnTo>
                    <a:pt x="0" y="3175"/>
                  </a:lnTo>
                  <a:lnTo>
                    <a:pt x="0" y="0"/>
                  </a:lnTo>
                  <a:lnTo>
                    <a:pt x="9018" y="0"/>
                  </a:lnTo>
                  <a:lnTo>
                    <a:pt x="9018" y="3175"/>
                  </a:lnTo>
                  <a:lnTo>
                    <a:pt x="10033" y="7112"/>
                  </a:lnTo>
                  <a:lnTo>
                    <a:pt x="11049" y="10160"/>
                  </a:lnTo>
                  <a:lnTo>
                    <a:pt x="13082" y="12573"/>
                  </a:lnTo>
                  <a:lnTo>
                    <a:pt x="16130" y="15620"/>
                  </a:lnTo>
                  <a:lnTo>
                    <a:pt x="19178" y="17271"/>
                  </a:lnTo>
                  <a:lnTo>
                    <a:pt x="23242" y="18795"/>
                  </a:lnTo>
                  <a:lnTo>
                    <a:pt x="27179" y="19557"/>
                  </a:lnTo>
                  <a:lnTo>
                    <a:pt x="31243" y="20319"/>
                  </a:lnTo>
                  <a:lnTo>
                    <a:pt x="35307" y="19557"/>
                  </a:lnTo>
                  <a:lnTo>
                    <a:pt x="40386" y="18795"/>
                  </a:lnTo>
                  <a:lnTo>
                    <a:pt x="43307" y="17271"/>
                  </a:lnTo>
                  <a:lnTo>
                    <a:pt x="46356" y="15620"/>
                  </a:lnTo>
                  <a:lnTo>
                    <a:pt x="49404" y="12573"/>
                  </a:lnTo>
                  <a:lnTo>
                    <a:pt x="51435" y="10160"/>
                  </a:lnTo>
                  <a:lnTo>
                    <a:pt x="52452" y="7112"/>
                  </a:lnTo>
                  <a:lnTo>
                    <a:pt x="53468" y="3175"/>
                  </a:lnTo>
                  <a:lnTo>
                    <a:pt x="62484" y="3175"/>
                  </a:lnTo>
                  <a:lnTo>
                    <a:pt x="62484" y="7112"/>
                  </a:lnTo>
                  <a:lnTo>
                    <a:pt x="64517" y="10160"/>
                  </a:lnTo>
                  <a:lnTo>
                    <a:pt x="66548" y="12573"/>
                  </a:lnTo>
                  <a:lnTo>
                    <a:pt x="68581" y="15620"/>
                  </a:lnTo>
                  <a:lnTo>
                    <a:pt x="71629" y="17271"/>
                  </a:lnTo>
                  <a:lnTo>
                    <a:pt x="75693" y="18795"/>
                  </a:lnTo>
                  <a:lnTo>
                    <a:pt x="79630" y="19557"/>
                  </a:lnTo>
                  <a:lnTo>
                    <a:pt x="84709" y="20319"/>
                  </a:lnTo>
                  <a:lnTo>
                    <a:pt x="88773" y="19557"/>
                  </a:lnTo>
                  <a:lnTo>
                    <a:pt x="92837" y="18795"/>
                  </a:lnTo>
                  <a:lnTo>
                    <a:pt x="96774" y="17271"/>
                  </a:lnTo>
                  <a:lnTo>
                    <a:pt x="99822" y="15620"/>
                  </a:lnTo>
                  <a:lnTo>
                    <a:pt x="102870" y="12573"/>
                  </a:lnTo>
                  <a:lnTo>
                    <a:pt x="104903" y="10160"/>
                  </a:lnTo>
                  <a:lnTo>
                    <a:pt x="105919" y="7112"/>
                  </a:lnTo>
                  <a:lnTo>
                    <a:pt x="105919" y="3175"/>
                  </a:lnTo>
                  <a:lnTo>
                    <a:pt x="114935" y="3175"/>
                  </a:lnTo>
                  <a:lnTo>
                    <a:pt x="115952" y="7112"/>
                  </a:lnTo>
                  <a:lnTo>
                    <a:pt x="116968" y="10160"/>
                  </a:lnTo>
                  <a:lnTo>
                    <a:pt x="118999" y="12573"/>
                  </a:lnTo>
                  <a:lnTo>
                    <a:pt x="122047" y="15620"/>
                  </a:lnTo>
                  <a:lnTo>
                    <a:pt x="125095" y="17271"/>
                  </a:lnTo>
                  <a:lnTo>
                    <a:pt x="129032" y="18795"/>
                  </a:lnTo>
                  <a:lnTo>
                    <a:pt x="133096" y="19557"/>
                  </a:lnTo>
                  <a:lnTo>
                    <a:pt x="137160" y="20319"/>
                  </a:lnTo>
                  <a:lnTo>
                    <a:pt x="142241" y="19557"/>
                  </a:lnTo>
                  <a:lnTo>
                    <a:pt x="146178" y="18795"/>
                  </a:lnTo>
                  <a:lnTo>
                    <a:pt x="149225" y="17271"/>
                  </a:lnTo>
                  <a:lnTo>
                    <a:pt x="153290" y="15620"/>
                  </a:lnTo>
                  <a:lnTo>
                    <a:pt x="155321" y="12573"/>
                  </a:lnTo>
                  <a:lnTo>
                    <a:pt x="157354" y="10160"/>
                  </a:lnTo>
                  <a:lnTo>
                    <a:pt x="159385" y="7112"/>
                  </a:lnTo>
                  <a:lnTo>
                    <a:pt x="159385" y="3175"/>
                  </a:lnTo>
                  <a:lnTo>
                    <a:pt x="168403" y="3175"/>
                  </a:lnTo>
                  <a:lnTo>
                    <a:pt x="168403" y="7112"/>
                  </a:lnTo>
                  <a:lnTo>
                    <a:pt x="170434" y="10160"/>
                  </a:lnTo>
                  <a:lnTo>
                    <a:pt x="172467" y="12573"/>
                  </a:lnTo>
                  <a:lnTo>
                    <a:pt x="174498" y="15620"/>
                  </a:lnTo>
                  <a:lnTo>
                    <a:pt x="178562" y="17271"/>
                  </a:lnTo>
                  <a:lnTo>
                    <a:pt x="181483" y="18795"/>
                  </a:lnTo>
                  <a:lnTo>
                    <a:pt x="185547" y="19557"/>
                  </a:lnTo>
                  <a:lnTo>
                    <a:pt x="190628" y="20319"/>
                  </a:lnTo>
                  <a:lnTo>
                    <a:pt x="194692" y="19557"/>
                  </a:lnTo>
                  <a:lnTo>
                    <a:pt x="198629" y="18795"/>
                  </a:lnTo>
                  <a:lnTo>
                    <a:pt x="202693" y="17271"/>
                  </a:lnTo>
                  <a:lnTo>
                    <a:pt x="205741" y="15620"/>
                  </a:lnTo>
                  <a:lnTo>
                    <a:pt x="208789" y="12573"/>
                  </a:lnTo>
                  <a:lnTo>
                    <a:pt x="210820" y="10160"/>
                  </a:lnTo>
                  <a:lnTo>
                    <a:pt x="211836" y="7112"/>
                  </a:lnTo>
                  <a:lnTo>
                    <a:pt x="212853" y="3175"/>
                  </a:lnTo>
                  <a:lnTo>
                    <a:pt x="221870" y="3175"/>
                  </a:lnTo>
                  <a:lnTo>
                    <a:pt x="221870" y="7112"/>
                  </a:lnTo>
                  <a:lnTo>
                    <a:pt x="222885" y="10160"/>
                  </a:lnTo>
                  <a:lnTo>
                    <a:pt x="224918" y="12573"/>
                  </a:lnTo>
                  <a:lnTo>
                    <a:pt x="227966" y="15620"/>
                  </a:lnTo>
                  <a:lnTo>
                    <a:pt x="231014" y="17271"/>
                  </a:lnTo>
                  <a:lnTo>
                    <a:pt x="234950" y="18795"/>
                  </a:lnTo>
                  <a:lnTo>
                    <a:pt x="239015" y="19557"/>
                  </a:lnTo>
                  <a:lnTo>
                    <a:pt x="243079" y="20319"/>
                  </a:lnTo>
                  <a:lnTo>
                    <a:pt x="248158" y="19557"/>
                  </a:lnTo>
                  <a:lnTo>
                    <a:pt x="252095" y="18795"/>
                  </a:lnTo>
                  <a:lnTo>
                    <a:pt x="256159" y="17271"/>
                  </a:lnTo>
                  <a:lnTo>
                    <a:pt x="259207" y="15620"/>
                  </a:lnTo>
                  <a:lnTo>
                    <a:pt x="261240" y="12573"/>
                  </a:lnTo>
                  <a:lnTo>
                    <a:pt x="263271" y="10160"/>
                  </a:lnTo>
                  <a:lnTo>
                    <a:pt x="265304" y="7112"/>
                  </a:lnTo>
                  <a:lnTo>
                    <a:pt x="265304" y="3175"/>
                  </a:lnTo>
                  <a:lnTo>
                    <a:pt x="265304" y="0"/>
                  </a:lnTo>
                  <a:lnTo>
                    <a:pt x="274320" y="0"/>
                  </a:lnTo>
                  <a:lnTo>
                    <a:pt x="274320" y="3175"/>
                  </a:lnTo>
                  <a:lnTo>
                    <a:pt x="274320" y="7874"/>
                  </a:lnTo>
                  <a:lnTo>
                    <a:pt x="272289" y="12573"/>
                  </a:lnTo>
                  <a:lnTo>
                    <a:pt x="269241" y="16510"/>
                  </a:lnTo>
                  <a:lnTo>
                    <a:pt x="265304" y="20319"/>
                  </a:lnTo>
                  <a:lnTo>
                    <a:pt x="261240" y="23494"/>
                  </a:lnTo>
                  <a:lnTo>
                    <a:pt x="255144" y="25907"/>
                  </a:lnTo>
                  <a:lnTo>
                    <a:pt x="250064" y="26669"/>
                  </a:lnTo>
                  <a:lnTo>
                    <a:pt x="243079" y="27431"/>
                  </a:lnTo>
                  <a:close/>
                  <a:moveTo>
                    <a:pt x="-7662671" y="3395471"/>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54" name="Freeform 1454"/>
            <p:cNvSpPr/>
            <p:nvPr/>
          </p:nvSpPr>
          <p:spPr>
            <a:xfrm>
              <a:off x="11003773" y="3415455"/>
              <a:ext cx="322920" cy="173647"/>
            </a:xfrm>
            <a:custGeom>
              <a:avLst/>
              <a:gdLst/>
              <a:ahLst/>
              <a:cxnLst/>
              <a:rect l="0" t="0" r="0" b="0"/>
              <a:pathLst>
                <a:path w="323088" h="173737">
                  <a:moveTo>
                    <a:pt x="256286" y="173737"/>
                  </a:moveTo>
                  <a:lnTo>
                    <a:pt x="248157" y="170562"/>
                  </a:lnTo>
                  <a:lnTo>
                    <a:pt x="310895" y="62231"/>
                  </a:lnTo>
                  <a:lnTo>
                    <a:pt x="162052" y="8129"/>
                  </a:lnTo>
                  <a:lnTo>
                    <a:pt x="12191" y="62231"/>
                  </a:lnTo>
                  <a:lnTo>
                    <a:pt x="73914" y="170562"/>
                  </a:lnTo>
                  <a:lnTo>
                    <a:pt x="65786" y="173737"/>
                  </a:lnTo>
                  <a:lnTo>
                    <a:pt x="0" y="58929"/>
                  </a:lnTo>
                  <a:lnTo>
                    <a:pt x="162052" y="0"/>
                  </a:lnTo>
                  <a:lnTo>
                    <a:pt x="323088" y="58929"/>
                  </a:lnTo>
                  <a:lnTo>
                    <a:pt x="256286" y="173737"/>
                  </a:lnTo>
                  <a:close/>
                  <a:moveTo>
                    <a:pt x="-7601713" y="3578352"/>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55" name="Freeform 1455"/>
            <p:cNvSpPr/>
            <p:nvPr/>
          </p:nvSpPr>
          <p:spPr>
            <a:xfrm>
              <a:off x="11159141" y="3418501"/>
              <a:ext cx="9138" cy="167553"/>
            </a:xfrm>
            <a:custGeom>
              <a:avLst/>
              <a:gdLst/>
              <a:ahLst/>
              <a:cxnLst/>
              <a:rect l="0" t="0" r="0" b="0"/>
              <a:pathLst>
                <a:path w="9143" h="167640">
                  <a:moveTo>
                    <a:pt x="0" y="167640"/>
                  </a:moveTo>
                  <a:lnTo>
                    <a:pt x="9143" y="167640"/>
                  </a:lnTo>
                  <a:lnTo>
                    <a:pt x="9143" y="0"/>
                  </a:lnTo>
                  <a:lnTo>
                    <a:pt x="0" y="0"/>
                  </a:lnTo>
                  <a:lnTo>
                    <a:pt x="0" y="167640"/>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56" name="Freeform 1456"/>
            <p:cNvSpPr/>
            <p:nvPr/>
          </p:nvSpPr>
          <p:spPr>
            <a:xfrm>
              <a:off x="11055563" y="3384991"/>
              <a:ext cx="219343" cy="73115"/>
            </a:xfrm>
            <a:custGeom>
              <a:avLst/>
              <a:gdLst/>
              <a:ahLst/>
              <a:cxnLst/>
              <a:rect l="0" t="0" r="0" b="0"/>
              <a:pathLst>
                <a:path w="219457" h="73153">
                  <a:moveTo>
                    <a:pt x="219457" y="73153"/>
                  </a:moveTo>
                  <a:lnTo>
                    <a:pt x="210313" y="73153"/>
                  </a:lnTo>
                  <a:lnTo>
                    <a:pt x="210313" y="11430"/>
                  </a:lnTo>
                  <a:lnTo>
                    <a:pt x="209297" y="9779"/>
                  </a:lnTo>
                  <a:lnTo>
                    <a:pt x="208280" y="8129"/>
                  </a:lnTo>
                  <a:lnTo>
                    <a:pt x="207264" y="7367"/>
                  </a:lnTo>
                  <a:lnTo>
                    <a:pt x="205360" y="7367"/>
                  </a:lnTo>
                  <a:lnTo>
                    <a:pt x="14098" y="7367"/>
                  </a:lnTo>
                  <a:lnTo>
                    <a:pt x="12192" y="7367"/>
                  </a:lnTo>
                  <a:lnTo>
                    <a:pt x="10161" y="8129"/>
                  </a:lnTo>
                  <a:lnTo>
                    <a:pt x="9145" y="9779"/>
                  </a:lnTo>
                  <a:lnTo>
                    <a:pt x="9145" y="11430"/>
                  </a:lnTo>
                  <a:lnTo>
                    <a:pt x="9145" y="73153"/>
                  </a:lnTo>
                  <a:lnTo>
                    <a:pt x="0" y="73153"/>
                  </a:lnTo>
                  <a:lnTo>
                    <a:pt x="0" y="11430"/>
                  </a:lnTo>
                  <a:lnTo>
                    <a:pt x="1016" y="7367"/>
                  </a:lnTo>
                  <a:lnTo>
                    <a:pt x="4064" y="3303"/>
                  </a:lnTo>
                  <a:lnTo>
                    <a:pt x="8128" y="762"/>
                  </a:lnTo>
                  <a:lnTo>
                    <a:pt x="14098" y="0"/>
                  </a:lnTo>
                  <a:lnTo>
                    <a:pt x="205360" y="0"/>
                  </a:lnTo>
                  <a:lnTo>
                    <a:pt x="210313" y="762"/>
                  </a:lnTo>
                  <a:lnTo>
                    <a:pt x="215392" y="3303"/>
                  </a:lnTo>
                  <a:lnTo>
                    <a:pt x="218440" y="7367"/>
                  </a:lnTo>
                  <a:lnTo>
                    <a:pt x="219457" y="11430"/>
                  </a:lnTo>
                  <a:lnTo>
                    <a:pt x="219457" y="73153"/>
                  </a:lnTo>
                  <a:close/>
                  <a:moveTo>
                    <a:pt x="-7522464" y="3608832"/>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57" name="Freeform 1457"/>
            <p:cNvSpPr/>
            <p:nvPr/>
          </p:nvSpPr>
          <p:spPr>
            <a:xfrm>
              <a:off x="11098212" y="3360620"/>
              <a:ext cx="130996" cy="33510"/>
            </a:xfrm>
            <a:custGeom>
              <a:avLst/>
              <a:gdLst/>
              <a:ahLst/>
              <a:cxnLst/>
              <a:rect l="0" t="0" r="0" b="0"/>
              <a:pathLst>
                <a:path w="131064" h="33527">
                  <a:moveTo>
                    <a:pt x="131064" y="33527"/>
                  </a:moveTo>
                  <a:lnTo>
                    <a:pt x="0" y="33527"/>
                  </a:lnTo>
                  <a:lnTo>
                    <a:pt x="0" y="11175"/>
                  </a:lnTo>
                  <a:lnTo>
                    <a:pt x="1015" y="6857"/>
                  </a:lnTo>
                  <a:lnTo>
                    <a:pt x="3937" y="3429"/>
                  </a:lnTo>
                  <a:lnTo>
                    <a:pt x="8001" y="888"/>
                  </a:lnTo>
                  <a:lnTo>
                    <a:pt x="12953" y="0"/>
                  </a:lnTo>
                  <a:lnTo>
                    <a:pt x="119126" y="0"/>
                  </a:lnTo>
                  <a:lnTo>
                    <a:pt x="123063" y="888"/>
                  </a:lnTo>
                  <a:lnTo>
                    <a:pt x="127127" y="3429"/>
                  </a:lnTo>
                  <a:lnTo>
                    <a:pt x="130048" y="6857"/>
                  </a:lnTo>
                  <a:lnTo>
                    <a:pt x="131064" y="11175"/>
                  </a:lnTo>
                  <a:lnTo>
                    <a:pt x="131064" y="33527"/>
                  </a:lnTo>
                  <a:close/>
                  <a:moveTo>
                    <a:pt x="-7501128" y="3633215"/>
                  </a:moveTo>
                  <a:moveTo>
                    <a:pt x="8890" y="25781"/>
                  </a:moveTo>
                  <a:lnTo>
                    <a:pt x="122174" y="25781"/>
                  </a:lnTo>
                  <a:lnTo>
                    <a:pt x="122174" y="11175"/>
                  </a:lnTo>
                  <a:lnTo>
                    <a:pt x="121157" y="8636"/>
                  </a:lnTo>
                  <a:lnTo>
                    <a:pt x="119126" y="7746"/>
                  </a:lnTo>
                  <a:lnTo>
                    <a:pt x="12953" y="7746"/>
                  </a:lnTo>
                  <a:lnTo>
                    <a:pt x="9905" y="8636"/>
                  </a:lnTo>
                  <a:lnTo>
                    <a:pt x="8890" y="11175"/>
                  </a:lnTo>
                  <a:lnTo>
                    <a:pt x="8890" y="25781"/>
                  </a:lnTo>
                  <a:close/>
                  <a:moveTo>
                    <a:pt x="-7493382" y="3633215"/>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58" name="Freeform 1458"/>
            <p:cNvSpPr/>
            <p:nvPr/>
          </p:nvSpPr>
          <p:spPr>
            <a:xfrm>
              <a:off x="11159141" y="3321017"/>
              <a:ext cx="9138" cy="48743"/>
            </a:xfrm>
            <a:custGeom>
              <a:avLst/>
              <a:gdLst/>
              <a:ahLst/>
              <a:cxnLst/>
              <a:rect l="0" t="0" r="0" b="0"/>
              <a:pathLst>
                <a:path w="9143" h="48768">
                  <a:moveTo>
                    <a:pt x="0" y="48768"/>
                  </a:moveTo>
                  <a:lnTo>
                    <a:pt x="9143" y="48768"/>
                  </a:lnTo>
                  <a:lnTo>
                    <a:pt x="9143" y="0"/>
                  </a:lnTo>
                  <a:lnTo>
                    <a:pt x="0" y="0"/>
                  </a:lnTo>
                  <a:lnTo>
                    <a:pt x="0" y="48768"/>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59" name="Freeform 1459"/>
            <p:cNvSpPr/>
            <p:nvPr/>
          </p:nvSpPr>
          <p:spPr>
            <a:xfrm>
              <a:off x="11046424" y="3473337"/>
              <a:ext cx="36557" cy="30465"/>
            </a:xfrm>
            <a:custGeom>
              <a:avLst/>
              <a:gdLst/>
              <a:ahLst/>
              <a:cxnLst/>
              <a:rect l="0" t="0" r="0" b="0"/>
              <a:pathLst>
                <a:path w="36576" h="30481">
                  <a:moveTo>
                    <a:pt x="18288" y="30481"/>
                  </a:moveTo>
                  <a:lnTo>
                    <a:pt x="18288" y="30481"/>
                  </a:lnTo>
                  <a:lnTo>
                    <a:pt x="14223" y="29719"/>
                  </a:lnTo>
                  <a:lnTo>
                    <a:pt x="11176" y="28830"/>
                  </a:lnTo>
                  <a:lnTo>
                    <a:pt x="8128" y="28068"/>
                  </a:lnTo>
                  <a:lnTo>
                    <a:pt x="5080" y="25527"/>
                  </a:lnTo>
                  <a:lnTo>
                    <a:pt x="3047" y="23876"/>
                  </a:lnTo>
                  <a:lnTo>
                    <a:pt x="1016" y="21463"/>
                  </a:lnTo>
                  <a:lnTo>
                    <a:pt x="0" y="18162"/>
                  </a:lnTo>
                  <a:lnTo>
                    <a:pt x="0" y="14860"/>
                  </a:lnTo>
                  <a:lnTo>
                    <a:pt x="0" y="12319"/>
                  </a:lnTo>
                  <a:lnTo>
                    <a:pt x="1016" y="9018"/>
                  </a:lnTo>
                  <a:lnTo>
                    <a:pt x="3047" y="6605"/>
                  </a:lnTo>
                  <a:lnTo>
                    <a:pt x="5080" y="4064"/>
                  </a:lnTo>
                  <a:lnTo>
                    <a:pt x="8128" y="2413"/>
                  </a:lnTo>
                  <a:lnTo>
                    <a:pt x="11176" y="762"/>
                  </a:lnTo>
                  <a:lnTo>
                    <a:pt x="14223" y="0"/>
                  </a:lnTo>
                  <a:lnTo>
                    <a:pt x="18288" y="0"/>
                  </a:lnTo>
                  <a:lnTo>
                    <a:pt x="22352" y="0"/>
                  </a:lnTo>
                  <a:lnTo>
                    <a:pt x="25400" y="762"/>
                  </a:lnTo>
                  <a:lnTo>
                    <a:pt x="28447" y="2413"/>
                  </a:lnTo>
                  <a:lnTo>
                    <a:pt x="31495" y="4064"/>
                  </a:lnTo>
                  <a:lnTo>
                    <a:pt x="33528" y="6605"/>
                  </a:lnTo>
                  <a:lnTo>
                    <a:pt x="35559" y="9018"/>
                  </a:lnTo>
                  <a:lnTo>
                    <a:pt x="36576" y="12319"/>
                  </a:lnTo>
                  <a:lnTo>
                    <a:pt x="36576" y="14860"/>
                  </a:lnTo>
                  <a:lnTo>
                    <a:pt x="36576" y="18162"/>
                  </a:lnTo>
                  <a:lnTo>
                    <a:pt x="35559" y="21463"/>
                  </a:lnTo>
                  <a:lnTo>
                    <a:pt x="33528" y="23876"/>
                  </a:lnTo>
                  <a:lnTo>
                    <a:pt x="31495" y="25527"/>
                  </a:lnTo>
                  <a:lnTo>
                    <a:pt x="28447" y="28068"/>
                  </a:lnTo>
                  <a:lnTo>
                    <a:pt x="25400" y="28830"/>
                  </a:lnTo>
                  <a:lnTo>
                    <a:pt x="22352" y="29719"/>
                  </a:lnTo>
                  <a:lnTo>
                    <a:pt x="18288" y="30481"/>
                  </a:lnTo>
                  <a:close/>
                  <a:moveTo>
                    <a:pt x="-7559041" y="3520440"/>
                  </a:moveTo>
                  <a:moveTo>
                    <a:pt x="18288" y="7367"/>
                  </a:moveTo>
                  <a:lnTo>
                    <a:pt x="18288" y="7367"/>
                  </a:lnTo>
                  <a:lnTo>
                    <a:pt x="14223" y="8256"/>
                  </a:lnTo>
                  <a:lnTo>
                    <a:pt x="11176" y="9906"/>
                  </a:lnTo>
                  <a:lnTo>
                    <a:pt x="9143" y="12319"/>
                  </a:lnTo>
                  <a:lnTo>
                    <a:pt x="9143" y="14860"/>
                  </a:lnTo>
                  <a:lnTo>
                    <a:pt x="9143" y="18162"/>
                  </a:lnTo>
                  <a:lnTo>
                    <a:pt x="11176" y="20575"/>
                  </a:lnTo>
                  <a:lnTo>
                    <a:pt x="14223" y="22225"/>
                  </a:lnTo>
                  <a:lnTo>
                    <a:pt x="18288" y="23114"/>
                  </a:lnTo>
                  <a:lnTo>
                    <a:pt x="22352" y="22225"/>
                  </a:lnTo>
                  <a:lnTo>
                    <a:pt x="25400" y="20575"/>
                  </a:lnTo>
                  <a:lnTo>
                    <a:pt x="27431" y="18162"/>
                  </a:lnTo>
                  <a:lnTo>
                    <a:pt x="27431" y="14860"/>
                  </a:lnTo>
                  <a:lnTo>
                    <a:pt x="27431" y="12319"/>
                  </a:lnTo>
                  <a:lnTo>
                    <a:pt x="25400" y="9906"/>
                  </a:lnTo>
                  <a:lnTo>
                    <a:pt x="22352" y="8256"/>
                  </a:lnTo>
                  <a:lnTo>
                    <a:pt x="18288" y="7367"/>
                  </a:lnTo>
                  <a:close/>
                  <a:moveTo>
                    <a:pt x="-7535927" y="352044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60" name="Freeform 1460"/>
            <p:cNvSpPr/>
            <p:nvPr/>
          </p:nvSpPr>
          <p:spPr>
            <a:xfrm>
              <a:off x="11244440" y="3473337"/>
              <a:ext cx="36557" cy="30465"/>
            </a:xfrm>
            <a:custGeom>
              <a:avLst/>
              <a:gdLst/>
              <a:ahLst/>
              <a:cxnLst/>
              <a:rect l="0" t="0" r="0" b="0"/>
              <a:pathLst>
                <a:path w="36576" h="30481">
                  <a:moveTo>
                    <a:pt x="17781" y="30481"/>
                  </a:moveTo>
                  <a:lnTo>
                    <a:pt x="17781" y="30481"/>
                  </a:lnTo>
                  <a:lnTo>
                    <a:pt x="14860" y="29719"/>
                  </a:lnTo>
                  <a:lnTo>
                    <a:pt x="10923" y="28830"/>
                  </a:lnTo>
                  <a:lnTo>
                    <a:pt x="7874" y="28068"/>
                  </a:lnTo>
                  <a:lnTo>
                    <a:pt x="4953" y="25527"/>
                  </a:lnTo>
                  <a:lnTo>
                    <a:pt x="2922" y="23876"/>
                  </a:lnTo>
                  <a:lnTo>
                    <a:pt x="2033" y="21463"/>
                  </a:lnTo>
                  <a:lnTo>
                    <a:pt x="0" y="18162"/>
                  </a:lnTo>
                  <a:lnTo>
                    <a:pt x="0" y="14860"/>
                  </a:lnTo>
                  <a:lnTo>
                    <a:pt x="0" y="12319"/>
                  </a:lnTo>
                  <a:lnTo>
                    <a:pt x="2033" y="9018"/>
                  </a:lnTo>
                  <a:lnTo>
                    <a:pt x="2922" y="6605"/>
                  </a:lnTo>
                  <a:lnTo>
                    <a:pt x="4953" y="4064"/>
                  </a:lnTo>
                  <a:lnTo>
                    <a:pt x="7874" y="2413"/>
                  </a:lnTo>
                  <a:lnTo>
                    <a:pt x="10923" y="762"/>
                  </a:lnTo>
                  <a:lnTo>
                    <a:pt x="14860" y="0"/>
                  </a:lnTo>
                  <a:lnTo>
                    <a:pt x="17781" y="0"/>
                  </a:lnTo>
                  <a:lnTo>
                    <a:pt x="21717" y="0"/>
                  </a:lnTo>
                  <a:lnTo>
                    <a:pt x="25654" y="762"/>
                  </a:lnTo>
                  <a:lnTo>
                    <a:pt x="28702" y="2413"/>
                  </a:lnTo>
                  <a:lnTo>
                    <a:pt x="30608" y="4064"/>
                  </a:lnTo>
                  <a:lnTo>
                    <a:pt x="33656" y="6605"/>
                  </a:lnTo>
                  <a:lnTo>
                    <a:pt x="34545" y="9018"/>
                  </a:lnTo>
                  <a:lnTo>
                    <a:pt x="35561" y="12319"/>
                  </a:lnTo>
                  <a:lnTo>
                    <a:pt x="36576" y="14860"/>
                  </a:lnTo>
                  <a:lnTo>
                    <a:pt x="35561" y="18162"/>
                  </a:lnTo>
                  <a:lnTo>
                    <a:pt x="34545" y="21463"/>
                  </a:lnTo>
                  <a:lnTo>
                    <a:pt x="33656" y="23876"/>
                  </a:lnTo>
                  <a:lnTo>
                    <a:pt x="30608" y="25527"/>
                  </a:lnTo>
                  <a:lnTo>
                    <a:pt x="28702" y="28068"/>
                  </a:lnTo>
                  <a:lnTo>
                    <a:pt x="25654" y="28830"/>
                  </a:lnTo>
                  <a:lnTo>
                    <a:pt x="21717" y="29719"/>
                  </a:lnTo>
                  <a:lnTo>
                    <a:pt x="17781" y="30481"/>
                  </a:lnTo>
                  <a:close/>
                  <a:moveTo>
                    <a:pt x="-7757160" y="3520440"/>
                  </a:moveTo>
                  <a:moveTo>
                    <a:pt x="17781" y="7367"/>
                  </a:moveTo>
                  <a:lnTo>
                    <a:pt x="17781" y="7367"/>
                  </a:lnTo>
                  <a:lnTo>
                    <a:pt x="14860" y="8256"/>
                  </a:lnTo>
                  <a:lnTo>
                    <a:pt x="11812" y="9906"/>
                  </a:lnTo>
                  <a:lnTo>
                    <a:pt x="9907" y="12319"/>
                  </a:lnTo>
                  <a:lnTo>
                    <a:pt x="8890" y="14860"/>
                  </a:lnTo>
                  <a:lnTo>
                    <a:pt x="9907" y="18162"/>
                  </a:lnTo>
                  <a:lnTo>
                    <a:pt x="11812" y="20575"/>
                  </a:lnTo>
                  <a:lnTo>
                    <a:pt x="14860" y="22225"/>
                  </a:lnTo>
                  <a:lnTo>
                    <a:pt x="17781" y="23114"/>
                  </a:lnTo>
                  <a:lnTo>
                    <a:pt x="21717" y="22225"/>
                  </a:lnTo>
                  <a:lnTo>
                    <a:pt x="24765" y="20575"/>
                  </a:lnTo>
                  <a:lnTo>
                    <a:pt x="26671" y="18162"/>
                  </a:lnTo>
                  <a:lnTo>
                    <a:pt x="27687" y="14860"/>
                  </a:lnTo>
                  <a:lnTo>
                    <a:pt x="26671" y="12319"/>
                  </a:lnTo>
                  <a:lnTo>
                    <a:pt x="24765" y="9906"/>
                  </a:lnTo>
                  <a:lnTo>
                    <a:pt x="21717" y="8256"/>
                  </a:lnTo>
                  <a:lnTo>
                    <a:pt x="17781" y="7367"/>
                  </a:lnTo>
                  <a:close/>
                  <a:moveTo>
                    <a:pt x="-7734046" y="352044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61" name="Freeform 1461"/>
            <p:cNvSpPr/>
            <p:nvPr/>
          </p:nvSpPr>
          <p:spPr>
            <a:xfrm>
              <a:off x="11009865" y="3843312"/>
              <a:ext cx="310734" cy="261992"/>
            </a:xfrm>
            <a:custGeom>
              <a:avLst/>
              <a:gdLst/>
              <a:ahLst/>
              <a:cxnLst/>
              <a:rect l="0" t="0" r="0" b="0"/>
              <a:pathLst>
                <a:path w="310896" h="262128">
                  <a:moveTo>
                    <a:pt x="283083" y="262128"/>
                  </a:moveTo>
                  <a:lnTo>
                    <a:pt x="27813" y="262128"/>
                  </a:lnTo>
                  <a:lnTo>
                    <a:pt x="22225" y="261493"/>
                  </a:lnTo>
                  <a:lnTo>
                    <a:pt x="16637" y="260731"/>
                  </a:lnTo>
                  <a:lnTo>
                    <a:pt x="12193" y="259334"/>
                  </a:lnTo>
                  <a:lnTo>
                    <a:pt x="7747" y="256540"/>
                  </a:lnTo>
                  <a:lnTo>
                    <a:pt x="4445" y="254508"/>
                  </a:lnTo>
                  <a:lnTo>
                    <a:pt x="2159" y="251715"/>
                  </a:lnTo>
                  <a:lnTo>
                    <a:pt x="0" y="248158"/>
                  </a:lnTo>
                  <a:lnTo>
                    <a:pt x="0" y="244730"/>
                  </a:lnTo>
                  <a:lnTo>
                    <a:pt x="0" y="45340"/>
                  </a:lnTo>
                  <a:lnTo>
                    <a:pt x="0" y="41149"/>
                  </a:lnTo>
                  <a:lnTo>
                    <a:pt x="1144" y="36196"/>
                  </a:lnTo>
                  <a:lnTo>
                    <a:pt x="3303" y="32131"/>
                  </a:lnTo>
                  <a:lnTo>
                    <a:pt x="5588" y="27940"/>
                  </a:lnTo>
                  <a:lnTo>
                    <a:pt x="7747" y="23749"/>
                  </a:lnTo>
                  <a:lnTo>
                    <a:pt x="12193" y="20193"/>
                  </a:lnTo>
                  <a:lnTo>
                    <a:pt x="21083" y="13208"/>
                  </a:lnTo>
                  <a:lnTo>
                    <a:pt x="31116" y="7621"/>
                  </a:lnTo>
                  <a:lnTo>
                    <a:pt x="37720" y="5589"/>
                  </a:lnTo>
                  <a:lnTo>
                    <a:pt x="43308" y="3430"/>
                  </a:lnTo>
                  <a:lnTo>
                    <a:pt x="49911" y="2033"/>
                  </a:lnTo>
                  <a:lnTo>
                    <a:pt x="57785" y="1397"/>
                  </a:lnTo>
                  <a:lnTo>
                    <a:pt x="64390" y="636"/>
                  </a:lnTo>
                  <a:lnTo>
                    <a:pt x="72136" y="0"/>
                  </a:lnTo>
                  <a:lnTo>
                    <a:pt x="238760" y="0"/>
                  </a:lnTo>
                  <a:lnTo>
                    <a:pt x="246508" y="636"/>
                  </a:lnTo>
                  <a:lnTo>
                    <a:pt x="253111" y="1397"/>
                  </a:lnTo>
                  <a:lnTo>
                    <a:pt x="259843" y="2033"/>
                  </a:lnTo>
                  <a:lnTo>
                    <a:pt x="266446" y="3430"/>
                  </a:lnTo>
                  <a:lnTo>
                    <a:pt x="273178" y="5589"/>
                  </a:lnTo>
                  <a:lnTo>
                    <a:pt x="278638" y="7621"/>
                  </a:lnTo>
                  <a:lnTo>
                    <a:pt x="289815" y="13208"/>
                  </a:lnTo>
                  <a:lnTo>
                    <a:pt x="298705" y="20193"/>
                  </a:lnTo>
                  <a:lnTo>
                    <a:pt x="302007" y="23749"/>
                  </a:lnTo>
                  <a:lnTo>
                    <a:pt x="305308" y="27940"/>
                  </a:lnTo>
                  <a:lnTo>
                    <a:pt x="307595" y="32131"/>
                  </a:lnTo>
                  <a:lnTo>
                    <a:pt x="309754" y="36196"/>
                  </a:lnTo>
                  <a:lnTo>
                    <a:pt x="310896" y="41149"/>
                  </a:lnTo>
                  <a:lnTo>
                    <a:pt x="310896" y="45340"/>
                  </a:lnTo>
                  <a:lnTo>
                    <a:pt x="310896" y="244730"/>
                  </a:lnTo>
                  <a:lnTo>
                    <a:pt x="310896" y="248158"/>
                  </a:lnTo>
                  <a:lnTo>
                    <a:pt x="308737" y="251715"/>
                  </a:lnTo>
                  <a:lnTo>
                    <a:pt x="306452" y="254508"/>
                  </a:lnTo>
                  <a:lnTo>
                    <a:pt x="303149" y="256540"/>
                  </a:lnTo>
                  <a:lnTo>
                    <a:pt x="298705" y="259334"/>
                  </a:lnTo>
                  <a:lnTo>
                    <a:pt x="294259" y="260731"/>
                  </a:lnTo>
                  <a:lnTo>
                    <a:pt x="288671" y="261493"/>
                  </a:lnTo>
                  <a:lnTo>
                    <a:pt x="283083" y="262128"/>
                  </a:lnTo>
                  <a:close/>
                  <a:moveTo>
                    <a:pt x="-8260079" y="3014472"/>
                  </a:moveTo>
                  <a:moveTo>
                    <a:pt x="72136" y="6224"/>
                  </a:moveTo>
                  <a:lnTo>
                    <a:pt x="72136" y="6224"/>
                  </a:lnTo>
                  <a:lnTo>
                    <a:pt x="58802" y="6986"/>
                  </a:lnTo>
                  <a:lnTo>
                    <a:pt x="47753" y="9780"/>
                  </a:lnTo>
                  <a:lnTo>
                    <a:pt x="36704" y="13208"/>
                  </a:lnTo>
                  <a:lnTo>
                    <a:pt x="27813" y="18162"/>
                  </a:lnTo>
                  <a:lnTo>
                    <a:pt x="19940" y="23749"/>
                  </a:lnTo>
                  <a:lnTo>
                    <a:pt x="14479" y="30734"/>
                  </a:lnTo>
                  <a:lnTo>
                    <a:pt x="11049" y="37593"/>
                  </a:lnTo>
                  <a:lnTo>
                    <a:pt x="10033" y="45340"/>
                  </a:lnTo>
                  <a:lnTo>
                    <a:pt x="10033" y="244730"/>
                  </a:lnTo>
                  <a:lnTo>
                    <a:pt x="10033" y="246762"/>
                  </a:lnTo>
                  <a:lnTo>
                    <a:pt x="11049" y="248921"/>
                  </a:lnTo>
                  <a:lnTo>
                    <a:pt x="14479" y="252349"/>
                  </a:lnTo>
                  <a:lnTo>
                    <a:pt x="19940" y="255143"/>
                  </a:lnTo>
                  <a:lnTo>
                    <a:pt x="23369" y="255143"/>
                  </a:lnTo>
                  <a:lnTo>
                    <a:pt x="27813" y="255905"/>
                  </a:lnTo>
                  <a:lnTo>
                    <a:pt x="283083" y="255905"/>
                  </a:lnTo>
                  <a:lnTo>
                    <a:pt x="286512" y="255143"/>
                  </a:lnTo>
                  <a:lnTo>
                    <a:pt x="289815" y="255143"/>
                  </a:lnTo>
                  <a:lnTo>
                    <a:pt x="296419" y="252349"/>
                  </a:lnTo>
                  <a:lnTo>
                    <a:pt x="299847" y="248921"/>
                  </a:lnTo>
                  <a:lnTo>
                    <a:pt x="300863" y="246762"/>
                  </a:lnTo>
                  <a:lnTo>
                    <a:pt x="300863" y="244730"/>
                  </a:lnTo>
                  <a:lnTo>
                    <a:pt x="300863" y="45340"/>
                  </a:lnTo>
                  <a:lnTo>
                    <a:pt x="299847" y="37593"/>
                  </a:lnTo>
                  <a:lnTo>
                    <a:pt x="296419" y="30734"/>
                  </a:lnTo>
                  <a:lnTo>
                    <a:pt x="290958" y="23749"/>
                  </a:lnTo>
                  <a:lnTo>
                    <a:pt x="283083" y="18162"/>
                  </a:lnTo>
                  <a:lnTo>
                    <a:pt x="273178" y="13208"/>
                  </a:lnTo>
                  <a:lnTo>
                    <a:pt x="263145" y="9780"/>
                  </a:lnTo>
                  <a:lnTo>
                    <a:pt x="250953" y="6986"/>
                  </a:lnTo>
                  <a:lnTo>
                    <a:pt x="238760" y="6224"/>
                  </a:lnTo>
                  <a:lnTo>
                    <a:pt x="72136" y="6224"/>
                  </a:lnTo>
                  <a:close/>
                  <a:moveTo>
                    <a:pt x="-8004175" y="3014472"/>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62" name="Freeform 1462"/>
            <p:cNvSpPr/>
            <p:nvPr/>
          </p:nvSpPr>
          <p:spPr>
            <a:xfrm>
              <a:off x="11009865" y="3989542"/>
              <a:ext cx="310734" cy="33511"/>
            </a:xfrm>
            <a:custGeom>
              <a:avLst/>
              <a:gdLst/>
              <a:ahLst/>
              <a:cxnLst/>
              <a:rect l="0" t="0" r="0" b="0"/>
              <a:pathLst>
                <a:path w="310896" h="33528">
                  <a:moveTo>
                    <a:pt x="155448" y="33528"/>
                  </a:moveTo>
                  <a:lnTo>
                    <a:pt x="155448" y="33528"/>
                  </a:lnTo>
                  <a:lnTo>
                    <a:pt x="126620" y="32766"/>
                  </a:lnTo>
                  <a:lnTo>
                    <a:pt x="98807" y="31369"/>
                  </a:lnTo>
                  <a:lnTo>
                    <a:pt x="73280" y="28575"/>
                  </a:lnTo>
                  <a:lnTo>
                    <a:pt x="48895" y="24384"/>
                  </a:lnTo>
                  <a:lnTo>
                    <a:pt x="38862" y="22351"/>
                  </a:lnTo>
                  <a:lnTo>
                    <a:pt x="28830" y="20192"/>
                  </a:lnTo>
                  <a:lnTo>
                    <a:pt x="19940" y="17398"/>
                  </a:lnTo>
                  <a:lnTo>
                    <a:pt x="13335" y="14604"/>
                  </a:lnTo>
                  <a:lnTo>
                    <a:pt x="7747" y="11175"/>
                  </a:lnTo>
                  <a:lnTo>
                    <a:pt x="3303" y="7619"/>
                  </a:lnTo>
                  <a:lnTo>
                    <a:pt x="0" y="4191"/>
                  </a:lnTo>
                  <a:lnTo>
                    <a:pt x="0" y="0"/>
                  </a:lnTo>
                  <a:lnTo>
                    <a:pt x="10033" y="0"/>
                  </a:lnTo>
                  <a:lnTo>
                    <a:pt x="10033" y="2794"/>
                  </a:lnTo>
                  <a:lnTo>
                    <a:pt x="12193" y="4825"/>
                  </a:lnTo>
                  <a:lnTo>
                    <a:pt x="15495" y="6985"/>
                  </a:lnTo>
                  <a:lnTo>
                    <a:pt x="19940" y="9778"/>
                  </a:lnTo>
                  <a:lnTo>
                    <a:pt x="25528" y="11810"/>
                  </a:lnTo>
                  <a:lnTo>
                    <a:pt x="33274" y="13969"/>
                  </a:lnTo>
                  <a:lnTo>
                    <a:pt x="49911" y="18160"/>
                  </a:lnTo>
                  <a:lnTo>
                    <a:pt x="71120" y="21590"/>
                  </a:lnTo>
                  <a:lnTo>
                    <a:pt x="96647" y="24384"/>
                  </a:lnTo>
                  <a:lnTo>
                    <a:pt x="124333" y="26542"/>
                  </a:lnTo>
                  <a:lnTo>
                    <a:pt x="155448" y="27178"/>
                  </a:lnTo>
                  <a:lnTo>
                    <a:pt x="186563" y="26542"/>
                  </a:lnTo>
                  <a:lnTo>
                    <a:pt x="214249" y="24384"/>
                  </a:lnTo>
                  <a:lnTo>
                    <a:pt x="238760" y="21590"/>
                  </a:lnTo>
                  <a:lnTo>
                    <a:pt x="260985" y="18160"/>
                  </a:lnTo>
                  <a:lnTo>
                    <a:pt x="277622" y="13969"/>
                  </a:lnTo>
                  <a:lnTo>
                    <a:pt x="284227" y="11810"/>
                  </a:lnTo>
                  <a:lnTo>
                    <a:pt x="290958" y="9778"/>
                  </a:lnTo>
                  <a:lnTo>
                    <a:pt x="295403" y="6985"/>
                  </a:lnTo>
                  <a:lnTo>
                    <a:pt x="298705" y="4825"/>
                  </a:lnTo>
                  <a:lnTo>
                    <a:pt x="300863" y="2794"/>
                  </a:lnTo>
                  <a:lnTo>
                    <a:pt x="300863" y="0"/>
                  </a:lnTo>
                  <a:lnTo>
                    <a:pt x="310896" y="0"/>
                  </a:lnTo>
                  <a:lnTo>
                    <a:pt x="309754" y="4191"/>
                  </a:lnTo>
                  <a:lnTo>
                    <a:pt x="307595" y="7619"/>
                  </a:lnTo>
                  <a:lnTo>
                    <a:pt x="303149" y="11175"/>
                  </a:lnTo>
                  <a:lnTo>
                    <a:pt x="297561" y="14604"/>
                  </a:lnTo>
                  <a:lnTo>
                    <a:pt x="289815" y="17398"/>
                  </a:lnTo>
                  <a:lnTo>
                    <a:pt x="282068" y="20192"/>
                  </a:lnTo>
                  <a:lnTo>
                    <a:pt x="272034" y="22351"/>
                  </a:lnTo>
                  <a:lnTo>
                    <a:pt x="262002" y="24384"/>
                  </a:lnTo>
                  <a:lnTo>
                    <a:pt x="237618" y="28575"/>
                  </a:lnTo>
                  <a:lnTo>
                    <a:pt x="210947" y="31369"/>
                  </a:lnTo>
                  <a:lnTo>
                    <a:pt x="183261" y="32766"/>
                  </a:lnTo>
                  <a:lnTo>
                    <a:pt x="155448" y="33528"/>
                  </a:lnTo>
                  <a:close/>
                  <a:moveTo>
                    <a:pt x="-8177784" y="286816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63" name="Freeform 1463"/>
            <p:cNvSpPr/>
            <p:nvPr/>
          </p:nvSpPr>
          <p:spPr>
            <a:xfrm>
              <a:off x="11012913" y="3895102"/>
              <a:ext cx="304641" cy="6093"/>
            </a:xfrm>
            <a:custGeom>
              <a:avLst/>
              <a:gdLst/>
              <a:ahLst/>
              <a:cxnLst/>
              <a:rect l="0" t="0" r="0" b="0"/>
              <a:pathLst>
                <a:path w="304800" h="6096">
                  <a:moveTo>
                    <a:pt x="0" y="6096"/>
                  </a:moveTo>
                  <a:lnTo>
                    <a:pt x="304800" y="6096"/>
                  </a:lnTo>
                  <a:lnTo>
                    <a:pt x="304800" y="0"/>
                  </a:lnTo>
                  <a:lnTo>
                    <a:pt x="0" y="0"/>
                  </a:lnTo>
                  <a:lnTo>
                    <a:pt x="0" y="6096"/>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64" name="Freeform 1464"/>
            <p:cNvSpPr/>
            <p:nvPr/>
          </p:nvSpPr>
          <p:spPr>
            <a:xfrm>
              <a:off x="11012913" y="4074840"/>
              <a:ext cx="304641" cy="6094"/>
            </a:xfrm>
            <a:custGeom>
              <a:avLst/>
              <a:gdLst/>
              <a:ahLst/>
              <a:cxnLst/>
              <a:rect l="0" t="0" r="0" b="0"/>
              <a:pathLst>
                <a:path w="304800" h="6097">
                  <a:moveTo>
                    <a:pt x="0" y="6097"/>
                  </a:moveTo>
                  <a:lnTo>
                    <a:pt x="304800" y="6097"/>
                  </a:lnTo>
                  <a:lnTo>
                    <a:pt x="304800" y="0"/>
                  </a:lnTo>
                  <a:lnTo>
                    <a:pt x="0" y="0"/>
                  </a:lnTo>
                  <a:lnTo>
                    <a:pt x="0" y="6097"/>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65" name="Freeform 1465"/>
            <p:cNvSpPr/>
            <p:nvPr/>
          </p:nvSpPr>
          <p:spPr>
            <a:xfrm>
              <a:off x="11104305" y="4038284"/>
              <a:ext cx="121857" cy="6093"/>
            </a:xfrm>
            <a:custGeom>
              <a:avLst/>
              <a:gdLst/>
              <a:ahLst/>
              <a:cxnLst/>
              <a:rect l="0" t="0" r="0" b="0"/>
              <a:pathLst>
                <a:path w="121920" h="6096">
                  <a:moveTo>
                    <a:pt x="117348" y="6096"/>
                  </a:moveTo>
                  <a:lnTo>
                    <a:pt x="4572" y="6096"/>
                  </a:lnTo>
                  <a:lnTo>
                    <a:pt x="2286" y="6096"/>
                  </a:lnTo>
                  <a:lnTo>
                    <a:pt x="1144" y="5461"/>
                  </a:lnTo>
                  <a:lnTo>
                    <a:pt x="0" y="4065"/>
                  </a:lnTo>
                  <a:lnTo>
                    <a:pt x="0" y="3430"/>
                  </a:lnTo>
                  <a:lnTo>
                    <a:pt x="0" y="2033"/>
                  </a:lnTo>
                  <a:lnTo>
                    <a:pt x="1144" y="636"/>
                  </a:lnTo>
                  <a:lnTo>
                    <a:pt x="2286" y="0"/>
                  </a:lnTo>
                  <a:lnTo>
                    <a:pt x="4572" y="0"/>
                  </a:lnTo>
                  <a:lnTo>
                    <a:pt x="117348" y="0"/>
                  </a:lnTo>
                  <a:lnTo>
                    <a:pt x="118492" y="0"/>
                  </a:lnTo>
                  <a:lnTo>
                    <a:pt x="120778" y="636"/>
                  </a:lnTo>
                  <a:lnTo>
                    <a:pt x="121920" y="2033"/>
                  </a:lnTo>
                  <a:lnTo>
                    <a:pt x="121920" y="3430"/>
                  </a:lnTo>
                  <a:lnTo>
                    <a:pt x="121920" y="4065"/>
                  </a:lnTo>
                  <a:lnTo>
                    <a:pt x="120778" y="5461"/>
                  </a:lnTo>
                  <a:lnTo>
                    <a:pt x="118492" y="6096"/>
                  </a:lnTo>
                  <a:lnTo>
                    <a:pt x="117348" y="6096"/>
                  </a:lnTo>
                  <a:close/>
                  <a:moveTo>
                    <a:pt x="-8293607" y="281940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66" name="Freeform 1466"/>
            <p:cNvSpPr/>
            <p:nvPr/>
          </p:nvSpPr>
          <p:spPr>
            <a:xfrm>
              <a:off x="11104305" y="4050470"/>
              <a:ext cx="121857" cy="6093"/>
            </a:xfrm>
            <a:custGeom>
              <a:avLst/>
              <a:gdLst/>
              <a:ahLst/>
              <a:cxnLst/>
              <a:rect l="0" t="0" r="0" b="0"/>
              <a:pathLst>
                <a:path w="121920" h="6096">
                  <a:moveTo>
                    <a:pt x="117348" y="6096"/>
                  </a:moveTo>
                  <a:lnTo>
                    <a:pt x="4572" y="6096"/>
                  </a:lnTo>
                  <a:lnTo>
                    <a:pt x="2286" y="6096"/>
                  </a:lnTo>
                  <a:lnTo>
                    <a:pt x="1144" y="5460"/>
                  </a:lnTo>
                  <a:lnTo>
                    <a:pt x="0" y="4063"/>
                  </a:lnTo>
                  <a:lnTo>
                    <a:pt x="0" y="3428"/>
                  </a:lnTo>
                  <a:lnTo>
                    <a:pt x="0" y="2031"/>
                  </a:lnTo>
                  <a:lnTo>
                    <a:pt x="1144" y="634"/>
                  </a:lnTo>
                  <a:lnTo>
                    <a:pt x="2286" y="0"/>
                  </a:lnTo>
                  <a:lnTo>
                    <a:pt x="4572" y="0"/>
                  </a:lnTo>
                  <a:lnTo>
                    <a:pt x="117348" y="0"/>
                  </a:lnTo>
                  <a:lnTo>
                    <a:pt x="118492" y="0"/>
                  </a:lnTo>
                  <a:lnTo>
                    <a:pt x="120778" y="634"/>
                  </a:lnTo>
                  <a:lnTo>
                    <a:pt x="121920" y="2031"/>
                  </a:lnTo>
                  <a:lnTo>
                    <a:pt x="121920" y="3428"/>
                  </a:lnTo>
                  <a:lnTo>
                    <a:pt x="121920" y="4063"/>
                  </a:lnTo>
                  <a:lnTo>
                    <a:pt x="120778" y="5460"/>
                  </a:lnTo>
                  <a:lnTo>
                    <a:pt x="118492" y="6096"/>
                  </a:lnTo>
                  <a:lnTo>
                    <a:pt x="117348" y="6096"/>
                  </a:lnTo>
                  <a:close/>
                  <a:moveTo>
                    <a:pt x="-8305800" y="280720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67" name="Freeform 1467"/>
            <p:cNvSpPr/>
            <p:nvPr/>
          </p:nvSpPr>
          <p:spPr>
            <a:xfrm>
              <a:off x="11159141" y="3898148"/>
              <a:ext cx="9138" cy="121857"/>
            </a:xfrm>
            <a:custGeom>
              <a:avLst/>
              <a:gdLst/>
              <a:ahLst/>
              <a:cxnLst/>
              <a:rect l="0" t="0" r="0" b="0"/>
              <a:pathLst>
                <a:path w="9143" h="121920">
                  <a:moveTo>
                    <a:pt x="0" y="121920"/>
                  </a:moveTo>
                  <a:lnTo>
                    <a:pt x="9143" y="121920"/>
                  </a:lnTo>
                  <a:lnTo>
                    <a:pt x="9143" y="0"/>
                  </a:lnTo>
                  <a:lnTo>
                    <a:pt x="0" y="0"/>
                  </a:lnTo>
                  <a:lnTo>
                    <a:pt x="0" y="121920"/>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68" name="Freeform 1468"/>
            <p:cNvSpPr/>
            <p:nvPr/>
          </p:nvSpPr>
          <p:spPr>
            <a:xfrm>
              <a:off x="11046425" y="4032192"/>
              <a:ext cx="42649" cy="27417"/>
            </a:xfrm>
            <a:custGeom>
              <a:avLst/>
              <a:gdLst/>
              <a:ahLst/>
              <a:cxnLst/>
              <a:rect l="0" t="0" r="0" b="0"/>
              <a:pathLst>
                <a:path w="42671" h="27431">
                  <a:moveTo>
                    <a:pt x="21335" y="27431"/>
                  </a:moveTo>
                  <a:lnTo>
                    <a:pt x="21335" y="27431"/>
                  </a:lnTo>
                  <a:lnTo>
                    <a:pt x="17018" y="26797"/>
                  </a:lnTo>
                  <a:lnTo>
                    <a:pt x="12827" y="26035"/>
                  </a:lnTo>
                  <a:lnTo>
                    <a:pt x="9652" y="24638"/>
                  </a:lnTo>
                  <a:lnTo>
                    <a:pt x="6350" y="23368"/>
                  </a:lnTo>
                  <a:lnTo>
                    <a:pt x="3175" y="21209"/>
                  </a:lnTo>
                  <a:lnTo>
                    <a:pt x="1016" y="19176"/>
                  </a:lnTo>
                  <a:lnTo>
                    <a:pt x="0" y="16510"/>
                  </a:lnTo>
                  <a:lnTo>
                    <a:pt x="0" y="13716"/>
                  </a:lnTo>
                  <a:lnTo>
                    <a:pt x="0" y="10922"/>
                  </a:lnTo>
                  <a:lnTo>
                    <a:pt x="1016" y="8254"/>
                  </a:lnTo>
                  <a:lnTo>
                    <a:pt x="3175" y="6222"/>
                  </a:lnTo>
                  <a:lnTo>
                    <a:pt x="6350" y="4063"/>
                  </a:lnTo>
                  <a:lnTo>
                    <a:pt x="9652" y="2031"/>
                  </a:lnTo>
                  <a:lnTo>
                    <a:pt x="12827" y="1397"/>
                  </a:lnTo>
                  <a:lnTo>
                    <a:pt x="17018" y="0"/>
                  </a:lnTo>
                  <a:lnTo>
                    <a:pt x="21335" y="0"/>
                  </a:lnTo>
                  <a:lnTo>
                    <a:pt x="25654" y="0"/>
                  </a:lnTo>
                  <a:lnTo>
                    <a:pt x="28829" y="1397"/>
                  </a:lnTo>
                  <a:lnTo>
                    <a:pt x="33019" y="2031"/>
                  </a:lnTo>
                  <a:lnTo>
                    <a:pt x="36321" y="4063"/>
                  </a:lnTo>
                  <a:lnTo>
                    <a:pt x="38354" y="6222"/>
                  </a:lnTo>
                  <a:lnTo>
                    <a:pt x="40513" y="8254"/>
                  </a:lnTo>
                  <a:lnTo>
                    <a:pt x="41656" y="10922"/>
                  </a:lnTo>
                  <a:lnTo>
                    <a:pt x="42671" y="13716"/>
                  </a:lnTo>
                  <a:lnTo>
                    <a:pt x="41656" y="16510"/>
                  </a:lnTo>
                  <a:lnTo>
                    <a:pt x="40513" y="19176"/>
                  </a:lnTo>
                  <a:lnTo>
                    <a:pt x="38354" y="21209"/>
                  </a:lnTo>
                  <a:lnTo>
                    <a:pt x="36321" y="23368"/>
                  </a:lnTo>
                  <a:lnTo>
                    <a:pt x="33019" y="24638"/>
                  </a:lnTo>
                  <a:lnTo>
                    <a:pt x="28829" y="26035"/>
                  </a:lnTo>
                  <a:lnTo>
                    <a:pt x="25654" y="26797"/>
                  </a:lnTo>
                  <a:lnTo>
                    <a:pt x="21335" y="27431"/>
                  </a:lnTo>
                  <a:close/>
                  <a:moveTo>
                    <a:pt x="-8250936" y="2825495"/>
                  </a:moveTo>
                  <a:moveTo>
                    <a:pt x="21335" y="6222"/>
                  </a:moveTo>
                  <a:lnTo>
                    <a:pt x="21335" y="6222"/>
                  </a:lnTo>
                  <a:lnTo>
                    <a:pt x="17018" y="6857"/>
                  </a:lnTo>
                  <a:lnTo>
                    <a:pt x="12827" y="8254"/>
                  </a:lnTo>
                  <a:lnTo>
                    <a:pt x="10668" y="10922"/>
                  </a:lnTo>
                  <a:lnTo>
                    <a:pt x="9652" y="13716"/>
                  </a:lnTo>
                  <a:lnTo>
                    <a:pt x="10668" y="16510"/>
                  </a:lnTo>
                  <a:lnTo>
                    <a:pt x="12827" y="18541"/>
                  </a:lnTo>
                  <a:lnTo>
                    <a:pt x="17018" y="20573"/>
                  </a:lnTo>
                  <a:lnTo>
                    <a:pt x="21335" y="21209"/>
                  </a:lnTo>
                  <a:lnTo>
                    <a:pt x="25654" y="20573"/>
                  </a:lnTo>
                  <a:lnTo>
                    <a:pt x="28829" y="18541"/>
                  </a:lnTo>
                  <a:lnTo>
                    <a:pt x="32004" y="16510"/>
                  </a:lnTo>
                  <a:lnTo>
                    <a:pt x="33019" y="13716"/>
                  </a:lnTo>
                  <a:lnTo>
                    <a:pt x="32004" y="10922"/>
                  </a:lnTo>
                  <a:lnTo>
                    <a:pt x="28829" y="8254"/>
                  </a:lnTo>
                  <a:lnTo>
                    <a:pt x="25654" y="6857"/>
                  </a:lnTo>
                  <a:lnTo>
                    <a:pt x="21335" y="6222"/>
                  </a:lnTo>
                  <a:close/>
                  <a:moveTo>
                    <a:pt x="-8229727" y="2825495"/>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69" name="Freeform 1469"/>
            <p:cNvSpPr/>
            <p:nvPr/>
          </p:nvSpPr>
          <p:spPr>
            <a:xfrm>
              <a:off x="11238346" y="4032192"/>
              <a:ext cx="45696" cy="27417"/>
            </a:xfrm>
            <a:custGeom>
              <a:avLst/>
              <a:gdLst/>
              <a:ahLst/>
              <a:cxnLst/>
              <a:rect l="0" t="0" r="0" b="0"/>
              <a:pathLst>
                <a:path w="45720" h="27431">
                  <a:moveTo>
                    <a:pt x="22860" y="27431"/>
                  </a:moveTo>
                  <a:lnTo>
                    <a:pt x="22860" y="27431"/>
                  </a:lnTo>
                  <a:lnTo>
                    <a:pt x="18288" y="26797"/>
                  </a:lnTo>
                  <a:lnTo>
                    <a:pt x="13717" y="26035"/>
                  </a:lnTo>
                  <a:lnTo>
                    <a:pt x="10287" y="24638"/>
                  </a:lnTo>
                  <a:lnTo>
                    <a:pt x="6858" y="23368"/>
                  </a:lnTo>
                  <a:lnTo>
                    <a:pt x="4572" y="21209"/>
                  </a:lnTo>
                  <a:lnTo>
                    <a:pt x="2286" y="19176"/>
                  </a:lnTo>
                  <a:lnTo>
                    <a:pt x="1144" y="16510"/>
                  </a:lnTo>
                  <a:lnTo>
                    <a:pt x="0" y="13716"/>
                  </a:lnTo>
                  <a:lnTo>
                    <a:pt x="1144" y="10922"/>
                  </a:lnTo>
                  <a:lnTo>
                    <a:pt x="2286" y="8254"/>
                  </a:lnTo>
                  <a:lnTo>
                    <a:pt x="4572" y="6222"/>
                  </a:lnTo>
                  <a:lnTo>
                    <a:pt x="6858" y="4063"/>
                  </a:lnTo>
                  <a:lnTo>
                    <a:pt x="10287" y="2031"/>
                  </a:lnTo>
                  <a:lnTo>
                    <a:pt x="13717" y="1397"/>
                  </a:lnTo>
                  <a:lnTo>
                    <a:pt x="18288" y="0"/>
                  </a:lnTo>
                  <a:lnTo>
                    <a:pt x="22860" y="0"/>
                  </a:lnTo>
                  <a:lnTo>
                    <a:pt x="27433" y="0"/>
                  </a:lnTo>
                  <a:lnTo>
                    <a:pt x="32005" y="1397"/>
                  </a:lnTo>
                  <a:lnTo>
                    <a:pt x="35433" y="2031"/>
                  </a:lnTo>
                  <a:lnTo>
                    <a:pt x="38862" y="4063"/>
                  </a:lnTo>
                  <a:lnTo>
                    <a:pt x="41148" y="6222"/>
                  </a:lnTo>
                  <a:lnTo>
                    <a:pt x="43434" y="8254"/>
                  </a:lnTo>
                  <a:lnTo>
                    <a:pt x="44578" y="10922"/>
                  </a:lnTo>
                  <a:lnTo>
                    <a:pt x="45720" y="13716"/>
                  </a:lnTo>
                  <a:lnTo>
                    <a:pt x="44578" y="16510"/>
                  </a:lnTo>
                  <a:lnTo>
                    <a:pt x="43434" y="19176"/>
                  </a:lnTo>
                  <a:lnTo>
                    <a:pt x="41148" y="21209"/>
                  </a:lnTo>
                  <a:lnTo>
                    <a:pt x="38862" y="23368"/>
                  </a:lnTo>
                  <a:lnTo>
                    <a:pt x="35433" y="24638"/>
                  </a:lnTo>
                  <a:lnTo>
                    <a:pt x="32005" y="26035"/>
                  </a:lnTo>
                  <a:lnTo>
                    <a:pt x="27433" y="26797"/>
                  </a:lnTo>
                  <a:lnTo>
                    <a:pt x="22860" y="27431"/>
                  </a:lnTo>
                  <a:close/>
                  <a:moveTo>
                    <a:pt x="-8442959" y="2825495"/>
                  </a:moveTo>
                  <a:moveTo>
                    <a:pt x="22860" y="6222"/>
                  </a:moveTo>
                  <a:lnTo>
                    <a:pt x="22860" y="6222"/>
                  </a:lnTo>
                  <a:lnTo>
                    <a:pt x="18288" y="6857"/>
                  </a:lnTo>
                  <a:lnTo>
                    <a:pt x="13717" y="8254"/>
                  </a:lnTo>
                  <a:lnTo>
                    <a:pt x="11431" y="10922"/>
                  </a:lnTo>
                  <a:lnTo>
                    <a:pt x="10287" y="13716"/>
                  </a:lnTo>
                  <a:lnTo>
                    <a:pt x="11431" y="16510"/>
                  </a:lnTo>
                  <a:lnTo>
                    <a:pt x="13717" y="18541"/>
                  </a:lnTo>
                  <a:lnTo>
                    <a:pt x="18288" y="20573"/>
                  </a:lnTo>
                  <a:lnTo>
                    <a:pt x="22860" y="21209"/>
                  </a:lnTo>
                  <a:lnTo>
                    <a:pt x="27433" y="20573"/>
                  </a:lnTo>
                  <a:lnTo>
                    <a:pt x="32005" y="18541"/>
                  </a:lnTo>
                  <a:lnTo>
                    <a:pt x="34291" y="16510"/>
                  </a:lnTo>
                  <a:lnTo>
                    <a:pt x="35433" y="13716"/>
                  </a:lnTo>
                  <a:lnTo>
                    <a:pt x="34291" y="10922"/>
                  </a:lnTo>
                  <a:lnTo>
                    <a:pt x="32005" y="8254"/>
                  </a:lnTo>
                  <a:lnTo>
                    <a:pt x="27433" y="6857"/>
                  </a:lnTo>
                  <a:lnTo>
                    <a:pt x="22860" y="6222"/>
                  </a:lnTo>
                  <a:close/>
                  <a:moveTo>
                    <a:pt x="-8421750" y="2825495"/>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70" name="Freeform 1470"/>
            <p:cNvSpPr/>
            <p:nvPr/>
          </p:nvSpPr>
          <p:spPr>
            <a:xfrm>
              <a:off x="11037285" y="4099212"/>
              <a:ext cx="51788" cy="27418"/>
            </a:xfrm>
            <a:custGeom>
              <a:avLst/>
              <a:gdLst/>
              <a:ahLst/>
              <a:cxnLst/>
              <a:rect l="0" t="0" r="0" b="0"/>
              <a:pathLst>
                <a:path w="51815" h="27432">
                  <a:moveTo>
                    <a:pt x="33782" y="27432"/>
                  </a:moveTo>
                  <a:lnTo>
                    <a:pt x="19050" y="27432"/>
                  </a:lnTo>
                  <a:lnTo>
                    <a:pt x="14859" y="27432"/>
                  </a:lnTo>
                  <a:lnTo>
                    <a:pt x="11684" y="26797"/>
                  </a:lnTo>
                  <a:lnTo>
                    <a:pt x="8509" y="25400"/>
                  </a:lnTo>
                  <a:lnTo>
                    <a:pt x="5334" y="24003"/>
                  </a:lnTo>
                  <a:lnTo>
                    <a:pt x="3175" y="22606"/>
                  </a:lnTo>
                  <a:lnTo>
                    <a:pt x="2159" y="20573"/>
                  </a:lnTo>
                  <a:lnTo>
                    <a:pt x="1015" y="18541"/>
                  </a:lnTo>
                  <a:lnTo>
                    <a:pt x="0" y="15747"/>
                  </a:lnTo>
                  <a:lnTo>
                    <a:pt x="0" y="0"/>
                  </a:lnTo>
                  <a:lnTo>
                    <a:pt x="51815" y="0"/>
                  </a:lnTo>
                  <a:lnTo>
                    <a:pt x="51815" y="15747"/>
                  </a:lnTo>
                  <a:lnTo>
                    <a:pt x="51815" y="18541"/>
                  </a:lnTo>
                  <a:lnTo>
                    <a:pt x="50800" y="20573"/>
                  </a:lnTo>
                  <a:lnTo>
                    <a:pt x="48640" y="22606"/>
                  </a:lnTo>
                  <a:lnTo>
                    <a:pt x="46482" y="24003"/>
                  </a:lnTo>
                  <a:lnTo>
                    <a:pt x="44450" y="25400"/>
                  </a:lnTo>
                  <a:lnTo>
                    <a:pt x="41275" y="26797"/>
                  </a:lnTo>
                  <a:lnTo>
                    <a:pt x="36957" y="27432"/>
                  </a:lnTo>
                  <a:lnTo>
                    <a:pt x="33782" y="27432"/>
                  </a:lnTo>
                  <a:close/>
                  <a:moveTo>
                    <a:pt x="-8308849" y="2758439"/>
                  </a:moveTo>
                  <a:moveTo>
                    <a:pt x="9525" y="6222"/>
                  </a:moveTo>
                  <a:lnTo>
                    <a:pt x="9525" y="15747"/>
                  </a:lnTo>
                  <a:lnTo>
                    <a:pt x="10540" y="17779"/>
                  </a:lnTo>
                  <a:lnTo>
                    <a:pt x="12700" y="19938"/>
                  </a:lnTo>
                  <a:lnTo>
                    <a:pt x="14859" y="21209"/>
                  </a:lnTo>
                  <a:lnTo>
                    <a:pt x="19050" y="21209"/>
                  </a:lnTo>
                  <a:lnTo>
                    <a:pt x="33782" y="21209"/>
                  </a:lnTo>
                  <a:lnTo>
                    <a:pt x="36957" y="21209"/>
                  </a:lnTo>
                  <a:lnTo>
                    <a:pt x="40132" y="19938"/>
                  </a:lnTo>
                  <a:lnTo>
                    <a:pt x="42290" y="17779"/>
                  </a:lnTo>
                  <a:lnTo>
                    <a:pt x="42290" y="15747"/>
                  </a:lnTo>
                  <a:lnTo>
                    <a:pt x="42290" y="6222"/>
                  </a:lnTo>
                  <a:lnTo>
                    <a:pt x="9525" y="6222"/>
                  </a:lnTo>
                  <a:close/>
                  <a:moveTo>
                    <a:pt x="-8287639" y="2758439"/>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71" name="Freeform 1471"/>
            <p:cNvSpPr/>
            <p:nvPr/>
          </p:nvSpPr>
          <p:spPr>
            <a:xfrm>
              <a:off x="11238347" y="4099212"/>
              <a:ext cx="54836" cy="27418"/>
            </a:xfrm>
            <a:custGeom>
              <a:avLst/>
              <a:gdLst/>
              <a:ahLst/>
              <a:cxnLst/>
              <a:rect l="0" t="0" r="0" b="0"/>
              <a:pathLst>
                <a:path w="54865" h="27432">
                  <a:moveTo>
                    <a:pt x="35815" y="27432"/>
                  </a:moveTo>
                  <a:lnTo>
                    <a:pt x="20194" y="27432"/>
                  </a:lnTo>
                  <a:lnTo>
                    <a:pt x="15621" y="27432"/>
                  </a:lnTo>
                  <a:lnTo>
                    <a:pt x="12320" y="26797"/>
                  </a:lnTo>
                  <a:lnTo>
                    <a:pt x="9018" y="25400"/>
                  </a:lnTo>
                  <a:lnTo>
                    <a:pt x="5588" y="24003"/>
                  </a:lnTo>
                  <a:lnTo>
                    <a:pt x="3303" y="22606"/>
                  </a:lnTo>
                  <a:lnTo>
                    <a:pt x="2286" y="20573"/>
                  </a:lnTo>
                  <a:lnTo>
                    <a:pt x="1144" y="18541"/>
                  </a:lnTo>
                  <a:lnTo>
                    <a:pt x="0" y="15747"/>
                  </a:lnTo>
                  <a:lnTo>
                    <a:pt x="0" y="0"/>
                  </a:lnTo>
                  <a:lnTo>
                    <a:pt x="54865" y="0"/>
                  </a:lnTo>
                  <a:lnTo>
                    <a:pt x="54865" y="15747"/>
                  </a:lnTo>
                  <a:lnTo>
                    <a:pt x="54865" y="18541"/>
                  </a:lnTo>
                  <a:lnTo>
                    <a:pt x="53721" y="20573"/>
                  </a:lnTo>
                  <a:lnTo>
                    <a:pt x="51562" y="22606"/>
                  </a:lnTo>
                  <a:lnTo>
                    <a:pt x="49277" y="24003"/>
                  </a:lnTo>
                  <a:lnTo>
                    <a:pt x="46991" y="25400"/>
                  </a:lnTo>
                  <a:lnTo>
                    <a:pt x="43688" y="26797"/>
                  </a:lnTo>
                  <a:lnTo>
                    <a:pt x="39244" y="27432"/>
                  </a:lnTo>
                  <a:lnTo>
                    <a:pt x="35815" y="27432"/>
                  </a:lnTo>
                  <a:close/>
                  <a:moveTo>
                    <a:pt x="-8510016" y="2758439"/>
                  </a:moveTo>
                  <a:moveTo>
                    <a:pt x="10033" y="6222"/>
                  </a:moveTo>
                  <a:lnTo>
                    <a:pt x="10033" y="15747"/>
                  </a:lnTo>
                  <a:lnTo>
                    <a:pt x="11177" y="17779"/>
                  </a:lnTo>
                  <a:lnTo>
                    <a:pt x="13462" y="19938"/>
                  </a:lnTo>
                  <a:lnTo>
                    <a:pt x="15621" y="21209"/>
                  </a:lnTo>
                  <a:lnTo>
                    <a:pt x="20194" y="21209"/>
                  </a:lnTo>
                  <a:lnTo>
                    <a:pt x="35815" y="21209"/>
                  </a:lnTo>
                  <a:lnTo>
                    <a:pt x="39244" y="21209"/>
                  </a:lnTo>
                  <a:lnTo>
                    <a:pt x="42545" y="19938"/>
                  </a:lnTo>
                  <a:lnTo>
                    <a:pt x="44832" y="17779"/>
                  </a:lnTo>
                  <a:lnTo>
                    <a:pt x="44832" y="15747"/>
                  </a:lnTo>
                  <a:lnTo>
                    <a:pt x="44832" y="6222"/>
                  </a:lnTo>
                  <a:lnTo>
                    <a:pt x="10033" y="6222"/>
                  </a:lnTo>
                  <a:close/>
                  <a:moveTo>
                    <a:pt x="-8488806" y="2758439"/>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72" name="Freeform 1472"/>
            <p:cNvSpPr/>
            <p:nvPr/>
          </p:nvSpPr>
          <p:spPr>
            <a:xfrm>
              <a:off x="11329741" y="3913381"/>
              <a:ext cx="39603" cy="42650"/>
            </a:xfrm>
            <a:custGeom>
              <a:avLst/>
              <a:gdLst/>
              <a:ahLst/>
              <a:cxnLst/>
              <a:rect l="0" t="0" r="0" b="0"/>
              <a:pathLst>
                <a:path w="39624" h="42672">
                  <a:moveTo>
                    <a:pt x="31750" y="42672"/>
                  </a:moveTo>
                  <a:lnTo>
                    <a:pt x="7874" y="42672"/>
                  </a:lnTo>
                  <a:lnTo>
                    <a:pt x="4571" y="42037"/>
                  </a:lnTo>
                  <a:lnTo>
                    <a:pt x="2286" y="41275"/>
                  </a:lnTo>
                  <a:lnTo>
                    <a:pt x="0" y="39242"/>
                  </a:lnTo>
                  <a:lnTo>
                    <a:pt x="0" y="37845"/>
                  </a:lnTo>
                  <a:lnTo>
                    <a:pt x="0" y="4825"/>
                  </a:lnTo>
                  <a:lnTo>
                    <a:pt x="0" y="2794"/>
                  </a:lnTo>
                  <a:lnTo>
                    <a:pt x="2286" y="1397"/>
                  </a:lnTo>
                  <a:lnTo>
                    <a:pt x="4571" y="635"/>
                  </a:lnTo>
                  <a:lnTo>
                    <a:pt x="7874" y="0"/>
                  </a:lnTo>
                  <a:lnTo>
                    <a:pt x="31750" y="0"/>
                  </a:lnTo>
                  <a:lnTo>
                    <a:pt x="35052" y="635"/>
                  </a:lnTo>
                  <a:lnTo>
                    <a:pt x="37338" y="1397"/>
                  </a:lnTo>
                  <a:lnTo>
                    <a:pt x="39624" y="2794"/>
                  </a:lnTo>
                  <a:lnTo>
                    <a:pt x="39624" y="4825"/>
                  </a:lnTo>
                  <a:lnTo>
                    <a:pt x="39624" y="37845"/>
                  </a:lnTo>
                  <a:lnTo>
                    <a:pt x="39624" y="39242"/>
                  </a:lnTo>
                  <a:lnTo>
                    <a:pt x="37338" y="41275"/>
                  </a:lnTo>
                  <a:lnTo>
                    <a:pt x="35052" y="42037"/>
                  </a:lnTo>
                  <a:lnTo>
                    <a:pt x="31750" y="42672"/>
                  </a:lnTo>
                  <a:close/>
                  <a:moveTo>
                    <a:pt x="-8430769" y="2944367"/>
                  </a:moveTo>
                  <a:moveTo>
                    <a:pt x="10159" y="36448"/>
                  </a:moveTo>
                  <a:lnTo>
                    <a:pt x="29464" y="36448"/>
                  </a:lnTo>
                  <a:lnTo>
                    <a:pt x="29464" y="6222"/>
                  </a:lnTo>
                  <a:lnTo>
                    <a:pt x="10159" y="6222"/>
                  </a:lnTo>
                  <a:lnTo>
                    <a:pt x="10159" y="36448"/>
                  </a:lnTo>
                  <a:close/>
                  <a:moveTo>
                    <a:pt x="-8424545" y="294436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73" name="Freeform 1473"/>
            <p:cNvSpPr/>
            <p:nvPr/>
          </p:nvSpPr>
          <p:spPr>
            <a:xfrm>
              <a:off x="10961125" y="3913381"/>
              <a:ext cx="39603" cy="42650"/>
            </a:xfrm>
            <a:custGeom>
              <a:avLst/>
              <a:gdLst/>
              <a:ahLst/>
              <a:cxnLst/>
              <a:rect l="0" t="0" r="0" b="0"/>
              <a:pathLst>
                <a:path w="39624" h="42672">
                  <a:moveTo>
                    <a:pt x="31876" y="42672"/>
                  </a:moveTo>
                  <a:lnTo>
                    <a:pt x="7747" y="42672"/>
                  </a:lnTo>
                  <a:lnTo>
                    <a:pt x="5461" y="42037"/>
                  </a:lnTo>
                  <a:lnTo>
                    <a:pt x="2159" y="41275"/>
                  </a:lnTo>
                  <a:lnTo>
                    <a:pt x="1142" y="39242"/>
                  </a:lnTo>
                  <a:lnTo>
                    <a:pt x="0" y="37845"/>
                  </a:lnTo>
                  <a:lnTo>
                    <a:pt x="0" y="4825"/>
                  </a:lnTo>
                  <a:lnTo>
                    <a:pt x="1142" y="2794"/>
                  </a:lnTo>
                  <a:lnTo>
                    <a:pt x="2159" y="1397"/>
                  </a:lnTo>
                  <a:lnTo>
                    <a:pt x="5461" y="635"/>
                  </a:lnTo>
                  <a:lnTo>
                    <a:pt x="7747" y="0"/>
                  </a:lnTo>
                  <a:lnTo>
                    <a:pt x="31876" y="0"/>
                  </a:lnTo>
                  <a:lnTo>
                    <a:pt x="35178" y="635"/>
                  </a:lnTo>
                  <a:lnTo>
                    <a:pt x="37464" y="1397"/>
                  </a:lnTo>
                  <a:lnTo>
                    <a:pt x="38480" y="2794"/>
                  </a:lnTo>
                  <a:lnTo>
                    <a:pt x="39624" y="4825"/>
                  </a:lnTo>
                  <a:lnTo>
                    <a:pt x="39624" y="37845"/>
                  </a:lnTo>
                  <a:lnTo>
                    <a:pt x="38480" y="39242"/>
                  </a:lnTo>
                  <a:lnTo>
                    <a:pt x="37464" y="41275"/>
                  </a:lnTo>
                  <a:lnTo>
                    <a:pt x="35178" y="42037"/>
                  </a:lnTo>
                  <a:lnTo>
                    <a:pt x="31876" y="42672"/>
                  </a:lnTo>
                  <a:close/>
                  <a:moveTo>
                    <a:pt x="-8061961" y="2944367"/>
                  </a:moveTo>
                  <a:moveTo>
                    <a:pt x="9905" y="36448"/>
                  </a:moveTo>
                  <a:lnTo>
                    <a:pt x="29717" y="36448"/>
                  </a:lnTo>
                  <a:lnTo>
                    <a:pt x="29717" y="6222"/>
                  </a:lnTo>
                  <a:lnTo>
                    <a:pt x="9905" y="6222"/>
                  </a:lnTo>
                  <a:lnTo>
                    <a:pt x="9905" y="36448"/>
                  </a:lnTo>
                  <a:close/>
                  <a:moveTo>
                    <a:pt x="-8055737" y="294436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74" name="Freeform 1474"/>
            <p:cNvSpPr/>
            <p:nvPr/>
          </p:nvSpPr>
          <p:spPr>
            <a:xfrm>
              <a:off x="10991588" y="3916427"/>
              <a:ext cx="27419" cy="6094"/>
            </a:xfrm>
            <a:custGeom>
              <a:avLst/>
              <a:gdLst/>
              <a:ahLst/>
              <a:cxnLst/>
              <a:rect l="0" t="0" r="0" b="0"/>
              <a:pathLst>
                <a:path w="27433" h="6097">
                  <a:moveTo>
                    <a:pt x="22098" y="6097"/>
                  </a:moveTo>
                  <a:lnTo>
                    <a:pt x="4192" y="6097"/>
                  </a:lnTo>
                  <a:lnTo>
                    <a:pt x="3175" y="5462"/>
                  </a:lnTo>
                  <a:lnTo>
                    <a:pt x="1017" y="4700"/>
                  </a:lnTo>
                  <a:lnTo>
                    <a:pt x="0" y="4065"/>
                  </a:lnTo>
                  <a:lnTo>
                    <a:pt x="0" y="2668"/>
                  </a:lnTo>
                  <a:lnTo>
                    <a:pt x="0" y="2032"/>
                  </a:lnTo>
                  <a:lnTo>
                    <a:pt x="1017" y="635"/>
                  </a:lnTo>
                  <a:lnTo>
                    <a:pt x="3175" y="0"/>
                  </a:lnTo>
                  <a:lnTo>
                    <a:pt x="4192" y="0"/>
                  </a:lnTo>
                  <a:lnTo>
                    <a:pt x="22098" y="0"/>
                  </a:lnTo>
                  <a:lnTo>
                    <a:pt x="24258" y="0"/>
                  </a:lnTo>
                  <a:lnTo>
                    <a:pt x="25273" y="635"/>
                  </a:lnTo>
                  <a:lnTo>
                    <a:pt x="26417" y="2032"/>
                  </a:lnTo>
                  <a:lnTo>
                    <a:pt x="27433" y="2668"/>
                  </a:lnTo>
                  <a:lnTo>
                    <a:pt x="26417" y="4065"/>
                  </a:lnTo>
                  <a:lnTo>
                    <a:pt x="25273" y="4700"/>
                  </a:lnTo>
                  <a:lnTo>
                    <a:pt x="24258" y="5462"/>
                  </a:lnTo>
                  <a:lnTo>
                    <a:pt x="22098" y="6097"/>
                  </a:lnTo>
                  <a:close/>
                  <a:moveTo>
                    <a:pt x="-8058912" y="294132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75" name="Freeform 1475"/>
            <p:cNvSpPr/>
            <p:nvPr/>
          </p:nvSpPr>
          <p:spPr>
            <a:xfrm>
              <a:off x="11311463" y="3916427"/>
              <a:ext cx="27417" cy="6094"/>
            </a:xfrm>
            <a:custGeom>
              <a:avLst/>
              <a:gdLst/>
              <a:ahLst/>
              <a:cxnLst/>
              <a:rect l="0" t="0" r="0" b="0"/>
              <a:pathLst>
                <a:path w="27431" h="6097">
                  <a:moveTo>
                    <a:pt x="22097" y="6097"/>
                  </a:moveTo>
                  <a:lnTo>
                    <a:pt x="5333" y="6097"/>
                  </a:lnTo>
                  <a:lnTo>
                    <a:pt x="3175" y="5462"/>
                  </a:lnTo>
                  <a:lnTo>
                    <a:pt x="2158" y="4700"/>
                  </a:lnTo>
                  <a:lnTo>
                    <a:pt x="1016" y="4065"/>
                  </a:lnTo>
                  <a:lnTo>
                    <a:pt x="0" y="2668"/>
                  </a:lnTo>
                  <a:lnTo>
                    <a:pt x="1016" y="2032"/>
                  </a:lnTo>
                  <a:lnTo>
                    <a:pt x="2158" y="635"/>
                  </a:lnTo>
                  <a:lnTo>
                    <a:pt x="3175" y="0"/>
                  </a:lnTo>
                  <a:lnTo>
                    <a:pt x="5333" y="0"/>
                  </a:lnTo>
                  <a:lnTo>
                    <a:pt x="22097" y="0"/>
                  </a:lnTo>
                  <a:lnTo>
                    <a:pt x="24256" y="0"/>
                  </a:lnTo>
                  <a:lnTo>
                    <a:pt x="26416" y="635"/>
                  </a:lnTo>
                  <a:lnTo>
                    <a:pt x="26416" y="2032"/>
                  </a:lnTo>
                  <a:lnTo>
                    <a:pt x="27431" y="2668"/>
                  </a:lnTo>
                  <a:lnTo>
                    <a:pt x="26416" y="4065"/>
                  </a:lnTo>
                  <a:lnTo>
                    <a:pt x="26416" y="4700"/>
                  </a:lnTo>
                  <a:lnTo>
                    <a:pt x="24256" y="5462"/>
                  </a:lnTo>
                  <a:lnTo>
                    <a:pt x="22097" y="6097"/>
                  </a:lnTo>
                  <a:close/>
                  <a:moveTo>
                    <a:pt x="-8378953" y="294132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76" name="Freeform 1476"/>
            <p:cNvSpPr/>
            <p:nvPr/>
          </p:nvSpPr>
          <p:spPr>
            <a:xfrm>
              <a:off x="10156871" y="3898150"/>
              <a:ext cx="651933" cy="228481"/>
            </a:xfrm>
            <a:custGeom>
              <a:avLst/>
              <a:gdLst/>
              <a:ahLst/>
              <a:cxnLst/>
              <a:rect l="0" t="0" r="0" b="0"/>
              <a:pathLst>
                <a:path w="652273" h="228600">
                  <a:moveTo>
                    <a:pt x="537210" y="171450"/>
                  </a:moveTo>
                  <a:lnTo>
                    <a:pt x="537210" y="171450"/>
                  </a:lnTo>
                  <a:lnTo>
                    <a:pt x="534544" y="171577"/>
                  </a:lnTo>
                  <a:lnTo>
                    <a:pt x="531876" y="171957"/>
                  </a:lnTo>
                  <a:lnTo>
                    <a:pt x="529336" y="172338"/>
                  </a:lnTo>
                  <a:lnTo>
                    <a:pt x="526923" y="172974"/>
                  </a:lnTo>
                  <a:lnTo>
                    <a:pt x="524637" y="173862"/>
                  </a:lnTo>
                  <a:lnTo>
                    <a:pt x="522478" y="174752"/>
                  </a:lnTo>
                  <a:lnTo>
                    <a:pt x="520573" y="175768"/>
                  </a:lnTo>
                  <a:lnTo>
                    <a:pt x="518796" y="177037"/>
                  </a:lnTo>
                  <a:lnTo>
                    <a:pt x="517018" y="178434"/>
                  </a:lnTo>
                  <a:lnTo>
                    <a:pt x="515494" y="179831"/>
                  </a:lnTo>
                  <a:lnTo>
                    <a:pt x="514223" y="181482"/>
                  </a:lnTo>
                  <a:lnTo>
                    <a:pt x="513081" y="183134"/>
                  </a:lnTo>
                  <a:lnTo>
                    <a:pt x="512192" y="184912"/>
                  </a:lnTo>
                  <a:lnTo>
                    <a:pt x="511557" y="186690"/>
                  </a:lnTo>
                  <a:lnTo>
                    <a:pt x="511302" y="188594"/>
                  </a:lnTo>
                  <a:lnTo>
                    <a:pt x="511048" y="190500"/>
                  </a:lnTo>
                  <a:lnTo>
                    <a:pt x="511302" y="192531"/>
                  </a:lnTo>
                  <a:lnTo>
                    <a:pt x="511557" y="194437"/>
                  </a:lnTo>
                  <a:lnTo>
                    <a:pt x="512192" y="196215"/>
                  </a:lnTo>
                  <a:lnTo>
                    <a:pt x="513081" y="197993"/>
                  </a:lnTo>
                  <a:lnTo>
                    <a:pt x="514223" y="199643"/>
                  </a:lnTo>
                  <a:lnTo>
                    <a:pt x="515494" y="201168"/>
                  </a:lnTo>
                  <a:lnTo>
                    <a:pt x="517018" y="202565"/>
                  </a:lnTo>
                  <a:lnTo>
                    <a:pt x="518796" y="203962"/>
                  </a:lnTo>
                  <a:lnTo>
                    <a:pt x="520573" y="205231"/>
                  </a:lnTo>
                  <a:lnTo>
                    <a:pt x="522478" y="206375"/>
                  </a:lnTo>
                  <a:lnTo>
                    <a:pt x="524637" y="207263"/>
                  </a:lnTo>
                  <a:lnTo>
                    <a:pt x="526923" y="208153"/>
                  </a:lnTo>
                  <a:lnTo>
                    <a:pt x="529336" y="208660"/>
                  </a:lnTo>
                  <a:lnTo>
                    <a:pt x="531876" y="209168"/>
                  </a:lnTo>
                  <a:lnTo>
                    <a:pt x="534544" y="209422"/>
                  </a:lnTo>
                  <a:lnTo>
                    <a:pt x="537210" y="209550"/>
                  </a:lnTo>
                  <a:lnTo>
                    <a:pt x="540005" y="209422"/>
                  </a:lnTo>
                  <a:lnTo>
                    <a:pt x="542545" y="209168"/>
                  </a:lnTo>
                  <a:lnTo>
                    <a:pt x="544958" y="208660"/>
                  </a:lnTo>
                  <a:lnTo>
                    <a:pt x="547371" y="208153"/>
                  </a:lnTo>
                  <a:lnTo>
                    <a:pt x="549784" y="207263"/>
                  </a:lnTo>
                  <a:lnTo>
                    <a:pt x="551815" y="206375"/>
                  </a:lnTo>
                  <a:lnTo>
                    <a:pt x="553848" y="205231"/>
                  </a:lnTo>
                  <a:lnTo>
                    <a:pt x="555880" y="203962"/>
                  </a:lnTo>
                  <a:lnTo>
                    <a:pt x="557531" y="202565"/>
                  </a:lnTo>
                  <a:lnTo>
                    <a:pt x="558927" y="201168"/>
                  </a:lnTo>
                  <a:lnTo>
                    <a:pt x="560198" y="199643"/>
                  </a:lnTo>
                  <a:lnTo>
                    <a:pt x="561340" y="197993"/>
                  </a:lnTo>
                  <a:lnTo>
                    <a:pt x="562357" y="196215"/>
                  </a:lnTo>
                  <a:lnTo>
                    <a:pt x="562737" y="194437"/>
                  </a:lnTo>
                  <a:lnTo>
                    <a:pt x="563246" y="192531"/>
                  </a:lnTo>
                  <a:lnTo>
                    <a:pt x="563499" y="190500"/>
                  </a:lnTo>
                  <a:lnTo>
                    <a:pt x="563246" y="188594"/>
                  </a:lnTo>
                  <a:lnTo>
                    <a:pt x="562737" y="186690"/>
                  </a:lnTo>
                  <a:lnTo>
                    <a:pt x="562357" y="184912"/>
                  </a:lnTo>
                  <a:lnTo>
                    <a:pt x="561340" y="183134"/>
                  </a:lnTo>
                  <a:lnTo>
                    <a:pt x="560198" y="181482"/>
                  </a:lnTo>
                  <a:lnTo>
                    <a:pt x="558927" y="179831"/>
                  </a:lnTo>
                  <a:lnTo>
                    <a:pt x="557531" y="178434"/>
                  </a:lnTo>
                  <a:lnTo>
                    <a:pt x="555880" y="177037"/>
                  </a:lnTo>
                  <a:lnTo>
                    <a:pt x="553848" y="175768"/>
                  </a:lnTo>
                  <a:lnTo>
                    <a:pt x="551815" y="174752"/>
                  </a:lnTo>
                  <a:lnTo>
                    <a:pt x="549784" y="173862"/>
                  </a:lnTo>
                  <a:lnTo>
                    <a:pt x="547371" y="172974"/>
                  </a:lnTo>
                  <a:lnTo>
                    <a:pt x="544958" y="172338"/>
                  </a:lnTo>
                  <a:lnTo>
                    <a:pt x="542545" y="171957"/>
                  </a:lnTo>
                  <a:lnTo>
                    <a:pt x="540005" y="171577"/>
                  </a:lnTo>
                  <a:lnTo>
                    <a:pt x="537210" y="171450"/>
                  </a:lnTo>
                  <a:close/>
                  <a:moveTo>
                    <a:pt x="-7370826" y="2959607"/>
                  </a:moveTo>
                  <a:moveTo>
                    <a:pt x="123190" y="189356"/>
                  </a:moveTo>
                  <a:lnTo>
                    <a:pt x="70739" y="189356"/>
                  </a:lnTo>
                  <a:lnTo>
                    <a:pt x="70739" y="190500"/>
                  </a:lnTo>
                  <a:lnTo>
                    <a:pt x="70867" y="192531"/>
                  </a:lnTo>
                  <a:lnTo>
                    <a:pt x="71248" y="194437"/>
                  </a:lnTo>
                  <a:lnTo>
                    <a:pt x="72010" y="196215"/>
                  </a:lnTo>
                  <a:lnTo>
                    <a:pt x="72898" y="197993"/>
                  </a:lnTo>
                  <a:lnTo>
                    <a:pt x="73914" y="199643"/>
                  </a:lnTo>
                  <a:lnTo>
                    <a:pt x="75185" y="201168"/>
                  </a:lnTo>
                  <a:lnTo>
                    <a:pt x="76835" y="202565"/>
                  </a:lnTo>
                  <a:lnTo>
                    <a:pt x="78486" y="203962"/>
                  </a:lnTo>
                  <a:lnTo>
                    <a:pt x="80264" y="205231"/>
                  </a:lnTo>
                  <a:lnTo>
                    <a:pt x="82423" y="206375"/>
                  </a:lnTo>
                  <a:lnTo>
                    <a:pt x="84583" y="207263"/>
                  </a:lnTo>
                  <a:lnTo>
                    <a:pt x="86869" y="208153"/>
                  </a:lnTo>
                  <a:lnTo>
                    <a:pt x="89282" y="208660"/>
                  </a:lnTo>
                  <a:lnTo>
                    <a:pt x="91695" y="209168"/>
                  </a:lnTo>
                  <a:lnTo>
                    <a:pt x="94361" y="209422"/>
                  </a:lnTo>
                  <a:lnTo>
                    <a:pt x="96901" y="209550"/>
                  </a:lnTo>
                  <a:lnTo>
                    <a:pt x="99696" y="209422"/>
                  </a:lnTo>
                  <a:lnTo>
                    <a:pt x="102235" y="209168"/>
                  </a:lnTo>
                  <a:lnTo>
                    <a:pt x="104902" y="208660"/>
                  </a:lnTo>
                  <a:lnTo>
                    <a:pt x="107061" y="208153"/>
                  </a:lnTo>
                  <a:lnTo>
                    <a:pt x="109474" y="207263"/>
                  </a:lnTo>
                  <a:lnTo>
                    <a:pt x="111760" y="206375"/>
                  </a:lnTo>
                  <a:lnTo>
                    <a:pt x="113665" y="205231"/>
                  </a:lnTo>
                  <a:lnTo>
                    <a:pt x="115571" y="203962"/>
                  </a:lnTo>
                  <a:lnTo>
                    <a:pt x="117222" y="202565"/>
                  </a:lnTo>
                  <a:lnTo>
                    <a:pt x="118746" y="201168"/>
                  </a:lnTo>
                  <a:lnTo>
                    <a:pt x="120015" y="199643"/>
                  </a:lnTo>
                  <a:lnTo>
                    <a:pt x="121285" y="197993"/>
                  </a:lnTo>
                  <a:lnTo>
                    <a:pt x="122048" y="196215"/>
                  </a:lnTo>
                  <a:lnTo>
                    <a:pt x="122683" y="194437"/>
                  </a:lnTo>
                  <a:lnTo>
                    <a:pt x="122936" y="192531"/>
                  </a:lnTo>
                  <a:lnTo>
                    <a:pt x="123190" y="190500"/>
                  </a:lnTo>
                  <a:lnTo>
                    <a:pt x="123190" y="189356"/>
                  </a:lnTo>
                  <a:close/>
                  <a:moveTo>
                    <a:pt x="-7388732" y="2959607"/>
                  </a:moveTo>
                  <a:moveTo>
                    <a:pt x="225425" y="189356"/>
                  </a:moveTo>
                  <a:lnTo>
                    <a:pt x="173101" y="189356"/>
                  </a:lnTo>
                  <a:lnTo>
                    <a:pt x="173101" y="190500"/>
                  </a:lnTo>
                  <a:lnTo>
                    <a:pt x="173101" y="192531"/>
                  </a:lnTo>
                  <a:lnTo>
                    <a:pt x="173610" y="194437"/>
                  </a:lnTo>
                  <a:lnTo>
                    <a:pt x="174245" y="196215"/>
                  </a:lnTo>
                  <a:lnTo>
                    <a:pt x="175134" y="197993"/>
                  </a:lnTo>
                  <a:lnTo>
                    <a:pt x="176276" y="199643"/>
                  </a:lnTo>
                  <a:lnTo>
                    <a:pt x="177547" y="201168"/>
                  </a:lnTo>
                  <a:lnTo>
                    <a:pt x="179071" y="202565"/>
                  </a:lnTo>
                  <a:lnTo>
                    <a:pt x="180848" y="203962"/>
                  </a:lnTo>
                  <a:lnTo>
                    <a:pt x="182626" y="205231"/>
                  </a:lnTo>
                  <a:lnTo>
                    <a:pt x="184532" y="206375"/>
                  </a:lnTo>
                  <a:lnTo>
                    <a:pt x="186690" y="207263"/>
                  </a:lnTo>
                  <a:lnTo>
                    <a:pt x="188976" y="208153"/>
                  </a:lnTo>
                  <a:lnTo>
                    <a:pt x="191389" y="208660"/>
                  </a:lnTo>
                  <a:lnTo>
                    <a:pt x="193930" y="209168"/>
                  </a:lnTo>
                  <a:lnTo>
                    <a:pt x="196597" y="209422"/>
                  </a:lnTo>
                  <a:lnTo>
                    <a:pt x="199390" y="209550"/>
                  </a:lnTo>
                  <a:lnTo>
                    <a:pt x="202058" y="209422"/>
                  </a:lnTo>
                  <a:lnTo>
                    <a:pt x="204598" y="209168"/>
                  </a:lnTo>
                  <a:lnTo>
                    <a:pt x="207010" y="208660"/>
                  </a:lnTo>
                  <a:lnTo>
                    <a:pt x="209550" y="208153"/>
                  </a:lnTo>
                  <a:lnTo>
                    <a:pt x="211836" y="207263"/>
                  </a:lnTo>
                  <a:lnTo>
                    <a:pt x="213869" y="206375"/>
                  </a:lnTo>
                  <a:lnTo>
                    <a:pt x="215900" y="205231"/>
                  </a:lnTo>
                  <a:lnTo>
                    <a:pt x="217933" y="203962"/>
                  </a:lnTo>
                  <a:lnTo>
                    <a:pt x="219584" y="202565"/>
                  </a:lnTo>
                  <a:lnTo>
                    <a:pt x="220981" y="201168"/>
                  </a:lnTo>
                  <a:lnTo>
                    <a:pt x="222377" y="199643"/>
                  </a:lnTo>
                  <a:lnTo>
                    <a:pt x="223394" y="197993"/>
                  </a:lnTo>
                  <a:lnTo>
                    <a:pt x="224283" y="196215"/>
                  </a:lnTo>
                  <a:lnTo>
                    <a:pt x="224918" y="194437"/>
                  </a:lnTo>
                  <a:lnTo>
                    <a:pt x="225425" y="192531"/>
                  </a:lnTo>
                  <a:lnTo>
                    <a:pt x="225552" y="190500"/>
                  </a:lnTo>
                  <a:lnTo>
                    <a:pt x="225425" y="189356"/>
                  </a:lnTo>
                  <a:close/>
                  <a:moveTo>
                    <a:pt x="-7388732" y="2959607"/>
                  </a:moveTo>
                  <a:moveTo>
                    <a:pt x="611633" y="158368"/>
                  </a:moveTo>
                  <a:lnTo>
                    <a:pt x="639192" y="158368"/>
                  </a:lnTo>
                  <a:lnTo>
                    <a:pt x="639192" y="151256"/>
                  </a:lnTo>
                  <a:lnTo>
                    <a:pt x="611633" y="151256"/>
                  </a:lnTo>
                  <a:lnTo>
                    <a:pt x="611633" y="141731"/>
                  </a:lnTo>
                  <a:lnTo>
                    <a:pt x="639192" y="141731"/>
                  </a:lnTo>
                  <a:lnTo>
                    <a:pt x="639192" y="134747"/>
                  </a:lnTo>
                  <a:lnTo>
                    <a:pt x="611633" y="134747"/>
                  </a:lnTo>
                  <a:lnTo>
                    <a:pt x="611633" y="125222"/>
                  </a:lnTo>
                  <a:lnTo>
                    <a:pt x="632587" y="125222"/>
                  </a:lnTo>
                  <a:lnTo>
                    <a:pt x="616205" y="109981"/>
                  </a:lnTo>
                  <a:lnTo>
                    <a:pt x="616077" y="109981"/>
                  </a:lnTo>
                  <a:lnTo>
                    <a:pt x="552577" y="109981"/>
                  </a:lnTo>
                  <a:lnTo>
                    <a:pt x="532638" y="69341"/>
                  </a:lnTo>
                  <a:lnTo>
                    <a:pt x="596647" y="69341"/>
                  </a:lnTo>
                  <a:lnTo>
                    <a:pt x="595123" y="66421"/>
                  </a:lnTo>
                  <a:lnTo>
                    <a:pt x="594234" y="65150"/>
                  </a:lnTo>
                  <a:lnTo>
                    <a:pt x="593472" y="63881"/>
                  </a:lnTo>
                  <a:lnTo>
                    <a:pt x="592583" y="62737"/>
                  </a:lnTo>
                  <a:lnTo>
                    <a:pt x="591439" y="61722"/>
                  </a:lnTo>
                  <a:lnTo>
                    <a:pt x="590423" y="60578"/>
                  </a:lnTo>
                  <a:lnTo>
                    <a:pt x="589281" y="59816"/>
                  </a:lnTo>
                  <a:lnTo>
                    <a:pt x="587884" y="59055"/>
                  </a:lnTo>
                  <a:lnTo>
                    <a:pt x="586486" y="58165"/>
                  </a:lnTo>
                  <a:lnTo>
                    <a:pt x="584835" y="57657"/>
                  </a:lnTo>
                  <a:lnTo>
                    <a:pt x="582931" y="57150"/>
                  </a:lnTo>
                  <a:lnTo>
                    <a:pt x="581025" y="56641"/>
                  </a:lnTo>
                  <a:lnTo>
                    <a:pt x="578867" y="56515"/>
                  </a:lnTo>
                  <a:lnTo>
                    <a:pt x="576581" y="56260"/>
                  </a:lnTo>
                  <a:lnTo>
                    <a:pt x="573913" y="56260"/>
                  </a:lnTo>
                  <a:lnTo>
                    <a:pt x="503556" y="56260"/>
                  </a:lnTo>
                  <a:lnTo>
                    <a:pt x="503556" y="46735"/>
                  </a:lnTo>
                  <a:lnTo>
                    <a:pt x="573913" y="46735"/>
                  </a:lnTo>
                  <a:lnTo>
                    <a:pt x="578105" y="46862"/>
                  </a:lnTo>
                  <a:lnTo>
                    <a:pt x="581660" y="47116"/>
                  </a:lnTo>
                  <a:lnTo>
                    <a:pt x="585089" y="47625"/>
                  </a:lnTo>
                  <a:lnTo>
                    <a:pt x="588264" y="48387"/>
                  </a:lnTo>
                  <a:lnTo>
                    <a:pt x="591185" y="49275"/>
                  </a:lnTo>
                  <a:lnTo>
                    <a:pt x="593598" y="50418"/>
                  </a:lnTo>
                  <a:lnTo>
                    <a:pt x="596138" y="51562"/>
                  </a:lnTo>
                  <a:lnTo>
                    <a:pt x="598298" y="52831"/>
                  </a:lnTo>
                  <a:lnTo>
                    <a:pt x="599948" y="54356"/>
                  </a:lnTo>
                  <a:lnTo>
                    <a:pt x="601853" y="55753"/>
                  </a:lnTo>
                  <a:lnTo>
                    <a:pt x="603250" y="57403"/>
                  </a:lnTo>
                  <a:lnTo>
                    <a:pt x="604774" y="59055"/>
                  </a:lnTo>
                  <a:lnTo>
                    <a:pt x="605918" y="60959"/>
                  </a:lnTo>
                  <a:lnTo>
                    <a:pt x="607060" y="62610"/>
                  </a:lnTo>
                  <a:lnTo>
                    <a:pt x="608076" y="64388"/>
                  </a:lnTo>
                  <a:lnTo>
                    <a:pt x="608965" y="66293"/>
                  </a:lnTo>
                  <a:lnTo>
                    <a:pt x="627888" y="105409"/>
                  </a:lnTo>
                  <a:lnTo>
                    <a:pt x="652273" y="127888"/>
                  </a:lnTo>
                  <a:lnTo>
                    <a:pt x="652273" y="149859"/>
                  </a:lnTo>
                  <a:lnTo>
                    <a:pt x="652273" y="165227"/>
                  </a:lnTo>
                  <a:lnTo>
                    <a:pt x="652019" y="172847"/>
                  </a:lnTo>
                  <a:lnTo>
                    <a:pt x="651764" y="174625"/>
                  </a:lnTo>
                  <a:lnTo>
                    <a:pt x="651130" y="176403"/>
                  </a:lnTo>
                  <a:lnTo>
                    <a:pt x="650495" y="178181"/>
                  </a:lnTo>
                  <a:lnTo>
                    <a:pt x="649478" y="179705"/>
                  </a:lnTo>
                  <a:lnTo>
                    <a:pt x="648462" y="181102"/>
                  </a:lnTo>
                  <a:lnTo>
                    <a:pt x="647193" y="182372"/>
                  </a:lnTo>
                  <a:lnTo>
                    <a:pt x="645669" y="183641"/>
                  </a:lnTo>
                  <a:lnTo>
                    <a:pt x="644272" y="184784"/>
                  </a:lnTo>
                  <a:lnTo>
                    <a:pt x="642494" y="185674"/>
                  </a:lnTo>
                  <a:lnTo>
                    <a:pt x="640588" y="186690"/>
                  </a:lnTo>
                  <a:lnTo>
                    <a:pt x="638557" y="187452"/>
                  </a:lnTo>
                  <a:lnTo>
                    <a:pt x="636398" y="187959"/>
                  </a:lnTo>
                  <a:lnTo>
                    <a:pt x="634111" y="188594"/>
                  </a:lnTo>
                  <a:lnTo>
                    <a:pt x="631698" y="188975"/>
                  </a:lnTo>
                  <a:lnTo>
                    <a:pt x="629159" y="188975"/>
                  </a:lnTo>
                  <a:lnTo>
                    <a:pt x="626364" y="189230"/>
                  </a:lnTo>
                  <a:lnTo>
                    <a:pt x="589661" y="189230"/>
                  </a:lnTo>
                  <a:lnTo>
                    <a:pt x="589661" y="190500"/>
                  </a:lnTo>
                  <a:lnTo>
                    <a:pt x="589535" y="192531"/>
                  </a:lnTo>
                  <a:lnTo>
                    <a:pt x="589281" y="194437"/>
                  </a:lnTo>
                  <a:lnTo>
                    <a:pt x="589026" y="196341"/>
                  </a:lnTo>
                  <a:lnTo>
                    <a:pt x="588519" y="198247"/>
                  </a:lnTo>
                  <a:lnTo>
                    <a:pt x="588010" y="200025"/>
                  </a:lnTo>
                  <a:lnTo>
                    <a:pt x="587248" y="201803"/>
                  </a:lnTo>
                  <a:lnTo>
                    <a:pt x="586486" y="203581"/>
                  </a:lnTo>
                  <a:lnTo>
                    <a:pt x="585598" y="205359"/>
                  </a:lnTo>
                  <a:lnTo>
                    <a:pt x="584455" y="207009"/>
                  </a:lnTo>
                  <a:lnTo>
                    <a:pt x="583311" y="208660"/>
                  </a:lnTo>
                  <a:lnTo>
                    <a:pt x="581914" y="210184"/>
                  </a:lnTo>
                  <a:lnTo>
                    <a:pt x="580772" y="211835"/>
                  </a:lnTo>
                  <a:lnTo>
                    <a:pt x="579248" y="213359"/>
                  </a:lnTo>
                  <a:lnTo>
                    <a:pt x="577723" y="214756"/>
                  </a:lnTo>
                  <a:lnTo>
                    <a:pt x="576073" y="216027"/>
                  </a:lnTo>
                  <a:lnTo>
                    <a:pt x="574295" y="217550"/>
                  </a:lnTo>
                  <a:lnTo>
                    <a:pt x="572517" y="218693"/>
                  </a:lnTo>
                  <a:lnTo>
                    <a:pt x="570485" y="219837"/>
                  </a:lnTo>
                  <a:lnTo>
                    <a:pt x="568580" y="221106"/>
                  </a:lnTo>
                  <a:lnTo>
                    <a:pt x="566548" y="222250"/>
                  </a:lnTo>
                  <a:lnTo>
                    <a:pt x="564388" y="223138"/>
                  </a:lnTo>
                  <a:lnTo>
                    <a:pt x="562230" y="224155"/>
                  </a:lnTo>
                  <a:lnTo>
                    <a:pt x="559944" y="224916"/>
                  </a:lnTo>
                  <a:lnTo>
                    <a:pt x="557531" y="225678"/>
                  </a:lnTo>
                  <a:lnTo>
                    <a:pt x="555372" y="226313"/>
                  </a:lnTo>
                  <a:lnTo>
                    <a:pt x="552832" y="226949"/>
                  </a:lnTo>
                  <a:lnTo>
                    <a:pt x="550419" y="227456"/>
                  </a:lnTo>
                  <a:lnTo>
                    <a:pt x="547751" y="227837"/>
                  </a:lnTo>
                  <a:lnTo>
                    <a:pt x="545211" y="228218"/>
                  </a:lnTo>
                  <a:lnTo>
                    <a:pt x="542545" y="228472"/>
                  </a:lnTo>
                  <a:lnTo>
                    <a:pt x="540005" y="228600"/>
                  </a:lnTo>
                  <a:lnTo>
                    <a:pt x="537210" y="228600"/>
                  </a:lnTo>
                  <a:lnTo>
                    <a:pt x="534544" y="228600"/>
                  </a:lnTo>
                  <a:lnTo>
                    <a:pt x="531876" y="228472"/>
                  </a:lnTo>
                  <a:lnTo>
                    <a:pt x="529336" y="228218"/>
                  </a:lnTo>
                  <a:lnTo>
                    <a:pt x="526670" y="227837"/>
                  </a:lnTo>
                  <a:lnTo>
                    <a:pt x="524130" y="227456"/>
                  </a:lnTo>
                  <a:lnTo>
                    <a:pt x="521717" y="226949"/>
                  </a:lnTo>
                  <a:lnTo>
                    <a:pt x="519176" y="226313"/>
                  </a:lnTo>
                  <a:lnTo>
                    <a:pt x="516763" y="225678"/>
                  </a:lnTo>
                  <a:lnTo>
                    <a:pt x="514477" y="224916"/>
                  </a:lnTo>
                  <a:lnTo>
                    <a:pt x="512192" y="224155"/>
                  </a:lnTo>
                  <a:lnTo>
                    <a:pt x="510160" y="223138"/>
                  </a:lnTo>
                  <a:lnTo>
                    <a:pt x="508000" y="222250"/>
                  </a:lnTo>
                  <a:lnTo>
                    <a:pt x="505842" y="221106"/>
                  </a:lnTo>
                  <a:lnTo>
                    <a:pt x="503810" y="219837"/>
                  </a:lnTo>
                  <a:lnTo>
                    <a:pt x="502032" y="218693"/>
                  </a:lnTo>
                  <a:lnTo>
                    <a:pt x="499999" y="217550"/>
                  </a:lnTo>
                  <a:lnTo>
                    <a:pt x="498475" y="216027"/>
                  </a:lnTo>
                  <a:lnTo>
                    <a:pt x="496824" y="214756"/>
                  </a:lnTo>
                  <a:lnTo>
                    <a:pt x="495173" y="213359"/>
                  </a:lnTo>
                  <a:lnTo>
                    <a:pt x="493776" y="211835"/>
                  </a:lnTo>
                  <a:lnTo>
                    <a:pt x="492380" y="210184"/>
                  </a:lnTo>
                  <a:lnTo>
                    <a:pt x="490983" y="208660"/>
                  </a:lnTo>
                  <a:lnTo>
                    <a:pt x="489967" y="207009"/>
                  </a:lnTo>
                  <a:lnTo>
                    <a:pt x="488950" y="205359"/>
                  </a:lnTo>
                  <a:lnTo>
                    <a:pt x="487935" y="203581"/>
                  </a:lnTo>
                  <a:lnTo>
                    <a:pt x="487173" y="201803"/>
                  </a:lnTo>
                  <a:lnTo>
                    <a:pt x="486537" y="200025"/>
                  </a:lnTo>
                  <a:lnTo>
                    <a:pt x="485775" y="198247"/>
                  </a:lnTo>
                  <a:lnTo>
                    <a:pt x="485268" y="196341"/>
                  </a:lnTo>
                  <a:lnTo>
                    <a:pt x="485013" y="194437"/>
                  </a:lnTo>
                  <a:lnTo>
                    <a:pt x="484886" y="192531"/>
                  </a:lnTo>
                  <a:lnTo>
                    <a:pt x="484886" y="190500"/>
                  </a:lnTo>
                  <a:lnTo>
                    <a:pt x="484886" y="189356"/>
                  </a:lnTo>
                  <a:lnTo>
                    <a:pt x="251714" y="189356"/>
                  </a:lnTo>
                  <a:lnTo>
                    <a:pt x="251714" y="190500"/>
                  </a:lnTo>
                  <a:lnTo>
                    <a:pt x="251587" y="192531"/>
                  </a:lnTo>
                  <a:lnTo>
                    <a:pt x="251460" y="194437"/>
                  </a:lnTo>
                  <a:lnTo>
                    <a:pt x="251080" y="196341"/>
                  </a:lnTo>
                  <a:lnTo>
                    <a:pt x="250572" y="198247"/>
                  </a:lnTo>
                  <a:lnTo>
                    <a:pt x="250063" y="200025"/>
                  </a:lnTo>
                  <a:lnTo>
                    <a:pt x="249301" y="201803"/>
                  </a:lnTo>
                  <a:lnTo>
                    <a:pt x="248412" y="203581"/>
                  </a:lnTo>
                  <a:lnTo>
                    <a:pt x="247650" y="205359"/>
                  </a:lnTo>
                  <a:lnTo>
                    <a:pt x="246508" y="207009"/>
                  </a:lnTo>
                  <a:lnTo>
                    <a:pt x="245364" y="208660"/>
                  </a:lnTo>
                  <a:lnTo>
                    <a:pt x="244095" y="210184"/>
                  </a:lnTo>
                  <a:lnTo>
                    <a:pt x="242824" y="211835"/>
                  </a:lnTo>
                  <a:lnTo>
                    <a:pt x="241300" y="213359"/>
                  </a:lnTo>
                  <a:lnTo>
                    <a:pt x="239903" y="214756"/>
                  </a:lnTo>
                  <a:lnTo>
                    <a:pt x="238252" y="216027"/>
                  </a:lnTo>
                  <a:lnTo>
                    <a:pt x="236348" y="217550"/>
                  </a:lnTo>
                  <a:lnTo>
                    <a:pt x="234570" y="218693"/>
                  </a:lnTo>
                  <a:lnTo>
                    <a:pt x="232537" y="219837"/>
                  </a:lnTo>
                  <a:lnTo>
                    <a:pt x="230633" y="221106"/>
                  </a:lnTo>
                  <a:lnTo>
                    <a:pt x="228600" y="222250"/>
                  </a:lnTo>
                  <a:lnTo>
                    <a:pt x="226442" y="223138"/>
                  </a:lnTo>
                  <a:lnTo>
                    <a:pt x="224283" y="224155"/>
                  </a:lnTo>
                  <a:lnTo>
                    <a:pt x="221997" y="224916"/>
                  </a:lnTo>
                  <a:lnTo>
                    <a:pt x="219584" y="225678"/>
                  </a:lnTo>
                  <a:lnTo>
                    <a:pt x="217424" y="226313"/>
                  </a:lnTo>
                  <a:lnTo>
                    <a:pt x="214885" y="226949"/>
                  </a:lnTo>
                  <a:lnTo>
                    <a:pt x="212472" y="227456"/>
                  </a:lnTo>
                  <a:lnTo>
                    <a:pt x="209805" y="227837"/>
                  </a:lnTo>
                  <a:lnTo>
                    <a:pt x="207264" y="228218"/>
                  </a:lnTo>
                  <a:lnTo>
                    <a:pt x="204598" y="228472"/>
                  </a:lnTo>
                  <a:lnTo>
                    <a:pt x="202058" y="228600"/>
                  </a:lnTo>
                  <a:lnTo>
                    <a:pt x="199390" y="228600"/>
                  </a:lnTo>
                  <a:lnTo>
                    <a:pt x="196850" y="228600"/>
                  </a:lnTo>
                  <a:lnTo>
                    <a:pt x="194692" y="228472"/>
                  </a:lnTo>
                  <a:lnTo>
                    <a:pt x="192278" y="228346"/>
                  </a:lnTo>
                  <a:lnTo>
                    <a:pt x="190120" y="228091"/>
                  </a:lnTo>
                  <a:lnTo>
                    <a:pt x="185674" y="227456"/>
                  </a:lnTo>
                  <a:lnTo>
                    <a:pt x="181484" y="226313"/>
                  </a:lnTo>
                  <a:lnTo>
                    <a:pt x="177420" y="225171"/>
                  </a:lnTo>
                  <a:lnTo>
                    <a:pt x="173483" y="223774"/>
                  </a:lnTo>
                  <a:lnTo>
                    <a:pt x="169799" y="221996"/>
                  </a:lnTo>
                  <a:lnTo>
                    <a:pt x="166244" y="220090"/>
                  </a:lnTo>
                  <a:lnTo>
                    <a:pt x="162942" y="217931"/>
                  </a:lnTo>
                  <a:lnTo>
                    <a:pt x="160021" y="215772"/>
                  </a:lnTo>
                  <a:lnTo>
                    <a:pt x="157226" y="213359"/>
                  </a:lnTo>
                  <a:lnTo>
                    <a:pt x="154813" y="210693"/>
                  </a:lnTo>
                  <a:lnTo>
                    <a:pt x="152655" y="208025"/>
                  </a:lnTo>
                  <a:lnTo>
                    <a:pt x="150876" y="204978"/>
                  </a:lnTo>
                  <a:lnTo>
                    <a:pt x="149225" y="202056"/>
                  </a:lnTo>
                  <a:lnTo>
                    <a:pt x="148083" y="198881"/>
                  </a:lnTo>
                  <a:lnTo>
                    <a:pt x="146939" y="202056"/>
                  </a:lnTo>
                  <a:lnTo>
                    <a:pt x="145415" y="204978"/>
                  </a:lnTo>
                  <a:lnTo>
                    <a:pt x="143637" y="208025"/>
                  </a:lnTo>
                  <a:lnTo>
                    <a:pt x="141606" y="210693"/>
                  </a:lnTo>
                  <a:lnTo>
                    <a:pt x="139065" y="213359"/>
                  </a:lnTo>
                  <a:lnTo>
                    <a:pt x="136272" y="215772"/>
                  </a:lnTo>
                  <a:lnTo>
                    <a:pt x="133097" y="217931"/>
                  </a:lnTo>
                  <a:lnTo>
                    <a:pt x="129795" y="220090"/>
                  </a:lnTo>
                  <a:lnTo>
                    <a:pt x="126493" y="221996"/>
                  </a:lnTo>
                  <a:lnTo>
                    <a:pt x="122936" y="223774"/>
                  </a:lnTo>
                  <a:lnTo>
                    <a:pt x="118873" y="225171"/>
                  </a:lnTo>
                  <a:lnTo>
                    <a:pt x="114809" y="226313"/>
                  </a:lnTo>
                  <a:lnTo>
                    <a:pt x="110618" y="227456"/>
                  </a:lnTo>
                  <a:lnTo>
                    <a:pt x="106173" y="228091"/>
                  </a:lnTo>
                  <a:lnTo>
                    <a:pt x="103760" y="228346"/>
                  </a:lnTo>
                  <a:lnTo>
                    <a:pt x="101600" y="228472"/>
                  </a:lnTo>
                  <a:lnTo>
                    <a:pt x="99314" y="228600"/>
                  </a:lnTo>
                  <a:lnTo>
                    <a:pt x="96901" y="228600"/>
                  </a:lnTo>
                  <a:lnTo>
                    <a:pt x="94361" y="228600"/>
                  </a:lnTo>
                  <a:lnTo>
                    <a:pt x="91568" y="228472"/>
                  </a:lnTo>
                  <a:lnTo>
                    <a:pt x="89027" y="228218"/>
                  </a:lnTo>
                  <a:lnTo>
                    <a:pt x="86487" y="227837"/>
                  </a:lnTo>
                  <a:lnTo>
                    <a:pt x="83821" y="227456"/>
                  </a:lnTo>
                  <a:lnTo>
                    <a:pt x="81408" y="226949"/>
                  </a:lnTo>
                  <a:lnTo>
                    <a:pt x="78868" y="226313"/>
                  </a:lnTo>
                  <a:lnTo>
                    <a:pt x="76709" y="225678"/>
                  </a:lnTo>
                  <a:lnTo>
                    <a:pt x="74169" y="224916"/>
                  </a:lnTo>
                  <a:lnTo>
                    <a:pt x="72010" y="224155"/>
                  </a:lnTo>
                  <a:lnTo>
                    <a:pt x="69850" y="223138"/>
                  </a:lnTo>
                  <a:lnTo>
                    <a:pt x="67692" y="222250"/>
                  </a:lnTo>
                  <a:lnTo>
                    <a:pt x="65660" y="221106"/>
                  </a:lnTo>
                  <a:lnTo>
                    <a:pt x="63755" y="219837"/>
                  </a:lnTo>
                  <a:lnTo>
                    <a:pt x="61723" y="218693"/>
                  </a:lnTo>
                  <a:lnTo>
                    <a:pt x="59945" y="217550"/>
                  </a:lnTo>
                  <a:lnTo>
                    <a:pt x="58167" y="216027"/>
                  </a:lnTo>
                  <a:lnTo>
                    <a:pt x="56515" y="214756"/>
                  </a:lnTo>
                  <a:lnTo>
                    <a:pt x="54992" y="213359"/>
                  </a:lnTo>
                  <a:lnTo>
                    <a:pt x="53595" y="211835"/>
                  </a:lnTo>
                  <a:lnTo>
                    <a:pt x="52071" y="210184"/>
                  </a:lnTo>
                  <a:lnTo>
                    <a:pt x="50927" y="208660"/>
                  </a:lnTo>
                  <a:lnTo>
                    <a:pt x="49785" y="207009"/>
                  </a:lnTo>
                  <a:lnTo>
                    <a:pt x="48642" y="205359"/>
                  </a:lnTo>
                  <a:lnTo>
                    <a:pt x="47880" y="203581"/>
                  </a:lnTo>
                  <a:lnTo>
                    <a:pt x="46863" y="201803"/>
                  </a:lnTo>
                  <a:lnTo>
                    <a:pt x="46228" y="200025"/>
                  </a:lnTo>
                  <a:lnTo>
                    <a:pt x="45721" y="198247"/>
                  </a:lnTo>
                  <a:lnTo>
                    <a:pt x="45212" y="196341"/>
                  </a:lnTo>
                  <a:lnTo>
                    <a:pt x="44959" y="194437"/>
                  </a:lnTo>
                  <a:lnTo>
                    <a:pt x="44705" y="192531"/>
                  </a:lnTo>
                  <a:lnTo>
                    <a:pt x="44577" y="190500"/>
                  </a:lnTo>
                  <a:lnTo>
                    <a:pt x="44577" y="189356"/>
                  </a:lnTo>
                  <a:lnTo>
                    <a:pt x="44577" y="170941"/>
                  </a:lnTo>
                  <a:lnTo>
                    <a:pt x="492252" y="170941"/>
                  </a:lnTo>
                  <a:lnTo>
                    <a:pt x="494031" y="168909"/>
                  </a:lnTo>
                  <a:lnTo>
                    <a:pt x="495935" y="166878"/>
                  </a:lnTo>
                  <a:lnTo>
                    <a:pt x="498095" y="165100"/>
                  </a:lnTo>
                  <a:lnTo>
                    <a:pt x="500381" y="163322"/>
                  </a:lnTo>
                  <a:lnTo>
                    <a:pt x="502921" y="161797"/>
                  </a:lnTo>
                  <a:lnTo>
                    <a:pt x="505460" y="160274"/>
                  </a:lnTo>
                  <a:lnTo>
                    <a:pt x="508127" y="158750"/>
                  </a:lnTo>
                  <a:lnTo>
                    <a:pt x="511048" y="157480"/>
                  </a:lnTo>
                  <a:lnTo>
                    <a:pt x="513970" y="156337"/>
                  </a:lnTo>
                  <a:lnTo>
                    <a:pt x="517018" y="155321"/>
                  </a:lnTo>
                  <a:lnTo>
                    <a:pt x="520320" y="154559"/>
                  </a:lnTo>
                  <a:lnTo>
                    <a:pt x="523368" y="153797"/>
                  </a:lnTo>
                  <a:lnTo>
                    <a:pt x="526797" y="153162"/>
                  </a:lnTo>
                  <a:lnTo>
                    <a:pt x="530225" y="152653"/>
                  </a:lnTo>
                  <a:lnTo>
                    <a:pt x="533655" y="152527"/>
                  </a:lnTo>
                  <a:lnTo>
                    <a:pt x="537210" y="152400"/>
                  </a:lnTo>
                  <a:lnTo>
                    <a:pt x="541656" y="152527"/>
                  </a:lnTo>
                  <a:lnTo>
                    <a:pt x="545973" y="153034"/>
                  </a:lnTo>
                  <a:lnTo>
                    <a:pt x="550164" y="153543"/>
                  </a:lnTo>
                  <a:lnTo>
                    <a:pt x="554228" y="154431"/>
                  </a:lnTo>
                  <a:lnTo>
                    <a:pt x="558038" y="155575"/>
                  </a:lnTo>
                  <a:lnTo>
                    <a:pt x="561848" y="156844"/>
                  </a:lnTo>
                  <a:lnTo>
                    <a:pt x="565405" y="158368"/>
                  </a:lnTo>
                  <a:lnTo>
                    <a:pt x="568960" y="160147"/>
                  </a:lnTo>
                  <a:lnTo>
                    <a:pt x="572009" y="162052"/>
                  </a:lnTo>
                  <a:lnTo>
                    <a:pt x="575057" y="164210"/>
                  </a:lnTo>
                  <a:lnTo>
                    <a:pt x="577723" y="166243"/>
                  </a:lnTo>
                  <a:lnTo>
                    <a:pt x="580263" y="168782"/>
                  </a:lnTo>
                  <a:lnTo>
                    <a:pt x="582423" y="171322"/>
                  </a:lnTo>
                  <a:lnTo>
                    <a:pt x="584455" y="173862"/>
                  </a:lnTo>
                  <a:lnTo>
                    <a:pt x="586106" y="176784"/>
                  </a:lnTo>
                  <a:lnTo>
                    <a:pt x="587630" y="179705"/>
                  </a:lnTo>
                  <a:lnTo>
                    <a:pt x="626364" y="179705"/>
                  </a:lnTo>
                  <a:lnTo>
                    <a:pt x="629159" y="179578"/>
                  </a:lnTo>
                  <a:lnTo>
                    <a:pt x="630428" y="179450"/>
                  </a:lnTo>
                  <a:lnTo>
                    <a:pt x="631698" y="179197"/>
                  </a:lnTo>
                  <a:lnTo>
                    <a:pt x="632587" y="178943"/>
                  </a:lnTo>
                  <a:lnTo>
                    <a:pt x="633603" y="178562"/>
                  </a:lnTo>
                  <a:lnTo>
                    <a:pt x="634493" y="178181"/>
                  </a:lnTo>
                  <a:lnTo>
                    <a:pt x="635382" y="177800"/>
                  </a:lnTo>
                  <a:lnTo>
                    <a:pt x="636144" y="177165"/>
                  </a:lnTo>
                  <a:lnTo>
                    <a:pt x="636906" y="176530"/>
                  </a:lnTo>
                  <a:lnTo>
                    <a:pt x="637413" y="175894"/>
                  </a:lnTo>
                  <a:lnTo>
                    <a:pt x="637795" y="175259"/>
                  </a:lnTo>
                  <a:lnTo>
                    <a:pt x="638302" y="174497"/>
                  </a:lnTo>
                  <a:lnTo>
                    <a:pt x="638684" y="173735"/>
                  </a:lnTo>
                  <a:lnTo>
                    <a:pt x="639192" y="171831"/>
                  </a:lnTo>
                  <a:lnTo>
                    <a:pt x="639192" y="169544"/>
                  </a:lnTo>
                  <a:lnTo>
                    <a:pt x="639192" y="167893"/>
                  </a:lnTo>
                  <a:lnTo>
                    <a:pt x="611633" y="167893"/>
                  </a:lnTo>
                  <a:lnTo>
                    <a:pt x="611633" y="158368"/>
                  </a:lnTo>
                  <a:close/>
                  <a:moveTo>
                    <a:pt x="-7357744" y="2959607"/>
                  </a:moveTo>
                  <a:moveTo>
                    <a:pt x="15875" y="9525"/>
                  </a:moveTo>
                  <a:lnTo>
                    <a:pt x="15875" y="9525"/>
                  </a:lnTo>
                  <a:lnTo>
                    <a:pt x="15240" y="9652"/>
                  </a:lnTo>
                  <a:lnTo>
                    <a:pt x="14733" y="9778"/>
                  </a:lnTo>
                  <a:lnTo>
                    <a:pt x="14224" y="9906"/>
                  </a:lnTo>
                  <a:lnTo>
                    <a:pt x="13971" y="10159"/>
                  </a:lnTo>
                  <a:lnTo>
                    <a:pt x="13589" y="10540"/>
                  </a:lnTo>
                  <a:lnTo>
                    <a:pt x="13209" y="10794"/>
                  </a:lnTo>
                  <a:lnTo>
                    <a:pt x="13082" y="11175"/>
                  </a:lnTo>
                  <a:lnTo>
                    <a:pt x="13082" y="11556"/>
                  </a:lnTo>
                  <a:lnTo>
                    <a:pt x="13082" y="142366"/>
                  </a:lnTo>
                  <a:lnTo>
                    <a:pt x="0" y="142366"/>
                  </a:lnTo>
                  <a:lnTo>
                    <a:pt x="0" y="11556"/>
                  </a:lnTo>
                  <a:lnTo>
                    <a:pt x="0" y="10287"/>
                  </a:lnTo>
                  <a:lnTo>
                    <a:pt x="255" y="9271"/>
                  </a:lnTo>
                  <a:lnTo>
                    <a:pt x="635" y="8128"/>
                  </a:lnTo>
                  <a:lnTo>
                    <a:pt x="1398" y="7238"/>
                  </a:lnTo>
                  <a:lnTo>
                    <a:pt x="1906" y="6096"/>
                  </a:lnTo>
                  <a:lnTo>
                    <a:pt x="2795" y="5080"/>
                  </a:lnTo>
                  <a:lnTo>
                    <a:pt x="3557" y="4318"/>
                  </a:lnTo>
                  <a:lnTo>
                    <a:pt x="4573" y="3428"/>
                  </a:lnTo>
                  <a:lnTo>
                    <a:pt x="5715" y="2793"/>
                  </a:lnTo>
                  <a:lnTo>
                    <a:pt x="7112" y="2031"/>
                  </a:lnTo>
                  <a:lnTo>
                    <a:pt x="8383" y="1397"/>
                  </a:lnTo>
                  <a:lnTo>
                    <a:pt x="9652" y="1015"/>
                  </a:lnTo>
                  <a:lnTo>
                    <a:pt x="11176" y="507"/>
                  </a:lnTo>
                  <a:lnTo>
                    <a:pt x="12573" y="253"/>
                  </a:lnTo>
                  <a:lnTo>
                    <a:pt x="14224" y="127"/>
                  </a:lnTo>
                  <a:lnTo>
                    <a:pt x="15875" y="0"/>
                  </a:lnTo>
                  <a:lnTo>
                    <a:pt x="474726" y="0"/>
                  </a:lnTo>
                  <a:lnTo>
                    <a:pt x="476250" y="127"/>
                  </a:lnTo>
                  <a:lnTo>
                    <a:pt x="477774" y="253"/>
                  </a:lnTo>
                  <a:lnTo>
                    <a:pt x="479298" y="507"/>
                  </a:lnTo>
                  <a:lnTo>
                    <a:pt x="480823" y="1015"/>
                  </a:lnTo>
                  <a:lnTo>
                    <a:pt x="482220" y="1397"/>
                  </a:lnTo>
                  <a:lnTo>
                    <a:pt x="483617" y="2031"/>
                  </a:lnTo>
                  <a:lnTo>
                    <a:pt x="484633" y="2793"/>
                  </a:lnTo>
                  <a:lnTo>
                    <a:pt x="485775" y="3428"/>
                  </a:lnTo>
                  <a:lnTo>
                    <a:pt x="486792" y="4318"/>
                  </a:lnTo>
                  <a:lnTo>
                    <a:pt x="487808" y="5080"/>
                  </a:lnTo>
                  <a:lnTo>
                    <a:pt x="488570" y="6096"/>
                  </a:lnTo>
                  <a:lnTo>
                    <a:pt x="489332" y="7238"/>
                  </a:lnTo>
                  <a:lnTo>
                    <a:pt x="489839" y="8128"/>
                  </a:lnTo>
                  <a:lnTo>
                    <a:pt x="490094" y="9271"/>
                  </a:lnTo>
                  <a:lnTo>
                    <a:pt x="490474" y="10287"/>
                  </a:lnTo>
                  <a:lnTo>
                    <a:pt x="490474" y="11556"/>
                  </a:lnTo>
                  <a:lnTo>
                    <a:pt x="490474" y="161416"/>
                  </a:lnTo>
                  <a:lnTo>
                    <a:pt x="0" y="161416"/>
                  </a:lnTo>
                  <a:lnTo>
                    <a:pt x="0" y="151891"/>
                  </a:lnTo>
                  <a:lnTo>
                    <a:pt x="477267" y="151891"/>
                  </a:lnTo>
                  <a:lnTo>
                    <a:pt x="477267" y="11556"/>
                  </a:lnTo>
                  <a:lnTo>
                    <a:pt x="477267" y="11175"/>
                  </a:lnTo>
                  <a:lnTo>
                    <a:pt x="477139" y="10794"/>
                  </a:lnTo>
                  <a:lnTo>
                    <a:pt x="476759" y="10540"/>
                  </a:lnTo>
                  <a:lnTo>
                    <a:pt x="476505" y="10159"/>
                  </a:lnTo>
                  <a:lnTo>
                    <a:pt x="476250" y="9906"/>
                  </a:lnTo>
                  <a:lnTo>
                    <a:pt x="475615" y="9778"/>
                  </a:lnTo>
                  <a:lnTo>
                    <a:pt x="475108" y="9652"/>
                  </a:lnTo>
                  <a:lnTo>
                    <a:pt x="474726" y="9525"/>
                  </a:lnTo>
                  <a:lnTo>
                    <a:pt x="15875" y="9525"/>
                  </a:lnTo>
                  <a:close/>
                  <a:moveTo>
                    <a:pt x="-7208901" y="295960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77" name="Freeform 1477"/>
            <p:cNvSpPr/>
            <p:nvPr/>
          </p:nvSpPr>
          <p:spPr>
            <a:xfrm>
              <a:off x="10202567" y="4574454"/>
              <a:ext cx="475240" cy="207155"/>
            </a:xfrm>
            <a:custGeom>
              <a:avLst/>
              <a:gdLst/>
              <a:ahLst/>
              <a:cxnLst/>
              <a:rect l="0" t="0" r="0" b="0"/>
              <a:pathLst>
                <a:path w="475488" h="207263">
                  <a:moveTo>
                    <a:pt x="113918" y="156718"/>
                  </a:moveTo>
                  <a:lnTo>
                    <a:pt x="113918" y="156718"/>
                  </a:lnTo>
                  <a:lnTo>
                    <a:pt x="113538" y="154559"/>
                  </a:lnTo>
                  <a:lnTo>
                    <a:pt x="113156" y="152400"/>
                  </a:lnTo>
                  <a:lnTo>
                    <a:pt x="112902" y="150113"/>
                  </a:lnTo>
                  <a:lnTo>
                    <a:pt x="112394" y="148081"/>
                  </a:lnTo>
                  <a:lnTo>
                    <a:pt x="111760" y="145796"/>
                  </a:lnTo>
                  <a:lnTo>
                    <a:pt x="111125" y="143763"/>
                  </a:lnTo>
                  <a:lnTo>
                    <a:pt x="109601" y="139953"/>
                  </a:lnTo>
                  <a:lnTo>
                    <a:pt x="107441" y="136271"/>
                  </a:lnTo>
                  <a:lnTo>
                    <a:pt x="105155" y="132587"/>
                  </a:lnTo>
                  <a:lnTo>
                    <a:pt x="102615" y="129285"/>
                  </a:lnTo>
                  <a:lnTo>
                    <a:pt x="99822" y="126365"/>
                  </a:lnTo>
                  <a:lnTo>
                    <a:pt x="96774" y="123571"/>
                  </a:lnTo>
                  <a:lnTo>
                    <a:pt x="93344" y="121031"/>
                  </a:lnTo>
                  <a:lnTo>
                    <a:pt x="90042" y="118999"/>
                  </a:lnTo>
                  <a:lnTo>
                    <a:pt x="86105" y="117094"/>
                  </a:lnTo>
                  <a:lnTo>
                    <a:pt x="84454" y="116459"/>
                  </a:lnTo>
                  <a:lnTo>
                    <a:pt x="82296" y="115697"/>
                  </a:lnTo>
                  <a:lnTo>
                    <a:pt x="80390" y="115316"/>
                  </a:lnTo>
                  <a:lnTo>
                    <a:pt x="78231" y="114681"/>
                  </a:lnTo>
                  <a:lnTo>
                    <a:pt x="76200" y="114426"/>
                  </a:lnTo>
                  <a:lnTo>
                    <a:pt x="74040" y="113919"/>
                  </a:lnTo>
                  <a:lnTo>
                    <a:pt x="72009" y="113791"/>
                  </a:lnTo>
                  <a:lnTo>
                    <a:pt x="69850" y="113791"/>
                  </a:lnTo>
                  <a:lnTo>
                    <a:pt x="67690" y="113791"/>
                  </a:lnTo>
                  <a:lnTo>
                    <a:pt x="65277" y="113919"/>
                  </a:lnTo>
                  <a:lnTo>
                    <a:pt x="62991" y="114426"/>
                  </a:lnTo>
                  <a:lnTo>
                    <a:pt x="60832" y="114681"/>
                  </a:lnTo>
                  <a:lnTo>
                    <a:pt x="58674" y="115316"/>
                  </a:lnTo>
                  <a:lnTo>
                    <a:pt x="56641" y="115824"/>
                  </a:lnTo>
                  <a:lnTo>
                    <a:pt x="54482" y="116585"/>
                  </a:lnTo>
                  <a:lnTo>
                    <a:pt x="52577" y="117475"/>
                  </a:lnTo>
                  <a:lnTo>
                    <a:pt x="50546" y="118363"/>
                  </a:lnTo>
                  <a:lnTo>
                    <a:pt x="48767" y="119379"/>
                  </a:lnTo>
                  <a:lnTo>
                    <a:pt x="46863" y="120522"/>
                  </a:lnTo>
                  <a:lnTo>
                    <a:pt x="44957" y="121919"/>
                  </a:lnTo>
                  <a:lnTo>
                    <a:pt x="43306" y="123062"/>
                  </a:lnTo>
                  <a:lnTo>
                    <a:pt x="41655" y="124459"/>
                  </a:lnTo>
                  <a:lnTo>
                    <a:pt x="40004" y="125984"/>
                  </a:lnTo>
                  <a:lnTo>
                    <a:pt x="38607" y="127507"/>
                  </a:lnTo>
                  <a:lnTo>
                    <a:pt x="37084" y="129031"/>
                  </a:lnTo>
                  <a:lnTo>
                    <a:pt x="35687" y="130809"/>
                  </a:lnTo>
                  <a:lnTo>
                    <a:pt x="34416" y="132587"/>
                  </a:lnTo>
                  <a:lnTo>
                    <a:pt x="33147" y="134493"/>
                  </a:lnTo>
                  <a:lnTo>
                    <a:pt x="31877" y="136397"/>
                  </a:lnTo>
                  <a:lnTo>
                    <a:pt x="30988" y="138175"/>
                  </a:lnTo>
                  <a:lnTo>
                    <a:pt x="29717" y="140207"/>
                  </a:lnTo>
                  <a:lnTo>
                    <a:pt x="29082" y="142366"/>
                  </a:lnTo>
                  <a:lnTo>
                    <a:pt x="28193" y="144525"/>
                  </a:lnTo>
                  <a:lnTo>
                    <a:pt x="27559" y="146557"/>
                  </a:lnTo>
                  <a:lnTo>
                    <a:pt x="26924" y="148844"/>
                  </a:lnTo>
                  <a:lnTo>
                    <a:pt x="26415" y="151129"/>
                  </a:lnTo>
                  <a:lnTo>
                    <a:pt x="26162" y="153416"/>
                  </a:lnTo>
                  <a:lnTo>
                    <a:pt x="25907" y="155701"/>
                  </a:lnTo>
                  <a:lnTo>
                    <a:pt x="25527" y="158115"/>
                  </a:lnTo>
                  <a:lnTo>
                    <a:pt x="25400" y="160654"/>
                  </a:lnTo>
                  <a:lnTo>
                    <a:pt x="25527" y="162941"/>
                  </a:lnTo>
                  <a:lnTo>
                    <a:pt x="25907" y="165353"/>
                  </a:lnTo>
                  <a:lnTo>
                    <a:pt x="26162" y="167640"/>
                  </a:lnTo>
                  <a:lnTo>
                    <a:pt x="26415" y="169925"/>
                  </a:lnTo>
                  <a:lnTo>
                    <a:pt x="26924" y="172084"/>
                  </a:lnTo>
                  <a:lnTo>
                    <a:pt x="27559" y="174371"/>
                  </a:lnTo>
                  <a:lnTo>
                    <a:pt x="28193" y="176529"/>
                  </a:lnTo>
                  <a:lnTo>
                    <a:pt x="29082" y="178816"/>
                  </a:lnTo>
                  <a:lnTo>
                    <a:pt x="29717" y="180847"/>
                  </a:lnTo>
                  <a:lnTo>
                    <a:pt x="30988" y="182753"/>
                  </a:lnTo>
                  <a:lnTo>
                    <a:pt x="31877" y="184784"/>
                  </a:lnTo>
                  <a:lnTo>
                    <a:pt x="33147" y="186562"/>
                  </a:lnTo>
                  <a:lnTo>
                    <a:pt x="34416" y="188468"/>
                  </a:lnTo>
                  <a:lnTo>
                    <a:pt x="35687" y="190246"/>
                  </a:lnTo>
                  <a:lnTo>
                    <a:pt x="37084" y="191897"/>
                  </a:lnTo>
                  <a:lnTo>
                    <a:pt x="38607" y="193675"/>
                  </a:lnTo>
                  <a:lnTo>
                    <a:pt x="40004" y="195199"/>
                  </a:lnTo>
                  <a:lnTo>
                    <a:pt x="41655" y="196469"/>
                  </a:lnTo>
                  <a:lnTo>
                    <a:pt x="43306" y="197866"/>
                  </a:lnTo>
                  <a:lnTo>
                    <a:pt x="44957" y="199262"/>
                  </a:lnTo>
                  <a:lnTo>
                    <a:pt x="46863" y="200532"/>
                  </a:lnTo>
                  <a:lnTo>
                    <a:pt x="48767" y="201675"/>
                  </a:lnTo>
                  <a:lnTo>
                    <a:pt x="50546" y="202691"/>
                  </a:lnTo>
                  <a:lnTo>
                    <a:pt x="52577" y="203581"/>
                  </a:lnTo>
                  <a:lnTo>
                    <a:pt x="54482" y="204343"/>
                  </a:lnTo>
                  <a:lnTo>
                    <a:pt x="56641" y="205231"/>
                  </a:lnTo>
                  <a:lnTo>
                    <a:pt x="58674" y="205740"/>
                  </a:lnTo>
                  <a:lnTo>
                    <a:pt x="60832" y="206247"/>
                  </a:lnTo>
                  <a:lnTo>
                    <a:pt x="62991" y="206882"/>
                  </a:lnTo>
                  <a:lnTo>
                    <a:pt x="65277" y="207137"/>
                  </a:lnTo>
                  <a:lnTo>
                    <a:pt x="67690" y="207263"/>
                  </a:lnTo>
                  <a:lnTo>
                    <a:pt x="69850" y="207263"/>
                  </a:lnTo>
                  <a:lnTo>
                    <a:pt x="73278" y="207137"/>
                  </a:lnTo>
                  <a:lnTo>
                    <a:pt x="76580" y="206882"/>
                  </a:lnTo>
                  <a:lnTo>
                    <a:pt x="80010" y="206121"/>
                  </a:lnTo>
                  <a:lnTo>
                    <a:pt x="83185" y="205104"/>
                  </a:lnTo>
                  <a:lnTo>
                    <a:pt x="86232" y="203834"/>
                  </a:lnTo>
                  <a:lnTo>
                    <a:pt x="89280" y="202437"/>
                  </a:lnTo>
                  <a:lnTo>
                    <a:pt x="92202" y="200787"/>
                  </a:lnTo>
                  <a:lnTo>
                    <a:pt x="94996" y="198881"/>
                  </a:lnTo>
                  <a:lnTo>
                    <a:pt x="97536" y="196596"/>
                  </a:lnTo>
                  <a:lnTo>
                    <a:pt x="100202" y="194437"/>
                  </a:lnTo>
                  <a:lnTo>
                    <a:pt x="102489" y="192024"/>
                  </a:lnTo>
                  <a:lnTo>
                    <a:pt x="104521" y="189356"/>
                  </a:lnTo>
                  <a:lnTo>
                    <a:pt x="106552" y="186562"/>
                  </a:lnTo>
                  <a:lnTo>
                    <a:pt x="108077" y="183769"/>
                  </a:lnTo>
                  <a:lnTo>
                    <a:pt x="109727" y="180594"/>
                  </a:lnTo>
                  <a:lnTo>
                    <a:pt x="110998" y="177419"/>
                  </a:lnTo>
                  <a:lnTo>
                    <a:pt x="111125" y="177419"/>
                  </a:lnTo>
                  <a:lnTo>
                    <a:pt x="112394" y="173354"/>
                  </a:lnTo>
                  <a:lnTo>
                    <a:pt x="113411" y="169291"/>
                  </a:lnTo>
                  <a:lnTo>
                    <a:pt x="114046" y="165100"/>
                  </a:lnTo>
                  <a:lnTo>
                    <a:pt x="114173" y="162813"/>
                  </a:lnTo>
                  <a:lnTo>
                    <a:pt x="114173" y="160654"/>
                  </a:lnTo>
                  <a:lnTo>
                    <a:pt x="114046" y="156718"/>
                  </a:lnTo>
                  <a:lnTo>
                    <a:pt x="113918" y="156718"/>
                  </a:lnTo>
                  <a:close/>
                  <a:moveTo>
                    <a:pt x="-8078471" y="2282951"/>
                  </a:moveTo>
                  <a:moveTo>
                    <a:pt x="69850" y="186562"/>
                  </a:moveTo>
                  <a:lnTo>
                    <a:pt x="69850" y="186562"/>
                  </a:lnTo>
                  <a:lnTo>
                    <a:pt x="67182" y="186435"/>
                  </a:lnTo>
                  <a:lnTo>
                    <a:pt x="64897" y="186181"/>
                  </a:lnTo>
                  <a:lnTo>
                    <a:pt x="62484" y="185419"/>
                  </a:lnTo>
                  <a:lnTo>
                    <a:pt x="60071" y="184531"/>
                  </a:lnTo>
                  <a:lnTo>
                    <a:pt x="57912" y="183641"/>
                  </a:lnTo>
                  <a:lnTo>
                    <a:pt x="55879" y="182118"/>
                  </a:lnTo>
                  <a:lnTo>
                    <a:pt x="54102" y="180721"/>
                  </a:lnTo>
                  <a:lnTo>
                    <a:pt x="52324" y="178943"/>
                  </a:lnTo>
                  <a:lnTo>
                    <a:pt x="50546" y="177165"/>
                  </a:lnTo>
                  <a:lnTo>
                    <a:pt x="49149" y="175259"/>
                  </a:lnTo>
                  <a:lnTo>
                    <a:pt x="48132" y="172974"/>
                  </a:lnTo>
                  <a:lnTo>
                    <a:pt x="46989" y="170815"/>
                  </a:lnTo>
                  <a:lnTo>
                    <a:pt x="46101" y="168275"/>
                  </a:lnTo>
                  <a:lnTo>
                    <a:pt x="45465" y="165734"/>
                  </a:lnTo>
                  <a:lnTo>
                    <a:pt x="45085" y="163068"/>
                  </a:lnTo>
                  <a:lnTo>
                    <a:pt x="44957" y="160654"/>
                  </a:lnTo>
                  <a:lnTo>
                    <a:pt x="45085" y="157860"/>
                  </a:lnTo>
                  <a:lnTo>
                    <a:pt x="45465" y="155321"/>
                  </a:lnTo>
                  <a:lnTo>
                    <a:pt x="46101" y="152781"/>
                  </a:lnTo>
                  <a:lnTo>
                    <a:pt x="46989" y="150241"/>
                  </a:lnTo>
                  <a:lnTo>
                    <a:pt x="48132" y="148081"/>
                  </a:lnTo>
                  <a:lnTo>
                    <a:pt x="49149" y="145796"/>
                  </a:lnTo>
                  <a:lnTo>
                    <a:pt x="50546" y="143763"/>
                  </a:lnTo>
                  <a:lnTo>
                    <a:pt x="52324" y="141985"/>
                  </a:lnTo>
                  <a:lnTo>
                    <a:pt x="54102" y="140207"/>
                  </a:lnTo>
                  <a:lnTo>
                    <a:pt x="55879" y="138937"/>
                  </a:lnTo>
                  <a:lnTo>
                    <a:pt x="57912" y="137541"/>
                  </a:lnTo>
                  <a:lnTo>
                    <a:pt x="60071" y="136397"/>
                  </a:lnTo>
                  <a:lnTo>
                    <a:pt x="62484" y="135509"/>
                  </a:lnTo>
                  <a:lnTo>
                    <a:pt x="64897" y="134747"/>
                  </a:lnTo>
                  <a:lnTo>
                    <a:pt x="67182" y="134493"/>
                  </a:lnTo>
                  <a:lnTo>
                    <a:pt x="69850" y="134366"/>
                  </a:lnTo>
                  <a:lnTo>
                    <a:pt x="72263" y="134493"/>
                  </a:lnTo>
                  <a:lnTo>
                    <a:pt x="74802" y="134747"/>
                  </a:lnTo>
                  <a:lnTo>
                    <a:pt x="77089" y="135509"/>
                  </a:lnTo>
                  <a:lnTo>
                    <a:pt x="79375" y="136397"/>
                  </a:lnTo>
                  <a:lnTo>
                    <a:pt x="81661" y="137541"/>
                  </a:lnTo>
                  <a:lnTo>
                    <a:pt x="83565" y="138937"/>
                  </a:lnTo>
                  <a:lnTo>
                    <a:pt x="85598" y="140207"/>
                  </a:lnTo>
                  <a:lnTo>
                    <a:pt x="87249" y="141985"/>
                  </a:lnTo>
                  <a:lnTo>
                    <a:pt x="88900" y="143763"/>
                  </a:lnTo>
                  <a:lnTo>
                    <a:pt x="90297" y="145796"/>
                  </a:lnTo>
                  <a:lnTo>
                    <a:pt x="91566" y="148081"/>
                  </a:lnTo>
                  <a:lnTo>
                    <a:pt x="92582" y="150241"/>
                  </a:lnTo>
                  <a:lnTo>
                    <a:pt x="93344" y="152781"/>
                  </a:lnTo>
                  <a:lnTo>
                    <a:pt x="94106" y="155321"/>
                  </a:lnTo>
                  <a:lnTo>
                    <a:pt x="94361" y="157860"/>
                  </a:lnTo>
                  <a:lnTo>
                    <a:pt x="94488" y="160654"/>
                  </a:lnTo>
                  <a:lnTo>
                    <a:pt x="94361" y="163068"/>
                  </a:lnTo>
                  <a:lnTo>
                    <a:pt x="94106" y="165734"/>
                  </a:lnTo>
                  <a:lnTo>
                    <a:pt x="93344" y="168275"/>
                  </a:lnTo>
                  <a:lnTo>
                    <a:pt x="92582" y="170815"/>
                  </a:lnTo>
                  <a:lnTo>
                    <a:pt x="91566" y="172974"/>
                  </a:lnTo>
                  <a:lnTo>
                    <a:pt x="90297" y="175259"/>
                  </a:lnTo>
                  <a:lnTo>
                    <a:pt x="88900" y="177165"/>
                  </a:lnTo>
                  <a:lnTo>
                    <a:pt x="87249" y="178943"/>
                  </a:lnTo>
                  <a:lnTo>
                    <a:pt x="85598" y="180721"/>
                  </a:lnTo>
                  <a:lnTo>
                    <a:pt x="83565" y="182118"/>
                  </a:lnTo>
                  <a:lnTo>
                    <a:pt x="81661" y="183641"/>
                  </a:lnTo>
                  <a:lnTo>
                    <a:pt x="79375" y="184531"/>
                  </a:lnTo>
                  <a:lnTo>
                    <a:pt x="77089" y="185419"/>
                  </a:lnTo>
                  <a:lnTo>
                    <a:pt x="74802" y="186181"/>
                  </a:lnTo>
                  <a:lnTo>
                    <a:pt x="72263" y="186435"/>
                  </a:lnTo>
                  <a:lnTo>
                    <a:pt x="69850" y="186562"/>
                  </a:lnTo>
                  <a:close/>
                  <a:moveTo>
                    <a:pt x="-8108315" y="2282951"/>
                  </a:moveTo>
                  <a:moveTo>
                    <a:pt x="406018" y="113791"/>
                  </a:moveTo>
                  <a:lnTo>
                    <a:pt x="406018" y="113791"/>
                  </a:lnTo>
                  <a:lnTo>
                    <a:pt x="403605" y="113791"/>
                  </a:lnTo>
                  <a:lnTo>
                    <a:pt x="401447" y="113919"/>
                  </a:lnTo>
                  <a:lnTo>
                    <a:pt x="399288" y="114426"/>
                  </a:lnTo>
                  <a:lnTo>
                    <a:pt x="397128" y="114681"/>
                  </a:lnTo>
                  <a:lnTo>
                    <a:pt x="394969" y="115316"/>
                  </a:lnTo>
                  <a:lnTo>
                    <a:pt x="392938" y="115824"/>
                  </a:lnTo>
                  <a:lnTo>
                    <a:pt x="390778" y="116585"/>
                  </a:lnTo>
                  <a:lnTo>
                    <a:pt x="388874" y="117475"/>
                  </a:lnTo>
                  <a:lnTo>
                    <a:pt x="386714" y="118363"/>
                  </a:lnTo>
                  <a:lnTo>
                    <a:pt x="385064" y="119379"/>
                  </a:lnTo>
                  <a:lnTo>
                    <a:pt x="383159" y="120522"/>
                  </a:lnTo>
                  <a:lnTo>
                    <a:pt x="381253" y="121919"/>
                  </a:lnTo>
                  <a:lnTo>
                    <a:pt x="379476" y="123062"/>
                  </a:lnTo>
                  <a:lnTo>
                    <a:pt x="377952" y="124459"/>
                  </a:lnTo>
                  <a:lnTo>
                    <a:pt x="376301" y="125984"/>
                  </a:lnTo>
                  <a:lnTo>
                    <a:pt x="374777" y="127507"/>
                  </a:lnTo>
                  <a:lnTo>
                    <a:pt x="373126" y="129031"/>
                  </a:lnTo>
                  <a:lnTo>
                    <a:pt x="371982" y="130809"/>
                  </a:lnTo>
                  <a:lnTo>
                    <a:pt x="370713" y="132587"/>
                  </a:lnTo>
                  <a:lnTo>
                    <a:pt x="369442" y="134493"/>
                  </a:lnTo>
                  <a:lnTo>
                    <a:pt x="368300" y="136397"/>
                  </a:lnTo>
                  <a:lnTo>
                    <a:pt x="367156" y="138175"/>
                  </a:lnTo>
                  <a:lnTo>
                    <a:pt x="366140" y="140207"/>
                  </a:lnTo>
                  <a:lnTo>
                    <a:pt x="365378" y="142366"/>
                  </a:lnTo>
                  <a:lnTo>
                    <a:pt x="364489" y="144525"/>
                  </a:lnTo>
                  <a:lnTo>
                    <a:pt x="363727" y="146557"/>
                  </a:lnTo>
                  <a:lnTo>
                    <a:pt x="363219" y="148844"/>
                  </a:lnTo>
                  <a:lnTo>
                    <a:pt x="362712" y="151129"/>
                  </a:lnTo>
                  <a:lnTo>
                    <a:pt x="362330" y="153416"/>
                  </a:lnTo>
                  <a:lnTo>
                    <a:pt x="362077" y="155701"/>
                  </a:lnTo>
                  <a:lnTo>
                    <a:pt x="361696" y="158115"/>
                  </a:lnTo>
                  <a:lnTo>
                    <a:pt x="361696" y="160654"/>
                  </a:lnTo>
                  <a:lnTo>
                    <a:pt x="361696" y="162941"/>
                  </a:lnTo>
                  <a:lnTo>
                    <a:pt x="362077" y="165353"/>
                  </a:lnTo>
                  <a:lnTo>
                    <a:pt x="362330" y="167640"/>
                  </a:lnTo>
                  <a:lnTo>
                    <a:pt x="362712" y="169925"/>
                  </a:lnTo>
                  <a:lnTo>
                    <a:pt x="363219" y="172084"/>
                  </a:lnTo>
                  <a:lnTo>
                    <a:pt x="363727" y="174371"/>
                  </a:lnTo>
                  <a:lnTo>
                    <a:pt x="364489" y="176529"/>
                  </a:lnTo>
                  <a:lnTo>
                    <a:pt x="365378" y="178816"/>
                  </a:lnTo>
                  <a:lnTo>
                    <a:pt x="366140" y="180847"/>
                  </a:lnTo>
                  <a:lnTo>
                    <a:pt x="367156" y="182753"/>
                  </a:lnTo>
                  <a:lnTo>
                    <a:pt x="368300" y="184784"/>
                  </a:lnTo>
                  <a:lnTo>
                    <a:pt x="369442" y="186562"/>
                  </a:lnTo>
                  <a:lnTo>
                    <a:pt x="370713" y="188468"/>
                  </a:lnTo>
                  <a:lnTo>
                    <a:pt x="371982" y="190246"/>
                  </a:lnTo>
                  <a:lnTo>
                    <a:pt x="373126" y="191897"/>
                  </a:lnTo>
                  <a:lnTo>
                    <a:pt x="374777" y="193675"/>
                  </a:lnTo>
                  <a:lnTo>
                    <a:pt x="376301" y="195199"/>
                  </a:lnTo>
                  <a:lnTo>
                    <a:pt x="377952" y="196469"/>
                  </a:lnTo>
                  <a:lnTo>
                    <a:pt x="379476" y="197866"/>
                  </a:lnTo>
                  <a:lnTo>
                    <a:pt x="381253" y="199262"/>
                  </a:lnTo>
                  <a:lnTo>
                    <a:pt x="383159" y="200532"/>
                  </a:lnTo>
                  <a:lnTo>
                    <a:pt x="385064" y="201675"/>
                  </a:lnTo>
                  <a:lnTo>
                    <a:pt x="386714" y="202691"/>
                  </a:lnTo>
                  <a:lnTo>
                    <a:pt x="388874" y="203581"/>
                  </a:lnTo>
                  <a:lnTo>
                    <a:pt x="390778" y="204343"/>
                  </a:lnTo>
                  <a:lnTo>
                    <a:pt x="392938" y="205231"/>
                  </a:lnTo>
                  <a:lnTo>
                    <a:pt x="394969" y="205740"/>
                  </a:lnTo>
                  <a:lnTo>
                    <a:pt x="397128" y="206247"/>
                  </a:lnTo>
                  <a:lnTo>
                    <a:pt x="399288" y="206882"/>
                  </a:lnTo>
                  <a:lnTo>
                    <a:pt x="401447" y="207137"/>
                  </a:lnTo>
                  <a:lnTo>
                    <a:pt x="403605" y="207263"/>
                  </a:lnTo>
                  <a:lnTo>
                    <a:pt x="406018" y="207263"/>
                  </a:lnTo>
                  <a:lnTo>
                    <a:pt x="408304" y="207263"/>
                  </a:lnTo>
                  <a:lnTo>
                    <a:pt x="410464" y="207137"/>
                  </a:lnTo>
                  <a:lnTo>
                    <a:pt x="412750" y="206882"/>
                  </a:lnTo>
                  <a:lnTo>
                    <a:pt x="414909" y="206247"/>
                  </a:lnTo>
                  <a:lnTo>
                    <a:pt x="417067" y="205740"/>
                  </a:lnTo>
                  <a:lnTo>
                    <a:pt x="419100" y="205231"/>
                  </a:lnTo>
                  <a:lnTo>
                    <a:pt x="421259" y="204343"/>
                  </a:lnTo>
                  <a:lnTo>
                    <a:pt x="423164" y="203581"/>
                  </a:lnTo>
                  <a:lnTo>
                    <a:pt x="425196" y="202691"/>
                  </a:lnTo>
                  <a:lnTo>
                    <a:pt x="427101" y="201675"/>
                  </a:lnTo>
                  <a:lnTo>
                    <a:pt x="428752" y="200532"/>
                  </a:lnTo>
                  <a:lnTo>
                    <a:pt x="430784" y="199262"/>
                  </a:lnTo>
                  <a:lnTo>
                    <a:pt x="432435" y="197866"/>
                  </a:lnTo>
                  <a:lnTo>
                    <a:pt x="434213" y="196469"/>
                  </a:lnTo>
                  <a:lnTo>
                    <a:pt x="435737" y="195199"/>
                  </a:lnTo>
                  <a:lnTo>
                    <a:pt x="437388" y="193675"/>
                  </a:lnTo>
                  <a:lnTo>
                    <a:pt x="438785" y="191897"/>
                  </a:lnTo>
                  <a:lnTo>
                    <a:pt x="440181" y="190246"/>
                  </a:lnTo>
                  <a:lnTo>
                    <a:pt x="441578" y="188468"/>
                  </a:lnTo>
                  <a:lnTo>
                    <a:pt x="442722" y="186562"/>
                  </a:lnTo>
                  <a:lnTo>
                    <a:pt x="443864" y="184784"/>
                  </a:lnTo>
                  <a:lnTo>
                    <a:pt x="444880" y="182753"/>
                  </a:lnTo>
                  <a:lnTo>
                    <a:pt x="445897" y="180847"/>
                  </a:lnTo>
                  <a:lnTo>
                    <a:pt x="446786" y="178816"/>
                  </a:lnTo>
                  <a:lnTo>
                    <a:pt x="447548" y="176529"/>
                  </a:lnTo>
                  <a:lnTo>
                    <a:pt x="448182" y="174371"/>
                  </a:lnTo>
                  <a:lnTo>
                    <a:pt x="448944" y="172084"/>
                  </a:lnTo>
                  <a:lnTo>
                    <a:pt x="449326" y="169925"/>
                  </a:lnTo>
                  <a:lnTo>
                    <a:pt x="449579" y="167640"/>
                  </a:lnTo>
                  <a:lnTo>
                    <a:pt x="450088" y="165353"/>
                  </a:lnTo>
                  <a:lnTo>
                    <a:pt x="450214" y="162941"/>
                  </a:lnTo>
                  <a:lnTo>
                    <a:pt x="450214" y="160654"/>
                  </a:lnTo>
                  <a:lnTo>
                    <a:pt x="450214" y="158115"/>
                  </a:lnTo>
                  <a:lnTo>
                    <a:pt x="450088" y="155701"/>
                  </a:lnTo>
                  <a:lnTo>
                    <a:pt x="449579" y="153416"/>
                  </a:lnTo>
                  <a:lnTo>
                    <a:pt x="449326" y="151129"/>
                  </a:lnTo>
                  <a:lnTo>
                    <a:pt x="448944" y="148844"/>
                  </a:lnTo>
                  <a:lnTo>
                    <a:pt x="448182" y="146557"/>
                  </a:lnTo>
                  <a:lnTo>
                    <a:pt x="447548" y="144525"/>
                  </a:lnTo>
                  <a:lnTo>
                    <a:pt x="446786" y="142366"/>
                  </a:lnTo>
                  <a:lnTo>
                    <a:pt x="445897" y="140207"/>
                  </a:lnTo>
                  <a:lnTo>
                    <a:pt x="444880" y="138175"/>
                  </a:lnTo>
                  <a:lnTo>
                    <a:pt x="443864" y="136397"/>
                  </a:lnTo>
                  <a:lnTo>
                    <a:pt x="442722" y="134493"/>
                  </a:lnTo>
                  <a:lnTo>
                    <a:pt x="441578" y="132587"/>
                  </a:lnTo>
                  <a:lnTo>
                    <a:pt x="440181" y="130809"/>
                  </a:lnTo>
                  <a:lnTo>
                    <a:pt x="438785" y="129031"/>
                  </a:lnTo>
                  <a:lnTo>
                    <a:pt x="437388" y="127507"/>
                  </a:lnTo>
                  <a:lnTo>
                    <a:pt x="435737" y="125984"/>
                  </a:lnTo>
                  <a:lnTo>
                    <a:pt x="434213" y="124459"/>
                  </a:lnTo>
                  <a:lnTo>
                    <a:pt x="432435" y="123062"/>
                  </a:lnTo>
                  <a:lnTo>
                    <a:pt x="430784" y="121919"/>
                  </a:lnTo>
                  <a:lnTo>
                    <a:pt x="428752" y="120522"/>
                  </a:lnTo>
                  <a:lnTo>
                    <a:pt x="427101" y="119379"/>
                  </a:lnTo>
                  <a:lnTo>
                    <a:pt x="425196" y="118363"/>
                  </a:lnTo>
                  <a:lnTo>
                    <a:pt x="423164" y="117475"/>
                  </a:lnTo>
                  <a:lnTo>
                    <a:pt x="421259" y="116585"/>
                  </a:lnTo>
                  <a:lnTo>
                    <a:pt x="419100" y="115824"/>
                  </a:lnTo>
                  <a:lnTo>
                    <a:pt x="417067" y="115316"/>
                  </a:lnTo>
                  <a:lnTo>
                    <a:pt x="414909" y="114681"/>
                  </a:lnTo>
                  <a:lnTo>
                    <a:pt x="412750" y="114426"/>
                  </a:lnTo>
                  <a:lnTo>
                    <a:pt x="410464" y="113919"/>
                  </a:lnTo>
                  <a:lnTo>
                    <a:pt x="408304" y="113791"/>
                  </a:lnTo>
                  <a:lnTo>
                    <a:pt x="406018" y="113791"/>
                  </a:lnTo>
                  <a:close/>
                  <a:moveTo>
                    <a:pt x="-8035544" y="2282951"/>
                  </a:moveTo>
                  <a:moveTo>
                    <a:pt x="406018" y="186562"/>
                  </a:moveTo>
                  <a:lnTo>
                    <a:pt x="406018" y="186562"/>
                  </a:lnTo>
                  <a:lnTo>
                    <a:pt x="403478" y="186435"/>
                  </a:lnTo>
                  <a:lnTo>
                    <a:pt x="400939" y="186181"/>
                  </a:lnTo>
                  <a:lnTo>
                    <a:pt x="398779" y="185419"/>
                  </a:lnTo>
                  <a:lnTo>
                    <a:pt x="396493" y="184531"/>
                  </a:lnTo>
                  <a:lnTo>
                    <a:pt x="394080" y="183641"/>
                  </a:lnTo>
                  <a:lnTo>
                    <a:pt x="392049" y="182118"/>
                  </a:lnTo>
                  <a:lnTo>
                    <a:pt x="390398" y="180721"/>
                  </a:lnTo>
                  <a:lnTo>
                    <a:pt x="388492" y="178943"/>
                  </a:lnTo>
                  <a:lnTo>
                    <a:pt x="386841" y="177165"/>
                  </a:lnTo>
                  <a:lnTo>
                    <a:pt x="385444" y="175259"/>
                  </a:lnTo>
                  <a:lnTo>
                    <a:pt x="384175" y="172974"/>
                  </a:lnTo>
                  <a:lnTo>
                    <a:pt x="383286" y="170815"/>
                  </a:lnTo>
                  <a:lnTo>
                    <a:pt x="382397" y="168275"/>
                  </a:lnTo>
                  <a:lnTo>
                    <a:pt x="381889" y="165734"/>
                  </a:lnTo>
                  <a:lnTo>
                    <a:pt x="381380" y="163068"/>
                  </a:lnTo>
                  <a:lnTo>
                    <a:pt x="381253" y="160654"/>
                  </a:lnTo>
                  <a:lnTo>
                    <a:pt x="381380" y="157860"/>
                  </a:lnTo>
                  <a:lnTo>
                    <a:pt x="381889" y="155321"/>
                  </a:lnTo>
                  <a:lnTo>
                    <a:pt x="382397" y="152781"/>
                  </a:lnTo>
                  <a:lnTo>
                    <a:pt x="383286" y="150241"/>
                  </a:lnTo>
                  <a:lnTo>
                    <a:pt x="384175" y="148081"/>
                  </a:lnTo>
                  <a:lnTo>
                    <a:pt x="385444" y="145796"/>
                  </a:lnTo>
                  <a:lnTo>
                    <a:pt x="386841" y="143763"/>
                  </a:lnTo>
                  <a:lnTo>
                    <a:pt x="388492" y="141985"/>
                  </a:lnTo>
                  <a:lnTo>
                    <a:pt x="390398" y="140207"/>
                  </a:lnTo>
                  <a:lnTo>
                    <a:pt x="392049" y="138937"/>
                  </a:lnTo>
                  <a:lnTo>
                    <a:pt x="394080" y="137541"/>
                  </a:lnTo>
                  <a:lnTo>
                    <a:pt x="396493" y="136397"/>
                  </a:lnTo>
                  <a:lnTo>
                    <a:pt x="398779" y="135509"/>
                  </a:lnTo>
                  <a:lnTo>
                    <a:pt x="400939" y="134747"/>
                  </a:lnTo>
                  <a:lnTo>
                    <a:pt x="403478" y="134493"/>
                  </a:lnTo>
                  <a:lnTo>
                    <a:pt x="406018" y="134366"/>
                  </a:lnTo>
                  <a:lnTo>
                    <a:pt x="408559" y="134493"/>
                  </a:lnTo>
                  <a:lnTo>
                    <a:pt x="410972" y="134747"/>
                  </a:lnTo>
                  <a:lnTo>
                    <a:pt x="413385" y="135509"/>
                  </a:lnTo>
                  <a:lnTo>
                    <a:pt x="415671" y="136397"/>
                  </a:lnTo>
                  <a:lnTo>
                    <a:pt x="417702" y="137541"/>
                  </a:lnTo>
                  <a:lnTo>
                    <a:pt x="419862" y="138937"/>
                  </a:lnTo>
                  <a:lnTo>
                    <a:pt x="421766" y="140207"/>
                  </a:lnTo>
                  <a:lnTo>
                    <a:pt x="423544" y="141985"/>
                  </a:lnTo>
                  <a:lnTo>
                    <a:pt x="425196" y="143763"/>
                  </a:lnTo>
                  <a:lnTo>
                    <a:pt x="426465" y="145796"/>
                  </a:lnTo>
                  <a:lnTo>
                    <a:pt x="427736" y="148081"/>
                  </a:lnTo>
                  <a:lnTo>
                    <a:pt x="428752" y="150241"/>
                  </a:lnTo>
                  <a:lnTo>
                    <a:pt x="429640" y="152781"/>
                  </a:lnTo>
                  <a:lnTo>
                    <a:pt x="430402" y="155321"/>
                  </a:lnTo>
                  <a:lnTo>
                    <a:pt x="430656" y="157860"/>
                  </a:lnTo>
                  <a:lnTo>
                    <a:pt x="430784" y="160654"/>
                  </a:lnTo>
                  <a:lnTo>
                    <a:pt x="430656" y="163068"/>
                  </a:lnTo>
                  <a:lnTo>
                    <a:pt x="430402" y="165734"/>
                  </a:lnTo>
                  <a:lnTo>
                    <a:pt x="429640" y="168275"/>
                  </a:lnTo>
                  <a:lnTo>
                    <a:pt x="428752" y="170815"/>
                  </a:lnTo>
                  <a:lnTo>
                    <a:pt x="427736" y="172974"/>
                  </a:lnTo>
                  <a:lnTo>
                    <a:pt x="426465" y="175259"/>
                  </a:lnTo>
                  <a:lnTo>
                    <a:pt x="425196" y="177165"/>
                  </a:lnTo>
                  <a:lnTo>
                    <a:pt x="423544" y="178943"/>
                  </a:lnTo>
                  <a:lnTo>
                    <a:pt x="421766" y="180721"/>
                  </a:lnTo>
                  <a:lnTo>
                    <a:pt x="419862" y="182118"/>
                  </a:lnTo>
                  <a:lnTo>
                    <a:pt x="417702" y="183641"/>
                  </a:lnTo>
                  <a:lnTo>
                    <a:pt x="415671" y="184531"/>
                  </a:lnTo>
                  <a:lnTo>
                    <a:pt x="413385" y="185419"/>
                  </a:lnTo>
                  <a:lnTo>
                    <a:pt x="410972" y="186181"/>
                  </a:lnTo>
                  <a:lnTo>
                    <a:pt x="408559" y="186435"/>
                  </a:lnTo>
                  <a:lnTo>
                    <a:pt x="406018" y="186562"/>
                  </a:lnTo>
                  <a:close/>
                  <a:moveTo>
                    <a:pt x="-8108315" y="2282951"/>
                  </a:moveTo>
                  <a:moveTo>
                    <a:pt x="351789" y="156718"/>
                  </a:moveTo>
                  <a:lnTo>
                    <a:pt x="108965" y="156718"/>
                  </a:lnTo>
                  <a:lnTo>
                    <a:pt x="109219" y="160654"/>
                  </a:lnTo>
                  <a:lnTo>
                    <a:pt x="108965" y="164846"/>
                  </a:lnTo>
                  <a:lnTo>
                    <a:pt x="108712" y="169037"/>
                  </a:lnTo>
                  <a:lnTo>
                    <a:pt x="107950" y="173354"/>
                  </a:lnTo>
                  <a:lnTo>
                    <a:pt x="106934" y="177419"/>
                  </a:lnTo>
                  <a:lnTo>
                    <a:pt x="354076" y="177419"/>
                  </a:lnTo>
                  <a:lnTo>
                    <a:pt x="352932" y="173354"/>
                  </a:lnTo>
                  <a:lnTo>
                    <a:pt x="352171" y="169037"/>
                  </a:lnTo>
                  <a:lnTo>
                    <a:pt x="351789" y="164846"/>
                  </a:lnTo>
                  <a:lnTo>
                    <a:pt x="351663" y="160654"/>
                  </a:lnTo>
                  <a:lnTo>
                    <a:pt x="351789" y="156718"/>
                  </a:lnTo>
                  <a:close/>
                  <a:moveTo>
                    <a:pt x="-8078471" y="2282951"/>
                  </a:moveTo>
                  <a:moveTo>
                    <a:pt x="456311" y="86106"/>
                  </a:moveTo>
                  <a:lnTo>
                    <a:pt x="427609" y="70866"/>
                  </a:lnTo>
                  <a:lnTo>
                    <a:pt x="424052" y="69087"/>
                  </a:lnTo>
                  <a:lnTo>
                    <a:pt x="420242" y="66928"/>
                  </a:lnTo>
                  <a:lnTo>
                    <a:pt x="411988" y="61594"/>
                  </a:lnTo>
                  <a:lnTo>
                    <a:pt x="404114" y="56134"/>
                  </a:lnTo>
                  <a:lnTo>
                    <a:pt x="400430" y="53340"/>
                  </a:lnTo>
                  <a:lnTo>
                    <a:pt x="397382" y="50926"/>
                  </a:lnTo>
                  <a:lnTo>
                    <a:pt x="351154" y="12953"/>
                  </a:lnTo>
                  <a:lnTo>
                    <a:pt x="349123" y="11684"/>
                  </a:lnTo>
                  <a:lnTo>
                    <a:pt x="347344" y="10159"/>
                  </a:lnTo>
                  <a:lnTo>
                    <a:pt x="343280" y="7874"/>
                  </a:lnTo>
                  <a:lnTo>
                    <a:pt x="338709" y="5587"/>
                  </a:lnTo>
                  <a:lnTo>
                    <a:pt x="334010" y="3682"/>
                  </a:lnTo>
                  <a:lnTo>
                    <a:pt x="329184" y="2159"/>
                  </a:lnTo>
                  <a:lnTo>
                    <a:pt x="324357" y="1016"/>
                  </a:lnTo>
                  <a:lnTo>
                    <a:pt x="321944" y="762"/>
                  </a:lnTo>
                  <a:lnTo>
                    <a:pt x="319659" y="253"/>
                  </a:lnTo>
                  <a:lnTo>
                    <a:pt x="317373" y="126"/>
                  </a:lnTo>
                  <a:lnTo>
                    <a:pt x="315214" y="0"/>
                  </a:lnTo>
                  <a:lnTo>
                    <a:pt x="37338" y="0"/>
                  </a:lnTo>
                  <a:lnTo>
                    <a:pt x="34925" y="126"/>
                  </a:lnTo>
                  <a:lnTo>
                    <a:pt x="32512" y="381"/>
                  </a:lnTo>
                  <a:lnTo>
                    <a:pt x="30352" y="1143"/>
                  </a:lnTo>
                  <a:lnTo>
                    <a:pt x="28193" y="1904"/>
                  </a:lnTo>
                  <a:lnTo>
                    <a:pt x="26162" y="2921"/>
                  </a:lnTo>
                  <a:lnTo>
                    <a:pt x="24129" y="4191"/>
                  </a:lnTo>
                  <a:lnTo>
                    <a:pt x="22225" y="5460"/>
                  </a:lnTo>
                  <a:lnTo>
                    <a:pt x="20574" y="6984"/>
                  </a:lnTo>
                  <a:lnTo>
                    <a:pt x="18668" y="8762"/>
                  </a:lnTo>
                  <a:lnTo>
                    <a:pt x="17144" y="10287"/>
                  </a:lnTo>
                  <a:lnTo>
                    <a:pt x="15875" y="12446"/>
                  </a:lnTo>
                  <a:lnTo>
                    <a:pt x="14731" y="14478"/>
                  </a:lnTo>
                  <a:lnTo>
                    <a:pt x="13715" y="16637"/>
                  </a:lnTo>
                  <a:lnTo>
                    <a:pt x="12827" y="18922"/>
                  </a:lnTo>
                  <a:lnTo>
                    <a:pt x="12318" y="21209"/>
                  </a:lnTo>
                  <a:lnTo>
                    <a:pt x="11684" y="23622"/>
                  </a:lnTo>
                  <a:lnTo>
                    <a:pt x="253" y="117221"/>
                  </a:lnTo>
                  <a:lnTo>
                    <a:pt x="0" y="120015"/>
                  </a:lnTo>
                  <a:lnTo>
                    <a:pt x="0" y="123062"/>
                  </a:lnTo>
                  <a:lnTo>
                    <a:pt x="127" y="127126"/>
                  </a:lnTo>
                  <a:lnTo>
                    <a:pt x="380" y="131191"/>
                  </a:lnTo>
                  <a:lnTo>
                    <a:pt x="1142" y="135381"/>
                  </a:lnTo>
                  <a:lnTo>
                    <a:pt x="2159" y="139319"/>
                  </a:lnTo>
                  <a:lnTo>
                    <a:pt x="3175" y="143382"/>
                  </a:lnTo>
                  <a:lnTo>
                    <a:pt x="4572" y="146938"/>
                  </a:lnTo>
                  <a:lnTo>
                    <a:pt x="6350" y="150241"/>
                  </a:lnTo>
                  <a:lnTo>
                    <a:pt x="8127" y="153543"/>
                  </a:lnTo>
                  <a:lnTo>
                    <a:pt x="15113" y="163575"/>
                  </a:lnTo>
                  <a:lnTo>
                    <a:pt x="14986" y="160654"/>
                  </a:lnTo>
                  <a:lnTo>
                    <a:pt x="15113" y="157353"/>
                  </a:lnTo>
                  <a:lnTo>
                    <a:pt x="15366" y="154178"/>
                  </a:lnTo>
                  <a:lnTo>
                    <a:pt x="15748" y="151003"/>
                  </a:lnTo>
                  <a:lnTo>
                    <a:pt x="16382" y="147954"/>
                  </a:lnTo>
                  <a:lnTo>
                    <a:pt x="15875" y="147447"/>
                  </a:lnTo>
                  <a:lnTo>
                    <a:pt x="14731" y="145415"/>
                  </a:lnTo>
                  <a:lnTo>
                    <a:pt x="13589" y="142875"/>
                  </a:lnTo>
                  <a:lnTo>
                    <a:pt x="12446" y="139953"/>
                  </a:lnTo>
                  <a:lnTo>
                    <a:pt x="11429" y="136651"/>
                  </a:lnTo>
                  <a:lnTo>
                    <a:pt x="10667" y="133350"/>
                  </a:lnTo>
                  <a:lnTo>
                    <a:pt x="10160" y="129921"/>
                  </a:lnTo>
                  <a:lnTo>
                    <a:pt x="9778" y="126365"/>
                  </a:lnTo>
                  <a:lnTo>
                    <a:pt x="9652" y="123062"/>
                  </a:lnTo>
                  <a:lnTo>
                    <a:pt x="9652" y="120650"/>
                  </a:lnTo>
                  <a:lnTo>
                    <a:pt x="9778" y="118363"/>
                  </a:lnTo>
                  <a:lnTo>
                    <a:pt x="11556" y="104647"/>
                  </a:lnTo>
                  <a:lnTo>
                    <a:pt x="269493" y="104647"/>
                  </a:lnTo>
                  <a:lnTo>
                    <a:pt x="269493" y="94234"/>
                  </a:lnTo>
                  <a:lnTo>
                    <a:pt x="12827" y="94234"/>
                  </a:lnTo>
                  <a:lnTo>
                    <a:pt x="14224" y="84454"/>
                  </a:lnTo>
                  <a:lnTo>
                    <a:pt x="146812" y="84454"/>
                  </a:lnTo>
                  <a:lnTo>
                    <a:pt x="146812" y="74168"/>
                  </a:lnTo>
                  <a:lnTo>
                    <a:pt x="15366" y="74168"/>
                  </a:lnTo>
                  <a:lnTo>
                    <a:pt x="21336" y="25146"/>
                  </a:lnTo>
                  <a:lnTo>
                    <a:pt x="21716" y="23622"/>
                  </a:lnTo>
                  <a:lnTo>
                    <a:pt x="22098" y="22097"/>
                  </a:lnTo>
                  <a:lnTo>
                    <a:pt x="22605" y="20828"/>
                  </a:lnTo>
                  <a:lnTo>
                    <a:pt x="23240" y="19431"/>
                  </a:lnTo>
                  <a:lnTo>
                    <a:pt x="24002" y="18034"/>
                  </a:lnTo>
                  <a:lnTo>
                    <a:pt x="24891" y="16891"/>
                  </a:lnTo>
                  <a:lnTo>
                    <a:pt x="25907" y="15621"/>
                  </a:lnTo>
                  <a:lnTo>
                    <a:pt x="26924" y="14604"/>
                  </a:lnTo>
                  <a:lnTo>
                    <a:pt x="28066" y="13588"/>
                  </a:lnTo>
                  <a:lnTo>
                    <a:pt x="29210" y="12826"/>
                  </a:lnTo>
                  <a:lnTo>
                    <a:pt x="30479" y="12065"/>
                  </a:lnTo>
                  <a:lnTo>
                    <a:pt x="31750" y="11429"/>
                  </a:lnTo>
                  <a:lnTo>
                    <a:pt x="33274" y="10922"/>
                  </a:lnTo>
                  <a:lnTo>
                    <a:pt x="34543" y="10668"/>
                  </a:lnTo>
                  <a:lnTo>
                    <a:pt x="35940" y="10287"/>
                  </a:lnTo>
                  <a:lnTo>
                    <a:pt x="37338" y="10159"/>
                  </a:lnTo>
                  <a:lnTo>
                    <a:pt x="315214" y="10159"/>
                  </a:lnTo>
                  <a:lnTo>
                    <a:pt x="316738" y="10287"/>
                  </a:lnTo>
                  <a:lnTo>
                    <a:pt x="318515" y="10668"/>
                  </a:lnTo>
                  <a:lnTo>
                    <a:pt x="322579" y="11049"/>
                  </a:lnTo>
                  <a:lnTo>
                    <a:pt x="326643" y="12065"/>
                  </a:lnTo>
                  <a:lnTo>
                    <a:pt x="330835" y="13462"/>
                  </a:lnTo>
                  <a:lnTo>
                    <a:pt x="335026" y="15240"/>
                  </a:lnTo>
                  <a:lnTo>
                    <a:pt x="338963" y="17018"/>
                  </a:lnTo>
                  <a:lnTo>
                    <a:pt x="342264" y="19050"/>
                  </a:lnTo>
                  <a:lnTo>
                    <a:pt x="343662" y="20066"/>
                  </a:lnTo>
                  <a:lnTo>
                    <a:pt x="345186" y="21081"/>
                  </a:lnTo>
                  <a:lnTo>
                    <a:pt x="355853" y="29844"/>
                  </a:lnTo>
                  <a:lnTo>
                    <a:pt x="281431" y="29844"/>
                  </a:lnTo>
                  <a:lnTo>
                    <a:pt x="307466" y="75819"/>
                  </a:lnTo>
                  <a:lnTo>
                    <a:pt x="415671" y="75819"/>
                  </a:lnTo>
                  <a:lnTo>
                    <a:pt x="419607" y="78104"/>
                  </a:lnTo>
                  <a:lnTo>
                    <a:pt x="423164" y="80137"/>
                  </a:lnTo>
                  <a:lnTo>
                    <a:pt x="451992" y="95250"/>
                  </a:lnTo>
                  <a:lnTo>
                    <a:pt x="453263" y="96138"/>
                  </a:lnTo>
                  <a:lnTo>
                    <a:pt x="454532" y="97028"/>
                  </a:lnTo>
                  <a:lnTo>
                    <a:pt x="455802" y="98044"/>
                  </a:lnTo>
                  <a:lnTo>
                    <a:pt x="457073" y="99313"/>
                  </a:lnTo>
                  <a:lnTo>
                    <a:pt x="458469" y="100584"/>
                  </a:lnTo>
                  <a:lnTo>
                    <a:pt x="459613" y="102107"/>
                  </a:lnTo>
                  <a:lnTo>
                    <a:pt x="460502" y="103631"/>
                  </a:lnTo>
                  <a:lnTo>
                    <a:pt x="461644" y="105409"/>
                  </a:lnTo>
                  <a:lnTo>
                    <a:pt x="462534" y="107060"/>
                  </a:lnTo>
                  <a:lnTo>
                    <a:pt x="463296" y="108838"/>
                  </a:lnTo>
                  <a:lnTo>
                    <a:pt x="464057" y="110362"/>
                  </a:lnTo>
                  <a:lnTo>
                    <a:pt x="464692" y="112141"/>
                  </a:lnTo>
                  <a:lnTo>
                    <a:pt x="465201" y="113791"/>
                  </a:lnTo>
                  <a:lnTo>
                    <a:pt x="465454" y="115569"/>
                  </a:lnTo>
                  <a:lnTo>
                    <a:pt x="465709" y="117221"/>
                  </a:lnTo>
                  <a:lnTo>
                    <a:pt x="465709" y="118872"/>
                  </a:lnTo>
                  <a:lnTo>
                    <a:pt x="465709" y="145415"/>
                  </a:lnTo>
                  <a:lnTo>
                    <a:pt x="465709" y="148844"/>
                  </a:lnTo>
                  <a:lnTo>
                    <a:pt x="465201" y="152019"/>
                  </a:lnTo>
                  <a:lnTo>
                    <a:pt x="464565" y="154685"/>
                  </a:lnTo>
                  <a:lnTo>
                    <a:pt x="463930" y="157225"/>
                  </a:lnTo>
                  <a:lnTo>
                    <a:pt x="463041" y="158876"/>
                  </a:lnTo>
                  <a:lnTo>
                    <a:pt x="462534" y="159766"/>
                  </a:lnTo>
                  <a:lnTo>
                    <a:pt x="460502" y="159766"/>
                  </a:lnTo>
                  <a:lnTo>
                    <a:pt x="460502" y="160654"/>
                  </a:lnTo>
                  <a:lnTo>
                    <a:pt x="460375" y="162941"/>
                  </a:lnTo>
                  <a:lnTo>
                    <a:pt x="460121" y="165353"/>
                  </a:lnTo>
                  <a:lnTo>
                    <a:pt x="459739" y="169925"/>
                  </a:lnTo>
                  <a:lnTo>
                    <a:pt x="462914" y="169925"/>
                  </a:lnTo>
                  <a:lnTo>
                    <a:pt x="464947" y="169672"/>
                  </a:lnTo>
                  <a:lnTo>
                    <a:pt x="466725" y="168909"/>
                  </a:lnTo>
                  <a:lnTo>
                    <a:pt x="468122" y="168021"/>
                  </a:lnTo>
                  <a:lnTo>
                    <a:pt x="469391" y="166878"/>
                  </a:lnTo>
                  <a:lnTo>
                    <a:pt x="470407" y="165481"/>
                  </a:lnTo>
                  <a:lnTo>
                    <a:pt x="471297" y="164210"/>
                  </a:lnTo>
                  <a:lnTo>
                    <a:pt x="472186" y="162559"/>
                  </a:lnTo>
                  <a:lnTo>
                    <a:pt x="472948" y="161035"/>
                  </a:lnTo>
                  <a:lnTo>
                    <a:pt x="473328" y="159384"/>
                  </a:lnTo>
                  <a:lnTo>
                    <a:pt x="473837" y="157606"/>
                  </a:lnTo>
                  <a:lnTo>
                    <a:pt x="474599" y="153669"/>
                  </a:lnTo>
                  <a:lnTo>
                    <a:pt x="475361" y="149732"/>
                  </a:lnTo>
                  <a:lnTo>
                    <a:pt x="475488" y="145415"/>
                  </a:lnTo>
                  <a:lnTo>
                    <a:pt x="475488" y="118872"/>
                  </a:lnTo>
                  <a:lnTo>
                    <a:pt x="475361" y="116459"/>
                  </a:lnTo>
                  <a:lnTo>
                    <a:pt x="475106" y="113791"/>
                  </a:lnTo>
                  <a:lnTo>
                    <a:pt x="474472" y="111506"/>
                  </a:lnTo>
                  <a:lnTo>
                    <a:pt x="473837" y="109093"/>
                  </a:lnTo>
                  <a:lnTo>
                    <a:pt x="473075" y="106679"/>
                  </a:lnTo>
                  <a:lnTo>
                    <a:pt x="472186" y="104394"/>
                  </a:lnTo>
                  <a:lnTo>
                    <a:pt x="471169" y="102107"/>
                  </a:lnTo>
                  <a:lnTo>
                    <a:pt x="469900" y="99949"/>
                  </a:lnTo>
                  <a:lnTo>
                    <a:pt x="468502" y="97790"/>
                  </a:lnTo>
                  <a:lnTo>
                    <a:pt x="467105" y="95631"/>
                  </a:lnTo>
                  <a:lnTo>
                    <a:pt x="465454" y="93725"/>
                  </a:lnTo>
                  <a:lnTo>
                    <a:pt x="463930" y="91947"/>
                  </a:lnTo>
                  <a:lnTo>
                    <a:pt x="462026" y="90297"/>
                  </a:lnTo>
                  <a:lnTo>
                    <a:pt x="460375" y="88900"/>
                  </a:lnTo>
                  <a:lnTo>
                    <a:pt x="458469" y="87375"/>
                  </a:lnTo>
                  <a:lnTo>
                    <a:pt x="456311" y="86106"/>
                  </a:lnTo>
                  <a:close/>
                  <a:moveTo>
                    <a:pt x="-8007859" y="2282951"/>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78" name="Freeform 1478"/>
            <p:cNvSpPr/>
            <p:nvPr/>
          </p:nvSpPr>
          <p:spPr>
            <a:xfrm>
              <a:off x="11568114" y="3337124"/>
              <a:ext cx="311712" cy="251864"/>
            </a:xfrm>
            <a:custGeom>
              <a:avLst/>
              <a:gdLst/>
              <a:ahLst/>
              <a:cxnLst/>
              <a:rect l="0" t="0" r="0" b="0"/>
              <a:pathLst>
                <a:path w="381000" h="307849">
                  <a:moveTo>
                    <a:pt x="130049" y="307849"/>
                  </a:moveTo>
                  <a:lnTo>
                    <a:pt x="130049" y="307849"/>
                  </a:lnTo>
                  <a:lnTo>
                    <a:pt x="129033" y="307849"/>
                  </a:lnTo>
                  <a:lnTo>
                    <a:pt x="127000" y="306960"/>
                  </a:lnTo>
                  <a:lnTo>
                    <a:pt x="125985" y="306198"/>
                  </a:lnTo>
                  <a:lnTo>
                    <a:pt x="83694" y="254508"/>
                  </a:lnTo>
                  <a:lnTo>
                    <a:pt x="64009" y="263652"/>
                  </a:lnTo>
                  <a:lnTo>
                    <a:pt x="61976" y="263652"/>
                  </a:lnTo>
                  <a:lnTo>
                    <a:pt x="59945" y="263652"/>
                  </a:lnTo>
                  <a:lnTo>
                    <a:pt x="57786" y="263652"/>
                  </a:lnTo>
                  <a:lnTo>
                    <a:pt x="55753" y="262763"/>
                  </a:lnTo>
                  <a:lnTo>
                    <a:pt x="54737" y="261112"/>
                  </a:lnTo>
                  <a:lnTo>
                    <a:pt x="54737" y="259462"/>
                  </a:lnTo>
                  <a:lnTo>
                    <a:pt x="54737" y="257811"/>
                  </a:lnTo>
                  <a:lnTo>
                    <a:pt x="54737" y="256160"/>
                  </a:lnTo>
                  <a:lnTo>
                    <a:pt x="66040" y="240285"/>
                  </a:lnTo>
                  <a:lnTo>
                    <a:pt x="2033" y="206121"/>
                  </a:lnTo>
                  <a:lnTo>
                    <a:pt x="1016" y="205232"/>
                  </a:lnTo>
                  <a:lnTo>
                    <a:pt x="0" y="203581"/>
                  </a:lnTo>
                  <a:lnTo>
                    <a:pt x="1016" y="201931"/>
                  </a:lnTo>
                  <a:lnTo>
                    <a:pt x="2033" y="201042"/>
                  </a:lnTo>
                  <a:lnTo>
                    <a:pt x="9272" y="193549"/>
                  </a:lnTo>
                  <a:lnTo>
                    <a:pt x="11303" y="191898"/>
                  </a:lnTo>
                  <a:lnTo>
                    <a:pt x="14478" y="191008"/>
                  </a:lnTo>
                  <a:lnTo>
                    <a:pt x="17526" y="190246"/>
                  </a:lnTo>
                  <a:lnTo>
                    <a:pt x="20701" y="190246"/>
                  </a:lnTo>
                  <a:lnTo>
                    <a:pt x="97028" y="193549"/>
                  </a:lnTo>
                  <a:lnTo>
                    <a:pt x="99061" y="189357"/>
                  </a:lnTo>
                  <a:lnTo>
                    <a:pt x="105284" y="182754"/>
                  </a:lnTo>
                  <a:lnTo>
                    <a:pt x="111507" y="176912"/>
                  </a:lnTo>
                  <a:lnTo>
                    <a:pt x="152782" y="142621"/>
                  </a:lnTo>
                  <a:lnTo>
                    <a:pt x="37212" y="73406"/>
                  </a:lnTo>
                  <a:lnTo>
                    <a:pt x="35052" y="70867"/>
                  </a:lnTo>
                  <a:lnTo>
                    <a:pt x="33021" y="68454"/>
                  </a:lnTo>
                  <a:lnTo>
                    <a:pt x="30988" y="65913"/>
                  </a:lnTo>
                  <a:lnTo>
                    <a:pt x="30988" y="62612"/>
                  </a:lnTo>
                  <a:lnTo>
                    <a:pt x="30988" y="59182"/>
                  </a:lnTo>
                  <a:lnTo>
                    <a:pt x="32004" y="56769"/>
                  </a:lnTo>
                  <a:lnTo>
                    <a:pt x="33021" y="53340"/>
                  </a:lnTo>
                  <a:lnTo>
                    <a:pt x="36196" y="51689"/>
                  </a:lnTo>
                  <a:lnTo>
                    <a:pt x="45466" y="43435"/>
                  </a:lnTo>
                  <a:lnTo>
                    <a:pt x="49531" y="40894"/>
                  </a:lnTo>
                  <a:lnTo>
                    <a:pt x="53722" y="39244"/>
                  </a:lnTo>
                  <a:lnTo>
                    <a:pt x="57786" y="39244"/>
                  </a:lnTo>
                  <a:lnTo>
                    <a:pt x="62992" y="39244"/>
                  </a:lnTo>
                  <a:lnTo>
                    <a:pt x="133224" y="55119"/>
                  </a:lnTo>
                  <a:lnTo>
                    <a:pt x="165227" y="29211"/>
                  </a:lnTo>
                  <a:lnTo>
                    <a:pt x="166244" y="29211"/>
                  </a:lnTo>
                  <a:lnTo>
                    <a:pt x="168275" y="28321"/>
                  </a:lnTo>
                  <a:lnTo>
                    <a:pt x="170308" y="29211"/>
                  </a:lnTo>
                  <a:lnTo>
                    <a:pt x="171450" y="29211"/>
                  </a:lnTo>
                  <a:lnTo>
                    <a:pt x="197232" y="50038"/>
                  </a:lnTo>
                  <a:lnTo>
                    <a:pt x="198248" y="51689"/>
                  </a:lnTo>
                  <a:lnTo>
                    <a:pt x="198248" y="52579"/>
                  </a:lnTo>
                  <a:lnTo>
                    <a:pt x="198248" y="54230"/>
                  </a:lnTo>
                  <a:lnTo>
                    <a:pt x="197232" y="55881"/>
                  </a:lnTo>
                  <a:lnTo>
                    <a:pt x="183770" y="66802"/>
                  </a:lnTo>
                  <a:lnTo>
                    <a:pt x="234442" y="77598"/>
                  </a:lnTo>
                  <a:lnTo>
                    <a:pt x="300483" y="24257"/>
                  </a:lnTo>
                  <a:lnTo>
                    <a:pt x="306706" y="19177"/>
                  </a:lnTo>
                  <a:lnTo>
                    <a:pt x="313945" y="14987"/>
                  </a:lnTo>
                  <a:lnTo>
                    <a:pt x="321057" y="11685"/>
                  </a:lnTo>
                  <a:lnTo>
                    <a:pt x="329312" y="9144"/>
                  </a:lnTo>
                  <a:lnTo>
                    <a:pt x="357251" y="889"/>
                  </a:lnTo>
                  <a:lnTo>
                    <a:pt x="362459" y="0"/>
                  </a:lnTo>
                  <a:lnTo>
                    <a:pt x="367538" y="0"/>
                  </a:lnTo>
                  <a:lnTo>
                    <a:pt x="371729" y="1651"/>
                  </a:lnTo>
                  <a:lnTo>
                    <a:pt x="375794" y="4192"/>
                  </a:lnTo>
                  <a:lnTo>
                    <a:pt x="378969" y="7494"/>
                  </a:lnTo>
                  <a:lnTo>
                    <a:pt x="381000" y="10795"/>
                  </a:lnTo>
                  <a:lnTo>
                    <a:pt x="381000" y="14987"/>
                  </a:lnTo>
                  <a:lnTo>
                    <a:pt x="379985" y="19177"/>
                  </a:lnTo>
                  <a:lnTo>
                    <a:pt x="369698" y="41656"/>
                  </a:lnTo>
                  <a:lnTo>
                    <a:pt x="366523" y="48387"/>
                  </a:lnTo>
                  <a:lnTo>
                    <a:pt x="362459" y="54230"/>
                  </a:lnTo>
                  <a:lnTo>
                    <a:pt x="357251" y="60071"/>
                  </a:lnTo>
                  <a:lnTo>
                    <a:pt x="351028" y="65025"/>
                  </a:lnTo>
                  <a:lnTo>
                    <a:pt x="284988" y="119254"/>
                  </a:lnTo>
                  <a:lnTo>
                    <a:pt x="299466" y="159386"/>
                  </a:lnTo>
                  <a:lnTo>
                    <a:pt x="312801" y="148463"/>
                  </a:lnTo>
                  <a:lnTo>
                    <a:pt x="313945" y="147701"/>
                  </a:lnTo>
                  <a:lnTo>
                    <a:pt x="315976" y="147701"/>
                  </a:lnTo>
                  <a:lnTo>
                    <a:pt x="316992" y="147701"/>
                  </a:lnTo>
                  <a:lnTo>
                    <a:pt x="319024" y="148463"/>
                  </a:lnTo>
                  <a:lnTo>
                    <a:pt x="344806" y="169419"/>
                  </a:lnTo>
                  <a:lnTo>
                    <a:pt x="345949" y="171069"/>
                  </a:lnTo>
                  <a:lnTo>
                    <a:pt x="345949" y="171831"/>
                  </a:lnTo>
                  <a:lnTo>
                    <a:pt x="345949" y="173482"/>
                  </a:lnTo>
                  <a:lnTo>
                    <a:pt x="344806" y="174371"/>
                  </a:lnTo>
                  <a:lnTo>
                    <a:pt x="312801" y="200280"/>
                  </a:lnTo>
                  <a:lnTo>
                    <a:pt x="332487" y="256921"/>
                  </a:lnTo>
                  <a:lnTo>
                    <a:pt x="332487" y="261112"/>
                  </a:lnTo>
                  <a:lnTo>
                    <a:pt x="332487" y="264414"/>
                  </a:lnTo>
                  <a:lnTo>
                    <a:pt x="330454" y="267844"/>
                  </a:lnTo>
                  <a:lnTo>
                    <a:pt x="327279" y="271145"/>
                  </a:lnTo>
                  <a:lnTo>
                    <a:pt x="318009" y="279527"/>
                  </a:lnTo>
                  <a:lnTo>
                    <a:pt x="314961" y="281179"/>
                  </a:lnTo>
                  <a:lnTo>
                    <a:pt x="311786" y="282830"/>
                  </a:lnTo>
                  <a:lnTo>
                    <a:pt x="307722" y="283592"/>
                  </a:lnTo>
                  <a:lnTo>
                    <a:pt x="303531" y="283592"/>
                  </a:lnTo>
                  <a:lnTo>
                    <a:pt x="300483" y="282830"/>
                  </a:lnTo>
                  <a:lnTo>
                    <a:pt x="296291" y="281940"/>
                  </a:lnTo>
                  <a:lnTo>
                    <a:pt x="293244" y="279527"/>
                  </a:lnTo>
                  <a:lnTo>
                    <a:pt x="291212" y="277876"/>
                  </a:lnTo>
                  <a:lnTo>
                    <a:pt x="204471" y="184405"/>
                  </a:lnTo>
                  <a:lnTo>
                    <a:pt x="162052" y="217806"/>
                  </a:lnTo>
                  <a:lnTo>
                    <a:pt x="154940" y="223648"/>
                  </a:lnTo>
                  <a:lnTo>
                    <a:pt x="146559" y="227712"/>
                  </a:lnTo>
                  <a:lnTo>
                    <a:pt x="142495" y="229489"/>
                  </a:lnTo>
                  <a:lnTo>
                    <a:pt x="146559" y="291212"/>
                  </a:lnTo>
                  <a:lnTo>
                    <a:pt x="145542" y="293625"/>
                  </a:lnTo>
                  <a:lnTo>
                    <a:pt x="145542" y="296164"/>
                  </a:lnTo>
                  <a:lnTo>
                    <a:pt x="143511" y="298705"/>
                  </a:lnTo>
                  <a:lnTo>
                    <a:pt x="141478" y="301118"/>
                  </a:lnTo>
                  <a:lnTo>
                    <a:pt x="133224" y="306960"/>
                  </a:lnTo>
                  <a:lnTo>
                    <a:pt x="130049" y="307849"/>
                  </a:lnTo>
                  <a:close/>
                  <a:moveTo>
                    <a:pt x="-6891528" y="3672840"/>
                  </a:moveTo>
                  <a:moveTo>
                    <a:pt x="84710" y="246126"/>
                  </a:moveTo>
                  <a:lnTo>
                    <a:pt x="84710" y="246126"/>
                  </a:lnTo>
                  <a:lnTo>
                    <a:pt x="87758" y="246888"/>
                  </a:lnTo>
                  <a:lnTo>
                    <a:pt x="89789" y="247777"/>
                  </a:lnTo>
                  <a:lnTo>
                    <a:pt x="90806" y="249429"/>
                  </a:lnTo>
                  <a:lnTo>
                    <a:pt x="131191" y="297815"/>
                  </a:lnTo>
                  <a:lnTo>
                    <a:pt x="135256" y="295275"/>
                  </a:lnTo>
                  <a:lnTo>
                    <a:pt x="136272" y="293625"/>
                  </a:lnTo>
                  <a:lnTo>
                    <a:pt x="137287" y="291212"/>
                  </a:lnTo>
                  <a:lnTo>
                    <a:pt x="133224" y="227712"/>
                  </a:lnTo>
                  <a:lnTo>
                    <a:pt x="133224" y="225299"/>
                  </a:lnTo>
                  <a:lnTo>
                    <a:pt x="135256" y="223648"/>
                  </a:lnTo>
                  <a:lnTo>
                    <a:pt x="142495" y="221107"/>
                  </a:lnTo>
                  <a:lnTo>
                    <a:pt x="149734" y="216917"/>
                  </a:lnTo>
                  <a:lnTo>
                    <a:pt x="155957" y="212725"/>
                  </a:lnTo>
                  <a:lnTo>
                    <a:pt x="201296" y="176023"/>
                  </a:lnTo>
                  <a:lnTo>
                    <a:pt x="203454" y="175261"/>
                  </a:lnTo>
                  <a:lnTo>
                    <a:pt x="204471" y="175261"/>
                  </a:lnTo>
                  <a:lnTo>
                    <a:pt x="206502" y="175261"/>
                  </a:lnTo>
                  <a:lnTo>
                    <a:pt x="208535" y="176912"/>
                  </a:lnTo>
                  <a:lnTo>
                    <a:pt x="298450" y="272796"/>
                  </a:lnTo>
                  <a:lnTo>
                    <a:pt x="300483" y="275337"/>
                  </a:lnTo>
                  <a:lnTo>
                    <a:pt x="304547" y="276099"/>
                  </a:lnTo>
                  <a:lnTo>
                    <a:pt x="307722" y="275337"/>
                  </a:lnTo>
                  <a:lnTo>
                    <a:pt x="310770" y="273686"/>
                  </a:lnTo>
                  <a:lnTo>
                    <a:pt x="321057" y="266193"/>
                  </a:lnTo>
                  <a:lnTo>
                    <a:pt x="323215" y="262763"/>
                  </a:lnTo>
                  <a:lnTo>
                    <a:pt x="323215" y="259462"/>
                  </a:lnTo>
                  <a:lnTo>
                    <a:pt x="303531" y="200280"/>
                  </a:lnTo>
                  <a:lnTo>
                    <a:pt x="303531" y="198501"/>
                  </a:lnTo>
                  <a:lnTo>
                    <a:pt x="304547" y="196850"/>
                  </a:lnTo>
                  <a:lnTo>
                    <a:pt x="334519" y="171831"/>
                  </a:lnTo>
                  <a:lnTo>
                    <a:pt x="315976" y="156845"/>
                  </a:lnTo>
                  <a:lnTo>
                    <a:pt x="299466" y="169419"/>
                  </a:lnTo>
                  <a:lnTo>
                    <a:pt x="297308" y="170181"/>
                  </a:lnTo>
                  <a:lnTo>
                    <a:pt x="295275" y="170181"/>
                  </a:lnTo>
                  <a:lnTo>
                    <a:pt x="293244" y="169419"/>
                  </a:lnTo>
                  <a:lnTo>
                    <a:pt x="292227" y="167640"/>
                  </a:lnTo>
                  <a:lnTo>
                    <a:pt x="275717" y="119254"/>
                  </a:lnTo>
                  <a:lnTo>
                    <a:pt x="275717" y="116840"/>
                  </a:lnTo>
                  <a:lnTo>
                    <a:pt x="276734" y="115189"/>
                  </a:lnTo>
                  <a:lnTo>
                    <a:pt x="344806" y="60071"/>
                  </a:lnTo>
                  <a:lnTo>
                    <a:pt x="350012" y="55881"/>
                  </a:lnTo>
                  <a:lnTo>
                    <a:pt x="354203" y="50038"/>
                  </a:lnTo>
                  <a:lnTo>
                    <a:pt x="358267" y="45086"/>
                  </a:lnTo>
                  <a:lnTo>
                    <a:pt x="361442" y="39244"/>
                  </a:lnTo>
                  <a:lnTo>
                    <a:pt x="371729" y="16637"/>
                  </a:lnTo>
                  <a:lnTo>
                    <a:pt x="371729" y="14987"/>
                  </a:lnTo>
                  <a:lnTo>
                    <a:pt x="371729" y="12574"/>
                  </a:lnTo>
                  <a:lnTo>
                    <a:pt x="370713" y="10795"/>
                  </a:lnTo>
                  <a:lnTo>
                    <a:pt x="369698" y="9144"/>
                  </a:lnTo>
                  <a:lnTo>
                    <a:pt x="367538" y="8382"/>
                  </a:lnTo>
                  <a:lnTo>
                    <a:pt x="365507" y="7494"/>
                  </a:lnTo>
                  <a:lnTo>
                    <a:pt x="363474" y="7494"/>
                  </a:lnTo>
                  <a:lnTo>
                    <a:pt x="360299" y="7494"/>
                  </a:lnTo>
                  <a:lnTo>
                    <a:pt x="332487" y="15875"/>
                  </a:lnTo>
                  <a:lnTo>
                    <a:pt x="325248" y="18415"/>
                  </a:lnTo>
                  <a:lnTo>
                    <a:pt x="319024" y="21718"/>
                  </a:lnTo>
                  <a:lnTo>
                    <a:pt x="312801" y="25019"/>
                  </a:lnTo>
                  <a:lnTo>
                    <a:pt x="306706" y="29211"/>
                  </a:lnTo>
                  <a:lnTo>
                    <a:pt x="238507" y="84201"/>
                  </a:lnTo>
                  <a:lnTo>
                    <a:pt x="236474" y="85090"/>
                  </a:lnTo>
                  <a:lnTo>
                    <a:pt x="234442" y="85090"/>
                  </a:lnTo>
                  <a:lnTo>
                    <a:pt x="173483" y="71756"/>
                  </a:lnTo>
                  <a:lnTo>
                    <a:pt x="171450" y="70867"/>
                  </a:lnTo>
                  <a:lnTo>
                    <a:pt x="170308" y="69215"/>
                  </a:lnTo>
                  <a:lnTo>
                    <a:pt x="170308" y="67564"/>
                  </a:lnTo>
                  <a:lnTo>
                    <a:pt x="171450" y="65913"/>
                  </a:lnTo>
                  <a:lnTo>
                    <a:pt x="186945" y="52579"/>
                  </a:lnTo>
                  <a:lnTo>
                    <a:pt x="168275" y="37593"/>
                  </a:lnTo>
                  <a:lnTo>
                    <a:pt x="138303" y="61723"/>
                  </a:lnTo>
                  <a:lnTo>
                    <a:pt x="136272" y="63374"/>
                  </a:lnTo>
                  <a:lnTo>
                    <a:pt x="133224" y="63374"/>
                  </a:lnTo>
                  <a:lnTo>
                    <a:pt x="60961" y="46737"/>
                  </a:lnTo>
                  <a:lnTo>
                    <a:pt x="55753" y="46737"/>
                  </a:lnTo>
                  <a:lnTo>
                    <a:pt x="52706" y="48387"/>
                  </a:lnTo>
                  <a:lnTo>
                    <a:pt x="42291" y="56769"/>
                  </a:lnTo>
                  <a:lnTo>
                    <a:pt x="40260" y="59182"/>
                  </a:lnTo>
                  <a:lnTo>
                    <a:pt x="40260" y="61723"/>
                  </a:lnTo>
                  <a:lnTo>
                    <a:pt x="41275" y="65025"/>
                  </a:lnTo>
                  <a:lnTo>
                    <a:pt x="43308" y="66802"/>
                  </a:lnTo>
                  <a:lnTo>
                    <a:pt x="163196" y="139319"/>
                  </a:lnTo>
                  <a:lnTo>
                    <a:pt x="164212" y="140970"/>
                  </a:lnTo>
                  <a:lnTo>
                    <a:pt x="164212" y="142621"/>
                  </a:lnTo>
                  <a:lnTo>
                    <a:pt x="164212" y="144273"/>
                  </a:lnTo>
                  <a:lnTo>
                    <a:pt x="163196" y="145162"/>
                  </a:lnTo>
                  <a:lnTo>
                    <a:pt x="117729" y="181864"/>
                  </a:lnTo>
                  <a:lnTo>
                    <a:pt x="112523" y="186818"/>
                  </a:lnTo>
                  <a:lnTo>
                    <a:pt x="107442" y="192660"/>
                  </a:lnTo>
                  <a:lnTo>
                    <a:pt x="103251" y="199390"/>
                  </a:lnTo>
                  <a:lnTo>
                    <a:pt x="101220" y="201042"/>
                  </a:lnTo>
                  <a:lnTo>
                    <a:pt x="99061" y="201042"/>
                  </a:lnTo>
                  <a:lnTo>
                    <a:pt x="94997" y="201042"/>
                  </a:lnTo>
                  <a:lnTo>
                    <a:pt x="20701" y="197739"/>
                  </a:lnTo>
                  <a:lnTo>
                    <a:pt x="17526" y="197739"/>
                  </a:lnTo>
                  <a:lnTo>
                    <a:pt x="15495" y="198501"/>
                  </a:lnTo>
                  <a:lnTo>
                    <a:pt x="12447" y="202693"/>
                  </a:lnTo>
                  <a:lnTo>
                    <a:pt x="73279" y="234443"/>
                  </a:lnTo>
                  <a:lnTo>
                    <a:pt x="74296" y="236094"/>
                  </a:lnTo>
                  <a:lnTo>
                    <a:pt x="75312" y="236982"/>
                  </a:lnTo>
                  <a:lnTo>
                    <a:pt x="76454" y="239395"/>
                  </a:lnTo>
                  <a:lnTo>
                    <a:pt x="75312" y="241046"/>
                  </a:lnTo>
                  <a:lnTo>
                    <a:pt x="68199" y="252731"/>
                  </a:lnTo>
                  <a:lnTo>
                    <a:pt x="82550" y="246888"/>
                  </a:lnTo>
                  <a:lnTo>
                    <a:pt x="84710" y="246126"/>
                  </a:lnTo>
                  <a:close/>
                  <a:moveTo>
                    <a:pt x="-6829805" y="367284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81" name="Freeform 1481"/>
            <p:cNvSpPr/>
            <p:nvPr/>
          </p:nvSpPr>
          <p:spPr>
            <a:xfrm>
              <a:off x="10066204" y="3101511"/>
              <a:ext cx="1990186" cy="1904008"/>
            </a:xfrm>
            <a:custGeom>
              <a:avLst/>
              <a:gdLst/>
              <a:ahLst/>
              <a:cxnLst/>
              <a:rect l="0" t="0" r="0" b="0"/>
              <a:pathLst>
                <a:path w="2206752" h="1905000">
                  <a:moveTo>
                    <a:pt x="0" y="1905000"/>
                  </a:moveTo>
                  <a:lnTo>
                    <a:pt x="2206752" y="1905000"/>
                  </a:lnTo>
                  <a:lnTo>
                    <a:pt x="2206752" y="0"/>
                  </a:lnTo>
                  <a:lnTo>
                    <a:pt x="0" y="0"/>
                  </a:lnTo>
                  <a:lnTo>
                    <a:pt x="0" y="1905000"/>
                  </a:lnTo>
                  <a:close/>
                </a:path>
              </a:pathLst>
            </a:custGeom>
            <a:noFill/>
            <a:ln w="9525" cap="flat" cmpd="sng">
              <a:solidFill>
                <a:srgbClr val="FFFACC"/>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1571" name="Rectangle 1571"/>
            <p:cNvSpPr/>
            <p:nvPr/>
          </p:nvSpPr>
          <p:spPr>
            <a:xfrm>
              <a:off x="11543233" y="4115519"/>
              <a:ext cx="411938" cy="154658"/>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12" normalizeH="0" baseline="0" noProof="0" dirty="0">
                  <a:ln>
                    <a:noFill/>
                  </a:ln>
                  <a:solidFill>
                    <a:srgbClr val="FFFFFF"/>
                  </a:solidFill>
                  <a:effectLst/>
                  <a:uLnTx/>
                  <a:uFillTx/>
                  <a:latin typeface="EYInterstate-LightBold"/>
                  <a:ea typeface="+mn-ea"/>
                  <a:cs typeface="+mn-cs"/>
                </a:rPr>
                <a:t>F</a:t>
              </a: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orklift</a:t>
              </a:r>
            </a:p>
          </p:txBody>
        </p:sp>
        <p:sp>
          <p:nvSpPr>
            <p:cNvPr id="1580" name="Rectangle 1580"/>
            <p:cNvSpPr/>
            <p:nvPr/>
          </p:nvSpPr>
          <p:spPr>
            <a:xfrm>
              <a:off x="10308421" y="3610035"/>
              <a:ext cx="192888" cy="154658"/>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Car</a:t>
              </a:r>
            </a:p>
          </p:txBody>
        </p:sp>
        <p:sp>
          <p:nvSpPr>
            <p:cNvPr id="1581" name="Rectangle 1581"/>
            <p:cNvSpPr/>
            <p:nvPr/>
          </p:nvSpPr>
          <p:spPr>
            <a:xfrm>
              <a:off x="11013168" y="4780144"/>
              <a:ext cx="288548" cy="154658"/>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13" normalizeH="0" baseline="0" noProof="0" dirty="0">
                  <a:ln>
                    <a:noFill/>
                  </a:ln>
                  <a:solidFill>
                    <a:srgbClr val="FFFFFF"/>
                  </a:solidFill>
                  <a:effectLst/>
                  <a:uLnTx/>
                  <a:uFillTx/>
                  <a:latin typeface="EYInterstate-LightBold"/>
                  <a:ea typeface="+mn-ea"/>
                  <a:cs typeface="+mn-cs"/>
                </a:rPr>
                <a:t>T</a:t>
              </a: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rain</a:t>
              </a:r>
            </a:p>
          </p:txBody>
        </p:sp>
        <p:sp>
          <p:nvSpPr>
            <p:cNvPr id="1582" name="Rectangle 1582"/>
            <p:cNvSpPr/>
            <p:nvPr/>
          </p:nvSpPr>
          <p:spPr>
            <a:xfrm>
              <a:off x="11037030" y="3598107"/>
              <a:ext cx="243647" cy="155107"/>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8" b="1" i="0" u="none" strike="noStrike" kern="1200" cap="none" spc="0" normalizeH="0" baseline="0" noProof="0" dirty="0">
                  <a:ln>
                    <a:noFill/>
                  </a:ln>
                  <a:solidFill>
                    <a:srgbClr val="FFFFFF"/>
                  </a:solidFill>
                  <a:effectLst/>
                  <a:uLnTx/>
                  <a:uFillTx/>
                  <a:latin typeface="EYInterstate-LightBold"/>
                  <a:ea typeface="+mn-ea"/>
                  <a:cs typeface="+mn-cs"/>
                </a:rPr>
                <a:t>Ship</a:t>
              </a:r>
            </a:p>
          </p:txBody>
        </p:sp>
        <p:sp>
          <p:nvSpPr>
            <p:cNvPr id="1583" name="Rectangle 1583"/>
            <p:cNvSpPr/>
            <p:nvPr/>
          </p:nvSpPr>
          <p:spPr>
            <a:xfrm>
              <a:off x="10277840" y="4121865"/>
              <a:ext cx="923250" cy="154658"/>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tab pos="777350" algn="l"/>
                </a:tabLst>
                <a:defRPr/>
              </a:pPr>
              <a:r>
                <a:rPr kumimoji="0" lang="en-US" sz="1005" b="1" i="0" u="none" strike="noStrike" kern="1200" cap="none" spc="-13" normalizeH="0" baseline="0" noProof="0" dirty="0">
                  <a:ln>
                    <a:noFill/>
                  </a:ln>
                  <a:solidFill>
                    <a:srgbClr val="FFFFFF"/>
                  </a:solidFill>
                  <a:effectLst/>
                  <a:uLnTx/>
                  <a:uFillTx/>
                  <a:latin typeface="EYInterstate-LightBold"/>
                  <a:ea typeface="+mn-ea"/>
                  <a:cs typeface="+mn-cs"/>
                </a:rPr>
                <a:t>T</a:t>
              </a: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ruck	Bus</a:t>
              </a:r>
            </a:p>
          </p:txBody>
        </p:sp>
        <p:sp>
          <p:nvSpPr>
            <p:cNvPr id="1584" name="Rectangle 1584"/>
            <p:cNvSpPr/>
            <p:nvPr/>
          </p:nvSpPr>
          <p:spPr>
            <a:xfrm>
              <a:off x="10329628" y="4780144"/>
              <a:ext cx="216093" cy="154658"/>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Van</a:t>
              </a:r>
            </a:p>
          </p:txBody>
        </p:sp>
        <p:sp>
          <p:nvSpPr>
            <p:cNvPr id="1585" name="Rectangle 1585"/>
            <p:cNvSpPr/>
            <p:nvPr/>
          </p:nvSpPr>
          <p:spPr>
            <a:xfrm>
              <a:off x="11477464" y="3621019"/>
              <a:ext cx="471342" cy="154658"/>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Aviation</a:t>
              </a:r>
            </a:p>
          </p:txBody>
        </p:sp>
      </p:grpSp>
      <p:grpSp>
        <p:nvGrpSpPr>
          <p:cNvPr id="12" name="5. End Use - Industry">
            <a:extLst>
              <a:ext uri="{FF2B5EF4-FFF2-40B4-BE49-F238E27FC236}">
                <a16:creationId xmlns:a16="http://schemas.microsoft.com/office/drawing/2014/main" id="{8C8673ED-E638-4B19-9652-30C0EA0839A5}"/>
              </a:ext>
            </a:extLst>
          </p:cNvPr>
          <p:cNvGrpSpPr/>
          <p:nvPr/>
        </p:nvGrpSpPr>
        <p:grpSpPr>
          <a:xfrm>
            <a:off x="9526460" y="1621629"/>
            <a:ext cx="2212693" cy="718083"/>
            <a:chOff x="10087384" y="1467284"/>
            <a:chExt cx="1998081" cy="718457"/>
          </a:xfrm>
        </p:grpSpPr>
        <p:sp>
          <p:nvSpPr>
            <p:cNvPr id="1482" name="Freeform 1482"/>
            <p:cNvSpPr/>
            <p:nvPr/>
          </p:nvSpPr>
          <p:spPr>
            <a:xfrm>
              <a:off x="11140863" y="1780893"/>
              <a:ext cx="258945" cy="191923"/>
            </a:xfrm>
            <a:custGeom>
              <a:avLst/>
              <a:gdLst/>
              <a:ahLst/>
              <a:cxnLst/>
              <a:rect l="0" t="0" r="0" b="0"/>
              <a:pathLst>
                <a:path w="259080" h="192023">
                  <a:moveTo>
                    <a:pt x="120015" y="21082"/>
                  </a:moveTo>
                  <a:lnTo>
                    <a:pt x="85597" y="43688"/>
                  </a:lnTo>
                  <a:lnTo>
                    <a:pt x="90169" y="42671"/>
                  </a:lnTo>
                  <a:lnTo>
                    <a:pt x="94868" y="41656"/>
                  </a:lnTo>
                  <a:lnTo>
                    <a:pt x="99568" y="40639"/>
                  </a:lnTo>
                  <a:lnTo>
                    <a:pt x="104013" y="39751"/>
                  </a:lnTo>
                  <a:lnTo>
                    <a:pt x="108330" y="38989"/>
                  </a:lnTo>
                  <a:lnTo>
                    <a:pt x="112394" y="38227"/>
                  </a:lnTo>
                  <a:lnTo>
                    <a:pt x="118871" y="37210"/>
                  </a:lnTo>
                  <a:lnTo>
                    <a:pt x="118364" y="38862"/>
                  </a:lnTo>
                  <a:lnTo>
                    <a:pt x="117093" y="43307"/>
                  </a:lnTo>
                  <a:lnTo>
                    <a:pt x="116205" y="46101"/>
                  </a:lnTo>
                  <a:lnTo>
                    <a:pt x="115062" y="49148"/>
                  </a:lnTo>
                  <a:lnTo>
                    <a:pt x="114045" y="52196"/>
                  </a:lnTo>
                  <a:lnTo>
                    <a:pt x="112776" y="55245"/>
                  </a:lnTo>
                  <a:lnTo>
                    <a:pt x="111887" y="57784"/>
                  </a:lnTo>
                  <a:lnTo>
                    <a:pt x="110743" y="60325"/>
                  </a:lnTo>
                  <a:lnTo>
                    <a:pt x="109601" y="62864"/>
                  </a:lnTo>
                  <a:lnTo>
                    <a:pt x="108457" y="65277"/>
                  </a:lnTo>
                  <a:lnTo>
                    <a:pt x="107060" y="67564"/>
                  </a:lnTo>
                  <a:lnTo>
                    <a:pt x="105791" y="69850"/>
                  </a:lnTo>
                  <a:lnTo>
                    <a:pt x="105155" y="70865"/>
                  </a:lnTo>
                  <a:lnTo>
                    <a:pt x="104393" y="71882"/>
                  </a:lnTo>
                  <a:lnTo>
                    <a:pt x="103758" y="72771"/>
                  </a:lnTo>
                  <a:lnTo>
                    <a:pt x="102996" y="73659"/>
                  </a:lnTo>
                  <a:lnTo>
                    <a:pt x="107695" y="72771"/>
                  </a:lnTo>
                  <a:lnTo>
                    <a:pt x="111887" y="72008"/>
                  </a:lnTo>
                  <a:lnTo>
                    <a:pt x="118871" y="70865"/>
                  </a:lnTo>
                  <a:lnTo>
                    <a:pt x="118364" y="72644"/>
                  </a:lnTo>
                  <a:lnTo>
                    <a:pt x="117093" y="76962"/>
                  </a:lnTo>
                  <a:lnTo>
                    <a:pt x="116205" y="79756"/>
                  </a:lnTo>
                  <a:lnTo>
                    <a:pt x="115062" y="82803"/>
                  </a:lnTo>
                  <a:lnTo>
                    <a:pt x="114045" y="85852"/>
                  </a:lnTo>
                  <a:lnTo>
                    <a:pt x="112776" y="89027"/>
                  </a:lnTo>
                  <a:lnTo>
                    <a:pt x="111887" y="91439"/>
                  </a:lnTo>
                  <a:lnTo>
                    <a:pt x="110743" y="93979"/>
                  </a:lnTo>
                  <a:lnTo>
                    <a:pt x="109601" y="96520"/>
                  </a:lnTo>
                  <a:lnTo>
                    <a:pt x="108457" y="98933"/>
                  </a:lnTo>
                  <a:lnTo>
                    <a:pt x="107060" y="101346"/>
                  </a:lnTo>
                  <a:lnTo>
                    <a:pt x="105791" y="103504"/>
                  </a:lnTo>
                  <a:lnTo>
                    <a:pt x="105155" y="104521"/>
                  </a:lnTo>
                  <a:lnTo>
                    <a:pt x="104393" y="105537"/>
                  </a:lnTo>
                  <a:lnTo>
                    <a:pt x="103758" y="106426"/>
                  </a:lnTo>
                  <a:lnTo>
                    <a:pt x="102996" y="107314"/>
                  </a:lnTo>
                  <a:lnTo>
                    <a:pt x="107695" y="106426"/>
                  </a:lnTo>
                  <a:lnTo>
                    <a:pt x="111887" y="105664"/>
                  </a:lnTo>
                  <a:lnTo>
                    <a:pt x="118871" y="104521"/>
                  </a:lnTo>
                  <a:lnTo>
                    <a:pt x="118364" y="106298"/>
                  </a:lnTo>
                  <a:lnTo>
                    <a:pt x="117093" y="110616"/>
                  </a:lnTo>
                  <a:lnTo>
                    <a:pt x="116205" y="113410"/>
                  </a:lnTo>
                  <a:lnTo>
                    <a:pt x="115062" y="116458"/>
                  </a:lnTo>
                  <a:lnTo>
                    <a:pt x="114045" y="119633"/>
                  </a:lnTo>
                  <a:lnTo>
                    <a:pt x="112776" y="122682"/>
                  </a:lnTo>
                  <a:lnTo>
                    <a:pt x="111632" y="125602"/>
                  </a:lnTo>
                  <a:lnTo>
                    <a:pt x="110363" y="128651"/>
                  </a:lnTo>
                  <a:lnTo>
                    <a:pt x="108966" y="131571"/>
                  </a:lnTo>
                  <a:lnTo>
                    <a:pt x="108077" y="133096"/>
                  </a:lnTo>
                  <a:lnTo>
                    <a:pt x="107442" y="134492"/>
                  </a:lnTo>
                  <a:lnTo>
                    <a:pt x="106680" y="135889"/>
                  </a:lnTo>
                  <a:lnTo>
                    <a:pt x="105791" y="137159"/>
                  </a:lnTo>
                  <a:lnTo>
                    <a:pt x="105029" y="138429"/>
                  </a:lnTo>
                  <a:lnTo>
                    <a:pt x="104140" y="139572"/>
                  </a:lnTo>
                  <a:lnTo>
                    <a:pt x="103378" y="140715"/>
                  </a:lnTo>
                  <a:lnTo>
                    <a:pt x="102489" y="141604"/>
                  </a:lnTo>
                  <a:lnTo>
                    <a:pt x="101600" y="142494"/>
                  </a:lnTo>
                  <a:lnTo>
                    <a:pt x="100710" y="143256"/>
                  </a:lnTo>
                  <a:lnTo>
                    <a:pt x="99821" y="143890"/>
                  </a:lnTo>
                  <a:lnTo>
                    <a:pt x="98932" y="144398"/>
                  </a:lnTo>
                  <a:lnTo>
                    <a:pt x="97917" y="145033"/>
                  </a:lnTo>
                  <a:lnTo>
                    <a:pt x="96901" y="145541"/>
                  </a:lnTo>
                  <a:lnTo>
                    <a:pt x="95884" y="145922"/>
                  </a:lnTo>
                  <a:lnTo>
                    <a:pt x="94868" y="146303"/>
                  </a:lnTo>
                  <a:lnTo>
                    <a:pt x="93853" y="146812"/>
                  </a:lnTo>
                  <a:lnTo>
                    <a:pt x="92709" y="147065"/>
                  </a:lnTo>
                  <a:lnTo>
                    <a:pt x="91567" y="147446"/>
                  </a:lnTo>
                  <a:lnTo>
                    <a:pt x="90551" y="147701"/>
                  </a:lnTo>
                  <a:lnTo>
                    <a:pt x="89407" y="147954"/>
                  </a:lnTo>
                  <a:lnTo>
                    <a:pt x="88265" y="148082"/>
                  </a:lnTo>
                  <a:lnTo>
                    <a:pt x="87121" y="148208"/>
                  </a:lnTo>
                  <a:lnTo>
                    <a:pt x="85979" y="148335"/>
                  </a:lnTo>
                  <a:lnTo>
                    <a:pt x="84835" y="148463"/>
                  </a:lnTo>
                  <a:lnTo>
                    <a:pt x="83693" y="148463"/>
                  </a:lnTo>
                  <a:lnTo>
                    <a:pt x="82550" y="148463"/>
                  </a:lnTo>
                  <a:lnTo>
                    <a:pt x="81406" y="148335"/>
                  </a:lnTo>
                  <a:lnTo>
                    <a:pt x="80264" y="148208"/>
                  </a:lnTo>
                  <a:lnTo>
                    <a:pt x="79120" y="148082"/>
                  </a:lnTo>
                  <a:lnTo>
                    <a:pt x="77978" y="147954"/>
                  </a:lnTo>
                  <a:lnTo>
                    <a:pt x="76834" y="147701"/>
                  </a:lnTo>
                  <a:lnTo>
                    <a:pt x="75692" y="147446"/>
                  </a:lnTo>
                  <a:lnTo>
                    <a:pt x="74676" y="147065"/>
                  </a:lnTo>
                  <a:lnTo>
                    <a:pt x="73532" y="146812"/>
                  </a:lnTo>
                  <a:lnTo>
                    <a:pt x="72517" y="146303"/>
                  </a:lnTo>
                  <a:lnTo>
                    <a:pt x="71501" y="145922"/>
                  </a:lnTo>
                  <a:lnTo>
                    <a:pt x="70484" y="145541"/>
                  </a:lnTo>
                  <a:lnTo>
                    <a:pt x="69468" y="145033"/>
                  </a:lnTo>
                  <a:lnTo>
                    <a:pt x="68580" y="144398"/>
                  </a:lnTo>
                  <a:lnTo>
                    <a:pt x="67691" y="143890"/>
                  </a:lnTo>
                  <a:lnTo>
                    <a:pt x="66675" y="143256"/>
                  </a:lnTo>
                  <a:lnTo>
                    <a:pt x="65913" y="142621"/>
                  </a:lnTo>
                  <a:lnTo>
                    <a:pt x="65151" y="141985"/>
                  </a:lnTo>
                  <a:lnTo>
                    <a:pt x="65151" y="191515"/>
                  </a:lnTo>
                  <a:lnTo>
                    <a:pt x="54864" y="191515"/>
                  </a:lnTo>
                  <a:lnTo>
                    <a:pt x="54864" y="141985"/>
                  </a:lnTo>
                  <a:lnTo>
                    <a:pt x="53975" y="142621"/>
                  </a:lnTo>
                  <a:lnTo>
                    <a:pt x="53213" y="143256"/>
                  </a:lnTo>
                  <a:lnTo>
                    <a:pt x="52323" y="143890"/>
                  </a:lnTo>
                  <a:lnTo>
                    <a:pt x="51434" y="144398"/>
                  </a:lnTo>
                  <a:lnTo>
                    <a:pt x="50545" y="145033"/>
                  </a:lnTo>
                  <a:lnTo>
                    <a:pt x="49403" y="145541"/>
                  </a:lnTo>
                  <a:lnTo>
                    <a:pt x="48514" y="145922"/>
                  </a:lnTo>
                  <a:lnTo>
                    <a:pt x="47370" y="146303"/>
                  </a:lnTo>
                  <a:lnTo>
                    <a:pt x="46355" y="146812"/>
                  </a:lnTo>
                  <a:lnTo>
                    <a:pt x="45212" y="147065"/>
                  </a:lnTo>
                  <a:lnTo>
                    <a:pt x="44195" y="147446"/>
                  </a:lnTo>
                  <a:lnTo>
                    <a:pt x="43053" y="147701"/>
                  </a:lnTo>
                  <a:lnTo>
                    <a:pt x="41909" y="147954"/>
                  </a:lnTo>
                  <a:lnTo>
                    <a:pt x="40893" y="148082"/>
                  </a:lnTo>
                  <a:lnTo>
                    <a:pt x="39751" y="148208"/>
                  </a:lnTo>
                  <a:lnTo>
                    <a:pt x="38607" y="148335"/>
                  </a:lnTo>
                  <a:lnTo>
                    <a:pt x="37338" y="148463"/>
                  </a:lnTo>
                  <a:lnTo>
                    <a:pt x="36321" y="148463"/>
                  </a:lnTo>
                  <a:lnTo>
                    <a:pt x="35052" y="148463"/>
                  </a:lnTo>
                  <a:lnTo>
                    <a:pt x="33908" y="148335"/>
                  </a:lnTo>
                  <a:lnTo>
                    <a:pt x="32766" y="148208"/>
                  </a:lnTo>
                  <a:lnTo>
                    <a:pt x="31622" y="148082"/>
                  </a:lnTo>
                  <a:lnTo>
                    <a:pt x="30480" y="147954"/>
                  </a:lnTo>
                  <a:lnTo>
                    <a:pt x="29464" y="147701"/>
                  </a:lnTo>
                  <a:lnTo>
                    <a:pt x="28320" y="147446"/>
                  </a:lnTo>
                  <a:lnTo>
                    <a:pt x="27178" y="147065"/>
                  </a:lnTo>
                  <a:lnTo>
                    <a:pt x="26162" y="146812"/>
                  </a:lnTo>
                  <a:lnTo>
                    <a:pt x="25018" y="146303"/>
                  </a:lnTo>
                  <a:lnTo>
                    <a:pt x="24130" y="145922"/>
                  </a:lnTo>
                  <a:lnTo>
                    <a:pt x="22987" y="145541"/>
                  </a:lnTo>
                  <a:lnTo>
                    <a:pt x="22097" y="145033"/>
                  </a:lnTo>
                  <a:lnTo>
                    <a:pt x="21081" y="144398"/>
                  </a:lnTo>
                  <a:lnTo>
                    <a:pt x="20193" y="143890"/>
                  </a:lnTo>
                  <a:lnTo>
                    <a:pt x="19177" y="143256"/>
                  </a:lnTo>
                  <a:lnTo>
                    <a:pt x="18415" y="142494"/>
                  </a:lnTo>
                  <a:lnTo>
                    <a:pt x="17526" y="141604"/>
                  </a:lnTo>
                  <a:lnTo>
                    <a:pt x="16637" y="140715"/>
                  </a:lnTo>
                  <a:lnTo>
                    <a:pt x="15747" y="139572"/>
                  </a:lnTo>
                  <a:lnTo>
                    <a:pt x="14985" y="138429"/>
                  </a:lnTo>
                  <a:lnTo>
                    <a:pt x="14223" y="137159"/>
                  </a:lnTo>
                  <a:lnTo>
                    <a:pt x="13334" y="135889"/>
                  </a:lnTo>
                  <a:lnTo>
                    <a:pt x="12572" y="134492"/>
                  </a:lnTo>
                  <a:lnTo>
                    <a:pt x="11810" y="133096"/>
                  </a:lnTo>
                  <a:lnTo>
                    <a:pt x="11048" y="131571"/>
                  </a:lnTo>
                  <a:lnTo>
                    <a:pt x="9652" y="128651"/>
                  </a:lnTo>
                  <a:lnTo>
                    <a:pt x="8381" y="125602"/>
                  </a:lnTo>
                  <a:lnTo>
                    <a:pt x="7112" y="122682"/>
                  </a:lnTo>
                  <a:lnTo>
                    <a:pt x="5968" y="119633"/>
                  </a:lnTo>
                  <a:lnTo>
                    <a:pt x="4826" y="116458"/>
                  </a:lnTo>
                  <a:lnTo>
                    <a:pt x="3809" y="113410"/>
                  </a:lnTo>
                  <a:lnTo>
                    <a:pt x="2920" y="110616"/>
                  </a:lnTo>
                  <a:lnTo>
                    <a:pt x="1523" y="106298"/>
                  </a:lnTo>
                  <a:lnTo>
                    <a:pt x="1016" y="104521"/>
                  </a:lnTo>
                  <a:lnTo>
                    <a:pt x="5842" y="105409"/>
                  </a:lnTo>
                  <a:lnTo>
                    <a:pt x="10921" y="106171"/>
                  </a:lnTo>
                  <a:lnTo>
                    <a:pt x="16891" y="107314"/>
                  </a:lnTo>
                  <a:lnTo>
                    <a:pt x="16255" y="106426"/>
                  </a:lnTo>
                  <a:lnTo>
                    <a:pt x="15493" y="105537"/>
                  </a:lnTo>
                  <a:lnTo>
                    <a:pt x="14858" y="104647"/>
                  </a:lnTo>
                  <a:lnTo>
                    <a:pt x="14223" y="103504"/>
                  </a:lnTo>
                  <a:lnTo>
                    <a:pt x="12827" y="101346"/>
                  </a:lnTo>
                  <a:lnTo>
                    <a:pt x="11556" y="98933"/>
                  </a:lnTo>
                  <a:lnTo>
                    <a:pt x="10287" y="96520"/>
                  </a:lnTo>
                  <a:lnTo>
                    <a:pt x="9143" y="93979"/>
                  </a:lnTo>
                  <a:lnTo>
                    <a:pt x="8128" y="91439"/>
                  </a:lnTo>
                  <a:lnTo>
                    <a:pt x="7112" y="89027"/>
                  </a:lnTo>
                  <a:lnTo>
                    <a:pt x="5968" y="85852"/>
                  </a:lnTo>
                  <a:lnTo>
                    <a:pt x="4826" y="82803"/>
                  </a:lnTo>
                  <a:lnTo>
                    <a:pt x="3809" y="79756"/>
                  </a:lnTo>
                  <a:lnTo>
                    <a:pt x="2920" y="76962"/>
                  </a:lnTo>
                  <a:lnTo>
                    <a:pt x="1523" y="72644"/>
                  </a:lnTo>
                  <a:lnTo>
                    <a:pt x="1016" y="70865"/>
                  </a:lnTo>
                  <a:lnTo>
                    <a:pt x="5842" y="71627"/>
                  </a:lnTo>
                  <a:lnTo>
                    <a:pt x="10921" y="72516"/>
                  </a:lnTo>
                  <a:lnTo>
                    <a:pt x="16891" y="73659"/>
                  </a:lnTo>
                  <a:lnTo>
                    <a:pt x="16255" y="72771"/>
                  </a:lnTo>
                  <a:lnTo>
                    <a:pt x="15493" y="71882"/>
                  </a:lnTo>
                  <a:lnTo>
                    <a:pt x="14858" y="70865"/>
                  </a:lnTo>
                  <a:lnTo>
                    <a:pt x="14223" y="69850"/>
                  </a:lnTo>
                  <a:lnTo>
                    <a:pt x="12827" y="67564"/>
                  </a:lnTo>
                  <a:lnTo>
                    <a:pt x="11556" y="65277"/>
                  </a:lnTo>
                  <a:lnTo>
                    <a:pt x="10287" y="62864"/>
                  </a:lnTo>
                  <a:lnTo>
                    <a:pt x="9143" y="60325"/>
                  </a:lnTo>
                  <a:lnTo>
                    <a:pt x="8128" y="57784"/>
                  </a:lnTo>
                  <a:lnTo>
                    <a:pt x="7112" y="55245"/>
                  </a:lnTo>
                  <a:lnTo>
                    <a:pt x="5968" y="52196"/>
                  </a:lnTo>
                  <a:lnTo>
                    <a:pt x="4826" y="49148"/>
                  </a:lnTo>
                  <a:lnTo>
                    <a:pt x="3809" y="46101"/>
                  </a:lnTo>
                  <a:lnTo>
                    <a:pt x="2920" y="43307"/>
                  </a:lnTo>
                  <a:lnTo>
                    <a:pt x="1523" y="38862"/>
                  </a:lnTo>
                  <a:lnTo>
                    <a:pt x="1016" y="37210"/>
                  </a:lnTo>
                  <a:lnTo>
                    <a:pt x="3302" y="37591"/>
                  </a:lnTo>
                  <a:lnTo>
                    <a:pt x="9143" y="38608"/>
                  </a:lnTo>
                  <a:lnTo>
                    <a:pt x="13080" y="39242"/>
                  </a:lnTo>
                  <a:lnTo>
                    <a:pt x="17144" y="40004"/>
                  </a:lnTo>
                  <a:lnTo>
                    <a:pt x="21463" y="40894"/>
                  </a:lnTo>
                  <a:lnTo>
                    <a:pt x="25527" y="41656"/>
                  </a:lnTo>
                  <a:lnTo>
                    <a:pt x="29971" y="42671"/>
                  </a:lnTo>
                  <a:lnTo>
                    <a:pt x="34670" y="43814"/>
                  </a:lnTo>
                  <a:lnTo>
                    <a:pt x="0" y="21082"/>
                  </a:lnTo>
                  <a:lnTo>
                    <a:pt x="3429" y="18288"/>
                  </a:lnTo>
                  <a:lnTo>
                    <a:pt x="36321" y="39751"/>
                  </a:lnTo>
                  <a:lnTo>
                    <a:pt x="36068" y="38227"/>
                  </a:lnTo>
                  <a:lnTo>
                    <a:pt x="35941" y="37591"/>
                  </a:lnTo>
                  <a:lnTo>
                    <a:pt x="35941" y="36829"/>
                  </a:lnTo>
                  <a:lnTo>
                    <a:pt x="36068" y="35940"/>
                  </a:lnTo>
                  <a:lnTo>
                    <a:pt x="36194" y="34797"/>
                  </a:lnTo>
                  <a:lnTo>
                    <a:pt x="36576" y="33654"/>
                  </a:lnTo>
                  <a:lnTo>
                    <a:pt x="36956" y="32512"/>
                  </a:lnTo>
                  <a:lnTo>
                    <a:pt x="37465" y="31241"/>
                  </a:lnTo>
                  <a:lnTo>
                    <a:pt x="37972" y="29971"/>
                  </a:lnTo>
                  <a:lnTo>
                    <a:pt x="38734" y="28575"/>
                  </a:lnTo>
                  <a:lnTo>
                    <a:pt x="39496" y="27177"/>
                  </a:lnTo>
                  <a:lnTo>
                    <a:pt x="40258" y="25781"/>
                  </a:lnTo>
                  <a:lnTo>
                    <a:pt x="41147" y="24383"/>
                  </a:lnTo>
                  <a:lnTo>
                    <a:pt x="43053" y="21589"/>
                  </a:lnTo>
                  <a:lnTo>
                    <a:pt x="44957" y="18669"/>
                  </a:lnTo>
                  <a:lnTo>
                    <a:pt x="46990" y="16002"/>
                  </a:lnTo>
                  <a:lnTo>
                    <a:pt x="49148" y="13208"/>
                  </a:lnTo>
                  <a:lnTo>
                    <a:pt x="51307" y="10414"/>
                  </a:lnTo>
                  <a:lnTo>
                    <a:pt x="53467" y="7746"/>
                  </a:lnTo>
                  <a:lnTo>
                    <a:pt x="55498" y="5333"/>
                  </a:lnTo>
                  <a:lnTo>
                    <a:pt x="58673" y="1396"/>
                  </a:lnTo>
                  <a:lnTo>
                    <a:pt x="60070" y="0"/>
                  </a:lnTo>
                  <a:lnTo>
                    <a:pt x="61214" y="1396"/>
                  </a:lnTo>
                  <a:lnTo>
                    <a:pt x="64389" y="5333"/>
                  </a:lnTo>
                  <a:lnTo>
                    <a:pt x="66420" y="7746"/>
                  </a:lnTo>
                  <a:lnTo>
                    <a:pt x="68706" y="10414"/>
                  </a:lnTo>
                  <a:lnTo>
                    <a:pt x="70866" y="13208"/>
                  </a:lnTo>
                  <a:lnTo>
                    <a:pt x="73025" y="16002"/>
                  </a:lnTo>
                  <a:lnTo>
                    <a:pt x="74930" y="18669"/>
                  </a:lnTo>
                  <a:lnTo>
                    <a:pt x="76962" y="21589"/>
                  </a:lnTo>
                  <a:lnTo>
                    <a:pt x="78740" y="24383"/>
                  </a:lnTo>
                  <a:lnTo>
                    <a:pt x="79629" y="25781"/>
                  </a:lnTo>
                  <a:lnTo>
                    <a:pt x="80518" y="27177"/>
                  </a:lnTo>
                  <a:lnTo>
                    <a:pt x="81280" y="28575"/>
                  </a:lnTo>
                  <a:lnTo>
                    <a:pt x="81915" y="29971"/>
                  </a:lnTo>
                  <a:lnTo>
                    <a:pt x="82550" y="31241"/>
                  </a:lnTo>
                  <a:lnTo>
                    <a:pt x="83057" y="32512"/>
                  </a:lnTo>
                  <a:lnTo>
                    <a:pt x="83439" y="33654"/>
                  </a:lnTo>
                  <a:lnTo>
                    <a:pt x="83693" y="34797"/>
                  </a:lnTo>
                  <a:lnTo>
                    <a:pt x="83946" y="35940"/>
                  </a:lnTo>
                  <a:lnTo>
                    <a:pt x="83946" y="36829"/>
                  </a:lnTo>
                  <a:lnTo>
                    <a:pt x="83946" y="37591"/>
                  </a:lnTo>
                  <a:lnTo>
                    <a:pt x="83946" y="38353"/>
                  </a:lnTo>
                  <a:lnTo>
                    <a:pt x="83819" y="39115"/>
                  </a:lnTo>
                  <a:lnTo>
                    <a:pt x="83693" y="39877"/>
                  </a:lnTo>
                  <a:lnTo>
                    <a:pt x="116585" y="18288"/>
                  </a:lnTo>
                  <a:lnTo>
                    <a:pt x="120015" y="21082"/>
                  </a:lnTo>
                  <a:close/>
                  <a:moveTo>
                    <a:pt x="-6086603" y="5077967"/>
                  </a:moveTo>
                  <a:moveTo>
                    <a:pt x="60070" y="50800"/>
                  </a:moveTo>
                  <a:lnTo>
                    <a:pt x="60070" y="50800"/>
                  </a:lnTo>
                  <a:lnTo>
                    <a:pt x="60959" y="50672"/>
                  </a:lnTo>
                  <a:lnTo>
                    <a:pt x="61848" y="50672"/>
                  </a:lnTo>
                  <a:lnTo>
                    <a:pt x="62865" y="50546"/>
                  </a:lnTo>
                  <a:lnTo>
                    <a:pt x="63754" y="50419"/>
                  </a:lnTo>
                  <a:lnTo>
                    <a:pt x="64769" y="50291"/>
                  </a:lnTo>
                  <a:lnTo>
                    <a:pt x="65531" y="50164"/>
                  </a:lnTo>
                  <a:lnTo>
                    <a:pt x="66420" y="49910"/>
                  </a:lnTo>
                  <a:lnTo>
                    <a:pt x="67309" y="49657"/>
                  </a:lnTo>
                  <a:lnTo>
                    <a:pt x="68198" y="49402"/>
                  </a:lnTo>
                  <a:lnTo>
                    <a:pt x="68960" y="49148"/>
                  </a:lnTo>
                  <a:lnTo>
                    <a:pt x="69722" y="48767"/>
                  </a:lnTo>
                  <a:lnTo>
                    <a:pt x="70484" y="48387"/>
                  </a:lnTo>
                  <a:lnTo>
                    <a:pt x="71246" y="48006"/>
                  </a:lnTo>
                  <a:lnTo>
                    <a:pt x="72008" y="47625"/>
                  </a:lnTo>
                  <a:lnTo>
                    <a:pt x="72643" y="47116"/>
                  </a:lnTo>
                  <a:lnTo>
                    <a:pt x="73279" y="46735"/>
                  </a:lnTo>
                  <a:lnTo>
                    <a:pt x="73914" y="46227"/>
                  </a:lnTo>
                  <a:lnTo>
                    <a:pt x="74421" y="45720"/>
                  </a:lnTo>
                  <a:lnTo>
                    <a:pt x="75056" y="45212"/>
                  </a:lnTo>
                  <a:lnTo>
                    <a:pt x="75565" y="44577"/>
                  </a:lnTo>
                  <a:lnTo>
                    <a:pt x="76072" y="44069"/>
                  </a:lnTo>
                  <a:lnTo>
                    <a:pt x="76580" y="43560"/>
                  </a:lnTo>
                  <a:lnTo>
                    <a:pt x="76962" y="42798"/>
                  </a:lnTo>
                  <a:lnTo>
                    <a:pt x="77343" y="42290"/>
                  </a:lnTo>
                  <a:lnTo>
                    <a:pt x="77723" y="41656"/>
                  </a:lnTo>
                  <a:lnTo>
                    <a:pt x="77978" y="41021"/>
                  </a:lnTo>
                  <a:lnTo>
                    <a:pt x="78231" y="40258"/>
                  </a:lnTo>
                  <a:lnTo>
                    <a:pt x="78358" y="39623"/>
                  </a:lnTo>
                  <a:lnTo>
                    <a:pt x="78613" y="38989"/>
                  </a:lnTo>
                  <a:lnTo>
                    <a:pt x="78740" y="38227"/>
                  </a:lnTo>
                  <a:lnTo>
                    <a:pt x="78740" y="37591"/>
                  </a:lnTo>
                  <a:lnTo>
                    <a:pt x="78740" y="36829"/>
                  </a:lnTo>
                  <a:lnTo>
                    <a:pt x="78740" y="36195"/>
                  </a:lnTo>
                  <a:lnTo>
                    <a:pt x="78613" y="35559"/>
                  </a:lnTo>
                  <a:lnTo>
                    <a:pt x="78485" y="34797"/>
                  </a:lnTo>
                  <a:lnTo>
                    <a:pt x="78231" y="34035"/>
                  </a:lnTo>
                  <a:lnTo>
                    <a:pt x="77851" y="33146"/>
                  </a:lnTo>
                  <a:lnTo>
                    <a:pt x="77596" y="32258"/>
                  </a:lnTo>
                  <a:lnTo>
                    <a:pt x="76707" y="30352"/>
                  </a:lnTo>
                  <a:lnTo>
                    <a:pt x="75565" y="28447"/>
                  </a:lnTo>
                  <a:lnTo>
                    <a:pt x="74294" y="26415"/>
                  </a:lnTo>
                  <a:lnTo>
                    <a:pt x="72897" y="24257"/>
                  </a:lnTo>
                  <a:lnTo>
                    <a:pt x="71373" y="22097"/>
                  </a:lnTo>
                  <a:lnTo>
                    <a:pt x="69850" y="19939"/>
                  </a:lnTo>
                  <a:lnTo>
                    <a:pt x="68326" y="17652"/>
                  </a:lnTo>
                  <a:lnTo>
                    <a:pt x="65151" y="13715"/>
                  </a:lnTo>
                  <a:lnTo>
                    <a:pt x="62356" y="10033"/>
                  </a:lnTo>
                  <a:lnTo>
                    <a:pt x="60070" y="7239"/>
                  </a:lnTo>
                  <a:lnTo>
                    <a:pt x="60070" y="50800"/>
                  </a:lnTo>
                  <a:close/>
                  <a:moveTo>
                    <a:pt x="-6116321" y="5077967"/>
                  </a:moveTo>
                  <a:moveTo>
                    <a:pt x="49403" y="140334"/>
                  </a:moveTo>
                  <a:lnTo>
                    <a:pt x="49403" y="140334"/>
                  </a:lnTo>
                  <a:lnTo>
                    <a:pt x="50292" y="139572"/>
                  </a:lnTo>
                  <a:lnTo>
                    <a:pt x="51180" y="138810"/>
                  </a:lnTo>
                  <a:lnTo>
                    <a:pt x="51943" y="138048"/>
                  </a:lnTo>
                  <a:lnTo>
                    <a:pt x="52705" y="137159"/>
                  </a:lnTo>
                  <a:lnTo>
                    <a:pt x="53340" y="136271"/>
                  </a:lnTo>
                  <a:lnTo>
                    <a:pt x="53975" y="135382"/>
                  </a:lnTo>
                  <a:lnTo>
                    <a:pt x="54355" y="134492"/>
                  </a:lnTo>
                  <a:lnTo>
                    <a:pt x="54864" y="133477"/>
                  </a:lnTo>
                  <a:lnTo>
                    <a:pt x="54991" y="132714"/>
                  </a:lnTo>
                  <a:lnTo>
                    <a:pt x="55118" y="131952"/>
                  </a:lnTo>
                  <a:lnTo>
                    <a:pt x="55244" y="131190"/>
                  </a:lnTo>
                  <a:lnTo>
                    <a:pt x="55244" y="130428"/>
                  </a:lnTo>
                  <a:lnTo>
                    <a:pt x="55244" y="129666"/>
                  </a:lnTo>
                  <a:lnTo>
                    <a:pt x="55244" y="128904"/>
                  </a:lnTo>
                  <a:lnTo>
                    <a:pt x="54991" y="128142"/>
                  </a:lnTo>
                  <a:lnTo>
                    <a:pt x="54864" y="127253"/>
                  </a:lnTo>
                  <a:lnTo>
                    <a:pt x="54355" y="126491"/>
                  </a:lnTo>
                  <a:lnTo>
                    <a:pt x="53975" y="125602"/>
                  </a:lnTo>
                  <a:lnTo>
                    <a:pt x="53467" y="124714"/>
                  </a:lnTo>
                  <a:lnTo>
                    <a:pt x="52831" y="123952"/>
                  </a:lnTo>
                  <a:lnTo>
                    <a:pt x="52196" y="123063"/>
                  </a:lnTo>
                  <a:lnTo>
                    <a:pt x="51434" y="122301"/>
                  </a:lnTo>
                  <a:lnTo>
                    <a:pt x="50545" y="121539"/>
                  </a:lnTo>
                  <a:lnTo>
                    <a:pt x="49530" y="120777"/>
                  </a:lnTo>
                  <a:lnTo>
                    <a:pt x="48894" y="120396"/>
                  </a:lnTo>
                  <a:lnTo>
                    <a:pt x="48132" y="119888"/>
                  </a:lnTo>
                  <a:lnTo>
                    <a:pt x="47243" y="119379"/>
                  </a:lnTo>
                  <a:lnTo>
                    <a:pt x="46228" y="118998"/>
                  </a:lnTo>
                  <a:lnTo>
                    <a:pt x="45212" y="118617"/>
                  </a:lnTo>
                  <a:lnTo>
                    <a:pt x="44068" y="118109"/>
                  </a:lnTo>
                  <a:lnTo>
                    <a:pt x="41402" y="117221"/>
                  </a:lnTo>
                  <a:lnTo>
                    <a:pt x="38607" y="116332"/>
                  </a:lnTo>
                  <a:lnTo>
                    <a:pt x="35559" y="115442"/>
                  </a:lnTo>
                  <a:lnTo>
                    <a:pt x="32384" y="114681"/>
                  </a:lnTo>
                  <a:lnTo>
                    <a:pt x="29082" y="113919"/>
                  </a:lnTo>
                  <a:lnTo>
                    <a:pt x="28829" y="113919"/>
                  </a:lnTo>
                  <a:lnTo>
                    <a:pt x="25907" y="113157"/>
                  </a:lnTo>
                  <a:lnTo>
                    <a:pt x="22987" y="112521"/>
                  </a:lnTo>
                  <a:lnTo>
                    <a:pt x="17271" y="111378"/>
                  </a:lnTo>
                  <a:lnTo>
                    <a:pt x="12065" y="110363"/>
                  </a:lnTo>
                  <a:lnTo>
                    <a:pt x="7873" y="109601"/>
                  </a:lnTo>
                  <a:lnTo>
                    <a:pt x="49403" y="140334"/>
                  </a:lnTo>
                  <a:close/>
                  <a:moveTo>
                    <a:pt x="-6205855" y="5077967"/>
                  </a:moveTo>
                  <a:moveTo>
                    <a:pt x="49403" y="106679"/>
                  </a:moveTo>
                  <a:lnTo>
                    <a:pt x="49403" y="106679"/>
                  </a:lnTo>
                  <a:lnTo>
                    <a:pt x="50292" y="105917"/>
                  </a:lnTo>
                  <a:lnTo>
                    <a:pt x="51180" y="105156"/>
                  </a:lnTo>
                  <a:lnTo>
                    <a:pt x="51943" y="104266"/>
                  </a:lnTo>
                  <a:lnTo>
                    <a:pt x="52705" y="103504"/>
                  </a:lnTo>
                  <a:lnTo>
                    <a:pt x="53340" y="102615"/>
                  </a:lnTo>
                  <a:lnTo>
                    <a:pt x="53975" y="101727"/>
                  </a:lnTo>
                  <a:lnTo>
                    <a:pt x="54355" y="100710"/>
                  </a:lnTo>
                  <a:lnTo>
                    <a:pt x="54864" y="99821"/>
                  </a:lnTo>
                  <a:lnTo>
                    <a:pt x="54991" y="99059"/>
                  </a:lnTo>
                  <a:lnTo>
                    <a:pt x="55118" y="98297"/>
                  </a:lnTo>
                  <a:lnTo>
                    <a:pt x="55244" y="97408"/>
                  </a:lnTo>
                  <a:lnTo>
                    <a:pt x="55244" y="96646"/>
                  </a:lnTo>
                  <a:lnTo>
                    <a:pt x="55244" y="95884"/>
                  </a:lnTo>
                  <a:lnTo>
                    <a:pt x="55244" y="95122"/>
                  </a:lnTo>
                  <a:lnTo>
                    <a:pt x="54991" y="94360"/>
                  </a:lnTo>
                  <a:lnTo>
                    <a:pt x="54864" y="93598"/>
                  </a:lnTo>
                  <a:lnTo>
                    <a:pt x="54355" y="92709"/>
                  </a:lnTo>
                  <a:lnTo>
                    <a:pt x="53975" y="91947"/>
                  </a:lnTo>
                  <a:lnTo>
                    <a:pt x="53467" y="91058"/>
                  </a:lnTo>
                  <a:lnTo>
                    <a:pt x="52831" y="90296"/>
                  </a:lnTo>
                  <a:lnTo>
                    <a:pt x="52196" y="89408"/>
                  </a:lnTo>
                  <a:lnTo>
                    <a:pt x="51434" y="88646"/>
                  </a:lnTo>
                  <a:lnTo>
                    <a:pt x="50545" y="87883"/>
                  </a:lnTo>
                  <a:lnTo>
                    <a:pt x="49530" y="87121"/>
                  </a:lnTo>
                  <a:lnTo>
                    <a:pt x="48894" y="86614"/>
                  </a:lnTo>
                  <a:lnTo>
                    <a:pt x="48259" y="86233"/>
                  </a:lnTo>
                  <a:lnTo>
                    <a:pt x="47370" y="85852"/>
                  </a:lnTo>
                  <a:lnTo>
                    <a:pt x="46481" y="85344"/>
                  </a:lnTo>
                  <a:lnTo>
                    <a:pt x="45339" y="84963"/>
                  </a:lnTo>
                  <a:lnTo>
                    <a:pt x="44322" y="84582"/>
                  </a:lnTo>
                  <a:lnTo>
                    <a:pt x="41909" y="83692"/>
                  </a:lnTo>
                  <a:lnTo>
                    <a:pt x="39243" y="82803"/>
                  </a:lnTo>
                  <a:lnTo>
                    <a:pt x="36321" y="82041"/>
                  </a:lnTo>
                  <a:lnTo>
                    <a:pt x="33401" y="81279"/>
                  </a:lnTo>
                  <a:lnTo>
                    <a:pt x="30226" y="80517"/>
                  </a:lnTo>
                  <a:lnTo>
                    <a:pt x="27051" y="79756"/>
                  </a:lnTo>
                  <a:lnTo>
                    <a:pt x="23876" y="79121"/>
                  </a:lnTo>
                  <a:lnTo>
                    <a:pt x="17780" y="77851"/>
                  </a:lnTo>
                  <a:lnTo>
                    <a:pt x="12318" y="76708"/>
                  </a:lnTo>
                  <a:lnTo>
                    <a:pt x="7873" y="75946"/>
                  </a:lnTo>
                  <a:lnTo>
                    <a:pt x="49403" y="106679"/>
                  </a:lnTo>
                  <a:close/>
                  <a:moveTo>
                    <a:pt x="-6172200" y="5077967"/>
                  </a:moveTo>
                  <a:moveTo>
                    <a:pt x="49403" y="72897"/>
                  </a:moveTo>
                  <a:lnTo>
                    <a:pt x="49403" y="72897"/>
                  </a:lnTo>
                  <a:lnTo>
                    <a:pt x="50292" y="72263"/>
                  </a:lnTo>
                  <a:lnTo>
                    <a:pt x="51180" y="71501"/>
                  </a:lnTo>
                  <a:lnTo>
                    <a:pt x="51943" y="70612"/>
                  </a:lnTo>
                  <a:lnTo>
                    <a:pt x="52705" y="69722"/>
                  </a:lnTo>
                  <a:lnTo>
                    <a:pt x="53340" y="68960"/>
                  </a:lnTo>
                  <a:lnTo>
                    <a:pt x="53975" y="67945"/>
                  </a:lnTo>
                  <a:lnTo>
                    <a:pt x="54355" y="67056"/>
                  </a:lnTo>
                  <a:lnTo>
                    <a:pt x="54864" y="66039"/>
                  </a:lnTo>
                  <a:lnTo>
                    <a:pt x="54991" y="65277"/>
                  </a:lnTo>
                  <a:lnTo>
                    <a:pt x="55118" y="64515"/>
                  </a:lnTo>
                  <a:lnTo>
                    <a:pt x="55244" y="63753"/>
                  </a:lnTo>
                  <a:lnTo>
                    <a:pt x="55244" y="62991"/>
                  </a:lnTo>
                  <a:lnTo>
                    <a:pt x="55244" y="62229"/>
                  </a:lnTo>
                  <a:lnTo>
                    <a:pt x="55244" y="61467"/>
                  </a:lnTo>
                  <a:lnTo>
                    <a:pt x="54991" y="60706"/>
                  </a:lnTo>
                  <a:lnTo>
                    <a:pt x="54864" y="59816"/>
                  </a:lnTo>
                  <a:lnTo>
                    <a:pt x="54355" y="59054"/>
                  </a:lnTo>
                  <a:lnTo>
                    <a:pt x="53975" y="58165"/>
                  </a:lnTo>
                  <a:lnTo>
                    <a:pt x="53467" y="57403"/>
                  </a:lnTo>
                  <a:lnTo>
                    <a:pt x="52831" y="56514"/>
                  </a:lnTo>
                  <a:lnTo>
                    <a:pt x="52196" y="55752"/>
                  </a:lnTo>
                  <a:lnTo>
                    <a:pt x="51434" y="54990"/>
                  </a:lnTo>
                  <a:lnTo>
                    <a:pt x="50545" y="54102"/>
                  </a:lnTo>
                  <a:lnTo>
                    <a:pt x="49530" y="53339"/>
                  </a:lnTo>
                  <a:lnTo>
                    <a:pt x="48894" y="52958"/>
                  </a:lnTo>
                  <a:lnTo>
                    <a:pt x="48259" y="52577"/>
                  </a:lnTo>
                  <a:lnTo>
                    <a:pt x="47370" y="52070"/>
                  </a:lnTo>
                  <a:lnTo>
                    <a:pt x="46481" y="51689"/>
                  </a:lnTo>
                  <a:lnTo>
                    <a:pt x="45339" y="51308"/>
                  </a:lnTo>
                  <a:lnTo>
                    <a:pt x="44322" y="50800"/>
                  </a:lnTo>
                  <a:lnTo>
                    <a:pt x="41909" y="50038"/>
                  </a:lnTo>
                  <a:lnTo>
                    <a:pt x="39243" y="49148"/>
                  </a:lnTo>
                  <a:lnTo>
                    <a:pt x="36321" y="48387"/>
                  </a:lnTo>
                  <a:lnTo>
                    <a:pt x="33401" y="47497"/>
                  </a:lnTo>
                  <a:lnTo>
                    <a:pt x="30226" y="46735"/>
                  </a:lnTo>
                  <a:lnTo>
                    <a:pt x="27051" y="46101"/>
                  </a:lnTo>
                  <a:lnTo>
                    <a:pt x="23876" y="45339"/>
                  </a:lnTo>
                  <a:lnTo>
                    <a:pt x="17780" y="44069"/>
                  </a:lnTo>
                  <a:lnTo>
                    <a:pt x="12318" y="43052"/>
                  </a:lnTo>
                  <a:lnTo>
                    <a:pt x="7873" y="42290"/>
                  </a:lnTo>
                  <a:lnTo>
                    <a:pt x="49403" y="72897"/>
                  </a:lnTo>
                  <a:close/>
                  <a:moveTo>
                    <a:pt x="-6138418" y="5077967"/>
                  </a:moveTo>
                  <a:moveTo>
                    <a:pt x="112014" y="75946"/>
                  </a:moveTo>
                  <a:lnTo>
                    <a:pt x="112014" y="75946"/>
                  </a:lnTo>
                  <a:lnTo>
                    <a:pt x="107695" y="76708"/>
                  </a:lnTo>
                  <a:lnTo>
                    <a:pt x="102234" y="77851"/>
                  </a:lnTo>
                  <a:lnTo>
                    <a:pt x="96139" y="78994"/>
                  </a:lnTo>
                  <a:lnTo>
                    <a:pt x="92964" y="79756"/>
                  </a:lnTo>
                  <a:lnTo>
                    <a:pt x="89789" y="80517"/>
                  </a:lnTo>
                  <a:lnTo>
                    <a:pt x="86614" y="81279"/>
                  </a:lnTo>
                  <a:lnTo>
                    <a:pt x="83693" y="82041"/>
                  </a:lnTo>
                  <a:lnTo>
                    <a:pt x="80898" y="82803"/>
                  </a:lnTo>
                  <a:lnTo>
                    <a:pt x="78105" y="83692"/>
                  </a:lnTo>
                  <a:lnTo>
                    <a:pt x="75692" y="84582"/>
                  </a:lnTo>
                  <a:lnTo>
                    <a:pt x="74548" y="84963"/>
                  </a:lnTo>
                  <a:lnTo>
                    <a:pt x="73532" y="85344"/>
                  </a:lnTo>
                  <a:lnTo>
                    <a:pt x="72643" y="85852"/>
                  </a:lnTo>
                  <a:lnTo>
                    <a:pt x="71755" y="86233"/>
                  </a:lnTo>
                  <a:lnTo>
                    <a:pt x="70993" y="86614"/>
                  </a:lnTo>
                  <a:lnTo>
                    <a:pt x="70357" y="87121"/>
                  </a:lnTo>
                  <a:lnTo>
                    <a:pt x="69595" y="87757"/>
                  </a:lnTo>
                  <a:lnTo>
                    <a:pt x="68833" y="88391"/>
                  </a:lnTo>
                  <a:lnTo>
                    <a:pt x="68198" y="89027"/>
                  </a:lnTo>
                  <a:lnTo>
                    <a:pt x="67691" y="89534"/>
                  </a:lnTo>
                  <a:lnTo>
                    <a:pt x="67055" y="90170"/>
                  </a:lnTo>
                  <a:lnTo>
                    <a:pt x="66675" y="90932"/>
                  </a:lnTo>
                  <a:lnTo>
                    <a:pt x="66167" y="91566"/>
                  </a:lnTo>
                  <a:lnTo>
                    <a:pt x="65785" y="92202"/>
                  </a:lnTo>
                  <a:lnTo>
                    <a:pt x="65531" y="92837"/>
                  </a:lnTo>
                  <a:lnTo>
                    <a:pt x="65151" y="93471"/>
                  </a:lnTo>
                  <a:lnTo>
                    <a:pt x="65023" y="94233"/>
                  </a:lnTo>
                  <a:lnTo>
                    <a:pt x="64769" y="94869"/>
                  </a:lnTo>
                  <a:lnTo>
                    <a:pt x="64769" y="95503"/>
                  </a:lnTo>
                  <a:lnTo>
                    <a:pt x="64769" y="96139"/>
                  </a:lnTo>
                  <a:lnTo>
                    <a:pt x="64769" y="96773"/>
                  </a:lnTo>
                  <a:lnTo>
                    <a:pt x="64769" y="97408"/>
                  </a:lnTo>
                  <a:lnTo>
                    <a:pt x="64769" y="98044"/>
                  </a:lnTo>
                  <a:lnTo>
                    <a:pt x="64896" y="98806"/>
                  </a:lnTo>
                  <a:lnTo>
                    <a:pt x="65151" y="99440"/>
                  </a:lnTo>
                  <a:lnTo>
                    <a:pt x="65278" y="100076"/>
                  </a:lnTo>
                  <a:lnTo>
                    <a:pt x="65531" y="100583"/>
                  </a:lnTo>
                  <a:lnTo>
                    <a:pt x="65785" y="101219"/>
                  </a:lnTo>
                  <a:lnTo>
                    <a:pt x="66167" y="101853"/>
                  </a:lnTo>
                  <a:lnTo>
                    <a:pt x="66547" y="102489"/>
                  </a:lnTo>
                  <a:lnTo>
                    <a:pt x="67309" y="103632"/>
                  </a:lnTo>
                  <a:lnTo>
                    <a:pt x="68326" y="104647"/>
                  </a:lnTo>
                  <a:lnTo>
                    <a:pt x="69342" y="105664"/>
                  </a:lnTo>
                  <a:lnTo>
                    <a:pt x="70612" y="106679"/>
                  </a:lnTo>
                  <a:lnTo>
                    <a:pt x="71881" y="107569"/>
                  </a:lnTo>
                  <a:lnTo>
                    <a:pt x="73279" y="108331"/>
                  </a:lnTo>
                  <a:lnTo>
                    <a:pt x="74676" y="109092"/>
                  </a:lnTo>
                  <a:lnTo>
                    <a:pt x="76327" y="109601"/>
                  </a:lnTo>
                  <a:lnTo>
                    <a:pt x="77089" y="109854"/>
                  </a:lnTo>
                  <a:lnTo>
                    <a:pt x="77851" y="110108"/>
                  </a:lnTo>
                  <a:lnTo>
                    <a:pt x="78740" y="110363"/>
                  </a:lnTo>
                  <a:lnTo>
                    <a:pt x="79629" y="110489"/>
                  </a:lnTo>
                  <a:lnTo>
                    <a:pt x="80391" y="110744"/>
                  </a:lnTo>
                  <a:lnTo>
                    <a:pt x="81280" y="110871"/>
                  </a:lnTo>
                  <a:lnTo>
                    <a:pt x="82168" y="110871"/>
                  </a:lnTo>
                  <a:lnTo>
                    <a:pt x="83057" y="110997"/>
                  </a:lnTo>
                  <a:lnTo>
                    <a:pt x="83946" y="110997"/>
                  </a:lnTo>
                  <a:lnTo>
                    <a:pt x="84835" y="110997"/>
                  </a:lnTo>
                  <a:lnTo>
                    <a:pt x="85597" y="110997"/>
                  </a:lnTo>
                  <a:lnTo>
                    <a:pt x="86614" y="110871"/>
                  </a:lnTo>
                  <a:lnTo>
                    <a:pt x="87503" y="110744"/>
                  </a:lnTo>
                  <a:lnTo>
                    <a:pt x="88265" y="110616"/>
                  </a:lnTo>
                  <a:lnTo>
                    <a:pt x="89280" y="110363"/>
                  </a:lnTo>
                  <a:lnTo>
                    <a:pt x="90169" y="110235"/>
                  </a:lnTo>
                  <a:lnTo>
                    <a:pt x="90931" y="109854"/>
                  </a:lnTo>
                  <a:lnTo>
                    <a:pt x="91947" y="109601"/>
                  </a:lnTo>
                  <a:lnTo>
                    <a:pt x="92709" y="109220"/>
                  </a:lnTo>
                  <a:lnTo>
                    <a:pt x="93598" y="108839"/>
                  </a:lnTo>
                  <a:lnTo>
                    <a:pt x="94488" y="108331"/>
                  </a:lnTo>
                  <a:lnTo>
                    <a:pt x="95377" y="107822"/>
                  </a:lnTo>
                  <a:lnTo>
                    <a:pt x="96139" y="107314"/>
                  </a:lnTo>
                  <a:lnTo>
                    <a:pt x="97028" y="106807"/>
                  </a:lnTo>
                  <a:lnTo>
                    <a:pt x="97535" y="106298"/>
                  </a:lnTo>
                  <a:lnTo>
                    <a:pt x="98170" y="105790"/>
                  </a:lnTo>
                  <a:lnTo>
                    <a:pt x="98805" y="105156"/>
                  </a:lnTo>
                  <a:lnTo>
                    <a:pt x="99314" y="104521"/>
                  </a:lnTo>
                  <a:lnTo>
                    <a:pt x="99948" y="103632"/>
                  </a:lnTo>
                  <a:lnTo>
                    <a:pt x="100456" y="102870"/>
                  </a:lnTo>
                  <a:lnTo>
                    <a:pt x="101600" y="101091"/>
                  </a:lnTo>
                  <a:lnTo>
                    <a:pt x="102743" y="99059"/>
                  </a:lnTo>
                  <a:lnTo>
                    <a:pt x="103885" y="96901"/>
                  </a:lnTo>
                  <a:lnTo>
                    <a:pt x="105029" y="94741"/>
                  </a:lnTo>
                  <a:lnTo>
                    <a:pt x="106044" y="92456"/>
                  </a:lnTo>
                  <a:lnTo>
                    <a:pt x="106933" y="90042"/>
                  </a:lnTo>
                  <a:lnTo>
                    <a:pt x="107822" y="87757"/>
                  </a:lnTo>
                  <a:lnTo>
                    <a:pt x="109601" y="83312"/>
                  </a:lnTo>
                  <a:lnTo>
                    <a:pt x="110997" y="79247"/>
                  </a:lnTo>
                  <a:lnTo>
                    <a:pt x="112014" y="75946"/>
                  </a:lnTo>
                  <a:close/>
                  <a:moveTo>
                    <a:pt x="-6141467" y="5077967"/>
                  </a:moveTo>
                  <a:moveTo>
                    <a:pt x="112014" y="109601"/>
                  </a:moveTo>
                  <a:lnTo>
                    <a:pt x="112014" y="109601"/>
                  </a:lnTo>
                  <a:lnTo>
                    <a:pt x="107695" y="110489"/>
                  </a:lnTo>
                  <a:lnTo>
                    <a:pt x="102234" y="111506"/>
                  </a:lnTo>
                  <a:lnTo>
                    <a:pt x="96139" y="112776"/>
                  </a:lnTo>
                  <a:lnTo>
                    <a:pt x="92964" y="113410"/>
                  </a:lnTo>
                  <a:lnTo>
                    <a:pt x="89789" y="114172"/>
                  </a:lnTo>
                  <a:lnTo>
                    <a:pt x="86614" y="114934"/>
                  </a:lnTo>
                  <a:lnTo>
                    <a:pt x="83693" y="115696"/>
                  </a:lnTo>
                  <a:lnTo>
                    <a:pt x="80898" y="116458"/>
                  </a:lnTo>
                  <a:lnTo>
                    <a:pt x="78105" y="117347"/>
                  </a:lnTo>
                  <a:lnTo>
                    <a:pt x="75692" y="118237"/>
                  </a:lnTo>
                  <a:lnTo>
                    <a:pt x="74548" y="118617"/>
                  </a:lnTo>
                  <a:lnTo>
                    <a:pt x="73532" y="119126"/>
                  </a:lnTo>
                  <a:lnTo>
                    <a:pt x="72643" y="119507"/>
                  </a:lnTo>
                  <a:lnTo>
                    <a:pt x="71755" y="119888"/>
                  </a:lnTo>
                  <a:lnTo>
                    <a:pt x="70993" y="120396"/>
                  </a:lnTo>
                  <a:lnTo>
                    <a:pt x="70357" y="120777"/>
                  </a:lnTo>
                  <a:lnTo>
                    <a:pt x="69595" y="121412"/>
                  </a:lnTo>
                  <a:lnTo>
                    <a:pt x="68833" y="122046"/>
                  </a:lnTo>
                  <a:lnTo>
                    <a:pt x="68198" y="122682"/>
                  </a:lnTo>
                  <a:lnTo>
                    <a:pt x="67691" y="123316"/>
                  </a:lnTo>
                  <a:lnTo>
                    <a:pt x="67055" y="123952"/>
                  </a:lnTo>
                  <a:lnTo>
                    <a:pt x="66675" y="124587"/>
                  </a:lnTo>
                  <a:lnTo>
                    <a:pt x="66167" y="125221"/>
                  </a:lnTo>
                  <a:lnTo>
                    <a:pt x="65785" y="125857"/>
                  </a:lnTo>
                  <a:lnTo>
                    <a:pt x="65531" y="126491"/>
                  </a:lnTo>
                  <a:lnTo>
                    <a:pt x="65151" y="127253"/>
                  </a:lnTo>
                  <a:lnTo>
                    <a:pt x="65023" y="127889"/>
                  </a:lnTo>
                  <a:lnTo>
                    <a:pt x="64769" y="128523"/>
                  </a:lnTo>
                  <a:lnTo>
                    <a:pt x="64769" y="129158"/>
                  </a:lnTo>
                  <a:lnTo>
                    <a:pt x="64769" y="129794"/>
                  </a:lnTo>
                  <a:lnTo>
                    <a:pt x="64769" y="130428"/>
                  </a:lnTo>
                  <a:lnTo>
                    <a:pt x="64769" y="131190"/>
                  </a:lnTo>
                  <a:lnTo>
                    <a:pt x="64769" y="131826"/>
                  </a:lnTo>
                  <a:lnTo>
                    <a:pt x="64896" y="132460"/>
                  </a:lnTo>
                  <a:lnTo>
                    <a:pt x="65151" y="133096"/>
                  </a:lnTo>
                  <a:lnTo>
                    <a:pt x="65278" y="133731"/>
                  </a:lnTo>
                  <a:lnTo>
                    <a:pt x="65531" y="134365"/>
                  </a:lnTo>
                  <a:lnTo>
                    <a:pt x="65785" y="134873"/>
                  </a:lnTo>
                  <a:lnTo>
                    <a:pt x="66167" y="135508"/>
                  </a:lnTo>
                  <a:lnTo>
                    <a:pt x="66547" y="136144"/>
                  </a:lnTo>
                  <a:lnTo>
                    <a:pt x="67309" y="137287"/>
                  </a:lnTo>
                  <a:lnTo>
                    <a:pt x="68326" y="138302"/>
                  </a:lnTo>
                  <a:lnTo>
                    <a:pt x="69342" y="139446"/>
                  </a:lnTo>
                  <a:lnTo>
                    <a:pt x="70612" y="140334"/>
                  </a:lnTo>
                  <a:lnTo>
                    <a:pt x="71881" y="141223"/>
                  </a:lnTo>
                  <a:lnTo>
                    <a:pt x="73279" y="141985"/>
                  </a:lnTo>
                  <a:lnTo>
                    <a:pt x="74676" y="142747"/>
                  </a:lnTo>
                  <a:lnTo>
                    <a:pt x="76327" y="143383"/>
                  </a:lnTo>
                  <a:lnTo>
                    <a:pt x="77089" y="143637"/>
                  </a:lnTo>
                  <a:lnTo>
                    <a:pt x="77851" y="143890"/>
                  </a:lnTo>
                  <a:lnTo>
                    <a:pt x="78740" y="144145"/>
                  </a:lnTo>
                  <a:lnTo>
                    <a:pt x="79629" y="144271"/>
                  </a:lnTo>
                  <a:lnTo>
                    <a:pt x="80391" y="144398"/>
                  </a:lnTo>
                  <a:lnTo>
                    <a:pt x="81280" y="144526"/>
                  </a:lnTo>
                  <a:lnTo>
                    <a:pt x="82168" y="144652"/>
                  </a:lnTo>
                  <a:lnTo>
                    <a:pt x="83057" y="144652"/>
                  </a:lnTo>
                  <a:lnTo>
                    <a:pt x="83946" y="144779"/>
                  </a:lnTo>
                  <a:lnTo>
                    <a:pt x="84835" y="144779"/>
                  </a:lnTo>
                  <a:lnTo>
                    <a:pt x="85597" y="144652"/>
                  </a:lnTo>
                  <a:lnTo>
                    <a:pt x="86614" y="144526"/>
                  </a:lnTo>
                  <a:lnTo>
                    <a:pt x="87503" y="144526"/>
                  </a:lnTo>
                  <a:lnTo>
                    <a:pt x="88265" y="144271"/>
                  </a:lnTo>
                  <a:lnTo>
                    <a:pt x="89280" y="144145"/>
                  </a:lnTo>
                  <a:lnTo>
                    <a:pt x="90169" y="143890"/>
                  </a:lnTo>
                  <a:lnTo>
                    <a:pt x="90931" y="143637"/>
                  </a:lnTo>
                  <a:lnTo>
                    <a:pt x="91947" y="143256"/>
                  </a:lnTo>
                  <a:lnTo>
                    <a:pt x="92709" y="142875"/>
                  </a:lnTo>
                  <a:lnTo>
                    <a:pt x="93598" y="142494"/>
                  </a:lnTo>
                  <a:lnTo>
                    <a:pt x="94488" y="142113"/>
                  </a:lnTo>
                  <a:lnTo>
                    <a:pt x="95377" y="141604"/>
                  </a:lnTo>
                  <a:lnTo>
                    <a:pt x="96139" y="141096"/>
                  </a:lnTo>
                  <a:lnTo>
                    <a:pt x="97028" y="140462"/>
                  </a:lnTo>
                  <a:lnTo>
                    <a:pt x="97535" y="139953"/>
                  </a:lnTo>
                  <a:lnTo>
                    <a:pt x="98170" y="139446"/>
                  </a:lnTo>
                  <a:lnTo>
                    <a:pt x="98805" y="138810"/>
                  </a:lnTo>
                  <a:lnTo>
                    <a:pt x="99314" y="138176"/>
                  </a:lnTo>
                  <a:lnTo>
                    <a:pt x="99948" y="137414"/>
                  </a:lnTo>
                  <a:lnTo>
                    <a:pt x="100456" y="136525"/>
                  </a:lnTo>
                  <a:lnTo>
                    <a:pt x="101600" y="134746"/>
                  </a:lnTo>
                  <a:lnTo>
                    <a:pt x="102743" y="132841"/>
                  </a:lnTo>
                  <a:lnTo>
                    <a:pt x="103885" y="130683"/>
                  </a:lnTo>
                  <a:lnTo>
                    <a:pt x="105029" y="128396"/>
                  </a:lnTo>
                  <a:lnTo>
                    <a:pt x="106044" y="126110"/>
                  </a:lnTo>
                  <a:lnTo>
                    <a:pt x="106933" y="123825"/>
                  </a:lnTo>
                  <a:lnTo>
                    <a:pt x="107822" y="121412"/>
                  </a:lnTo>
                  <a:lnTo>
                    <a:pt x="109601" y="116966"/>
                  </a:lnTo>
                  <a:lnTo>
                    <a:pt x="110997" y="112902"/>
                  </a:lnTo>
                  <a:lnTo>
                    <a:pt x="112014" y="109601"/>
                  </a:lnTo>
                  <a:close/>
                  <a:moveTo>
                    <a:pt x="-6175122" y="5077967"/>
                  </a:moveTo>
                  <a:moveTo>
                    <a:pt x="112014" y="42290"/>
                  </a:moveTo>
                  <a:lnTo>
                    <a:pt x="112014" y="42290"/>
                  </a:lnTo>
                  <a:lnTo>
                    <a:pt x="107695" y="43052"/>
                  </a:lnTo>
                  <a:lnTo>
                    <a:pt x="102234" y="44069"/>
                  </a:lnTo>
                  <a:lnTo>
                    <a:pt x="96139" y="45339"/>
                  </a:lnTo>
                  <a:lnTo>
                    <a:pt x="92964" y="46101"/>
                  </a:lnTo>
                  <a:lnTo>
                    <a:pt x="89789" y="46735"/>
                  </a:lnTo>
                  <a:lnTo>
                    <a:pt x="86614" y="47497"/>
                  </a:lnTo>
                  <a:lnTo>
                    <a:pt x="83693" y="48387"/>
                  </a:lnTo>
                  <a:lnTo>
                    <a:pt x="80898" y="49148"/>
                  </a:lnTo>
                  <a:lnTo>
                    <a:pt x="78105" y="49910"/>
                  </a:lnTo>
                  <a:lnTo>
                    <a:pt x="75692" y="50800"/>
                  </a:lnTo>
                  <a:lnTo>
                    <a:pt x="74548" y="51308"/>
                  </a:lnTo>
                  <a:lnTo>
                    <a:pt x="73532" y="51689"/>
                  </a:lnTo>
                  <a:lnTo>
                    <a:pt x="72643" y="52070"/>
                  </a:lnTo>
                  <a:lnTo>
                    <a:pt x="71755" y="52577"/>
                  </a:lnTo>
                  <a:lnTo>
                    <a:pt x="70993" y="52958"/>
                  </a:lnTo>
                  <a:lnTo>
                    <a:pt x="70357" y="53339"/>
                  </a:lnTo>
                  <a:lnTo>
                    <a:pt x="69595" y="53975"/>
                  </a:lnTo>
                  <a:lnTo>
                    <a:pt x="68833" y="54609"/>
                  </a:lnTo>
                  <a:lnTo>
                    <a:pt x="68198" y="55245"/>
                  </a:lnTo>
                  <a:lnTo>
                    <a:pt x="67691" y="55879"/>
                  </a:lnTo>
                  <a:lnTo>
                    <a:pt x="67055" y="56514"/>
                  </a:lnTo>
                  <a:lnTo>
                    <a:pt x="66675" y="57150"/>
                  </a:lnTo>
                  <a:lnTo>
                    <a:pt x="66167" y="57784"/>
                  </a:lnTo>
                  <a:lnTo>
                    <a:pt x="65785" y="58546"/>
                  </a:lnTo>
                  <a:lnTo>
                    <a:pt x="65531" y="59182"/>
                  </a:lnTo>
                  <a:lnTo>
                    <a:pt x="65151" y="59816"/>
                  </a:lnTo>
                  <a:lnTo>
                    <a:pt x="65023" y="60452"/>
                  </a:lnTo>
                  <a:lnTo>
                    <a:pt x="64769" y="61087"/>
                  </a:lnTo>
                  <a:lnTo>
                    <a:pt x="64769" y="61848"/>
                  </a:lnTo>
                  <a:lnTo>
                    <a:pt x="64769" y="62483"/>
                  </a:lnTo>
                  <a:lnTo>
                    <a:pt x="64769" y="63119"/>
                  </a:lnTo>
                  <a:lnTo>
                    <a:pt x="64769" y="63753"/>
                  </a:lnTo>
                  <a:lnTo>
                    <a:pt x="64769" y="64389"/>
                  </a:lnTo>
                  <a:lnTo>
                    <a:pt x="64896" y="65023"/>
                  </a:lnTo>
                  <a:lnTo>
                    <a:pt x="65151" y="65658"/>
                  </a:lnTo>
                  <a:lnTo>
                    <a:pt x="65278" y="66294"/>
                  </a:lnTo>
                  <a:lnTo>
                    <a:pt x="65531" y="66928"/>
                  </a:lnTo>
                  <a:lnTo>
                    <a:pt x="65785" y="67564"/>
                  </a:lnTo>
                  <a:lnTo>
                    <a:pt x="66167" y="68198"/>
                  </a:lnTo>
                  <a:lnTo>
                    <a:pt x="66547" y="68707"/>
                  </a:lnTo>
                  <a:lnTo>
                    <a:pt x="67309" y="69850"/>
                  </a:lnTo>
                  <a:lnTo>
                    <a:pt x="68326" y="70992"/>
                  </a:lnTo>
                  <a:lnTo>
                    <a:pt x="69342" y="72008"/>
                  </a:lnTo>
                  <a:lnTo>
                    <a:pt x="70612" y="72897"/>
                  </a:lnTo>
                  <a:lnTo>
                    <a:pt x="71881" y="73914"/>
                  </a:lnTo>
                  <a:lnTo>
                    <a:pt x="73279" y="74676"/>
                  </a:lnTo>
                  <a:lnTo>
                    <a:pt x="74676" y="75310"/>
                  </a:lnTo>
                  <a:lnTo>
                    <a:pt x="76327" y="75946"/>
                  </a:lnTo>
                  <a:lnTo>
                    <a:pt x="77089" y="76200"/>
                  </a:lnTo>
                  <a:lnTo>
                    <a:pt x="77851" y="76453"/>
                  </a:lnTo>
                  <a:lnTo>
                    <a:pt x="78740" y="76708"/>
                  </a:lnTo>
                  <a:lnTo>
                    <a:pt x="79629" y="76834"/>
                  </a:lnTo>
                  <a:lnTo>
                    <a:pt x="80391" y="77089"/>
                  </a:lnTo>
                  <a:lnTo>
                    <a:pt x="81280" y="77089"/>
                  </a:lnTo>
                  <a:lnTo>
                    <a:pt x="82168" y="77215"/>
                  </a:lnTo>
                  <a:lnTo>
                    <a:pt x="83057" y="77342"/>
                  </a:lnTo>
                  <a:lnTo>
                    <a:pt x="83946" y="77342"/>
                  </a:lnTo>
                  <a:lnTo>
                    <a:pt x="84835" y="77342"/>
                  </a:lnTo>
                  <a:lnTo>
                    <a:pt x="85597" y="77342"/>
                  </a:lnTo>
                  <a:lnTo>
                    <a:pt x="86614" y="77215"/>
                  </a:lnTo>
                  <a:lnTo>
                    <a:pt x="87503" y="77089"/>
                  </a:lnTo>
                  <a:lnTo>
                    <a:pt x="88265" y="76834"/>
                  </a:lnTo>
                  <a:lnTo>
                    <a:pt x="89280" y="76708"/>
                  </a:lnTo>
                  <a:lnTo>
                    <a:pt x="90169" y="76581"/>
                  </a:lnTo>
                  <a:lnTo>
                    <a:pt x="90931" y="76200"/>
                  </a:lnTo>
                  <a:lnTo>
                    <a:pt x="91947" y="75819"/>
                  </a:lnTo>
                  <a:lnTo>
                    <a:pt x="92709" y="75564"/>
                  </a:lnTo>
                  <a:lnTo>
                    <a:pt x="93598" y="75183"/>
                  </a:lnTo>
                  <a:lnTo>
                    <a:pt x="94488" y="74676"/>
                  </a:lnTo>
                  <a:lnTo>
                    <a:pt x="95377" y="74167"/>
                  </a:lnTo>
                  <a:lnTo>
                    <a:pt x="96139" y="73659"/>
                  </a:lnTo>
                  <a:lnTo>
                    <a:pt x="97028" y="73152"/>
                  </a:lnTo>
                  <a:lnTo>
                    <a:pt x="97535" y="72644"/>
                  </a:lnTo>
                  <a:lnTo>
                    <a:pt x="98170" y="72135"/>
                  </a:lnTo>
                  <a:lnTo>
                    <a:pt x="98805" y="71501"/>
                  </a:lnTo>
                  <a:lnTo>
                    <a:pt x="99314" y="70739"/>
                  </a:lnTo>
                  <a:lnTo>
                    <a:pt x="99948" y="69977"/>
                  </a:lnTo>
                  <a:lnTo>
                    <a:pt x="100456" y="69214"/>
                  </a:lnTo>
                  <a:lnTo>
                    <a:pt x="101600" y="67309"/>
                  </a:lnTo>
                  <a:lnTo>
                    <a:pt x="102743" y="65404"/>
                  </a:lnTo>
                  <a:lnTo>
                    <a:pt x="103885" y="63246"/>
                  </a:lnTo>
                  <a:lnTo>
                    <a:pt x="105029" y="60959"/>
                  </a:lnTo>
                  <a:lnTo>
                    <a:pt x="106044" y="58801"/>
                  </a:lnTo>
                  <a:lnTo>
                    <a:pt x="106933" y="56388"/>
                  </a:lnTo>
                  <a:lnTo>
                    <a:pt x="107822" y="54102"/>
                  </a:lnTo>
                  <a:lnTo>
                    <a:pt x="109601" y="49529"/>
                  </a:lnTo>
                  <a:lnTo>
                    <a:pt x="110997" y="45465"/>
                  </a:lnTo>
                  <a:lnTo>
                    <a:pt x="112014" y="42290"/>
                  </a:lnTo>
                  <a:close/>
                  <a:moveTo>
                    <a:pt x="-6107811" y="5077967"/>
                  </a:moveTo>
                  <a:moveTo>
                    <a:pt x="200405" y="80898"/>
                  </a:moveTo>
                  <a:lnTo>
                    <a:pt x="205105" y="74929"/>
                  </a:lnTo>
                  <a:lnTo>
                    <a:pt x="182753" y="46482"/>
                  </a:lnTo>
                  <a:lnTo>
                    <a:pt x="138303" y="46482"/>
                  </a:lnTo>
                  <a:lnTo>
                    <a:pt x="137921" y="46989"/>
                  </a:lnTo>
                  <a:lnTo>
                    <a:pt x="167131" y="89534"/>
                  </a:lnTo>
                  <a:lnTo>
                    <a:pt x="150114" y="107441"/>
                  </a:lnTo>
                  <a:lnTo>
                    <a:pt x="135255" y="107441"/>
                  </a:lnTo>
                  <a:lnTo>
                    <a:pt x="118744" y="86233"/>
                  </a:lnTo>
                  <a:lnTo>
                    <a:pt x="120015" y="82931"/>
                  </a:lnTo>
                  <a:lnTo>
                    <a:pt x="121030" y="79628"/>
                  </a:lnTo>
                  <a:lnTo>
                    <a:pt x="123063" y="73152"/>
                  </a:lnTo>
                  <a:lnTo>
                    <a:pt x="124587" y="68198"/>
                  </a:lnTo>
                  <a:lnTo>
                    <a:pt x="125221" y="66294"/>
                  </a:lnTo>
                  <a:lnTo>
                    <a:pt x="122428" y="66675"/>
                  </a:lnTo>
                  <a:lnTo>
                    <a:pt x="115569" y="67817"/>
                  </a:lnTo>
                  <a:lnTo>
                    <a:pt x="135255" y="42545"/>
                  </a:lnTo>
                  <a:lnTo>
                    <a:pt x="185928" y="42545"/>
                  </a:lnTo>
                  <a:lnTo>
                    <a:pt x="211201" y="74929"/>
                  </a:lnTo>
                  <a:lnTo>
                    <a:pt x="206502" y="80898"/>
                  </a:lnTo>
                  <a:lnTo>
                    <a:pt x="200405" y="80898"/>
                  </a:lnTo>
                  <a:close/>
                  <a:moveTo>
                    <a:pt x="-6146419" y="5077967"/>
                  </a:moveTo>
                  <a:moveTo>
                    <a:pt x="236728" y="84835"/>
                  </a:moveTo>
                  <a:lnTo>
                    <a:pt x="259080" y="131064"/>
                  </a:lnTo>
                  <a:lnTo>
                    <a:pt x="202692" y="192023"/>
                  </a:lnTo>
                  <a:lnTo>
                    <a:pt x="107695" y="192023"/>
                  </a:lnTo>
                  <a:lnTo>
                    <a:pt x="124968" y="140589"/>
                  </a:lnTo>
                  <a:lnTo>
                    <a:pt x="177927" y="84835"/>
                  </a:lnTo>
                  <a:lnTo>
                    <a:pt x="236728" y="84835"/>
                  </a:lnTo>
                  <a:close/>
                  <a:moveTo>
                    <a:pt x="-6150356" y="5077967"/>
                  </a:moveTo>
                  <a:moveTo>
                    <a:pt x="134239" y="144526"/>
                  </a:moveTo>
                  <a:lnTo>
                    <a:pt x="121030" y="184277"/>
                  </a:lnTo>
                  <a:lnTo>
                    <a:pt x="194944" y="184277"/>
                  </a:lnTo>
                  <a:lnTo>
                    <a:pt x="134239" y="144526"/>
                  </a:lnTo>
                  <a:close/>
                  <a:moveTo>
                    <a:pt x="-6210047" y="5077967"/>
                  </a:moveTo>
                  <a:moveTo>
                    <a:pt x="181737" y="142621"/>
                  </a:moveTo>
                  <a:lnTo>
                    <a:pt x="199643" y="181609"/>
                  </a:lnTo>
                  <a:lnTo>
                    <a:pt x="247522" y="129921"/>
                  </a:lnTo>
                  <a:lnTo>
                    <a:pt x="230378" y="94614"/>
                  </a:lnTo>
                  <a:lnTo>
                    <a:pt x="181737" y="142621"/>
                  </a:lnTo>
                  <a:close/>
                  <a:moveTo>
                    <a:pt x="-6208142" y="5077967"/>
                  </a:moveTo>
                  <a:moveTo>
                    <a:pt x="137921" y="140334"/>
                  </a:moveTo>
                  <a:lnTo>
                    <a:pt x="177418" y="140334"/>
                  </a:lnTo>
                  <a:lnTo>
                    <a:pt x="225932" y="92583"/>
                  </a:lnTo>
                  <a:lnTo>
                    <a:pt x="183388" y="92583"/>
                  </a:lnTo>
                  <a:lnTo>
                    <a:pt x="137921" y="140334"/>
                  </a:lnTo>
                  <a:close/>
                  <a:moveTo>
                    <a:pt x="-6205855" y="507796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83" name="Freeform 1483"/>
            <p:cNvSpPr/>
            <p:nvPr/>
          </p:nvSpPr>
          <p:spPr>
            <a:xfrm>
              <a:off x="11125630" y="1780891"/>
              <a:ext cx="140135" cy="134042"/>
            </a:xfrm>
            <a:custGeom>
              <a:avLst/>
              <a:gdLst/>
              <a:ahLst/>
              <a:cxnLst/>
              <a:rect l="0" t="0" r="0" b="0"/>
              <a:pathLst>
                <a:path w="140208" h="134112">
                  <a:moveTo>
                    <a:pt x="0" y="134112"/>
                  </a:moveTo>
                  <a:lnTo>
                    <a:pt x="140208" y="134112"/>
                  </a:lnTo>
                  <a:lnTo>
                    <a:pt x="140208" y="0"/>
                  </a:lnTo>
                  <a:lnTo>
                    <a:pt x="0" y="0"/>
                  </a:lnTo>
                  <a:lnTo>
                    <a:pt x="0" y="134112"/>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84" name="Freeform 1484"/>
            <p:cNvSpPr/>
            <p:nvPr/>
          </p:nvSpPr>
          <p:spPr>
            <a:xfrm>
              <a:off x="11134770" y="1844865"/>
              <a:ext cx="112717" cy="130996"/>
            </a:xfrm>
            <a:custGeom>
              <a:avLst/>
              <a:gdLst/>
              <a:ahLst/>
              <a:cxnLst/>
              <a:rect l="0" t="0" r="0" b="0"/>
              <a:pathLst>
                <a:path w="112776" h="131064">
                  <a:moveTo>
                    <a:pt x="0" y="131064"/>
                  </a:moveTo>
                  <a:lnTo>
                    <a:pt x="112776" y="131064"/>
                  </a:lnTo>
                  <a:lnTo>
                    <a:pt x="112776" y="0"/>
                  </a:lnTo>
                  <a:lnTo>
                    <a:pt x="0" y="0"/>
                  </a:lnTo>
                  <a:lnTo>
                    <a:pt x="0" y="13106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85" name="Freeform 1485"/>
            <p:cNvSpPr/>
            <p:nvPr/>
          </p:nvSpPr>
          <p:spPr>
            <a:xfrm>
              <a:off x="10875824" y="1823541"/>
              <a:ext cx="374710" cy="97486"/>
            </a:xfrm>
            <a:custGeom>
              <a:avLst/>
              <a:gdLst/>
              <a:ahLst/>
              <a:cxnLst/>
              <a:rect l="0" t="0" r="0" b="0"/>
              <a:pathLst>
                <a:path w="374905" h="97537">
                  <a:moveTo>
                    <a:pt x="369317" y="97537"/>
                  </a:moveTo>
                  <a:lnTo>
                    <a:pt x="5589" y="97537"/>
                  </a:lnTo>
                  <a:lnTo>
                    <a:pt x="3303" y="97537"/>
                  </a:lnTo>
                  <a:lnTo>
                    <a:pt x="2286" y="96775"/>
                  </a:lnTo>
                  <a:lnTo>
                    <a:pt x="1144" y="96012"/>
                  </a:lnTo>
                  <a:lnTo>
                    <a:pt x="0" y="94488"/>
                  </a:lnTo>
                  <a:lnTo>
                    <a:pt x="0" y="3811"/>
                  </a:lnTo>
                  <a:lnTo>
                    <a:pt x="1144" y="2287"/>
                  </a:lnTo>
                  <a:lnTo>
                    <a:pt x="2286" y="762"/>
                  </a:lnTo>
                  <a:lnTo>
                    <a:pt x="3303" y="0"/>
                  </a:lnTo>
                  <a:lnTo>
                    <a:pt x="5589" y="0"/>
                  </a:lnTo>
                  <a:lnTo>
                    <a:pt x="369317" y="0"/>
                  </a:lnTo>
                  <a:lnTo>
                    <a:pt x="371603" y="0"/>
                  </a:lnTo>
                  <a:lnTo>
                    <a:pt x="373761" y="762"/>
                  </a:lnTo>
                  <a:lnTo>
                    <a:pt x="374905" y="2287"/>
                  </a:lnTo>
                  <a:lnTo>
                    <a:pt x="374905" y="3811"/>
                  </a:lnTo>
                  <a:lnTo>
                    <a:pt x="374905" y="94488"/>
                  </a:lnTo>
                  <a:lnTo>
                    <a:pt x="374905" y="96012"/>
                  </a:lnTo>
                  <a:lnTo>
                    <a:pt x="373761" y="96775"/>
                  </a:lnTo>
                  <a:lnTo>
                    <a:pt x="371603" y="97537"/>
                  </a:lnTo>
                  <a:lnTo>
                    <a:pt x="369317" y="97537"/>
                  </a:lnTo>
                  <a:close/>
                  <a:moveTo>
                    <a:pt x="-5940552" y="5035296"/>
                  </a:moveTo>
                  <a:moveTo>
                    <a:pt x="10033" y="90679"/>
                  </a:moveTo>
                  <a:lnTo>
                    <a:pt x="364871" y="90679"/>
                  </a:lnTo>
                  <a:lnTo>
                    <a:pt x="364871" y="6858"/>
                  </a:lnTo>
                  <a:lnTo>
                    <a:pt x="10033" y="6858"/>
                  </a:lnTo>
                  <a:lnTo>
                    <a:pt x="10033" y="90679"/>
                  </a:lnTo>
                  <a:close/>
                  <a:moveTo>
                    <a:pt x="-5933694" y="5035296"/>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86" name="Freeform 1486"/>
            <p:cNvSpPr/>
            <p:nvPr/>
          </p:nvSpPr>
          <p:spPr>
            <a:xfrm>
              <a:off x="10875823" y="1896655"/>
              <a:ext cx="298550" cy="24372"/>
            </a:xfrm>
            <a:custGeom>
              <a:avLst/>
              <a:gdLst/>
              <a:ahLst/>
              <a:cxnLst/>
              <a:rect l="0" t="0" r="0" b="0"/>
              <a:pathLst>
                <a:path w="298705" h="24385">
                  <a:moveTo>
                    <a:pt x="294259" y="24385"/>
                  </a:moveTo>
                  <a:lnTo>
                    <a:pt x="5589" y="24385"/>
                  </a:lnTo>
                  <a:lnTo>
                    <a:pt x="3303" y="24385"/>
                  </a:lnTo>
                  <a:lnTo>
                    <a:pt x="2286" y="23623"/>
                  </a:lnTo>
                  <a:lnTo>
                    <a:pt x="1144" y="22860"/>
                  </a:lnTo>
                  <a:lnTo>
                    <a:pt x="0" y="21464"/>
                  </a:lnTo>
                  <a:lnTo>
                    <a:pt x="0" y="3684"/>
                  </a:lnTo>
                  <a:lnTo>
                    <a:pt x="1144" y="2160"/>
                  </a:lnTo>
                  <a:lnTo>
                    <a:pt x="2286" y="1524"/>
                  </a:lnTo>
                  <a:lnTo>
                    <a:pt x="3303" y="762"/>
                  </a:lnTo>
                  <a:lnTo>
                    <a:pt x="5589" y="0"/>
                  </a:lnTo>
                  <a:lnTo>
                    <a:pt x="294259" y="0"/>
                  </a:lnTo>
                  <a:lnTo>
                    <a:pt x="296419" y="762"/>
                  </a:lnTo>
                  <a:lnTo>
                    <a:pt x="297561" y="1524"/>
                  </a:lnTo>
                  <a:lnTo>
                    <a:pt x="298705" y="2160"/>
                  </a:lnTo>
                  <a:lnTo>
                    <a:pt x="298705" y="3684"/>
                  </a:lnTo>
                  <a:lnTo>
                    <a:pt x="298705" y="21464"/>
                  </a:lnTo>
                  <a:lnTo>
                    <a:pt x="298705" y="22860"/>
                  </a:lnTo>
                  <a:lnTo>
                    <a:pt x="297561" y="23623"/>
                  </a:lnTo>
                  <a:lnTo>
                    <a:pt x="296419" y="24385"/>
                  </a:lnTo>
                  <a:lnTo>
                    <a:pt x="294259" y="24385"/>
                  </a:lnTo>
                  <a:close/>
                  <a:moveTo>
                    <a:pt x="-5940552" y="4962144"/>
                  </a:moveTo>
                  <a:moveTo>
                    <a:pt x="10033" y="17780"/>
                  </a:moveTo>
                  <a:lnTo>
                    <a:pt x="288671" y="17780"/>
                  </a:lnTo>
                  <a:lnTo>
                    <a:pt x="288671" y="6604"/>
                  </a:lnTo>
                  <a:lnTo>
                    <a:pt x="10033" y="6604"/>
                  </a:lnTo>
                  <a:lnTo>
                    <a:pt x="10033" y="17780"/>
                  </a:lnTo>
                  <a:close/>
                  <a:moveTo>
                    <a:pt x="-5933947" y="4962144"/>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87" name="Freeform 1487"/>
            <p:cNvSpPr/>
            <p:nvPr/>
          </p:nvSpPr>
          <p:spPr>
            <a:xfrm>
              <a:off x="10848408" y="1914934"/>
              <a:ext cx="429543" cy="21324"/>
            </a:xfrm>
            <a:custGeom>
              <a:avLst/>
              <a:gdLst/>
              <a:ahLst/>
              <a:cxnLst/>
              <a:rect l="0" t="0" r="0" b="0"/>
              <a:pathLst>
                <a:path w="429767" h="21335">
                  <a:moveTo>
                    <a:pt x="424179" y="21335"/>
                  </a:moveTo>
                  <a:lnTo>
                    <a:pt x="424179" y="21335"/>
                  </a:lnTo>
                  <a:lnTo>
                    <a:pt x="423163" y="20573"/>
                  </a:lnTo>
                  <a:lnTo>
                    <a:pt x="420877" y="19939"/>
                  </a:lnTo>
                  <a:lnTo>
                    <a:pt x="419735" y="19177"/>
                  </a:lnTo>
                  <a:lnTo>
                    <a:pt x="419735" y="17779"/>
                  </a:lnTo>
                  <a:lnTo>
                    <a:pt x="419735" y="6350"/>
                  </a:lnTo>
                  <a:lnTo>
                    <a:pt x="10033" y="6350"/>
                  </a:lnTo>
                  <a:lnTo>
                    <a:pt x="10033" y="17779"/>
                  </a:lnTo>
                  <a:lnTo>
                    <a:pt x="8889" y="19177"/>
                  </a:lnTo>
                  <a:lnTo>
                    <a:pt x="7747" y="19939"/>
                  </a:lnTo>
                  <a:lnTo>
                    <a:pt x="6603" y="20573"/>
                  </a:lnTo>
                  <a:lnTo>
                    <a:pt x="4445" y="21335"/>
                  </a:lnTo>
                  <a:lnTo>
                    <a:pt x="2159" y="20573"/>
                  </a:lnTo>
                  <a:lnTo>
                    <a:pt x="1142" y="19939"/>
                  </a:lnTo>
                  <a:lnTo>
                    <a:pt x="0" y="19177"/>
                  </a:lnTo>
                  <a:lnTo>
                    <a:pt x="0" y="17779"/>
                  </a:lnTo>
                  <a:lnTo>
                    <a:pt x="0" y="3555"/>
                  </a:lnTo>
                  <a:lnTo>
                    <a:pt x="0" y="2159"/>
                  </a:lnTo>
                  <a:lnTo>
                    <a:pt x="1142" y="1396"/>
                  </a:lnTo>
                  <a:lnTo>
                    <a:pt x="2159" y="761"/>
                  </a:lnTo>
                  <a:lnTo>
                    <a:pt x="4445" y="0"/>
                  </a:lnTo>
                  <a:lnTo>
                    <a:pt x="424179" y="0"/>
                  </a:lnTo>
                  <a:lnTo>
                    <a:pt x="426465" y="761"/>
                  </a:lnTo>
                  <a:lnTo>
                    <a:pt x="428625" y="1396"/>
                  </a:lnTo>
                  <a:lnTo>
                    <a:pt x="429767" y="2159"/>
                  </a:lnTo>
                  <a:lnTo>
                    <a:pt x="429767" y="3555"/>
                  </a:lnTo>
                  <a:lnTo>
                    <a:pt x="429767" y="17779"/>
                  </a:lnTo>
                  <a:lnTo>
                    <a:pt x="429767" y="19177"/>
                  </a:lnTo>
                  <a:lnTo>
                    <a:pt x="428625" y="19939"/>
                  </a:lnTo>
                  <a:lnTo>
                    <a:pt x="426465" y="20573"/>
                  </a:lnTo>
                  <a:lnTo>
                    <a:pt x="424179" y="21335"/>
                  </a:lnTo>
                  <a:close/>
                  <a:moveTo>
                    <a:pt x="-5928360" y="4943855"/>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88" name="Freeform 1488"/>
            <p:cNvSpPr/>
            <p:nvPr/>
          </p:nvSpPr>
          <p:spPr>
            <a:xfrm>
              <a:off x="10894103" y="1841820"/>
              <a:ext cx="79206" cy="60929"/>
            </a:xfrm>
            <a:custGeom>
              <a:avLst/>
              <a:gdLst/>
              <a:ahLst/>
              <a:cxnLst/>
              <a:rect l="0" t="0" r="0" b="0"/>
              <a:pathLst>
                <a:path w="79247" h="60961">
                  <a:moveTo>
                    <a:pt x="73786" y="60961"/>
                  </a:moveTo>
                  <a:lnTo>
                    <a:pt x="5460" y="60961"/>
                  </a:lnTo>
                  <a:lnTo>
                    <a:pt x="3302" y="60961"/>
                  </a:lnTo>
                  <a:lnTo>
                    <a:pt x="2158" y="60199"/>
                  </a:lnTo>
                  <a:lnTo>
                    <a:pt x="1143" y="59437"/>
                  </a:lnTo>
                  <a:lnTo>
                    <a:pt x="0" y="57786"/>
                  </a:lnTo>
                  <a:lnTo>
                    <a:pt x="0" y="3175"/>
                  </a:lnTo>
                  <a:lnTo>
                    <a:pt x="1143" y="1524"/>
                  </a:lnTo>
                  <a:lnTo>
                    <a:pt x="2158" y="762"/>
                  </a:lnTo>
                  <a:lnTo>
                    <a:pt x="3302" y="0"/>
                  </a:lnTo>
                  <a:lnTo>
                    <a:pt x="5460" y="0"/>
                  </a:lnTo>
                  <a:lnTo>
                    <a:pt x="73786" y="0"/>
                  </a:lnTo>
                  <a:lnTo>
                    <a:pt x="75945" y="0"/>
                  </a:lnTo>
                  <a:lnTo>
                    <a:pt x="77089" y="762"/>
                  </a:lnTo>
                  <a:lnTo>
                    <a:pt x="78105" y="1524"/>
                  </a:lnTo>
                  <a:lnTo>
                    <a:pt x="79247" y="3175"/>
                  </a:lnTo>
                  <a:lnTo>
                    <a:pt x="79247" y="57786"/>
                  </a:lnTo>
                  <a:lnTo>
                    <a:pt x="78105" y="59437"/>
                  </a:lnTo>
                  <a:lnTo>
                    <a:pt x="77089" y="60199"/>
                  </a:lnTo>
                  <a:lnTo>
                    <a:pt x="75945" y="60961"/>
                  </a:lnTo>
                  <a:lnTo>
                    <a:pt x="73786" y="60961"/>
                  </a:lnTo>
                  <a:close/>
                  <a:moveTo>
                    <a:pt x="-5940553" y="5017008"/>
                  </a:moveTo>
                  <a:moveTo>
                    <a:pt x="9906" y="53849"/>
                  </a:moveTo>
                  <a:lnTo>
                    <a:pt x="69342" y="53849"/>
                  </a:lnTo>
                  <a:lnTo>
                    <a:pt x="69342" y="7112"/>
                  </a:lnTo>
                  <a:lnTo>
                    <a:pt x="9906" y="7112"/>
                  </a:lnTo>
                  <a:lnTo>
                    <a:pt x="9906" y="53849"/>
                  </a:lnTo>
                  <a:close/>
                  <a:moveTo>
                    <a:pt x="-5933441" y="501700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89" name="Freeform 1489"/>
            <p:cNvSpPr/>
            <p:nvPr/>
          </p:nvSpPr>
          <p:spPr>
            <a:xfrm>
              <a:off x="10985496" y="1841820"/>
              <a:ext cx="79207" cy="60929"/>
            </a:xfrm>
            <a:custGeom>
              <a:avLst/>
              <a:gdLst/>
              <a:ahLst/>
              <a:cxnLst/>
              <a:rect l="0" t="0" r="0" b="0"/>
              <a:pathLst>
                <a:path w="79248" h="60961">
                  <a:moveTo>
                    <a:pt x="74803" y="60961"/>
                  </a:moveTo>
                  <a:lnTo>
                    <a:pt x="4444" y="60961"/>
                  </a:lnTo>
                  <a:lnTo>
                    <a:pt x="3302" y="60961"/>
                  </a:lnTo>
                  <a:lnTo>
                    <a:pt x="1142" y="60199"/>
                  </a:lnTo>
                  <a:lnTo>
                    <a:pt x="0" y="59437"/>
                  </a:lnTo>
                  <a:lnTo>
                    <a:pt x="0" y="57786"/>
                  </a:lnTo>
                  <a:lnTo>
                    <a:pt x="0" y="3175"/>
                  </a:lnTo>
                  <a:lnTo>
                    <a:pt x="0" y="1524"/>
                  </a:lnTo>
                  <a:lnTo>
                    <a:pt x="1142" y="762"/>
                  </a:lnTo>
                  <a:lnTo>
                    <a:pt x="3302" y="0"/>
                  </a:lnTo>
                  <a:lnTo>
                    <a:pt x="4444" y="0"/>
                  </a:lnTo>
                  <a:lnTo>
                    <a:pt x="74803" y="0"/>
                  </a:lnTo>
                  <a:lnTo>
                    <a:pt x="76962" y="0"/>
                  </a:lnTo>
                  <a:lnTo>
                    <a:pt x="78104" y="762"/>
                  </a:lnTo>
                  <a:lnTo>
                    <a:pt x="79248" y="1524"/>
                  </a:lnTo>
                  <a:lnTo>
                    <a:pt x="79248" y="3175"/>
                  </a:lnTo>
                  <a:lnTo>
                    <a:pt x="79248" y="57786"/>
                  </a:lnTo>
                  <a:lnTo>
                    <a:pt x="79248" y="59437"/>
                  </a:lnTo>
                  <a:lnTo>
                    <a:pt x="78104" y="60199"/>
                  </a:lnTo>
                  <a:lnTo>
                    <a:pt x="76962" y="60961"/>
                  </a:lnTo>
                  <a:lnTo>
                    <a:pt x="74803" y="60961"/>
                  </a:lnTo>
                  <a:close/>
                  <a:moveTo>
                    <a:pt x="-6031993" y="5017008"/>
                  </a:moveTo>
                  <a:moveTo>
                    <a:pt x="10032" y="53849"/>
                  </a:moveTo>
                  <a:lnTo>
                    <a:pt x="69215" y="53849"/>
                  </a:lnTo>
                  <a:lnTo>
                    <a:pt x="69215" y="7112"/>
                  </a:lnTo>
                  <a:lnTo>
                    <a:pt x="10032" y="7112"/>
                  </a:lnTo>
                  <a:lnTo>
                    <a:pt x="10032" y="53849"/>
                  </a:lnTo>
                  <a:close/>
                  <a:moveTo>
                    <a:pt x="-6024881" y="501700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90" name="Freeform 1490"/>
            <p:cNvSpPr/>
            <p:nvPr/>
          </p:nvSpPr>
          <p:spPr>
            <a:xfrm>
              <a:off x="11073840" y="1841820"/>
              <a:ext cx="79208" cy="60929"/>
            </a:xfrm>
            <a:custGeom>
              <a:avLst/>
              <a:gdLst/>
              <a:ahLst/>
              <a:cxnLst/>
              <a:rect l="0" t="0" r="0" b="0"/>
              <a:pathLst>
                <a:path w="79249" h="60961">
                  <a:moveTo>
                    <a:pt x="73787" y="60961"/>
                  </a:moveTo>
                  <a:lnTo>
                    <a:pt x="5462" y="60961"/>
                  </a:lnTo>
                  <a:lnTo>
                    <a:pt x="3302" y="60961"/>
                  </a:lnTo>
                  <a:lnTo>
                    <a:pt x="2160" y="60199"/>
                  </a:lnTo>
                  <a:lnTo>
                    <a:pt x="1144" y="59437"/>
                  </a:lnTo>
                  <a:lnTo>
                    <a:pt x="0" y="57786"/>
                  </a:lnTo>
                  <a:lnTo>
                    <a:pt x="0" y="3175"/>
                  </a:lnTo>
                  <a:lnTo>
                    <a:pt x="1144" y="1524"/>
                  </a:lnTo>
                  <a:lnTo>
                    <a:pt x="2160" y="762"/>
                  </a:lnTo>
                  <a:lnTo>
                    <a:pt x="3302" y="0"/>
                  </a:lnTo>
                  <a:lnTo>
                    <a:pt x="5462" y="0"/>
                  </a:lnTo>
                  <a:lnTo>
                    <a:pt x="73787" y="0"/>
                  </a:lnTo>
                  <a:lnTo>
                    <a:pt x="75947" y="0"/>
                  </a:lnTo>
                  <a:lnTo>
                    <a:pt x="77089" y="762"/>
                  </a:lnTo>
                  <a:lnTo>
                    <a:pt x="78105" y="1524"/>
                  </a:lnTo>
                  <a:lnTo>
                    <a:pt x="79249" y="3175"/>
                  </a:lnTo>
                  <a:lnTo>
                    <a:pt x="79249" y="57786"/>
                  </a:lnTo>
                  <a:lnTo>
                    <a:pt x="78105" y="59437"/>
                  </a:lnTo>
                  <a:lnTo>
                    <a:pt x="77089" y="60199"/>
                  </a:lnTo>
                  <a:lnTo>
                    <a:pt x="75947" y="60961"/>
                  </a:lnTo>
                  <a:lnTo>
                    <a:pt x="73787" y="60961"/>
                  </a:lnTo>
                  <a:close/>
                  <a:moveTo>
                    <a:pt x="-6120384" y="5017008"/>
                  </a:moveTo>
                  <a:moveTo>
                    <a:pt x="9907" y="53849"/>
                  </a:moveTo>
                  <a:lnTo>
                    <a:pt x="69342" y="53849"/>
                  </a:lnTo>
                  <a:lnTo>
                    <a:pt x="69342" y="7112"/>
                  </a:lnTo>
                  <a:lnTo>
                    <a:pt x="9907" y="7112"/>
                  </a:lnTo>
                  <a:lnTo>
                    <a:pt x="9907" y="53849"/>
                  </a:lnTo>
                  <a:close/>
                  <a:moveTo>
                    <a:pt x="-6113272" y="501700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91" name="Freeform 1491"/>
            <p:cNvSpPr/>
            <p:nvPr/>
          </p:nvSpPr>
          <p:spPr>
            <a:xfrm>
              <a:off x="10930660" y="1857052"/>
              <a:ext cx="9138" cy="45696"/>
            </a:xfrm>
            <a:custGeom>
              <a:avLst/>
              <a:gdLst/>
              <a:ahLst/>
              <a:cxnLst/>
              <a:rect l="0" t="0" r="0" b="0"/>
              <a:pathLst>
                <a:path w="9143" h="45720">
                  <a:moveTo>
                    <a:pt x="4064" y="45720"/>
                  </a:moveTo>
                  <a:lnTo>
                    <a:pt x="4064" y="45720"/>
                  </a:lnTo>
                  <a:lnTo>
                    <a:pt x="2031" y="45720"/>
                  </a:lnTo>
                  <a:lnTo>
                    <a:pt x="1016" y="44958"/>
                  </a:lnTo>
                  <a:lnTo>
                    <a:pt x="0" y="44196"/>
                  </a:lnTo>
                  <a:lnTo>
                    <a:pt x="0" y="42671"/>
                  </a:lnTo>
                  <a:lnTo>
                    <a:pt x="0" y="3047"/>
                  </a:lnTo>
                  <a:lnTo>
                    <a:pt x="0" y="1523"/>
                  </a:lnTo>
                  <a:lnTo>
                    <a:pt x="1016" y="762"/>
                  </a:lnTo>
                  <a:lnTo>
                    <a:pt x="2031" y="0"/>
                  </a:lnTo>
                  <a:lnTo>
                    <a:pt x="4064" y="0"/>
                  </a:lnTo>
                  <a:lnTo>
                    <a:pt x="6095" y="0"/>
                  </a:lnTo>
                  <a:lnTo>
                    <a:pt x="7112" y="762"/>
                  </a:lnTo>
                  <a:lnTo>
                    <a:pt x="8128" y="1523"/>
                  </a:lnTo>
                  <a:lnTo>
                    <a:pt x="9143" y="3047"/>
                  </a:lnTo>
                  <a:lnTo>
                    <a:pt x="9143" y="42671"/>
                  </a:lnTo>
                  <a:lnTo>
                    <a:pt x="8128" y="44196"/>
                  </a:lnTo>
                  <a:lnTo>
                    <a:pt x="7112" y="44958"/>
                  </a:lnTo>
                  <a:lnTo>
                    <a:pt x="6095" y="45720"/>
                  </a:lnTo>
                  <a:lnTo>
                    <a:pt x="4064" y="45720"/>
                  </a:lnTo>
                  <a:close/>
                  <a:moveTo>
                    <a:pt x="-5977129" y="500176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92" name="Freeform 1492"/>
            <p:cNvSpPr/>
            <p:nvPr/>
          </p:nvSpPr>
          <p:spPr>
            <a:xfrm>
              <a:off x="10897148" y="1857053"/>
              <a:ext cx="76160" cy="6093"/>
            </a:xfrm>
            <a:custGeom>
              <a:avLst/>
              <a:gdLst/>
              <a:ahLst/>
              <a:cxnLst/>
              <a:rect l="0" t="0" r="0" b="0"/>
              <a:pathLst>
                <a:path w="76200" h="6096">
                  <a:moveTo>
                    <a:pt x="71629" y="6096"/>
                  </a:moveTo>
                  <a:lnTo>
                    <a:pt x="5716" y="6096"/>
                  </a:lnTo>
                  <a:lnTo>
                    <a:pt x="3430" y="6096"/>
                  </a:lnTo>
                  <a:lnTo>
                    <a:pt x="1144" y="5460"/>
                  </a:lnTo>
                  <a:lnTo>
                    <a:pt x="0" y="4064"/>
                  </a:lnTo>
                  <a:lnTo>
                    <a:pt x="0" y="3428"/>
                  </a:lnTo>
                  <a:lnTo>
                    <a:pt x="0" y="2032"/>
                  </a:lnTo>
                  <a:lnTo>
                    <a:pt x="1144" y="634"/>
                  </a:lnTo>
                  <a:lnTo>
                    <a:pt x="3430" y="0"/>
                  </a:lnTo>
                  <a:lnTo>
                    <a:pt x="5716" y="0"/>
                  </a:lnTo>
                  <a:lnTo>
                    <a:pt x="71629" y="0"/>
                  </a:lnTo>
                  <a:lnTo>
                    <a:pt x="72771" y="0"/>
                  </a:lnTo>
                  <a:lnTo>
                    <a:pt x="75058" y="634"/>
                  </a:lnTo>
                  <a:lnTo>
                    <a:pt x="76200" y="2032"/>
                  </a:lnTo>
                  <a:lnTo>
                    <a:pt x="76200" y="3428"/>
                  </a:lnTo>
                  <a:lnTo>
                    <a:pt x="76200" y="4064"/>
                  </a:lnTo>
                  <a:lnTo>
                    <a:pt x="75058" y="5460"/>
                  </a:lnTo>
                  <a:lnTo>
                    <a:pt x="72771" y="6096"/>
                  </a:lnTo>
                  <a:lnTo>
                    <a:pt x="71629" y="6096"/>
                  </a:lnTo>
                  <a:close/>
                  <a:moveTo>
                    <a:pt x="-5903976" y="500176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93" name="Freeform 1493"/>
            <p:cNvSpPr/>
            <p:nvPr/>
          </p:nvSpPr>
          <p:spPr>
            <a:xfrm>
              <a:off x="11019006" y="1857052"/>
              <a:ext cx="9138" cy="45696"/>
            </a:xfrm>
            <a:custGeom>
              <a:avLst/>
              <a:gdLst/>
              <a:ahLst/>
              <a:cxnLst/>
              <a:rect l="0" t="0" r="0" b="0"/>
              <a:pathLst>
                <a:path w="9143" h="45720">
                  <a:moveTo>
                    <a:pt x="5079" y="45720"/>
                  </a:moveTo>
                  <a:lnTo>
                    <a:pt x="5079" y="45720"/>
                  </a:lnTo>
                  <a:lnTo>
                    <a:pt x="3048" y="45720"/>
                  </a:lnTo>
                  <a:lnTo>
                    <a:pt x="1015" y="44958"/>
                  </a:lnTo>
                  <a:lnTo>
                    <a:pt x="0" y="44196"/>
                  </a:lnTo>
                  <a:lnTo>
                    <a:pt x="0" y="42671"/>
                  </a:lnTo>
                  <a:lnTo>
                    <a:pt x="0" y="3047"/>
                  </a:lnTo>
                  <a:lnTo>
                    <a:pt x="0" y="1523"/>
                  </a:lnTo>
                  <a:lnTo>
                    <a:pt x="1015" y="762"/>
                  </a:lnTo>
                  <a:lnTo>
                    <a:pt x="3048" y="0"/>
                  </a:lnTo>
                  <a:lnTo>
                    <a:pt x="5079" y="0"/>
                  </a:lnTo>
                  <a:lnTo>
                    <a:pt x="6096" y="0"/>
                  </a:lnTo>
                  <a:lnTo>
                    <a:pt x="8127" y="762"/>
                  </a:lnTo>
                  <a:lnTo>
                    <a:pt x="9143" y="1523"/>
                  </a:lnTo>
                  <a:lnTo>
                    <a:pt x="9143" y="3047"/>
                  </a:lnTo>
                  <a:lnTo>
                    <a:pt x="9143" y="42671"/>
                  </a:lnTo>
                  <a:lnTo>
                    <a:pt x="9143" y="44196"/>
                  </a:lnTo>
                  <a:lnTo>
                    <a:pt x="8127" y="44958"/>
                  </a:lnTo>
                  <a:lnTo>
                    <a:pt x="6096" y="45720"/>
                  </a:lnTo>
                  <a:lnTo>
                    <a:pt x="5079" y="45720"/>
                  </a:lnTo>
                  <a:close/>
                  <a:moveTo>
                    <a:pt x="-6065521" y="500176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94" name="Freeform 1494"/>
            <p:cNvSpPr/>
            <p:nvPr/>
          </p:nvSpPr>
          <p:spPr>
            <a:xfrm>
              <a:off x="10988541" y="1857053"/>
              <a:ext cx="73114" cy="6093"/>
            </a:xfrm>
            <a:custGeom>
              <a:avLst/>
              <a:gdLst/>
              <a:ahLst/>
              <a:cxnLst/>
              <a:rect l="0" t="0" r="0" b="0"/>
              <a:pathLst>
                <a:path w="73152" h="6096">
                  <a:moveTo>
                    <a:pt x="67564" y="6096"/>
                  </a:moveTo>
                  <a:lnTo>
                    <a:pt x="4444" y="6096"/>
                  </a:lnTo>
                  <a:lnTo>
                    <a:pt x="2158" y="6096"/>
                  </a:lnTo>
                  <a:lnTo>
                    <a:pt x="1143" y="5460"/>
                  </a:lnTo>
                  <a:lnTo>
                    <a:pt x="0" y="4064"/>
                  </a:lnTo>
                  <a:lnTo>
                    <a:pt x="0" y="3428"/>
                  </a:lnTo>
                  <a:lnTo>
                    <a:pt x="0" y="2032"/>
                  </a:lnTo>
                  <a:lnTo>
                    <a:pt x="1143" y="634"/>
                  </a:lnTo>
                  <a:lnTo>
                    <a:pt x="2158" y="0"/>
                  </a:lnTo>
                  <a:lnTo>
                    <a:pt x="4444" y="0"/>
                  </a:lnTo>
                  <a:lnTo>
                    <a:pt x="67564" y="0"/>
                  </a:lnTo>
                  <a:lnTo>
                    <a:pt x="69850" y="0"/>
                  </a:lnTo>
                  <a:lnTo>
                    <a:pt x="70993" y="634"/>
                  </a:lnTo>
                  <a:lnTo>
                    <a:pt x="72008" y="2032"/>
                  </a:lnTo>
                  <a:lnTo>
                    <a:pt x="73152" y="3428"/>
                  </a:lnTo>
                  <a:lnTo>
                    <a:pt x="72008" y="4064"/>
                  </a:lnTo>
                  <a:lnTo>
                    <a:pt x="70993" y="5460"/>
                  </a:lnTo>
                  <a:lnTo>
                    <a:pt x="69850" y="6096"/>
                  </a:lnTo>
                  <a:lnTo>
                    <a:pt x="67564" y="6096"/>
                  </a:lnTo>
                  <a:close/>
                  <a:moveTo>
                    <a:pt x="-5995417" y="500176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95" name="Freeform 1495"/>
            <p:cNvSpPr/>
            <p:nvPr/>
          </p:nvSpPr>
          <p:spPr>
            <a:xfrm>
              <a:off x="11107351" y="1857052"/>
              <a:ext cx="9140" cy="45696"/>
            </a:xfrm>
            <a:custGeom>
              <a:avLst/>
              <a:gdLst/>
              <a:ahLst/>
              <a:cxnLst/>
              <a:rect l="0" t="0" r="0" b="0"/>
              <a:pathLst>
                <a:path w="9145" h="45720">
                  <a:moveTo>
                    <a:pt x="5081" y="45720"/>
                  </a:moveTo>
                  <a:lnTo>
                    <a:pt x="5081" y="45720"/>
                  </a:lnTo>
                  <a:lnTo>
                    <a:pt x="3048" y="45720"/>
                  </a:lnTo>
                  <a:lnTo>
                    <a:pt x="2033" y="44958"/>
                  </a:lnTo>
                  <a:lnTo>
                    <a:pt x="1017" y="44196"/>
                  </a:lnTo>
                  <a:lnTo>
                    <a:pt x="0" y="42671"/>
                  </a:lnTo>
                  <a:lnTo>
                    <a:pt x="0" y="3047"/>
                  </a:lnTo>
                  <a:lnTo>
                    <a:pt x="1017" y="1523"/>
                  </a:lnTo>
                  <a:lnTo>
                    <a:pt x="2033" y="762"/>
                  </a:lnTo>
                  <a:lnTo>
                    <a:pt x="3048" y="0"/>
                  </a:lnTo>
                  <a:lnTo>
                    <a:pt x="5081" y="0"/>
                  </a:lnTo>
                  <a:lnTo>
                    <a:pt x="6097" y="0"/>
                  </a:lnTo>
                  <a:lnTo>
                    <a:pt x="8129" y="762"/>
                  </a:lnTo>
                  <a:lnTo>
                    <a:pt x="9145" y="1523"/>
                  </a:lnTo>
                  <a:lnTo>
                    <a:pt x="9145" y="3047"/>
                  </a:lnTo>
                  <a:lnTo>
                    <a:pt x="9145" y="42671"/>
                  </a:lnTo>
                  <a:lnTo>
                    <a:pt x="9145" y="44196"/>
                  </a:lnTo>
                  <a:lnTo>
                    <a:pt x="8129" y="44958"/>
                  </a:lnTo>
                  <a:lnTo>
                    <a:pt x="6097" y="45720"/>
                  </a:lnTo>
                  <a:lnTo>
                    <a:pt x="5081" y="45720"/>
                  </a:lnTo>
                  <a:close/>
                  <a:moveTo>
                    <a:pt x="-6153912" y="500176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96" name="Freeform 1496"/>
            <p:cNvSpPr/>
            <p:nvPr/>
          </p:nvSpPr>
          <p:spPr>
            <a:xfrm>
              <a:off x="11076889" y="1857053"/>
              <a:ext cx="73113" cy="6093"/>
            </a:xfrm>
            <a:custGeom>
              <a:avLst/>
              <a:gdLst/>
              <a:ahLst/>
              <a:cxnLst/>
              <a:rect l="0" t="0" r="0" b="0"/>
              <a:pathLst>
                <a:path w="73151" h="6096">
                  <a:moveTo>
                    <a:pt x="67563" y="6096"/>
                  </a:moveTo>
                  <a:lnTo>
                    <a:pt x="4445" y="6096"/>
                  </a:lnTo>
                  <a:lnTo>
                    <a:pt x="2159" y="6096"/>
                  </a:lnTo>
                  <a:lnTo>
                    <a:pt x="1142" y="5460"/>
                  </a:lnTo>
                  <a:lnTo>
                    <a:pt x="0" y="4064"/>
                  </a:lnTo>
                  <a:lnTo>
                    <a:pt x="0" y="3428"/>
                  </a:lnTo>
                  <a:lnTo>
                    <a:pt x="0" y="2032"/>
                  </a:lnTo>
                  <a:lnTo>
                    <a:pt x="1142" y="634"/>
                  </a:lnTo>
                  <a:lnTo>
                    <a:pt x="2159" y="0"/>
                  </a:lnTo>
                  <a:lnTo>
                    <a:pt x="4445" y="0"/>
                  </a:lnTo>
                  <a:lnTo>
                    <a:pt x="67563" y="0"/>
                  </a:lnTo>
                  <a:lnTo>
                    <a:pt x="69850" y="0"/>
                  </a:lnTo>
                  <a:lnTo>
                    <a:pt x="70992" y="634"/>
                  </a:lnTo>
                  <a:lnTo>
                    <a:pt x="72009" y="2032"/>
                  </a:lnTo>
                  <a:lnTo>
                    <a:pt x="73151" y="3428"/>
                  </a:lnTo>
                  <a:lnTo>
                    <a:pt x="72009" y="4064"/>
                  </a:lnTo>
                  <a:lnTo>
                    <a:pt x="70992" y="5460"/>
                  </a:lnTo>
                  <a:lnTo>
                    <a:pt x="69850" y="6096"/>
                  </a:lnTo>
                  <a:lnTo>
                    <a:pt x="67563" y="6096"/>
                  </a:lnTo>
                  <a:close/>
                  <a:moveTo>
                    <a:pt x="-6083809" y="500176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97" name="Freeform 1497"/>
            <p:cNvSpPr/>
            <p:nvPr/>
          </p:nvSpPr>
          <p:spPr>
            <a:xfrm>
              <a:off x="10894103" y="1677313"/>
              <a:ext cx="79206" cy="152321"/>
            </a:xfrm>
            <a:custGeom>
              <a:avLst/>
              <a:gdLst/>
              <a:ahLst/>
              <a:cxnLst/>
              <a:rect l="0" t="0" r="0" b="0"/>
              <a:pathLst>
                <a:path w="79247" h="152400">
                  <a:moveTo>
                    <a:pt x="73786" y="152400"/>
                  </a:moveTo>
                  <a:lnTo>
                    <a:pt x="5460" y="152400"/>
                  </a:lnTo>
                  <a:lnTo>
                    <a:pt x="3302" y="152400"/>
                  </a:lnTo>
                  <a:lnTo>
                    <a:pt x="2158" y="151639"/>
                  </a:lnTo>
                  <a:lnTo>
                    <a:pt x="1143" y="150115"/>
                  </a:lnTo>
                  <a:lnTo>
                    <a:pt x="0" y="148591"/>
                  </a:lnTo>
                  <a:lnTo>
                    <a:pt x="9906" y="3048"/>
                  </a:lnTo>
                  <a:lnTo>
                    <a:pt x="11048" y="2286"/>
                  </a:lnTo>
                  <a:lnTo>
                    <a:pt x="12065" y="762"/>
                  </a:lnTo>
                  <a:lnTo>
                    <a:pt x="13207" y="762"/>
                  </a:lnTo>
                  <a:lnTo>
                    <a:pt x="15367" y="0"/>
                  </a:lnTo>
                  <a:lnTo>
                    <a:pt x="54991" y="0"/>
                  </a:lnTo>
                  <a:lnTo>
                    <a:pt x="56133" y="762"/>
                  </a:lnTo>
                  <a:lnTo>
                    <a:pt x="58293" y="762"/>
                  </a:lnTo>
                  <a:lnTo>
                    <a:pt x="59435" y="2286"/>
                  </a:lnTo>
                  <a:lnTo>
                    <a:pt x="59435" y="3048"/>
                  </a:lnTo>
                  <a:lnTo>
                    <a:pt x="79247" y="148591"/>
                  </a:lnTo>
                  <a:lnTo>
                    <a:pt x="79247" y="150115"/>
                  </a:lnTo>
                  <a:lnTo>
                    <a:pt x="78105" y="151639"/>
                  </a:lnTo>
                  <a:lnTo>
                    <a:pt x="75945" y="152400"/>
                  </a:lnTo>
                  <a:lnTo>
                    <a:pt x="73786" y="152400"/>
                  </a:lnTo>
                  <a:close/>
                  <a:moveTo>
                    <a:pt x="-5867400" y="5181600"/>
                  </a:moveTo>
                  <a:moveTo>
                    <a:pt x="11048" y="145416"/>
                  </a:moveTo>
                  <a:lnTo>
                    <a:pt x="68198" y="145416"/>
                  </a:lnTo>
                  <a:lnTo>
                    <a:pt x="50672" y="6985"/>
                  </a:lnTo>
                  <a:lnTo>
                    <a:pt x="19811" y="6985"/>
                  </a:lnTo>
                  <a:lnTo>
                    <a:pt x="11048" y="145416"/>
                  </a:lnTo>
                  <a:close/>
                  <a:moveTo>
                    <a:pt x="-5860416" y="518160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98" name="Freeform 1498"/>
            <p:cNvSpPr/>
            <p:nvPr/>
          </p:nvSpPr>
          <p:spPr>
            <a:xfrm>
              <a:off x="10982450" y="1732149"/>
              <a:ext cx="79207" cy="97484"/>
            </a:xfrm>
            <a:custGeom>
              <a:avLst/>
              <a:gdLst/>
              <a:ahLst/>
              <a:cxnLst/>
              <a:rect l="0" t="0" r="0" b="0"/>
              <a:pathLst>
                <a:path w="79248" h="97535">
                  <a:moveTo>
                    <a:pt x="73787" y="97535"/>
                  </a:moveTo>
                  <a:lnTo>
                    <a:pt x="5461" y="97535"/>
                  </a:lnTo>
                  <a:lnTo>
                    <a:pt x="3301" y="97535"/>
                  </a:lnTo>
                  <a:lnTo>
                    <a:pt x="1142" y="96774"/>
                  </a:lnTo>
                  <a:lnTo>
                    <a:pt x="1142" y="95250"/>
                  </a:lnTo>
                  <a:lnTo>
                    <a:pt x="0" y="93726"/>
                  </a:lnTo>
                  <a:lnTo>
                    <a:pt x="9905" y="3047"/>
                  </a:lnTo>
                  <a:lnTo>
                    <a:pt x="11049" y="1524"/>
                  </a:lnTo>
                  <a:lnTo>
                    <a:pt x="11049" y="762"/>
                  </a:lnTo>
                  <a:lnTo>
                    <a:pt x="13208" y="0"/>
                  </a:lnTo>
                  <a:lnTo>
                    <a:pt x="15366" y="0"/>
                  </a:lnTo>
                  <a:lnTo>
                    <a:pt x="54990" y="0"/>
                  </a:lnTo>
                  <a:lnTo>
                    <a:pt x="57276" y="762"/>
                  </a:lnTo>
                  <a:lnTo>
                    <a:pt x="59436" y="3047"/>
                  </a:lnTo>
                  <a:lnTo>
                    <a:pt x="79248" y="93726"/>
                  </a:lnTo>
                  <a:lnTo>
                    <a:pt x="78104" y="95250"/>
                  </a:lnTo>
                  <a:lnTo>
                    <a:pt x="78104" y="96774"/>
                  </a:lnTo>
                  <a:lnTo>
                    <a:pt x="75946" y="97535"/>
                  </a:lnTo>
                  <a:lnTo>
                    <a:pt x="73787" y="97535"/>
                  </a:lnTo>
                  <a:close/>
                  <a:moveTo>
                    <a:pt x="-5955792" y="5126735"/>
                  </a:moveTo>
                  <a:moveTo>
                    <a:pt x="11049" y="90551"/>
                  </a:moveTo>
                  <a:lnTo>
                    <a:pt x="68199" y="90551"/>
                  </a:lnTo>
                  <a:lnTo>
                    <a:pt x="50673" y="6984"/>
                  </a:lnTo>
                  <a:lnTo>
                    <a:pt x="19812" y="6984"/>
                  </a:lnTo>
                  <a:lnTo>
                    <a:pt x="11049" y="90551"/>
                  </a:lnTo>
                  <a:close/>
                  <a:moveTo>
                    <a:pt x="-5948808" y="5126735"/>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99" name="Freeform 1499"/>
            <p:cNvSpPr/>
            <p:nvPr/>
          </p:nvSpPr>
          <p:spPr>
            <a:xfrm>
              <a:off x="11073841" y="1796123"/>
              <a:ext cx="155368" cy="33511"/>
            </a:xfrm>
            <a:custGeom>
              <a:avLst/>
              <a:gdLst/>
              <a:ahLst/>
              <a:cxnLst/>
              <a:rect l="0" t="0" r="0" b="0"/>
              <a:pathLst>
                <a:path w="155449" h="33528">
                  <a:moveTo>
                    <a:pt x="149987" y="33528"/>
                  </a:moveTo>
                  <a:lnTo>
                    <a:pt x="5462" y="33528"/>
                  </a:lnTo>
                  <a:lnTo>
                    <a:pt x="3302" y="33528"/>
                  </a:lnTo>
                  <a:lnTo>
                    <a:pt x="2160" y="32767"/>
                  </a:lnTo>
                  <a:lnTo>
                    <a:pt x="1144" y="31115"/>
                  </a:lnTo>
                  <a:lnTo>
                    <a:pt x="0" y="30226"/>
                  </a:lnTo>
                  <a:lnTo>
                    <a:pt x="0" y="3302"/>
                  </a:lnTo>
                  <a:lnTo>
                    <a:pt x="1144" y="2413"/>
                  </a:lnTo>
                  <a:lnTo>
                    <a:pt x="2160" y="763"/>
                  </a:lnTo>
                  <a:lnTo>
                    <a:pt x="3302" y="0"/>
                  </a:lnTo>
                  <a:lnTo>
                    <a:pt x="5462" y="0"/>
                  </a:lnTo>
                  <a:lnTo>
                    <a:pt x="149987" y="0"/>
                  </a:lnTo>
                  <a:lnTo>
                    <a:pt x="152147" y="0"/>
                  </a:lnTo>
                  <a:lnTo>
                    <a:pt x="153289" y="763"/>
                  </a:lnTo>
                  <a:lnTo>
                    <a:pt x="154305" y="2413"/>
                  </a:lnTo>
                  <a:lnTo>
                    <a:pt x="155449" y="3302"/>
                  </a:lnTo>
                  <a:lnTo>
                    <a:pt x="155449" y="30226"/>
                  </a:lnTo>
                  <a:lnTo>
                    <a:pt x="154305" y="31115"/>
                  </a:lnTo>
                  <a:lnTo>
                    <a:pt x="153289" y="32767"/>
                  </a:lnTo>
                  <a:lnTo>
                    <a:pt x="152147" y="33528"/>
                  </a:lnTo>
                  <a:lnTo>
                    <a:pt x="149987" y="33528"/>
                  </a:lnTo>
                  <a:close/>
                  <a:moveTo>
                    <a:pt x="-6047231" y="5062728"/>
                  </a:moveTo>
                  <a:moveTo>
                    <a:pt x="9907" y="26163"/>
                  </a:moveTo>
                  <a:lnTo>
                    <a:pt x="145542" y="26163"/>
                  </a:lnTo>
                  <a:lnTo>
                    <a:pt x="145542" y="7367"/>
                  </a:lnTo>
                  <a:lnTo>
                    <a:pt x="9907" y="7367"/>
                  </a:lnTo>
                  <a:lnTo>
                    <a:pt x="9907" y="26163"/>
                  </a:lnTo>
                  <a:close/>
                  <a:moveTo>
                    <a:pt x="-6039866" y="506272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00" name="Freeform 1500"/>
            <p:cNvSpPr/>
            <p:nvPr/>
          </p:nvSpPr>
          <p:spPr>
            <a:xfrm>
              <a:off x="11113445" y="1780892"/>
              <a:ext cx="76160" cy="24370"/>
            </a:xfrm>
            <a:custGeom>
              <a:avLst/>
              <a:gdLst/>
              <a:ahLst/>
              <a:cxnLst/>
              <a:rect l="0" t="0" r="0" b="0"/>
              <a:pathLst>
                <a:path w="76200" h="24383">
                  <a:moveTo>
                    <a:pt x="71627" y="24383"/>
                  </a:moveTo>
                  <a:lnTo>
                    <a:pt x="4572" y="24383"/>
                  </a:lnTo>
                  <a:lnTo>
                    <a:pt x="3428" y="24383"/>
                  </a:lnTo>
                  <a:lnTo>
                    <a:pt x="1142" y="23495"/>
                  </a:lnTo>
                  <a:lnTo>
                    <a:pt x="0" y="21844"/>
                  </a:lnTo>
                  <a:lnTo>
                    <a:pt x="0" y="20192"/>
                  </a:lnTo>
                  <a:lnTo>
                    <a:pt x="0" y="4190"/>
                  </a:lnTo>
                  <a:lnTo>
                    <a:pt x="0" y="2539"/>
                  </a:lnTo>
                  <a:lnTo>
                    <a:pt x="1142" y="889"/>
                  </a:lnTo>
                  <a:lnTo>
                    <a:pt x="3428" y="889"/>
                  </a:lnTo>
                  <a:lnTo>
                    <a:pt x="4572" y="0"/>
                  </a:lnTo>
                  <a:lnTo>
                    <a:pt x="71627" y="0"/>
                  </a:lnTo>
                  <a:lnTo>
                    <a:pt x="72771" y="889"/>
                  </a:lnTo>
                  <a:lnTo>
                    <a:pt x="75057" y="889"/>
                  </a:lnTo>
                  <a:lnTo>
                    <a:pt x="76200" y="2539"/>
                  </a:lnTo>
                  <a:lnTo>
                    <a:pt x="76200" y="4190"/>
                  </a:lnTo>
                  <a:lnTo>
                    <a:pt x="76200" y="20192"/>
                  </a:lnTo>
                  <a:lnTo>
                    <a:pt x="76200" y="21844"/>
                  </a:lnTo>
                  <a:lnTo>
                    <a:pt x="75057" y="23495"/>
                  </a:lnTo>
                  <a:lnTo>
                    <a:pt x="72771" y="24383"/>
                  </a:lnTo>
                  <a:lnTo>
                    <a:pt x="71627" y="24383"/>
                  </a:lnTo>
                  <a:close/>
                  <a:moveTo>
                    <a:pt x="-6062472" y="5077967"/>
                  </a:moveTo>
                  <a:moveTo>
                    <a:pt x="10287" y="16764"/>
                  </a:moveTo>
                  <a:lnTo>
                    <a:pt x="65912" y="16764"/>
                  </a:lnTo>
                  <a:lnTo>
                    <a:pt x="65912" y="7620"/>
                  </a:lnTo>
                  <a:lnTo>
                    <a:pt x="10287" y="7620"/>
                  </a:lnTo>
                  <a:lnTo>
                    <a:pt x="10287" y="16764"/>
                  </a:lnTo>
                  <a:close/>
                  <a:moveTo>
                    <a:pt x="-6054853" y="507796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01" name="Freeform 1501"/>
            <p:cNvSpPr/>
            <p:nvPr/>
          </p:nvSpPr>
          <p:spPr>
            <a:xfrm>
              <a:off x="10903242" y="1689498"/>
              <a:ext cx="51789" cy="6094"/>
            </a:xfrm>
            <a:custGeom>
              <a:avLst/>
              <a:gdLst/>
              <a:ahLst/>
              <a:cxnLst/>
              <a:rect l="0" t="0" r="0" b="0"/>
              <a:pathLst>
                <a:path w="51816" h="6097">
                  <a:moveTo>
                    <a:pt x="46483" y="6097"/>
                  </a:moveTo>
                  <a:lnTo>
                    <a:pt x="5335" y="6097"/>
                  </a:lnTo>
                  <a:lnTo>
                    <a:pt x="3175" y="6097"/>
                  </a:lnTo>
                  <a:lnTo>
                    <a:pt x="2160" y="5462"/>
                  </a:lnTo>
                  <a:lnTo>
                    <a:pt x="1016" y="4699"/>
                  </a:lnTo>
                  <a:lnTo>
                    <a:pt x="0" y="3430"/>
                  </a:lnTo>
                  <a:lnTo>
                    <a:pt x="1016" y="2032"/>
                  </a:lnTo>
                  <a:lnTo>
                    <a:pt x="2160" y="1398"/>
                  </a:lnTo>
                  <a:lnTo>
                    <a:pt x="3175" y="636"/>
                  </a:lnTo>
                  <a:lnTo>
                    <a:pt x="5335" y="0"/>
                  </a:lnTo>
                  <a:lnTo>
                    <a:pt x="46483" y="0"/>
                  </a:lnTo>
                  <a:lnTo>
                    <a:pt x="48514" y="636"/>
                  </a:lnTo>
                  <a:lnTo>
                    <a:pt x="49658" y="1398"/>
                  </a:lnTo>
                  <a:lnTo>
                    <a:pt x="50674" y="2032"/>
                  </a:lnTo>
                  <a:lnTo>
                    <a:pt x="51816" y="3430"/>
                  </a:lnTo>
                  <a:lnTo>
                    <a:pt x="50674" y="4699"/>
                  </a:lnTo>
                  <a:lnTo>
                    <a:pt x="49658" y="5462"/>
                  </a:lnTo>
                  <a:lnTo>
                    <a:pt x="48514" y="6097"/>
                  </a:lnTo>
                  <a:lnTo>
                    <a:pt x="46483" y="6097"/>
                  </a:lnTo>
                  <a:close/>
                  <a:moveTo>
                    <a:pt x="-5742432" y="516940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02" name="Freeform 1502"/>
            <p:cNvSpPr/>
            <p:nvPr/>
          </p:nvSpPr>
          <p:spPr>
            <a:xfrm>
              <a:off x="10991587" y="1744334"/>
              <a:ext cx="51790" cy="6094"/>
            </a:xfrm>
            <a:custGeom>
              <a:avLst/>
              <a:gdLst/>
              <a:ahLst/>
              <a:cxnLst/>
              <a:rect l="0" t="0" r="0" b="0"/>
              <a:pathLst>
                <a:path w="51817" h="6097">
                  <a:moveTo>
                    <a:pt x="47371" y="6097"/>
                  </a:moveTo>
                  <a:lnTo>
                    <a:pt x="4446" y="6097"/>
                  </a:lnTo>
                  <a:lnTo>
                    <a:pt x="3303" y="6097"/>
                  </a:lnTo>
                  <a:lnTo>
                    <a:pt x="1144" y="5461"/>
                  </a:lnTo>
                  <a:lnTo>
                    <a:pt x="0" y="4065"/>
                  </a:lnTo>
                  <a:lnTo>
                    <a:pt x="0" y="3429"/>
                  </a:lnTo>
                  <a:lnTo>
                    <a:pt x="0" y="2033"/>
                  </a:lnTo>
                  <a:lnTo>
                    <a:pt x="1144" y="635"/>
                  </a:lnTo>
                  <a:lnTo>
                    <a:pt x="3303" y="635"/>
                  </a:lnTo>
                  <a:lnTo>
                    <a:pt x="4446" y="0"/>
                  </a:lnTo>
                  <a:lnTo>
                    <a:pt x="47371" y="0"/>
                  </a:lnTo>
                  <a:lnTo>
                    <a:pt x="48515" y="635"/>
                  </a:lnTo>
                  <a:lnTo>
                    <a:pt x="50673" y="635"/>
                  </a:lnTo>
                  <a:lnTo>
                    <a:pt x="51817" y="2033"/>
                  </a:lnTo>
                  <a:lnTo>
                    <a:pt x="51817" y="3429"/>
                  </a:lnTo>
                  <a:lnTo>
                    <a:pt x="51817" y="4065"/>
                  </a:lnTo>
                  <a:lnTo>
                    <a:pt x="50673" y="5461"/>
                  </a:lnTo>
                  <a:lnTo>
                    <a:pt x="48515" y="6097"/>
                  </a:lnTo>
                  <a:lnTo>
                    <a:pt x="47371" y="6097"/>
                  </a:lnTo>
                  <a:close/>
                  <a:moveTo>
                    <a:pt x="-5885688" y="5114544"/>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03" name="Freeform 1503"/>
            <p:cNvSpPr/>
            <p:nvPr/>
          </p:nvSpPr>
          <p:spPr>
            <a:xfrm>
              <a:off x="11165233" y="1841819"/>
              <a:ext cx="63976" cy="79208"/>
            </a:xfrm>
            <a:custGeom>
              <a:avLst/>
              <a:gdLst/>
              <a:ahLst/>
              <a:cxnLst/>
              <a:rect l="0" t="0" r="0" b="0"/>
              <a:pathLst>
                <a:path w="64009" h="79249">
                  <a:moveTo>
                    <a:pt x="58547" y="79249"/>
                  </a:moveTo>
                  <a:lnTo>
                    <a:pt x="5461" y="79249"/>
                  </a:lnTo>
                  <a:lnTo>
                    <a:pt x="3302" y="79249"/>
                  </a:lnTo>
                  <a:lnTo>
                    <a:pt x="2160" y="78487"/>
                  </a:lnTo>
                  <a:lnTo>
                    <a:pt x="1144" y="77724"/>
                  </a:lnTo>
                  <a:lnTo>
                    <a:pt x="0" y="76074"/>
                  </a:lnTo>
                  <a:lnTo>
                    <a:pt x="0" y="3175"/>
                  </a:lnTo>
                  <a:lnTo>
                    <a:pt x="1144" y="1524"/>
                  </a:lnTo>
                  <a:lnTo>
                    <a:pt x="2160" y="762"/>
                  </a:lnTo>
                  <a:lnTo>
                    <a:pt x="3302" y="0"/>
                  </a:lnTo>
                  <a:lnTo>
                    <a:pt x="5461" y="0"/>
                  </a:lnTo>
                  <a:lnTo>
                    <a:pt x="58547" y="0"/>
                  </a:lnTo>
                  <a:lnTo>
                    <a:pt x="60707" y="0"/>
                  </a:lnTo>
                  <a:lnTo>
                    <a:pt x="61849" y="762"/>
                  </a:lnTo>
                  <a:lnTo>
                    <a:pt x="62865" y="1524"/>
                  </a:lnTo>
                  <a:lnTo>
                    <a:pt x="64009" y="3175"/>
                  </a:lnTo>
                  <a:lnTo>
                    <a:pt x="64009" y="76074"/>
                  </a:lnTo>
                  <a:lnTo>
                    <a:pt x="62865" y="77724"/>
                  </a:lnTo>
                  <a:lnTo>
                    <a:pt x="61849" y="78487"/>
                  </a:lnTo>
                  <a:lnTo>
                    <a:pt x="60707" y="79249"/>
                  </a:lnTo>
                  <a:lnTo>
                    <a:pt x="58547" y="79249"/>
                  </a:lnTo>
                  <a:close/>
                  <a:moveTo>
                    <a:pt x="-6230112" y="5017008"/>
                  </a:moveTo>
                  <a:moveTo>
                    <a:pt x="9780" y="72137"/>
                  </a:moveTo>
                  <a:lnTo>
                    <a:pt x="54230" y="72137"/>
                  </a:lnTo>
                  <a:lnTo>
                    <a:pt x="54230" y="7112"/>
                  </a:lnTo>
                  <a:lnTo>
                    <a:pt x="9780" y="7112"/>
                  </a:lnTo>
                  <a:lnTo>
                    <a:pt x="9780" y="72137"/>
                  </a:lnTo>
                  <a:close/>
                  <a:moveTo>
                    <a:pt x="-6223000" y="501700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04" name="Freeform 1504"/>
            <p:cNvSpPr/>
            <p:nvPr/>
          </p:nvSpPr>
          <p:spPr>
            <a:xfrm>
              <a:off x="11192652" y="1841819"/>
              <a:ext cx="9138" cy="79208"/>
            </a:xfrm>
            <a:custGeom>
              <a:avLst/>
              <a:gdLst/>
              <a:ahLst/>
              <a:cxnLst/>
              <a:rect l="0" t="0" r="0" b="0"/>
              <a:pathLst>
                <a:path w="9143" h="79249">
                  <a:moveTo>
                    <a:pt x="5079" y="79249"/>
                  </a:moveTo>
                  <a:lnTo>
                    <a:pt x="5079" y="79249"/>
                  </a:lnTo>
                  <a:lnTo>
                    <a:pt x="3048" y="79249"/>
                  </a:lnTo>
                  <a:lnTo>
                    <a:pt x="1015" y="78487"/>
                  </a:lnTo>
                  <a:lnTo>
                    <a:pt x="0" y="77724"/>
                  </a:lnTo>
                  <a:lnTo>
                    <a:pt x="0" y="76074"/>
                  </a:lnTo>
                  <a:lnTo>
                    <a:pt x="0" y="3175"/>
                  </a:lnTo>
                  <a:lnTo>
                    <a:pt x="0" y="1524"/>
                  </a:lnTo>
                  <a:lnTo>
                    <a:pt x="1015" y="762"/>
                  </a:lnTo>
                  <a:lnTo>
                    <a:pt x="3048" y="0"/>
                  </a:lnTo>
                  <a:lnTo>
                    <a:pt x="5079" y="0"/>
                  </a:lnTo>
                  <a:lnTo>
                    <a:pt x="6096" y="0"/>
                  </a:lnTo>
                  <a:lnTo>
                    <a:pt x="8127" y="762"/>
                  </a:lnTo>
                  <a:lnTo>
                    <a:pt x="9143" y="1524"/>
                  </a:lnTo>
                  <a:lnTo>
                    <a:pt x="9143" y="3175"/>
                  </a:lnTo>
                  <a:lnTo>
                    <a:pt x="9143" y="76074"/>
                  </a:lnTo>
                  <a:lnTo>
                    <a:pt x="9143" y="77724"/>
                  </a:lnTo>
                  <a:lnTo>
                    <a:pt x="8127" y="78487"/>
                  </a:lnTo>
                  <a:lnTo>
                    <a:pt x="6096" y="79249"/>
                  </a:lnTo>
                  <a:lnTo>
                    <a:pt x="5079" y="79249"/>
                  </a:lnTo>
                  <a:close/>
                  <a:moveTo>
                    <a:pt x="-6257545" y="501700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05" name="Freeform 1505"/>
            <p:cNvSpPr/>
            <p:nvPr/>
          </p:nvSpPr>
          <p:spPr>
            <a:xfrm>
              <a:off x="10951985" y="1613338"/>
              <a:ext cx="155367" cy="63975"/>
            </a:xfrm>
            <a:custGeom>
              <a:avLst/>
              <a:gdLst/>
              <a:ahLst/>
              <a:cxnLst/>
              <a:rect l="0" t="0" r="0" b="0"/>
              <a:pathLst>
                <a:path w="155448" h="64008">
                  <a:moveTo>
                    <a:pt x="31496" y="64008"/>
                  </a:moveTo>
                  <a:lnTo>
                    <a:pt x="31496" y="64008"/>
                  </a:lnTo>
                  <a:lnTo>
                    <a:pt x="24766" y="64008"/>
                  </a:lnTo>
                  <a:lnTo>
                    <a:pt x="19178" y="63247"/>
                  </a:lnTo>
                  <a:lnTo>
                    <a:pt x="13462" y="60961"/>
                  </a:lnTo>
                  <a:lnTo>
                    <a:pt x="9018" y="59437"/>
                  </a:lnTo>
                  <a:lnTo>
                    <a:pt x="5589" y="56516"/>
                  </a:lnTo>
                  <a:lnTo>
                    <a:pt x="2286" y="53468"/>
                  </a:lnTo>
                  <a:lnTo>
                    <a:pt x="1144" y="50419"/>
                  </a:lnTo>
                  <a:lnTo>
                    <a:pt x="0" y="46737"/>
                  </a:lnTo>
                  <a:lnTo>
                    <a:pt x="1144" y="43688"/>
                  </a:lnTo>
                  <a:lnTo>
                    <a:pt x="2286" y="39879"/>
                  </a:lnTo>
                  <a:lnTo>
                    <a:pt x="5589" y="36957"/>
                  </a:lnTo>
                  <a:lnTo>
                    <a:pt x="10160" y="33910"/>
                  </a:lnTo>
                  <a:lnTo>
                    <a:pt x="14606" y="32386"/>
                  </a:lnTo>
                  <a:lnTo>
                    <a:pt x="20320" y="30862"/>
                  </a:lnTo>
                  <a:lnTo>
                    <a:pt x="27052" y="30099"/>
                  </a:lnTo>
                  <a:lnTo>
                    <a:pt x="33782" y="30099"/>
                  </a:lnTo>
                  <a:lnTo>
                    <a:pt x="36069" y="27051"/>
                  </a:lnTo>
                  <a:lnTo>
                    <a:pt x="39370" y="24893"/>
                  </a:lnTo>
                  <a:lnTo>
                    <a:pt x="42799" y="22606"/>
                  </a:lnTo>
                  <a:lnTo>
                    <a:pt x="47371" y="20320"/>
                  </a:lnTo>
                  <a:lnTo>
                    <a:pt x="51817" y="19558"/>
                  </a:lnTo>
                  <a:lnTo>
                    <a:pt x="56261" y="18035"/>
                  </a:lnTo>
                  <a:lnTo>
                    <a:pt x="61977" y="17273"/>
                  </a:lnTo>
                  <a:lnTo>
                    <a:pt x="67565" y="17273"/>
                  </a:lnTo>
                  <a:lnTo>
                    <a:pt x="69850" y="13589"/>
                  </a:lnTo>
                  <a:lnTo>
                    <a:pt x="73280" y="10542"/>
                  </a:lnTo>
                  <a:lnTo>
                    <a:pt x="77724" y="7493"/>
                  </a:lnTo>
                  <a:lnTo>
                    <a:pt x="83312" y="4573"/>
                  </a:lnTo>
                  <a:lnTo>
                    <a:pt x="89028" y="3049"/>
                  </a:lnTo>
                  <a:lnTo>
                    <a:pt x="95758" y="1524"/>
                  </a:lnTo>
                  <a:lnTo>
                    <a:pt x="103632" y="0"/>
                  </a:lnTo>
                  <a:lnTo>
                    <a:pt x="110364" y="0"/>
                  </a:lnTo>
                  <a:lnTo>
                    <a:pt x="119381" y="762"/>
                  </a:lnTo>
                  <a:lnTo>
                    <a:pt x="128397" y="1524"/>
                  </a:lnTo>
                  <a:lnTo>
                    <a:pt x="135129" y="3811"/>
                  </a:lnTo>
                  <a:lnTo>
                    <a:pt x="141986" y="6731"/>
                  </a:lnTo>
                  <a:lnTo>
                    <a:pt x="147574" y="10542"/>
                  </a:lnTo>
                  <a:lnTo>
                    <a:pt x="152020" y="14351"/>
                  </a:lnTo>
                  <a:lnTo>
                    <a:pt x="154306" y="18797"/>
                  </a:lnTo>
                  <a:lnTo>
                    <a:pt x="155448" y="23368"/>
                  </a:lnTo>
                  <a:lnTo>
                    <a:pt x="154306" y="27813"/>
                  </a:lnTo>
                  <a:lnTo>
                    <a:pt x="152020" y="32386"/>
                  </a:lnTo>
                  <a:lnTo>
                    <a:pt x="147574" y="36195"/>
                  </a:lnTo>
                  <a:lnTo>
                    <a:pt x="141986" y="39879"/>
                  </a:lnTo>
                  <a:lnTo>
                    <a:pt x="135129" y="42926"/>
                  </a:lnTo>
                  <a:lnTo>
                    <a:pt x="128397" y="45212"/>
                  </a:lnTo>
                  <a:lnTo>
                    <a:pt x="119381" y="46737"/>
                  </a:lnTo>
                  <a:lnTo>
                    <a:pt x="110364" y="46737"/>
                  </a:lnTo>
                  <a:lnTo>
                    <a:pt x="103632" y="46737"/>
                  </a:lnTo>
                  <a:lnTo>
                    <a:pt x="96902" y="45974"/>
                  </a:lnTo>
                  <a:lnTo>
                    <a:pt x="93472" y="48133"/>
                  </a:lnTo>
                  <a:lnTo>
                    <a:pt x="90170" y="50419"/>
                  </a:lnTo>
                  <a:lnTo>
                    <a:pt x="85598" y="51943"/>
                  </a:lnTo>
                  <a:lnTo>
                    <a:pt x="81154" y="53468"/>
                  </a:lnTo>
                  <a:lnTo>
                    <a:pt x="75439" y="54230"/>
                  </a:lnTo>
                  <a:lnTo>
                    <a:pt x="69850" y="54230"/>
                  </a:lnTo>
                  <a:lnTo>
                    <a:pt x="64262" y="54230"/>
                  </a:lnTo>
                  <a:lnTo>
                    <a:pt x="58547" y="54230"/>
                  </a:lnTo>
                  <a:lnTo>
                    <a:pt x="54103" y="58039"/>
                  </a:lnTo>
                  <a:lnTo>
                    <a:pt x="47371" y="61723"/>
                  </a:lnTo>
                  <a:lnTo>
                    <a:pt x="39370" y="63247"/>
                  </a:lnTo>
                  <a:lnTo>
                    <a:pt x="31496" y="64008"/>
                  </a:lnTo>
                  <a:close/>
                  <a:moveTo>
                    <a:pt x="-5772911" y="5245608"/>
                  </a:moveTo>
                  <a:moveTo>
                    <a:pt x="31496" y="36195"/>
                  </a:moveTo>
                  <a:lnTo>
                    <a:pt x="31496" y="36195"/>
                  </a:lnTo>
                  <a:lnTo>
                    <a:pt x="22480" y="37593"/>
                  </a:lnTo>
                  <a:lnTo>
                    <a:pt x="15748" y="39879"/>
                  </a:lnTo>
                  <a:lnTo>
                    <a:pt x="13462" y="41403"/>
                  </a:lnTo>
                  <a:lnTo>
                    <a:pt x="12446" y="42926"/>
                  </a:lnTo>
                  <a:lnTo>
                    <a:pt x="10160" y="45212"/>
                  </a:lnTo>
                  <a:lnTo>
                    <a:pt x="10160" y="46737"/>
                  </a:lnTo>
                  <a:lnTo>
                    <a:pt x="10160" y="48895"/>
                  </a:lnTo>
                  <a:lnTo>
                    <a:pt x="12446" y="51181"/>
                  </a:lnTo>
                  <a:lnTo>
                    <a:pt x="13462" y="52705"/>
                  </a:lnTo>
                  <a:lnTo>
                    <a:pt x="15748" y="54230"/>
                  </a:lnTo>
                  <a:lnTo>
                    <a:pt x="22480" y="56516"/>
                  </a:lnTo>
                  <a:lnTo>
                    <a:pt x="31496" y="57278"/>
                  </a:lnTo>
                  <a:lnTo>
                    <a:pt x="38355" y="57278"/>
                  </a:lnTo>
                  <a:lnTo>
                    <a:pt x="43943" y="54992"/>
                  </a:lnTo>
                  <a:lnTo>
                    <a:pt x="48387" y="52705"/>
                  </a:lnTo>
                  <a:lnTo>
                    <a:pt x="50673" y="48895"/>
                  </a:lnTo>
                  <a:lnTo>
                    <a:pt x="51817" y="48133"/>
                  </a:lnTo>
                  <a:lnTo>
                    <a:pt x="54103" y="47499"/>
                  </a:lnTo>
                  <a:lnTo>
                    <a:pt x="55245" y="46737"/>
                  </a:lnTo>
                  <a:lnTo>
                    <a:pt x="57405" y="46737"/>
                  </a:lnTo>
                  <a:lnTo>
                    <a:pt x="63120" y="47499"/>
                  </a:lnTo>
                  <a:lnTo>
                    <a:pt x="67565" y="47499"/>
                  </a:lnTo>
                  <a:lnTo>
                    <a:pt x="72136" y="47499"/>
                  </a:lnTo>
                  <a:lnTo>
                    <a:pt x="77724" y="46737"/>
                  </a:lnTo>
                  <a:lnTo>
                    <a:pt x="81154" y="45974"/>
                  </a:lnTo>
                  <a:lnTo>
                    <a:pt x="85598" y="44450"/>
                  </a:lnTo>
                  <a:lnTo>
                    <a:pt x="87884" y="42164"/>
                  </a:lnTo>
                  <a:lnTo>
                    <a:pt x="90170" y="39879"/>
                  </a:lnTo>
                  <a:lnTo>
                    <a:pt x="93472" y="38355"/>
                  </a:lnTo>
                  <a:lnTo>
                    <a:pt x="96902" y="38355"/>
                  </a:lnTo>
                  <a:lnTo>
                    <a:pt x="103632" y="39879"/>
                  </a:lnTo>
                  <a:lnTo>
                    <a:pt x="110364" y="39879"/>
                  </a:lnTo>
                  <a:lnTo>
                    <a:pt x="117095" y="39879"/>
                  </a:lnTo>
                  <a:lnTo>
                    <a:pt x="123953" y="38355"/>
                  </a:lnTo>
                  <a:lnTo>
                    <a:pt x="129541" y="36957"/>
                  </a:lnTo>
                  <a:lnTo>
                    <a:pt x="135129" y="35433"/>
                  </a:lnTo>
                  <a:lnTo>
                    <a:pt x="139700" y="32386"/>
                  </a:lnTo>
                  <a:lnTo>
                    <a:pt x="141986" y="30099"/>
                  </a:lnTo>
                  <a:lnTo>
                    <a:pt x="144145" y="27051"/>
                  </a:lnTo>
                  <a:lnTo>
                    <a:pt x="145289" y="23368"/>
                  </a:lnTo>
                  <a:lnTo>
                    <a:pt x="144145" y="20320"/>
                  </a:lnTo>
                  <a:lnTo>
                    <a:pt x="141986" y="16511"/>
                  </a:lnTo>
                  <a:lnTo>
                    <a:pt x="139700" y="14351"/>
                  </a:lnTo>
                  <a:lnTo>
                    <a:pt x="135129" y="11304"/>
                  </a:lnTo>
                  <a:lnTo>
                    <a:pt x="129541" y="9780"/>
                  </a:lnTo>
                  <a:lnTo>
                    <a:pt x="123953" y="8255"/>
                  </a:lnTo>
                  <a:lnTo>
                    <a:pt x="117095" y="6731"/>
                  </a:lnTo>
                  <a:lnTo>
                    <a:pt x="110364" y="6731"/>
                  </a:lnTo>
                  <a:lnTo>
                    <a:pt x="104775" y="6731"/>
                  </a:lnTo>
                  <a:lnTo>
                    <a:pt x="98045" y="7493"/>
                  </a:lnTo>
                  <a:lnTo>
                    <a:pt x="92330" y="9018"/>
                  </a:lnTo>
                  <a:lnTo>
                    <a:pt x="87884" y="11304"/>
                  </a:lnTo>
                  <a:lnTo>
                    <a:pt x="83312" y="12828"/>
                  </a:lnTo>
                  <a:lnTo>
                    <a:pt x="80010" y="15875"/>
                  </a:lnTo>
                  <a:lnTo>
                    <a:pt x="77724" y="18797"/>
                  </a:lnTo>
                  <a:lnTo>
                    <a:pt x="76582" y="21844"/>
                  </a:lnTo>
                  <a:lnTo>
                    <a:pt x="75439" y="22606"/>
                  </a:lnTo>
                  <a:lnTo>
                    <a:pt x="74295" y="23368"/>
                  </a:lnTo>
                  <a:lnTo>
                    <a:pt x="73280" y="24130"/>
                  </a:lnTo>
                  <a:lnTo>
                    <a:pt x="70994" y="24130"/>
                  </a:lnTo>
                  <a:lnTo>
                    <a:pt x="66421" y="24130"/>
                  </a:lnTo>
                  <a:lnTo>
                    <a:pt x="58547" y="24893"/>
                  </a:lnTo>
                  <a:lnTo>
                    <a:pt x="50673" y="27051"/>
                  </a:lnTo>
                  <a:lnTo>
                    <a:pt x="45085" y="30099"/>
                  </a:lnTo>
                  <a:lnTo>
                    <a:pt x="42799" y="32386"/>
                  </a:lnTo>
                  <a:lnTo>
                    <a:pt x="41657" y="34672"/>
                  </a:lnTo>
                  <a:lnTo>
                    <a:pt x="41657" y="35433"/>
                  </a:lnTo>
                  <a:lnTo>
                    <a:pt x="40514" y="36195"/>
                  </a:lnTo>
                  <a:lnTo>
                    <a:pt x="38355" y="36957"/>
                  </a:lnTo>
                  <a:lnTo>
                    <a:pt x="36069" y="36957"/>
                  </a:lnTo>
                  <a:lnTo>
                    <a:pt x="31496" y="36195"/>
                  </a:lnTo>
                  <a:close/>
                  <a:moveTo>
                    <a:pt x="-5745098" y="524560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07" name="Freeform 1507"/>
            <p:cNvSpPr/>
            <p:nvPr/>
          </p:nvSpPr>
          <p:spPr>
            <a:xfrm>
              <a:off x="10138592" y="1881424"/>
              <a:ext cx="612329" cy="24370"/>
            </a:xfrm>
            <a:custGeom>
              <a:avLst/>
              <a:gdLst/>
              <a:ahLst/>
              <a:cxnLst/>
              <a:rect l="0" t="0" r="0" b="0"/>
              <a:pathLst>
                <a:path w="612648" h="24383">
                  <a:moveTo>
                    <a:pt x="0" y="24383"/>
                  </a:moveTo>
                  <a:lnTo>
                    <a:pt x="612648" y="24383"/>
                  </a:lnTo>
                  <a:lnTo>
                    <a:pt x="612648" y="0"/>
                  </a:lnTo>
                  <a:lnTo>
                    <a:pt x="0" y="0"/>
                  </a:lnTo>
                  <a:lnTo>
                    <a:pt x="0" y="24383"/>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08" name="Freeform 1508"/>
            <p:cNvSpPr/>
            <p:nvPr/>
          </p:nvSpPr>
          <p:spPr>
            <a:xfrm>
              <a:off x="10546811" y="1765659"/>
              <a:ext cx="188878" cy="106624"/>
            </a:xfrm>
            <a:custGeom>
              <a:avLst/>
              <a:gdLst/>
              <a:ahLst/>
              <a:cxnLst/>
              <a:rect l="0" t="0" r="0" b="0"/>
              <a:pathLst>
                <a:path w="188976" h="106680">
                  <a:moveTo>
                    <a:pt x="0" y="0"/>
                  </a:moveTo>
                  <a:lnTo>
                    <a:pt x="0" y="106680"/>
                  </a:lnTo>
                  <a:lnTo>
                    <a:pt x="188976" y="106680"/>
                  </a:lnTo>
                  <a:lnTo>
                    <a:pt x="188976" y="0"/>
                  </a:lnTo>
                  <a:lnTo>
                    <a:pt x="0" y="0"/>
                  </a:lnTo>
                  <a:close/>
                  <a:moveTo>
                    <a:pt x="-5455920" y="5093208"/>
                  </a:moveTo>
                  <a:moveTo>
                    <a:pt x="95123" y="91949"/>
                  </a:moveTo>
                  <a:lnTo>
                    <a:pt x="20954" y="91949"/>
                  </a:lnTo>
                  <a:lnTo>
                    <a:pt x="20954" y="74549"/>
                  </a:lnTo>
                  <a:lnTo>
                    <a:pt x="95123" y="74549"/>
                  </a:lnTo>
                  <a:lnTo>
                    <a:pt x="95123" y="91949"/>
                  </a:lnTo>
                  <a:close/>
                  <a:moveTo>
                    <a:pt x="-5547869" y="5093208"/>
                  </a:moveTo>
                  <a:moveTo>
                    <a:pt x="95123" y="62104"/>
                  </a:moveTo>
                  <a:lnTo>
                    <a:pt x="20954" y="62104"/>
                  </a:lnTo>
                  <a:lnTo>
                    <a:pt x="20954" y="44578"/>
                  </a:lnTo>
                  <a:lnTo>
                    <a:pt x="95123" y="44578"/>
                  </a:lnTo>
                  <a:lnTo>
                    <a:pt x="95123" y="62104"/>
                  </a:lnTo>
                  <a:close/>
                  <a:moveTo>
                    <a:pt x="-5518024" y="5093208"/>
                  </a:moveTo>
                  <a:moveTo>
                    <a:pt x="95123" y="31243"/>
                  </a:moveTo>
                  <a:lnTo>
                    <a:pt x="20954" y="31243"/>
                  </a:lnTo>
                  <a:lnTo>
                    <a:pt x="20954" y="13336"/>
                  </a:lnTo>
                  <a:lnTo>
                    <a:pt x="95123" y="13336"/>
                  </a:lnTo>
                  <a:lnTo>
                    <a:pt x="95123" y="31243"/>
                  </a:lnTo>
                  <a:close/>
                  <a:moveTo>
                    <a:pt x="-5487163" y="5093208"/>
                  </a:moveTo>
                  <a:moveTo>
                    <a:pt x="165480" y="91949"/>
                  </a:moveTo>
                  <a:lnTo>
                    <a:pt x="116078" y="91949"/>
                  </a:lnTo>
                  <a:lnTo>
                    <a:pt x="116078" y="74549"/>
                  </a:lnTo>
                  <a:lnTo>
                    <a:pt x="165480" y="74549"/>
                  </a:lnTo>
                  <a:lnTo>
                    <a:pt x="165480" y="91949"/>
                  </a:lnTo>
                  <a:close/>
                  <a:moveTo>
                    <a:pt x="-5547869" y="5093208"/>
                  </a:moveTo>
                  <a:moveTo>
                    <a:pt x="165480" y="62104"/>
                  </a:moveTo>
                  <a:lnTo>
                    <a:pt x="116078" y="62104"/>
                  </a:lnTo>
                  <a:lnTo>
                    <a:pt x="116078" y="44578"/>
                  </a:lnTo>
                  <a:lnTo>
                    <a:pt x="165480" y="44578"/>
                  </a:lnTo>
                  <a:lnTo>
                    <a:pt x="165480" y="62104"/>
                  </a:lnTo>
                  <a:close/>
                  <a:moveTo>
                    <a:pt x="-5518024" y="5093208"/>
                  </a:moveTo>
                  <a:moveTo>
                    <a:pt x="165480" y="31243"/>
                  </a:moveTo>
                  <a:lnTo>
                    <a:pt x="116078" y="31243"/>
                  </a:lnTo>
                  <a:lnTo>
                    <a:pt x="116078" y="13336"/>
                  </a:lnTo>
                  <a:lnTo>
                    <a:pt x="165480" y="13336"/>
                  </a:lnTo>
                  <a:lnTo>
                    <a:pt x="165480" y="31243"/>
                  </a:lnTo>
                  <a:close/>
                  <a:moveTo>
                    <a:pt x="-5487163" y="509320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09" name="Freeform 1509"/>
            <p:cNvSpPr/>
            <p:nvPr/>
          </p:nvSpPr>
          <p:spPr>
            <a:xfrm>
              <a:off x="10498069" y="1826587"/>
              <a:ext cx="48743" cy="45696"/>
            </a:xfrm>
            <a:custGeom>
              <a:avLst/>
              <a:gdLst/>
              <a:ahLst/>
              <a:cxnLst/>
              <a:rect l="0" t="0" r="0" b="0"/>
              <a:pathLst>
                <a:path w="48768" h="45720">
                  <a:moveTo>
                    <a:pt x="0" y="45720"/>
                  </a:moveTo>
                  <a:lnTo>
                    <a:pt x="48768" y="45720"/>
                  </a:lnTo>
                  <a:lnTo>
                    <a:pt x="48768" y="0"/>
                  </a:lnTo>
                  <a:lnTo>
                    <a:pt x="0" y="0"/>
                  </a:lnTo>
                  <a:lnTo>
                    <a:pt x="0" y="45720"/>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10" name="Freeform 1510"/>
            <p:cNvSpPr/>
            <p:nvPr/>
          </p:nvSpPr>
          <p:spPr>
            <a:xfrm>
              <a:off x="10373166" y="1659035"/>
              <a:ext cx="134042" cy="213249"/>
            </a:xfrm>
            <a:custGeom>
              <a:avLst/>
              <a:gdLst/>
              <a:ahLst/>
              <a:cxnLst/>
              <a:rect l="0" t="0" r="0" b="0"/>
              <a:pathLst>
                <a:path w="134112" h="213360">
                  <a:moveTo>
                    <a:pt x="102615" y="48896"/>
                  </a:moveTo>
                  <a:lnTo>
                    <a:pt x="102615" y="0"/>
                  </a:lnTo>
                  <a:lnTo>
                    <a:pt x="31496" y="0"/>
                  </a:lnTo>
                  <a:lnTo>
                    <a:pt x="31496" y="48896"/>
                  </a:lnTo>
                  <a:lnTo>
                    <a:pt x="25018" y="50038"/>
                  </a:lnTo>
                  <a:lnTo>
                    <a:pt x="18668" y="51817"/>
                  </a:lnTo>
                  <a:lnTo>
                    <a:pt x="14097" y="53594"/>
                  </a:lnTo>
                  <a:lnTo>
                    <a:pt x="9016" y="55754"/>
                  </a:lnTo>
                  <a:lnTo>
                    <a:pt x="5079" y="57531"/>
                  </a:lnTo>
                  <a:lnTo>
                    <a:pt x="2539" y="60072"/>
                  </a:lnTo>
                  <a:lnTo>
                    <a:pt x="635" y="62611"/>
                  </a:lnTo>
                  <a:lnTo>
                    <a:pt x="0" y="64771"/>
                  </a:lnTo>
                  <a:lnTo>
                    <a:pt x="0" y="213360"/>
                  </a:lnTo>
                  <a:lnTo>
                    <a:pt x="134112" y="213360"/>
                  </a:lnTo>
                  <a:lnTo>
                    <a:pt x="134112" y="64771"/>
                  </a:lnTo>
                  <a:lnTo>
                    <a:pt x="133476" y="62611"/>
                  </a:lnTo>
                  <a:lnTo>
                    <a:pt x="132206" y="60072"/>
                  </a:lnTo>
                  <a:lnTo>
                    <a:pt x="129666" y="57531"/>
                  </a:lnTo>
                  <a:lnTo>
                    <a:pt x="125729" y="55754"/>
                  </a:lnTo>
                  <a:lnTo>
                    <a:pt x="121285" y="53594"/>
                  </a:lnTo>
                  <a:lnTo>
                    <a:pt x="115442" y="51817"/>
                  </a:lnTo>
                  <a:lnTo>
                    <a:pt x="109727" y="50038"/>
                  </a:lnTo>
                  <a:lnTo>
                    <a:pt x="102615" y="48896"/>
                  </a:lnTo>
                  <a:close/>
                  <a:moveTo>
                    <a:pt x="-5224400" y="5199888"/>
                  </a:moveTo>
                  <a:moveTo>
                    <a:pt x="115442" y="121285"/>
                  </a:moveTo>
                  <a:lnTo>
                    <a:pt x="115442" y="121285"/>
                  </a:lnTo>
                  <a:lnTo>
                    <a:pt x="111633" y="124842"/>
                  </a:lnTo>
                  <a:lnTo>
                    <a:pt x="107188" y="128143"/>
                  </a:lnTo>
                  <a:lnTo>
                    <a:pt x="104013" y="129922"/>
                  </a:lnTo>
                  <a:lnTo>
                    <a:pt x="101346" y="130937"/>
                  </a:lnTo>
                  <a:lnTo>
                    <a:pt x="97536" y="131699"/>
                  </a:lnTo>
                  <a:lnTo>
                    <a:pt x="94361" y="132080"/>
                  </a:lnTo>
                  <a:lnTo>
                    <a:pt x="88518" y="132461"/>
                  </a:lnTo>
                  <a:lnTo>
                    <a:pt x="82803" y="132080"/>
                  </a:lnTo>
                  <a:lnTo>
                    <a:pt x="79628" y="131318"/>
                  </a:lnTo>
                  <a:lnTo>
                    <a:pt x="76962" y="130556"/>
                  </a:lnTo>
                  <a:lnTo>
                    <a:pt x="71247" y="128143"/>
                  </a:lnTo>
                  <a:lnTo>
                    <a:pt x="60325" y="124842"/>
                  </a:lnTo>
                  <a:lnTo>
                    <a:pt x="55244" y="123444"/>
                  </a:lnTo>
                  <a:lnTo>
                    <a:pt x="49402" y="121667"/>
                  </a:lnTo>
                  <a:lnTo>
                    <a:pt x="46227" y="121285"/>
                  </a:lnTo>
                  <a:lnTo>
                    <a:pt x="41655" y="121285"/>
                  </a:lnTo>
                  <a:lnTo>
                    <a:pt x="37211" y="121667"/>
                  </a:lnTo>
                  <a:lnTo>
                    <a:pt x="34036" y="122302"/>
                  </a:lnTo>
                  <a:lnTo>
                    <a:pt x="29464" y="123825"/>
                  </a:lnTo>
                  <a:lnTo>
                    <a:pt x="26289" y="124842"/>
                  </a:lnTo>
                  <a:lnTo>
                    <a:pt x="18668" y="127762"/>
                  </a:lnTo>
                  <a:lnTo>
                    <a:pt x="18668" y="64771"/>
                  </a:lnTo>
                  <a:lnTo>
                    <a:pt x="19303" y="64009"/>
                  </a:lnTo>
                  <a:lnTo>
                    <a:pt x="23114" y="62611"/>
                  </a:lnTo>
                  <a:lnTo>
                    <a:pt x="28828" y="60453"/>
                  </a:lnTo>
                  <a:lnTo>
                    <a:pt x="37211" y="59055"/>
                  </a:lnTo>
                  <a:lnTo>
                    <a:pt x="50673" y="56516"/>
                  </a:lnTo>
                  <a:lnTo>
                    <a:pt x="50673" y="10415"/>
                  </a:lnTo>
                  <a:lnTo>
                    <a:pt x="84074" y="10415"/>
                  </a:lnTo>
                  <a:lnTo>
                    <a:pt x="84074" y="56516"/>
                  </a:lnTo>
                  <a:lnTo>
                    <a:pt x="96901" y="59055"/>
                  </a:lnTo>
                  <a:lnTo>
                    <a:pt x="105917" y="60453"/>
                  </a:lnTo>
                  <a:lnTo>
                    <a:pt x="111633" y="62611"/>
                  </a:lnTo>
                  <a:lnTo>
                    <a:pt x="114808" y="64009"/>
                  </a:lnTo>
                  <a:lnTo>
                    <a:pt x="115442" y="64771"/>
                  </a:lnTo>
                  <a:lnTo>
                    <a:pt x="115442" y="121285"/>
                  </a:lnTo>
                  <a:close/>
                  <a:moveTo>
                    <a:pt x="-5296789" y="519988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11" name="Freeform 1511"/>
            <p:cNvSpPr/>
            <p:nvPr/>
          </p:nvSpPr>
          <p:spPr>
            <a:xfrm>
              <a:off x="10342702" y="1689500"/>
              <a:ext cx="30465" cy="118811"/>
            </a:xfrm>
            <a:custGeom>
              <a:avLst/>
              <a:gdLst/>
              <a:ahLst/>
              <a:cxnLst/>
              <a:rect l="0" t="0" r="0" b="0"/>
              <a:pathLst>
                <a:path w="30481" h="118873">
                  <a:moveTo>
                    <a:pt x="30481" y="110999"/>
                  </a:moveTo>
                  <a:lnTo>
                    <a:pt x="30481" y="118873"/>
                  </a:lnTo>
                  <a:lnTo>
                    <a:pt x="25400" y="118873"/>
                  </a:lnTo>
                  <a:lnTo>
                    <a:pt x="21336" y="118111"/>
                  </a:lnTo>
                  <a:lnTo>
                    <a:pt x="18034" y="117094"/>
                  </a:lnTo>
                  <a:lnTo>
                    <a:pt x="15368" y="115698"/>
                  </a:lnTo>
                  <a:lnTo>
                    <a:pt x="13590" y="114300"/>
                  </a:lnTo>
                  <a:lnTo>
                    <a:pt x="12446" y="112523"/>
                  </a:lnTo>
                  <a:lnTo>
                    <a:pt x="11811" y="110744"/>
                  </a:lnTo>
                  <a:lnTo>
                    <a:pt x="10287" y="107188"/>
                  </a:lnTo>
                  <a:lnTo>
                    <a:pt x="10287" y="103887"/>
                  </a:lnTo>
                  <a:lnTo>
                    <a:pt x="10287" y="102489"/>
                  </a:lnTo>
                  <a:lnTo>
                    <a:pt x="10287" y="12828"/>
                  </a:lnTo>
                  <a:lnTo>
                    <a:pt x="9907" y="10287"/>
                  </a:lnTo>
                  <a:lnTo>
                    <a:pt x="9145" y="8891"/>
                  </a:lnTo>
                  <a:lnTo>
                    <a:pt x="7747" y="8129"/>
                  </a:lnTo>
                  <a:lnTo>
                    <a:pt x="5843" y="7493"/>
                  </a:lnTo>
                  <a:lnTo>
                    <a:pt x="2921" y="7112"/>
                  </a:lnTo>
                  <a:lnTo>
                    <a:pt x="2541" y="7112"/>
                  </a:lnTo>
                  <a:lnTo>
                    <a:pt x="0" y="7112"/>
                  </a:lnTo>
                  <a:lnTo>
                    <a:pt x="0" y="0"/>
                  </a:lnTo>
                  <a:lnTo>
                    <a:pt x="2541" y="0"/>
                  </a:lnTo>
                  <a:lnTo>
                    <a:pt x="4445" y="0"/>
                  </a:lnTo>
                  <a:lnTo>
                    <a:pt x="7367" y="381"/>
                  </a:lnTo>
                  <a:lnTo>
                    <a:pt x="11049" y="1398"/>
                  </a:lnTo>
                  <a:lnTo>
                    <a:pt x="12446" y="2541"/>
                  </a:lnTo>
                  <a:lnTo>
                    <a:pt x="14352" y="3556"/>
                  </a:lnTo>
                  <a:lnTo>
                    <a:pt x="15748" y="5716"/>
                  </a:lnTo>
                  <a:lnTo>
                    <a:pt x="16892" y="7493"/>
                  </a:lnTo>
                  <a:lnTo>
                    <a:pt x="18034" y="9906"/>
                  </a:lnTo>
                  <a:lnTo>
                    <a:pt x="18034" y="12828"/>
                  </a:lnTo>
                  <a:lnTo>
                    <a:pt x="18034" y="102870"/>
                  </a:lnTo>
                  <a:lnTo>
                    <a:pt x="18034" y="106045"/>
                  </a:lnTo>
                  <a:lnTo>
                    <a:pt x="18670" y="107443"/>
                  </a:lnTo>
                  <a:lnTo>
                    <a:pt x="19432" y="109601"/>
                  </a:lnTo>
                  <a:lnTo>
                    <a:pt x="20574" y="110363"/>
                  </a:lnTo>
                  <a:lnTo>
                    <a:pt x="21971" y="110744"/>
                  </a:lnTo>
                  <a:lnTo>
                    <a:pt x="23495" y="110999"/>
                  </a:lnTo>
                  <a:lnTo>
                    <a:pt x="25400" y="110999"/>
                  </a:lnTo>
                  <a:lnTo>
                    <a:pt x="30481" y="110999"/>
                  </a:lnTo>
                  <a:close/>
                  <a:moveTo>
                    <a:pt x="-5286502" y="516940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12" name="Freeform 1512"/>
            <p:cNvSpPr/>
            <p:nvPr/>
          </p:nvSpPr>
          <p:spPr>
            <a:xfrm>
              <a:off x="10342702" y="1820495"/>
              <a:ext cx="30465" cy="45697"/>
            </a:xfrm>
            <a:custGeom>
              <a:avLst/>
              <a:gdLst/>
              <a:ahLst/>
              <a:cxnLst/>
              <a:rect l="0" t="0" r="0" b="0"/>
              <a:pathLst>
                <a:path w="30481" h="45721">
                  <a:moveTo>
                    <a:pt x="30481" y="0"/>
                  </a:moveTo>
                  <a:lnTo>
                    <a:pt x="30481" y="7748"/>
                  </a:lnTo>
                  <a:lnTo>
                    <a:pt x="22353" y="7748"/>
                  </a:lnTo>
                  <a:lnTo>
                    <a:pt x="21336" y="7748"/>
                  </a:lnTo>
                  <a:lnTo>
                    <a:pt x="19812" y="8129"/>
                  </a:lnTo>
                  <a:lnTo>
                    <a:pt x="18670" y="9525"/>
                  </a:lnTo>
                  <a:lnTo>
                    <a:pt x="17272" y="11430"/>
                  </a:lnTo>
                  <a:lnTo>
                    <a:pt x="16510" y="14733"/>
                  </a:lnTo>
                  <a:lnTo>
                    <a:pt x="16130" y="16637"/>
                  </a:lnTo>
                  <a:lnTo>
                    <a:pt x="16130" y="29465"/>
                  </a:lnTo>
                  <a:lnTo>
                    <a:pt x="15748" y="33910"/>
                  </a:lnTo>
                  <a:lnTo>
                    <a:pt x="15114" y="37211"/>
                  </a:lnTo>
                  <a:lnTo>
                    <a:pt x="13590" y="40514"/>
                  </a:lnTo>
                  <a:lnTo>
                    <a:pt x="11811" y="42799"/>
                  </a:lnTo>
                  <a:lnTo>
                    <a:pt x="9525" y="44578"/>
                  </a:lnTo>
                  <a:lnTo>
                    <a:pt x="7367" y="45340"/>
                  </a:lnTo>
                  <a:lnTo>
                    <a:pt x="5461" y="45721"/>
                  </a:lnTo>
                  <a:lnTo>
                    <a:pt x="4445" y="45721"/>
                  </a:lnTo>
                  <a:lnTo>
                    <a:pt x="0" y="45721"/>
                  </a:lnTo>
                  <a:lnTo>
                    <a:pt x="0" y="38354"/>
                  </a:lnTo>
                  <a:lnTo>
                    <a:pt x="4445" y="38354"/>
                  </a:lnTo>
                  <a:lnTo>
                    <a:pt x="5081" y="37973"/>
                  </a:lnTo>
                  <a:lnTo>
                    <a:pt x="6605" y="37211"/>
                  </a:lnTo>
                  <a:lnTo>
                    <a:pt x="7747" y="35815"/>
                  </a:lnTo>
                  <a:lnTo>
                    <a:pt x="8129" y="34291"/>
                  </a:lnTo>
                  <a:lnTo>
                    <a:pt x="8382" y="32131"/>
                  </a:lnTo>
                  <a:lnTo>
                    <a:pt x="8764" y="29465"/>
                  </a:lnTo>
                  <a:lnTo>
                    <a:pt x="8764" y="16637"/>
                  </a:lnTo>
                  <a:lnTo>
                    <a:pt x="8764" y="13590"/>
                  </a:lnTo>
                  <a:lnTo>
                    <a:pt x="9145" y="11430"/>
                  </a:lnTo>
                  <a:lnTo>
                    <a:pt x="10287" y="8891"/>
                  </a:lnTo>
                  <a:lnTo>
                    <a:pt x="11431" y="6604"/>
                  </a:lnTo>
                  <a:lnTo>
                    <a:pt x="12446" y="5208"/>
                  </a:lnTo>
                  <a:lnTo>
                    <a:pt x="13590" y="3684"/>
                  </a:lnTo>
                  <a:lnTo>
                    <a:pt x="15114" y="2541"/>
                  </a:lnTo>
                  <a:lnTo>
                    <a:pt x="16510" y="1143"/>
                  </a:lnTo>
                  <a:lnTo>
                    <a:pt x="18670" y="762"/>
                  </a:lnTo>
                  <a:lnTo>
                    <a:pt x="20194" y="381"/>
                  </a:lnTo>
                  <a:lnTo>
                    <a:pt x="22353" y="0"/>
                  </a:lnTo>
                  <a:lnTo>
                    <a:pt x="30481" y="0"/>
                  </a:lnTo>
                  <a:close/>
                  <a:moveTo>
                    <a:pt x="-5306567" y="5038344"/>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13" name="Freeform 1513"/>
            <p:cNvSpPr/>
            <p:nvPr/>
          </p:nvSpPr>
          <p:spPr>
            <a:xfrm>
              <a:off x="10260449" y="1665129"/>
              <a:ext cx="82252" cy="207155"/>
            </a:xfrm>
            <a:custGeom>
              <a:avLst/>
              <a:gdLst/>
              <a:ahLst/>
              <a:cxnLst/>
              <a:rect l="0" t="0" r="0" b="0"/>
              <a:pathLst>
                <a:path w="82295" h="207263">
                  <a:moveTo>
                    <a:pt x="40893" y="0"/>
                  </a:moveTo>
                  <a:lnTo>
                    <a:pt x="40893" y="0"/>
                  </a:lnTo>
                  <a:lnTo>
                    <a:pt x="32639" y="381"/>
                  </a:lnTo>
                  <a:lnTo>
                    <a:pt x="25145" y="1396"/>
                  </a:lnTo>
                  <a:lnTo>
                    <a:pt x="18161" y="2794"/>
                  </a:lnTo>
                  <a:lnTo>
                    <a:pt x="12191" y="5333"/>
                  </a:lnTo>
                  <a:lnTo>
                    <a:pt x="7112" y="8255"/>
                  </a:lnTo>
                  <a:lnTo>
                    <a:pt x="5079" y="9270"/>
                  </a:lnTo>
                  <a:lnTo>
                    <a:pt x="3175" y="11430"/>
                  </a:lnTo>
                  <a:lnTo>
                    <a:pt x="1904" y="12826"/>
                  </a:lnTo>
                  <a:lnTo>
                    <a:pt x="380" y="14605"/>
                  </a:lnTo>
                  <a:lnTo>
                    <a:pt x="0" y="16763"/>
                  </a:lnTo>
                  <a:lnTo>
                    <a:pt x="0" y="18541"/>
                  </a:lnTo>
                  <a:lnTo>
                    <a:pt x="0" y="207263"/>
                  </a:lnTo>
                  <a:lnTo>
                    <a:pt x="82295" y="207263"/>
                  </a:lnTo>
                  <a:lnTo>
                    <a:pt x="82295" y="18541"/>
                  </a:lnTo>
                  <a:lnTo>
                    <a:pt x="81915" y="16763"/>
                  </a:lnTo>
                  <a:lnTo>
                    <a:pt x="81534" y="14605"/>
                  </a:lnTo>
                  <a:lnTo>
                    <a:pt x="80772" y="12826"/>
                  </a:lnTo>
                  <a:lnTo>
                    <a:pt x="79120" y="11430"/>
                  </a:lnTo>
                  <a:lnTo>
                    <a:pt x="77597" y="9270"/>
                  </a:lnTo>
                  <a:lnTo>
                    <a:pt x="75565" y="8255"/>
                  </a:lnTo>
                  <a:lnTo>
                    <a:pt x="70103" y="5333"/>
                  </a:lnTo>
                  <a:lnTo>
                    <a:pt x="64515" y="2794"/>
                  </a:lnTo>
                  <a:lnTo>
                    <a:pt x="57530" y="1396"/>
                  </a:lnTo>
                  <a:lnTo>
                    <a:pt x="49656" y="381"/>
                  </a:lnTo>
                  <a:lnTo>
                    <a:pt x="40893" y="0"/>
                  </a:lnTo>
                  <a:close/>
                  <a:moveTo>
                    <a:pt x="-5068825" y="5193791"/>
                  </a:moveTo>
                  <a:moveTo>
                    <a:pt x="70865" y="69214"/>
                  </a:moveTo>
                  <a:lnTo>
                    <a:pt x="70865" y="69214"/>
                  </a:lnTo>
                  <a:lnTo>
                    <a:pt x="66928" y="70993"/>
                  </a:lnTo>
                  <a:lnTo>
                    <a:pt x="62991" y="72008"/>
                  </a:lnTo>
                  <a:lnTo>
                    <a:pt x="59054" y="72008"/>
                  </a:lnTo>
                  <a:lnTo>
                    <a:pt x="55117" y="71755"/>
                  </a:lnTo>
                  <a:lnTo>
                    <a:pt x="51562" y="70993"/>
                  </a:lnTo>
                  <a:lnTo>
                    <a:pt x="47625" y="69595"/>
                  </a:lnTo>
                  <a:lnTo>
                    <a:pt x="38989" y="66039"/>
                  </a:lnTo>
                  <a:lnTo>
                    <a:pt x="35432" y="64515"/>
                  </a:lnTo>
                  <a:lnTo>
                    <a:pt x="31495" y="63881"/>
                  </a:lnTo>
                  <a:lnTo>
                    <a:pt x="27559" y="63881"/>
                  </a:lnTo>
                  <a:lnTo>
                    <a:pt x="24002" y="63881"/>
                  </a:lnTo>
                  <a:lnTo>
                    <a:pt x="20447" y="64515"/>
                  </a:lnTo>
                  <a:lnTo>
                    <a:pt x="17272" y="66039"/>
                  </a:lnTo>
                  <a:lnTo>
                    <a:pt x="14224" y="67818"/>
                  </a:lnTo>
                  <a:lnTo>
                    <a:pt x="11049" y="69976"/>
                  </a:lnTo>
                  <a:lnTo>
                    <a:pt x="11049" y="18541"/>
                  </a:lnTo>
                  <a:lnTo>
                    <a:pt x="11429" y="17780"/>
                  </a:lnTo>
                  <a:lnTo>
                    <a:pt x="12953" y="17145"/>
                  </a:lnTo>
                  <a:lnTo>
                    <a:pt x="14986" y="15366"/>
                  </a:lnTo>
                  <a:lnTo>
                    <a:pt x="18541" y="13970"/>
                  </a:lnTo>
                  <a:lnTo>
                    <a:pt x="23622" y="12191"/>
                  </a:lnTo>
                  <a:lnTo>
                    <a:pt x="29082" y="11049"/>
                  </a:lnTo>
                  <a:lnTo>
                    <a:pt x="35052" y="10287"/>
                  </a:lnTo>
                  <a:lnTo>
                    <a:pt x="40893" y="10287"/>
                  </a:lnTo>
                  <a:lnTo>
                    <a:pt x="47243" y="10287"/>
                  </a:lnTo>
                  <a:lnTo>
                    <a:pt x="53593" y="11049"/>
                  </a:lnTo>
                  <a:lnTo>
                    <a:pt x="58674" y="12191"/>
                  </a:lnTo>
                  <a:lnTo>
                    <a:pt x="63373" y="13970"/>
                  </a:lnTo>
                  <a:lnTo>
                    <a:pt x="66928" y="15366"/>
                  </a:lnTo>
                  <a:lnTo>
                    <a:pt x="69341" y="17145"/>
                  </a:lnTo>
                  <a:lnTo>
                    <a:pt x="70485" y="17780"/>
                  </a:lnTo>
                  <a:lnTo>
                    <a:pt x="70865" y="18541"/>
                  </a:lnTo>
                  <a:lnTo>
                    <a:pt x="70865" y="69214"/>
                  </a:lnTo>
                  <a:close/>
                  <a:moveTo>
                    <a:pt x="-5138039" y="5193791"/>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14" name="Freeform 1514"/>
            <p:cNvSpPr/>
            <p:nvPr/>
          </p:nvSpPr>
          <p:spPr>
            <a:xfrm>
              <a:off x="10546812" y="1726057"/>
              <a:ext cx="60928" cy="33511"/>
            </a:xfrm>
            <a:custGeom>
              <a:avLst/>
              <a:gdLst/>
              <a:ahLst/>
              <a:cxnLst/>
              <a:rect l="0" t="0" r="0" b="0"/>
              <a:pathLst>
                <a:path w="60960" h="33528">
                  <a:moveTo>
                    <a:pt x="0" y="33528"/>
                  </a:moveTo>
                  <a:lnTo>
                    <a:pt x="60960" y="33528"/>
                  </a:lnTo>
                  <a:lnTo>
                    <a:pt x="60960" y="0"/>
                  </a:lnTo>
                  <a:lnTo>
                    <a:pt x="0" y="0"/>
                  </a:lnTo>
                  <a:lnTo>
                    <a:pt x="0" y="33528"/>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15" name="Freeform 1515"/>
            <p:cNvSpPr/>
            <p:nvPr/>
          </p:nvSpPr>
          <p:spPr>
            <a:xfrm>
              <a:off x="10558996" y="1695592"/>
              <a:ext cx="48744" cy="27418"/>
            </a:xfrm>
            <a:custGeom>
              <a:avLst/>
              <a:gdLst/>
              <a:ahLst/>
              <a:cxnLst/>
              <a:rect l="0" t="0" r="0" b="0"/>
              <a:pathLst>
                <a:path w="48769" h="27432">
                  <a:moveTo>
                    <a:pt x="48769" y="13461"/>
                  </a:moveTo>
                  <a:lnTo>
                    <a:pt x="48769" y="13461"/>
                  </a:lnTo>
                  <a:lnTo>
                    <a:pt x="48769" y="16636"/>
                  </a:lnTo>
                  <a:lnTo>
                    <a:pt x="47752" y="18922"/>
                  </a:lnTo>
                  <a:lnTo>
                    <a:pt x="46610" y="21590"/>
                  </a:lnTo>
                  <a:lnTo>
                    <a:pt x="45594" y="23367"/>
                  </a:lnTo>
                  <a:lnTo>
                    <a:pt x="44070" y="25146"/>
                  </a:lnTo>
                  <a:lnTo>
                    <a:pt x="41911" y="26542"/>
                  </a:lnTo>
                  <a:lnTo>
                    <a:pt x="40387" y="27432"/>
                  </a:lnTo>
                  <a:lnTo>
                    <a:pt x="37720" y="27432"/>
                  </a:lnTo>
                  <a:lnTo>
                    <a:pt x="10541" y="27432"/>
                  </a:lnTo>
                  <a:lnTo>
                    <a:pt x="7874" y="27432"/>
                  </a:lnTo>
                  <a:lnTo>
                    <a:pt x="6350" y="26542"/>
                  </a:lnTo>
                  <a:lnTo>
                    <a:pt x="4699" y="25146"/>
                  </a:lnTo>
                  <a:lnTo>
                    <a:pt x="2667" y="23367"/>
                  </a:lnTo>
                  <a:lnTo>
                    <a:pt x="1524" y="21590"/>
                  </a:lnTo>
                  <a:lnTo>
                    <a:pt x="509" y="18922"/>
                  </a:lnTo>
                  <a:lnTo>
                    <a:pt x="0" y="16636"/>
                  </a:lnTo>
                  <a:lnTo>
                    <a:pt x="0" y="13461"/>
                  </a:lnTo>
                  <a:lnTo>
                    <a:pt x="0" y="10795"/>
                  </a:lnTo>
                  <a:lnTo>
                    <a:pt x="509" y="8508"/>
                  </a:lnTo>
                  <a:lnTo>
                    <a:pt x="1524" y="5841"/>
                  </a:lnTo>
                  <a:lnTo>
                    <a:pt x="2667" y="4064"/>
                  </a:lnTo>
                  <a:lnTo>
                    <a:pt x="4699" y="1777"/>
                  </a:lnTo>
                  <a:lnTo>
                    <a:pt x="6350" y="889"/>
                  </a:lnTo>
                  <a:lnTo>
                    <a:pt x="7874" y="0"/>
                  </a:lnTo>
                  <a:lnTo>
                    <a:pt x="10541" y="0"/>
                  </a:lnTo>
                  <a:lnTo>
                    <a:pt x="37720" y="0"/>
                  </a:lnTo>
                  <a:lnTo>
                    <a:pt x="40387" y="0"/>
                  </a:lnTo>
                  <a:lnTo>
                    <a:pt x="41911" y="889"/>
                  </a:lnTo>
                  <a:lnTo>
                    <a:pt x="44070" y="1777"/>
                  </a:lnTo>
                  <a:lnTo>
                    <a:pt x="45594" y="4064"/>
                  </a:lnTo>
                  <a:lnTo>
                    <a:pt x="46610" y="5841"/>
                  </a:lnTo>
                  <a:lnTo>
                    <a:pt x="47752" y="8508"/>
                  </a:lnTo>
                  <a:lnTo>
                    <a:pt x="48769" y="10795"/>
                  </a:lnTo>
                  <a:lnTo>
                    <a:pt x="48769" y="13461"/>
                  </a:lnTo>
                  <a:close/>
                  <a:moveTo>
                    <a:pt x="-5411469" y="5163311"/>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16" name="Freeform 1516"/>
            <p:cNvSpPr/>
            <p:nvPr/>
          </p:nvSpPr>
          <p:spPr>
            <a:xfrm>
              <a:off x="10610785" y="1726057"/>
              <a:ext cx="60928" cy="33511"/>
            </a:xfrm>
            <a:custGeom>
              <a:avLst/>
              <a:gdLst/>
              <a:ahLst/>
              <a:cxnLst/>
              <a:rect l="0" t="0" r="0" b="0"/>
              <a:pathLst>
                <a:path w="60960" h="33528">
                  <a:moveTo>
                    <a:pt x="0" y="33528"/>
                  </a:moveTo>
                  <a:lnTo>
                    <a:pt x="60960" y="33528"/>
                  </a:lnTo>
                  <a:lnTo>
                    <a:pt x="60960" y="0"/>
                  </a:lnTo>
                  <a:lnTo>
                    <a:pt x="0" y="0"/>
                  </a:lnTo>
                  <a:lnTo>
                    <a:pt x="0" y="33528"/>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17" name="Freeform 1517"/>
            <p:cNvSpPr/>
            <p:nvPr/>
          </p:nvSpPr>
          <p:spPr>
            <a:xfrm>
              <a:off x="10619926" y="1695592"/>
              <a:ext cx="51788" cy="27418"/>
            </a:xfrm>
            <a:custGeom>
              <a:avLst/>
              <a:gdLst/>
              <a:ahLst/>
              <a:cxnLst/>
              <a:rect l="0" t="0" r="0" b="0"/>
              <a:pathLst>
                <a:path w="51815" h="27432">
                  <a:moveTo>
                    <a:pt x="51815" y="13461"/>
                  </a:moveTo>
                  <a:lnTo>
                    <a:pt x="51815" y="13461"/>
                  </a:lnTo>
                  <a:lnTo>
                    <a:pt x="51815" y="16636"/>
                  </a:lnTo>
                  <a:lnTo>
                    <a:pt x="50673" y="18922"/>
                  </a:lnTo>
                  <a:lnTo>
                    <a:pt x="49529" y="21590"/>
                  </a:lnTo>
                  <a:lnTo>
                    <a:pt x="48513" y="23367"/>
                  </a:lnTo>
                  <a:lnTo>
                    <a:pt x="46863" y="25146"/>
                  </a:lnTo>
                  <a:lnTo>
                    <a:pt x="44576" y="26542"/>
                  </a:lnTo>
                  <a:lnTo>
                    <a:pt x="42926" y="27432"/>
                  </a:lnTo>
                  <a:lnTo>
                    <a:pt x="40131" y="27432"/>
                  </a:lnTo>
                  <a:lnTo>
                    <a:pt x="11176" y="27432"/>
                  </a:lnTo>
                  <a:lnTo>
                    <a:pt x="8381" y="27432"/>
                  </a:lnTo>
                  <a:lnTo>
                    <a:pt x="6730" y="26542"/>
                  </a:lnTo>
                  <a:lnTo>
                    <a:pt x="4952" y="25146"/>
                  </a:lnTo>
                  <a:lnTo>
                    <a:pt x="2793" y="23367"/>
                  </a:lnTo>
                  <a:lnTo>
                    <a:pt x="1651" y="21590"/>
                  </a:lnTo>
                  <a:lnTo>
                    <a:pt x="508" y="18922"/>
                  </a:lnTo>
                  <a:lnTo>
                    <a:pt x="0" y="16636"/>
                  </a:lnTo>
                  <a:lnTo>
                    <a:pt x="0" y="13461"/>
                  </a:lnTo>
                  <a:lnTo>
                    <a:pt x="0" y="10795"/>
                  </a:lnTo>
                  <a:lnTo>
                    <a:pt x="508" y="8508"/>
                  </a:lnTo>
                  <a:lnTo>
                    <a:pt x="1651" y="5841"/>
                  </a:lnTo>
                  <a:lnTo>
                    <a:pt x="2793" y="4064"/>
                  </a:lnTo>
                  <a:lnTo>
                    <a:pt x="4952" y="1777"/>
                  </a:lnTo>
                  <a:lnTo>
                    <a:pt x="6730" y="889"/>
                  </a:lnTo>
                  <a:lnTo>
                    <a:pt x="8381" y="0"/>
                  </a:lnTo>
                  <a:lnTo>
                    <a:pt x="11176" y="0"/>
                  </a:lnTo>
                  <a:lnTo>
                    <a:pt x="40131" y="0"/>
                  </a:lnTo>
                  <a:lnTo>
                    <a:pt x="42926" y="0"/>
                  </a:lnTo>
                  <a:lnTo>
                    <a:pt x="44576" y="889"/>
                  </a:lnTo>
                  <a:lnTo>
                    <a:pt x="46863" y="1777"/>
                  </a:lnTo>
                  <a:lnTo>
                    <a:pt x="48513" y="4064"/>
                  </a:lnTo>
                  <a:lnTo>
                    <a:pt x="49529" y="5841"/>
                  </a:lnTo>
                  <a:lnTo>
                    <a:pt x="50673" y="8508"/>
                  </a:lnTo>
                  <a:lnTo>
                    <a:pt x="51815" y="10795"/>
                  </a:lnTo>
                  <a:lnTo>
                    <a:pt x="51815" y="13461"/>
                  </a:lnTo>
                  <a:close/>
                  <a:moveTo>
                    <a:pt x="-5472430" y="5163311"/>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18" name="Freeform 1518"/>
            <p:cNvSpPr/>
            <p:nvPr/>
          </p:nvSpPr>
          <p:spPr>
            <a:xfrm>
              <a:off x="10674760" y="1726057"/>
              <a:ext cx="57882" cy="33511"/>
            </a:xfrm>
            <a:custGeom>
              <a:avLst/>
              <a:gdLst/>
              <a:ahLst/>
              <a:cxnLst/>
              <a:rect l="0" t="0" r="0" b="0"/>
              <a:pathLst>
                <a:path w="57912" h="33528">
                  <a:moveTo>
                    <a:pt x="0" y="33528"/>
                  </a:moveTo>
                  <a:lnTo>
                    <a:pt x="57912" y="33528"/>
                  </a:lnTo>
                  <a:lnTo>
                    <a:pt x="57912" y="0"/>
                  </a:lnTo>
                  <a:lnTo>
                    <a:pt x="0" y="0"/>
                  </a:lnTo>
                  <a:lnTo>
                    <a:pt x="0" y="33528"/>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19" name="Freeform 1519"/>
            <p:cNvSpPr/>
            <p:nvPr/>
          </p:nvSpPr>
          <p:spPr>
            <a:xfrm>
              <a:off x="10683901" y="1692547"/>
              <a:ext cx="51789" cy="27417"/>
            </a:xfrm>
            <a:custGeom>
              <a:avLst/>
              <a:gdLst/>
              <a:ahLst/>
              <a:cxnLst/>
              <a:rect l="0" t="0" r="0" b="0"/>
              <a:pathLst>
                <a:path w="51816" h="27431">
                  <a:moveTo>
                    <a:pt x="51816" y="13462"/>
                  </a:moveTo>
                  <a:lnTo>
                    <a:pt x="51816" y="13462"/>
                  </a:lnTo>
                  <a:lnTo>
                    <a:pt x="51816" y="16637"/>
                  </a:lnTo>
                  <a:lnTo>
                    <a:pt x="50672" y="18923"/>
                  </a:lnTo>
                  <a:lnTo>
                    <a:pt x="49530" y="21589"/>
                  </a:lnTo>
                  <a:lnTo>
                    <a:pt x="48514" y="23368"/>
                  </a:lnTo>
                  <a:lnTo>
                    <a:pt x="46863" y="25145"/>
                  </a:lnTo>
                  <a:lnTo>
                    <a:pt x="44577" y="26543"/>
                  </a:lnTo>
                  <a:lnTo>
                    <a:pt x="42926" y="27431"/>
                  </a:lnTo>
                  <a:lnTo>
                    <a:pt x="40131" y="27431"/>
                  </a:lnTo>
                  <a:lnTo>
                    <a:pt x="11176" y="27431"/>
                  </a:lnTo>
                  <a:lnTo>
                    <a:pt x="8381" y="27431"/>
                  </a:lnTo>
                  <a:lnTo>
                    <a:pt x="6730" y="26543"/>
                  </a:lnTo>
                  <a:lnTo>
                    <a:pt x="4953" y="25145"/>
                  </a:lnTo>
                  <a:lnTo>
                    <a:pt x="2793" y="23368"/>
                  </a:lnTo>
                  <a:lnTo>
                    <a:pt x="1651" y="21589"/>
                  </a:lnTo>
                  <a:lnTo>
                    <a:pt x="507" y="18923"/>
                  </a:lnTo>
                  <a:lnTo>
                    <a:pt x="0" y="16637"/>
                  </a:lnTo>
                  <a:lnTo>
                    <a:pt x="0" y="13462"/>
                  </a:lnTo>
                  <a:lnTo>
                    <a:pt x="0" y="10794"/>
                  </a:lnTo>
                  <a:lnTo>
                    <a:pt x="507" y="8508"/>
                  </a:lnTo>
                  <a:lnTo>
                    <a:pt x="1651" y="5842"/>
                  </a:lnTo>
                  <a:lnTo>
                    <a:pt x="2793" y="4063"/>
                  </a:lnTo>
                  <a:lnTo>
                    <a:pt x="4953" y="1777"/>
                  </a:lnTo>
                  <a:lnTo>
                    <a:pt x="6730" y="888"/>
                  </a:lnTo>
                  <a:lnTo>
                    <a:pt x="8381" y="0"/>
                  </a:lnTo>
                  <a:lnTo>
                    <a:pt x="11176" y="0"/>
                  </a:lnTo>
                  <a:lnTo>
                    <a:pt x="40131" y="0"/>
                  </a:lnTo>
                  <a:lnTo>
                    <a:pt x="42926" y="0"/>
                  </a:lnTo>
                  <a:lnTo>
                    <a:pt x="44577" y="888"/>
                  </a:lnTo>
                  <a:lnTo>
                    <a:pt x="46863" y="1777"/>
                  </a:lnTo>
                  <a:lnTo>
                    <a:pt x="48514" y="4063"/>
                  </a:lnTo>
                  <a:lnTo>
                    <a:pt x="49530" y="5842"/>
                  </a:lnTo>
                  <a:lnTo>
                    <a:pt x="50672" y="8508"/>
                  </a:lnTo>
                  <a:lnTo>
                    <a:pt x="51816" y="10794"/>
                  </a:lnTo>
                  <a:lnTo>
                    <a:pt x="51816" y="13462"/>
                  </a:lnTo>
                  <a:close/>
                  <a:moveTo>
                    <a:pt x="-5533391" y="5166359"/>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20" name="Freeform 1520"/>
            <p:cNvSpPr/>
            <p:nvPr/>
          </p:nvSpPr>
          <p:spPr>
            <a:xfrm>
              <a:off x="10236076" y="1689500"/>
              <a:ext cx="30464" cy="118811"/>
            </a:xfrm>
            <a:custGeom>
              <a:avLst/>
              <a:gdLst/>
              <a:ahLst/>
              <a:cxnLst/>
              <a:rect l="0" t="0" r="0" b="0"/>
              <a:pathLst>
                <a:path w="30480" h="118873">
                  <a:moveTo>
                    <a:pt x="30480" y="110999"/>
                  </a:moveTo>
                  <a:lnTo>
                    <a:pt x="30480" y="118873"/>
                  </a:lnTo>
                  <a:lnTo>
                    <a:pt x="25400" y="118873"/>
                  </a:lnTo>
                  <a:lnTo>
                    <a:pt x="21337" y="118111"/>
                  </a:lnTo>
                  <a:lnTo>
                    <a:pt x="18035" y="117094"/>
                  </a:lnTo>
                  <a:lnTo>
                    <a:pt x="15367" y="115698"/>
                  </a:lnTo>
                  <a:lnTo>
                    <a:pt x="13589" y="114300"/>
                  </a:lnTo>
                  <a:lnTo>
                    <a:pt x="12447" y="112523"/>
                  </a:lnTo>
                  <a:lnTo>
                    <a:pt x="11812" y="110744"/>
                  </a:lnTo>
                  <a:lnTo>
                    <a:pt x="10287" y="107188"/>
                  </a:lnTo>
                  <a:lnTo>
                    <a:pt x="10287" y="103887"/>
                  </a:lnTo>
                  <a:lnTo>
                    <a:pt x="10287" y="102489"/>
                  </a:lnTo>
                  <a:lnTo>
                    <a:pt x="10287" y="12828"/>
                  </a:lnTo>
                  <a:lnTo>
                    <a:pt x="9907" y="10287"/>
                  </a:lnTo>
                  <a:lnTo>
                    <a:pt x="9145" y="8891"/>
                  </a:lnTo>
                  <a:lnTo>
                    <a:pt x="7748" y="8129"/>
                  </a:lnTo>
                  <a:lnTo>
                    <a:pt x="5842" y="7493"/>
                  </a:lnTo>
                  <a:lnTo>
                    <a:pt x="2922" y="7112"/>
                  </a:lnTo>
                  <a:lnTo>
                    <a:pt x="2540" y="7112"/>
                  </a:lnTo>
                  <a:lnTo>
                    <a:pt x="0" y="7112"/>
                  </a:lnTo>
                  <a:lnTo>
                    <a:pt x="0" y="0"/>
                  </a:lnTo>
                  <a:lnTo>
                    <a:pt x="2540" y="0"/>
                  </a:lnTo>
                  <a:lnTo>
                    <a:pt x="4446" y="0"/>
                  </a:lnTo>
                  <a:lnTo>
                    <a:pt x="7366" y="381"/>
                  </a:lnTo>
                  <a:lnTo>
                    <a:pt x="11050" y="1398"/>
                  </a:lnTo>
                  <a:lnTo>
                    <a:pt x="12447" y="2541"/>
                  </a:lnTo>
                  <a:lnTo>
                    <a:pt x="14351" y="3556"/>
                  </a:lnTo>
                  <a:lnTo>
                    <a:pt x="15749" y="5716"/>
                  </a:lnTo>
                  <a:lnTo>
                    <a:pt x="16891" y="7493"/>
                  </a:lnTo>
                  <a:lnTo>
                    <a:pt x="18035" y="9906"/>
                  </a:lnTo>
                  <a:lnTo>
                    <a:pt x="18035" y="12828"/>
                  </a:lnTo>
                  <a:lnTo>
                    <a:pt x="18035" y="102870"/>
                  </a:lnTo>
                  <a:lnTo>
                    <a:pt x="18035" y="106045"/>
                  </a:lnTo>
                  <a:lnTo>
                    <a:pt x="18670" y="107443"/>
                  </a:lnTo>
                  <a:lnTo>
                    <a:pt x="19432" y="109601"/>
                  </a:lnTo>
                  <a:lnTo>
                    <a:pt x="20575" y="110363"/>
                  </a:lnTo>
                  <a:lnTo>
                    <a:pt x="21972" y="110744"/>
                  </a:lnTo>
                  <a:lnTo>
                    <a:pt x="23496" y="110999"/>
                  </a:lnTo>
                  <a:lnTo>
                    <a:pt x="25400" y="110999"/>
                  </a:lnTo>
                  <a:lnTo>
                    <a:pt x="30480" y="110999"/>
                  </a:lnTo>
                  <a:close/>
                  <a:moveTo>
                    <a:pt x="-5179822" y="516940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21" name="Freeform 1521"/>
            <p:cNvSpPr/>
            <p:nvPr/>
          </p:nvSpPr>
          <p:spPr>
            <a:xfrm>
              <a:off x="10236076" y="1820495"/>
              <a:ext cx="30464" cy="45697"/>
            </a:xfrm>
            <a:custGeom>
              <a:avLst/>
              <a:gdLst/>
              <a:ahLst/>
              <a:cxnLst/>
              <a:rect l="0" t="0" r="0" b="0"/>
              <a:pathLst>
                <a:path w="30480" h="45721">
                  <a:moveTo>
                    <a:pt x="30480" y="0"/>
                  </a:moveTo>
                  <a:lnTo>
                    <a:pt x="30480" y="7748"/>
                  </a:lnTo>
                  <a:lnTo>
                    <a:pt x="22352" y="7748"/>
                  </a:lnTo>
                  <a:lnTo>
                    <a:pt x="21337" y="7748"/>
                  </a:lnTo>
                  <a:lnTo>
                    <a:pt x="19812" y="8129"/>
                  </a:lnTo>
                  <a:lnTo>
                    <a:pt x="18670" y="9525"/>
                  </a:lnTo>
                  <a:lnTo>
                    <a:pt x="17273" y="11430"/>
                  </a:lnTo>
                  <a:lnTo>
                    <a:pt x="16511" y="14733"/>
                  </a:lnTo>
                  <a:lnTo>
                    <a:pt x="16129" y="16637"/>
                  </a:lnTo>
                  <a:lnTo>
                    <a:pt x="16129" y="29465"/>
                  </a:lnTo>
                  <a:lnTo>
                    <a:pt x="15749" y="33910"/>
                  </a:lnTo>
                  <a:lnTo>
                    <a:pt x="15113" y="37211"/>
                  </a:lnTo>
                  <a:lnTo>
                    <a:pt x="13589" y="40514"/>
                  </a:lnTo>
                  <a:lnTo>
                    <a:pt x="11812" y="42799"/>
                  </a:lnTo>
                  <a:lnTo>
                    <a:pt x="9525" y="44578"/>
                  </a:lnTo>
                  <a:lnTo>
                    <a:pt x="7366" y="45340"/>
                  </a:lnTo>
                  <a:lnTo>
                    <a:pt x="5462" y="45721"/>
                  </a:lnTo>
                  <a:lnTo>
                    <a:pt x="4446" y="45721"/>
                  </a:lnTo>
                  <a:lnTo>
                    <a:pt x="0" y="45721"/>
                  </a:lnTo>
                  <a:lnTo>
                    <a:pt x="0" y="38354"/>
                  </a:lnTo>
                  <a:lnTo>
                    <a:pt x="4446" y="38354"/>
                  </a:lnTo>
                  <a:lnTo>
                    <a:pt x="5080" y="37973"/>
                  </a:lnTo>
                  <a:lnTo>
                    <a:pt x="6604" y="37211"/>
                  </a:lnTo>
                  <a:lnTo>
                    <a:pt x="7748" y="35815"/>
                  </a:lnTo>
                  <a:lnTo>
                    <a:pt x="8128" y="34291"/>
                  </a:lnTo>
                  <a:lnTo>
                    <a:pt x="8510" y="32131"/>
                  </a:lnTo>
                  <a:lnTo>
                    <a:pt x="8763" y="29465"/>
                  </a:lnTo>
                  <a:lnTo>
                    <a:pt x="8763" y="16637"/>
                  </a:lnTo>
                  <a:lnTo>
                    <a:pt x="8763" y="13590"/>
                  </a:lnTo>
                  <a:lnTo>
                    <a:pt x="9145" y="11430"/>
                  </a:lnTo>
                  <a:lnTo>
                    <a:pt x="10287" y="8891"/>
                  </a:lnTo>
                  <a:lnTo>
                    <a:pt x="11430" y="6604"/>
                  </a:lnTo>
                  <a:lnTo>
                    <a:pt x="12447" y="5208"/>
                  </a:lnTo>
                  <a:lnTo>
                    <a:pt x="13589" y="3684"/>
                  </a:lnTo>
                  <a:lnTo>
                    <a:pt x="15113" y="2541"/>
                  </a:lnTo>
                  <a:lnTo>
                    <a:pt x="16511" y="1143"/>
                  </a:lnTo>
                  <a:lnTo>
                    <a:pt x="18670" y="762"/>
                  </a:lnTo>
                  <a:lnTo>
                    <a:pt x="20194" y="381"/>
                  </a:lnTo>
                  <a:lnTo>
                    <a:pt x="22352" y="0"/>
                  </a:lnTo>
                  <a:lnTo>
                    <a:pt x="30480" y="0"/>
                  </a:lnTo>
                  <a:close/>
                  <a:moveTo>
                    <a:pt x="-5199887" y="5038344"/>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22" name="Freeform 1522"/>
            <p:cNvSpPr/>
            <p:nvPr/>
          </p:nvSpPr>
          <p:spPr>
            <a:xfrm>
              <a:off x="10153824" y="1665129"/>
              <a:ext cx="82253" cy="207155"/>
            </a:xfrm>
            <a:custGeom>
              <a:avLst/>
              <a:gdLst/>
              <a:ahLst/>
              <a:cxnLst/>
              <a:rect l="0" t="0" r="0" b="0"/>
              <a:pathLst>
                <a:path w="82296" h="207263">
                  <a:moveTo>
                    <a:pt x="40895" y="0"/>
                  </a:moveTo>
                  <a:lnTo>
                    <a:pt x="40895" y="0"/>
                  </a:lnTo>
                  <a:lnTo>
                    <a:pt x="32640" y="381"/>
                  </a:lnTo>
                  <a:lnTo>
                    <a:pt x="25146" y="1396"/>
                  </a:lnTo>
                  <a:lnTo>
                    <a:pt x="18161" y="2794"/>
                  </a:lnTo>
                  <a:lnTo>
                    <a:pt x="12193" y="5333"/>
                  </a:lnTo>
                  <a:lnTo>
                    <a:pt x="7112" y="8255"/>
                  </a:lnTo>
                  <a:lnTo>
                    <a:pt x="5081" y="9270"/>
                  </a:lnTo>
                  <a:lnTo>
                    <a:pt x="3175" y="11430"/>
                  </a:lnTo>
                  <a:lnTo>
                    <a:pt x="1906" y="12826"/>
                  </a:lnTo>
                  <a:lnTo>
                    <a:pt x="382" y="14605"/>
                  </a:lnTo>
                  <a:lnTo>
                    <a:pt x="0" y="16763"/>
                  </a:lnTo>
                  <a:lnTo>
                    <a:pt x="0" y="18541"/>
                  </a:lnTo>
                  <a:lnTo>
                    <a:pt x="0" y="207263"/>
                  </a:lnTo>
                  <a:lnTo>
                    <a:pt x="82296" y="207263"/>
                  </a:lnTo>
                  <a:lnTo>
                    <a:pt x="82296" y="18541"/>
                  </a:lnTo>
                  <a:lnTo>
                    <a:pt x="81916" y="16763"/>
                  </a:lnTo>
                  <a:lnTo>
                    <a:pt x="81534" y="14605"/>
                  </a:lnTo>
                  <a:lnTo>
                    <a:pt x="80772" y="12826"/>
                  </a:lnTo>
                  <a:lnTo>
                    <a:pt x="79121" y="11430"/>
                  </a:lnTo>
                  <a:lnTo>
                    <a:pt x="77597" y="9270"/>
                  </a:lnTo>
                  <a:lnTo>
                    <a:pt x="75566" y="8255"/>
                  </a:lnTo>
                  <a:lnTo>
                    <a:pt x="70105" y="5333"/>
                  </a:lnTo>
                  <a:lnTo>
                    <a:pt x="64517" y="2794"/>
                  </a:lnTo>
                  <a:lnTo>
                    <a:pt x="57532" y="1396"/>
                  </a:lnTo>
                  <a:lnTo>
                    <a:pt x="49658" y="381"/>
                  </a:lnTo>
                  <a:lnTo>
                    <a:pt x="40895" y="0"/>
                  </a:lnTo>
                  <a:close/>
                  <a:moveTo>
                    <a:pt x="-4962144" y="5193791"/>
                  </a:moveTo>
                  <a:moveTo>
                    <a:pt x="70867" y="69214"/>
                  </a:moveTo>
                  <a:lnTo>
                    <a:pt x="70867" y="69214"/>
                  </a:lnTo>
                  <a:lnTo>
                    <a:pt x="66930" y="70993"/>
                  </a:lnTo>
                  <a:lnTo>
                    <a:pt x="62993" y="72008"/>
                  </a:lnTo>
                  <a:lnTo>
                    <a:pt x="59056" y="72008"/>
                  </a:lnTo>
                  <a:lnTo>
                    <a:pt x="55119" y="71755"/>
                  </a:lnTo>
                  <a:lnTo>
                    <a:pt x="51562" y="70993"/>
                  </a:lnTo>
                  <a:lnTo>
                    <a:pt x="47625" y="69595"/>
                  </a:lnTo>
                  <a:lnTo>
                    <a:pt x="38990" y="66039"/>
                  </a:lnTo>
                  <a:lnTo>
                    <a:pt x="35433" y="64515"/>
                  </a:lnTo>
                  <a:lnTo>
                    <a:pt x="31496" y="63881"/>
                  </a:lnTo>
                  <a:lnTo>
                    <a:pt x="27559" y="63881"/>
                  </a:lnTo>
                  <a:lnTo>
                    <a:pt x="24004" y="63881"/>
                  </a:lnTo>
                  <a:lnTo>
                    <a:pt x="20447" y="64515"/>
                  </a:lnTo>
                  <a:lnTo>
                    <a:pt x="17272" y="66039"/>
                  </a:lnTo>
                  <a:lnTo>
                    <a:pt x="14224" y="67818"/>
                  </a:lnTo>
                  <a:lnTo>
                    <a:pt x="11049" y="69976"/>
                  </a:lnTo>
                  <a:lnTo>
                    <a:pt x="11049" y="18541"/>
                  </a:lnTo>
                  <a:lnTo>
                    <a:pt x="11431" y="17780"/>
                  </a:lnTo>
                  <a:lnTo>
                    <a:pt x="12955" y="17145"/>
                  </a:lnTo>
                  <a:lnTo>
                    <a:pt x="14986" y="15366"/>
                  </a:lnTo>
                  <a:lnTo>
                    <a:pt x="18543" y="13970"/>
                  </a:lnTo>
                  <a:lnTo>
                    <a:pt x="23622" y="12191"/>
                  </a:lnTo>
                  <a:lnTo>
                    <a:pt x="29083" y="11049"/>
                  </a:lnTo>
                  <a:lnTo>
                    <a:pt x="35053" y="10287"/>
                  </a:lnTo>
                  <a:lnTo>
                    <a:pt x="40895" y="10287"/>
                  </a:lnTo>
                  <a:lnTo>
                    <a:pt x="47245" y="10287"/>
                  </a:lnTo>
                  <a:lnTo>
                    <a:pt x="53595" y="11049"/>
                  </a:lnTo>
                  <a:lnTo>
                    <a:pt x="58674" y="12191"/>
                  </a:lnTo>
                  <a:lnTo>
                    <a:pt x="63373" y="13970"/>
                  </a:lnTo>
                  <a:lnTo>
                    <a:pt x="66930" y="15366"/>
                  </a:lnTo>
                  <a:lnTo>
                    <a:pt x="69343" y="17145"/>
                  </a:lnTo>
                  <a:lnTo>
                    <a:pt x="70485" y="17780"/>
                  </a:lnTo>
                  <a:lnTo>
                    <a:pt x="70867" y="18541"/>
                  </a:lnTo>
                  <a:lnTo>
                    <a:pt x="70867" y="69214"/>
                  </a:lnTo>
                  <a:close/>
                  <a:moveTo>
                    <a:pt x="-5031358" y="5193791"/>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23" name="Freeform 1523"/>
            <p:cNvSpPr/>
            <p:nvPr/>
          </p:nvSpPr>
          <p:spPr>
            <a:xfrm>
              <a:off x="11543973" y="1580748"/>
              <a:ext cx="450869" cy="344245"/>
            </a:xfrm>
            <a:custGeom>
              <a:avLst/>
              <a:gdLst/>
              <a:ahLst/>
              <a:cxnLst/>
              <a:rect l="0" t="0" r="0" b="0"/>
              <a:pathLst>
                <a:path w="451104" h="344424">
                  <a:moveTo>
                    <a:pt x="211328" y="45846"/>
                  </a:moveTo>
                  <a:lnTo>
                    <a:pt x="211328" y="45846"/>
                  </a:lnTo>
                  <a:lnTo>
                    <a:pt x="211456" y="44831"/>
                  </a:lnTo>
                  <a:lnTo>
                    <a:pt x="211583" y="43942"/>
                  </a:lnTo>
                  <a:lnTo>
                    <a:pt x="211837" y="43052"/>
                  </a:lnTo>
                  <a:lnTo>
                    <a:pt x="211963" y="42163"/>
                  </a:lnTo>
                  <a:lnTo>
                    <a:pt x="212345" y="41275"/>
                  </a:lnTo>
                  <a:lnTo>
                    <a:pt x="212725" y="40386"/>
                  </a:lnTo>
                  <a:lnTo>
                    <a:pt x="213361" y="39496"/>
                  </a:lnTo>
                  <a:lnTo>
                    <a:pt x="213869" y="38735"/>
                  </a:lnTo>
                  <a:lnTo>
                    <a:pt x="215138" y="37211"/>
                  </a:lnTo>
                  <a:lnTo>
                    <a:pt x="216789" y="35687"/>
                  </a:lnTo>
                  <a:lnTo>
                    <a:pt x="218567" y="34289"/>
                  </a:lnTo>
                  <a:lnTo>
                    <a:pt x="220599" y="33019"/>
                  </a:lnTo>
                  <a:lnTo>
                    <a:pt x="222886" y="31876"/>
                  </a:lnTo>
                  <a:lnTo>
                    <a:pt x="225299" y="30733"/>
                  </a:lnTo>
                  <a:lnTo>
                    <a:pt x="227838" y="29844"/>
                  </a:lnTo>
                  <a:lnTo>
                    <a:pt x="230633" y="29082"/>
                  </a:lnTo>
                  <a:lnTo>
                    <a:pt x="233553" y="28448"/>
                  </a:lnTo>
                  <a:lnTo>
                    <a:pt x="236601" y="27939"/>
                  </a:lnTo>
                  <a:lnTo>
                    <a:pt x="239649" y="27812"/>
                  </a:lnTo>
                  <a:lnTo>
                    <a:pt x="242951" y="27686"/>
                  </a:lnTo>
                  <a:lnTo>
                    <a:pt x="245111" y="27686"/>
                  </a:lnTo>
                  <a:lnTo>
                    <a:pt x="247015" y="27812"/>
                  </a:lnTo>
                  <a:lnTo>
                    <a:pt x="247524" y="26669"/>
                  </a:lnTo>
                  <a:lnTo>
                    <a:pt x="247904" y="25654"/>
                  </a:lnTo>
                  <a:lnTo>
                    <a:pt x="248539" y="24511"/>
                  </a:lnTo>
                  <a:lnTo>
                    <a:pt x="249174" y="23368"/>
                  </a:lnTo>
                  <a:lnTo>
                    <a:pt x="250063" y="22479"/>
                  </a:lnTo>
                  <a:lnTo>
                    <a:pt x="250952" y="21462"/>
                  </a:lnTo>
                  <a:lnTo>
                    <a:pt x="251969" y="20446"/>
                  </a:lnTo>
                  <a:lnTo>
                    <a:pt x="252985" y="19431"/>
                  </a:lnTo>
                  <a:lnTo>
                    <a:pt x="255144" y="17652"/>
                  </a:lnTo>
                  <a:lnTo>
                    <a:pt x="257684" y="15875"/>
                  </a:lnTo>
                  <a:lnTo>
                    <a:pt x="260350" y="14350"/>
                  </a:lnTo>
                  <a:lnTo>
                    <a:pt x="263399" y="12826"/>
                  </a:lnTo>
                  <a:lnTo>
                    <a:pt x="266700" y="11556"/>
                  </a:lnTo>
                  <a:lnTo>
                    <a:pt x="270129" y="10413"/>
                  </a:lnTo>
                  <a:lnTo>
                    <a:pt x="273686" y="9270"/>
                  </a:lnTo>
                  <a:lnTo>
                    <a:pt x="277496" y="8508"/>
                  </a:lnTo>
                  <a:lnTo>
                    <a:pt x="281560" y="7746"/>
                  </a:lnTo>
                  <a:lnTo>
                    <a:pt x="285624" y="7238"/>
                  </a:lnTo>
                  <a:lnTo>
                    <a:pt x="289814" y="6985"/>
                  </a:lnTo>
                  <a:lnTo>
                    <a:pt x="294133" y="6985"/>
                  </a:lnTo>
                  <a:lnTo>
                    <a:pt x="298070" y="6985"/>
                  </a:lnTo>
                  <a:lnTo>
                    <a:pt x="301752" y="7238"/>
                  </a:lnTo>
                  <a:lnTo>
                    <a:pt x="304292" y="5587"/>
                  </a:lnTo>
                  <a:lnTo>
                    <a:pt x="306960" y="4191"/>
                  </a:lnTo>
                  <a:lnTo>
                    <a:pt x="309753" y="2920"/>
                  </a:lnTo>
                  <a:lnTo>
                    <a:pt x="312548" y="1905"/>
                  </a:lnTo>
                  <a:lnTo>
                    <a:pt x="315723" y="1143"/>
                  </a:lnTo>
                  <a:lnTo>
                    <a:pt x="318898" y="381"/>
                  </a:lnTo>
                  <a:lnTo>
                    <a:pt x="322326" y="126"/>
                  </a:lnTo>
                  <a:lnTo>
                    <a:pt x="325756" y="0"/>
                  </a:lnTo>
                  <a:lnTo>
                    <a:pt x="327534" y="0"/>
                  </a:lnTo>
                  <a:lnTo>
                    <a:pt x="329312" y="126"/>
                  </a:lnTo>
                  <a:lnTo>
                    <a:pt x="332613" y="381"/>
                  </a:lnTo>
                  <a:lnTo>
                    <a:pt x="335915" y="1143"/>
                  </a:lnTo>
                  <a:lnTo>
                    <a:pt x="339090" y="1905"/>
                  </a:lnTo>
                  <a:lnTo>
                    <a:pt x="342012" y="3048"/>
                  </a:lnTo>
                  <a:lnTo>
                    <a:pt x="344933" y="4318"/>
                  </a:lnTo>
                  <a:lnTo>
                    <a:pt x="347473" y="5714"/>
                  </a:lnTo>
                  <a:lnTo>
                    <a:pt x="349886" y="7366"/>
                  </a:lnTo>
                  <a:lnTo>
                    <a:pt x="351028" y="8255"/>
                  </a:lnTo>
                  <a:lnTo>
                    <a:pt x="352172" y="9143"/>
                  </a:lnTo>
                  <a:lnTo>
                    <a:pt x="353061" y="10032"/>
                  </a:lnTo>
                  <a:lnTo>
                    <a:pt x="354203" y="11175"/>
                  </a:lnTo>
                  <a:lnTo>
                    <a:pt x="355092" y="12064"/>
                  </a:lnTo>
                  <a:lnTo>
                    <a:pt x="355727" y="13207"/>
                  </a:lnTo>
                  <a:lnTo>
                    <a:pt x="356616" y="14224"/>
                  </a:lnTo>
                  <a:lnTo>
                    <a:pt x="357251" y="15367"/>
                  </a:lnTo>
                  <a:lnTo>
                    <a:pt x="357887" y="16510"/>
                  </a:lnTo>
                  <a:lnTo>
                    <a:pt x="358522" y="17652"/>
                  </a:lnTo>
                  <a:lnTo>
                    <a:pt x="358902" y="18923"/>
                  </a:lnTo>
                  <a:lnTo>
                    <a:pt x="359411" y="20066"/>
                  </a:lnTo>
                  <a:lnTo>
                    <a:pt x="359537" y="21462"/>
                  </a:lnTo>
                  <a:lnTo>
                    <a:pt x="359919" y="22606"/>
                  </a:lnTo>
                  <a:lnTo>
                    <a:pt x="360046" y="23875"/>
                  </a:lnTo>
                  <a:lnTo>
                    <a:pt x="360046" y="25145"/>
                  </a:lnTo>
                  <a:lnTo>
                    <a:pt x="362459" y="24637"/>
                  </a:lnTo>
                  <a:lnTo>
                    <a:pt x="364999" y="24002"/>
                  </a:lnTo>
                  <a:lnTo>
                    <a:pt x="367665" y="23621"/>
                  </a:lnTo>
                  <a:lnTo>
                    <a:pt x="370333" y="23113"/>
                  </a:lnTo>
                  <a:lnTo>
                    <a:pt x="373126" y="22732"/>
                  </a:lnTo>
                  <a:lnTo>
                    <a:pt x="376048" y="22606"/>
                  </a:lnTo>
                  <a:lnTo>
                    <a:pt x="378969" y="22479"/>
                  </a:lnTo>
                  <a:lnTo>
                    <a:pt x="381889" y="22479"/>
                  </a:lnTo>
                  <a:lnTo>
                    <a:pt x="386335" y="22606"/>
                  </a:lnTo>
                  <a:lnTo>
                    <a:pt x="390652" y="22732"/>
                  </a:lnTo>
                  <a:lnTo>
                    <a:pt x="394716" y="23368"/>
                  </a:lnTo>
                  <a:lnTo>
                    <a:pt x="398653" y="24002"/>
                  </a:lnTo>
                  <a:lnTo>
                    <a:pt x="402463" y="24892"/>
                  </a:lnTo>
                  <a:lnTo>
                    <a:pt x="406020" y="25907"/>
                  </a:lnTo>
                  <a:lnTo>
                    <a:pt x="409322" y="27177"/>
                  </a:lnTo>
                  <a:lnTo>
                    <a:pt x="412497" y="28448"/>
                  </a:lnTo>
                  <a:lnTo>
                    <a:pt x="415290" y="29844"/>
                  </a:lnTo>
                  <a:lnTo>
                    <a:pt x="416434" y="30606"/>
                  </a:lnTo>
                  <a:lnTo>
                    <a:pt x="417703" y="31495"/>
                  </a:lnTo>
                  <a:lnTo>
                    <a:pt x="418847" y="32257"/>
                  </a:lnTo>
                  <a:lnTo>
                    <a:pt x="419862" y="33019"/>
                  </a:lnTo>
                  <a:lnTo>
                    <a:pt x="420751" y="33908"/>
                  </a:lnTo>
                  <a:lnTo>
                    <a:pt x="421640" y="34798"/>
                  </a:lnTo>
                  <a:lnTo>
                    <a:pt x="422529" y="35813"/>
                  </a:lnTo>
                  <a:lnTo>
                    <a:pt x="423164" y="36702"/>
                  </a:lnTo>
                  <a:lnTo>
                    <a:pt x="423673" y="37718"/>
                  </a:lnTo>
                  <a:lnTo>
                    <a:pt x="424308" y="38735"/>
                  </a:lnTo>
                  <a:lnTo>
                    <a:pt x="424562" y="39750"/>
                  </a:lnTo>
                  <a:lnTo>
                    <a:pt x="424815" y="40639"/>
                  </a:lnTo>
                  <a:lnTo>
                    <a:pt x="425070" y="41782"/>
                  </a:lnTo>
                  <a:lnTo>
                    <a:pt x="425070" y="42799"/>
                  </a:lnTo>
                  <a:lnTo>
                    <a:pt x="425070" y="43561"/>
                  </a:lnTo>
                  <a:lnTo>
                    <a:pt x="424942" y="44450"/>
                  </a:lnTo>
                  <a:lnTo>
                    <a:pt x="424815" y="45212"/>
                  </a:lnTo>
                  <a:lnTo>
                    <a:pt x="424562" y="46100"/>
                  </a:lnTo>
                  <a:lnTo>
                    <a:pt x="423799" y="47625"/>
                  </a:lnTo>
                  <a:lnTo>
                    <a:pt x="422911" y="49149"/>
                  </a:lnTo>
                  <a:lnTo>
                    <a:pt x="421640" y="50673"/>
                  </a:lnTo>
                  <a:lnTo>
                    <a:pt x="420244" y="52196"/>
                  </a:lnTo>
                  <a:lnTo>
                    <a:pt x="418720" y="53467"/>
                  </a:lnTo>
                  <a:lnTo>
                    <a:pt x="416814" y="54610"/>
                  </a:lnTo>
                  <a:lnTo>
                    <a:pt x="382016" y="54610"/>
                  </a:lnTo>
                  <a:lnTo>
                    <a:pt x="382271" y="56514"/>
                  </a:lnTo>
                  <a:lnTo>
                    <a:pt x="382271" y="58293"/>
                  </a:lnTo>
                  <a:lnTo>
                    <a:pt x="382271" y="59689"/>
                  </a:lnTo>
                  <a:lnTo>
                    <a:pt x="382271" y="60960"/>
                  </a:lnTo>
                  <a:lnTo>
                    <a:pt x="382016" y="62230"/>
                  </a:lnTo>
                  <a:lnTo>
                    <a:pt x="381636" y="63500"/>
                  </a:lnTo>
                  <a:lnTo>
                    <a:pt x="381382" y="64769"/>
                  </a:lnTo>
                  <a:lnTo>
                    <a:pt x="380874" y="65912"/>
                  </a:lnTo>
                  <a:lnTo>
                    <a:pt x="380238" y="67056"/>
                  </a:lnTo>
                  <a:lnTo>
                    <a:pt x="379603" y="68325"/>
                  </a:lnTo>
                  <a:lnTo>
                    <a:pt x="378969" y="69468"/>
                  </a:lnTo>
                  <a:lnTo>
                    <a:pt x="378207" y="70485"/>
                  </a:lnTo>
                  <a:lnTo>
                    <a:pt x="377445" y="71627"/>
                  </a:lnTo>
                  <a:lnTo>
                    <a:pt x="376428" y="72643"/>
                  </a:lnTo>
                  <a:lnTo>
                    <a:pt x="375539" y="73660"/>
                  </a:lnTo>
                  <a:lnTo>
                    <a:pt x="374524" y="74675"/>
                  </a:lnTo>
                  <a:lnTo>
                    <a:pt x="373381" y="75437"/>
                  </a:lnTo>
                  <a:lnTo>
                    <a:pt x="372237" y="76454"/>
                  </a:lnTo>
                  <a:lnTo>
                    <a:pt x="369824" y="77977"/>
                  </a:lnTo>
                  <a:lnTo>
                    <a:pt x="367285" y="79501"/>
                  </a:lnTo>
                  <a:lnTo>
                    <a:pt x="364363" y="80771"/>
                  </a:lnTo>
                  <a:lnTo>
                    <a:pt x="361315" y="81914"/>
                  </a:lnTo>
                  <a:lnTo>
                    <a:pt x="358267" y="82676"/>
                  </a:lnTo>
                  <a:lnTo>
                    <a:pt x="354838" y="83438"/>
                  </a:lnTo>
                  <a:lnTo>
                    <a:pt x="353314" y="83566"/>
                  </a:lnTo>
                  <a:lnTo>
                    <a:pt x="351537" y="83693"/>
                  </a:lnTo>
                  <a:lnTo>
                    <a:pt x="349759" y="83819"/>
                  </a:lnTo>
                  <a:lnTo>
                    <a:pt x="348108" y="83819"/>
                  </a:lnTo>
                  <a:lnTo>
                    <a:pt x="346329" y="83819"/>
                  </a:lnTo>
                  <a:lnTo>
                    <a:pt x="344551" y="83693"/>
                  </a:lnTo>
                  <a:lnTo>
                    <a:pt x="342900" y="83566"/>
                  </a:lnTo>
                  <a:lnTo>
                    <a:pt x="341123" y="83438"/>
                  </a:lnTo>
                  <a:lnTo>
                    <a:pt x="337948" y="82676"/>
                  </a:lnTo>
                  <a:lnTo>
                    <a:pt x="334773" y="81914"/>
                  </a:lnTo>
                  <a:lnTo>
                    <a:pt x="331724" y="80771"/>
                  </a:lnTo>
                  <a:lnTo>
                    <a:pt x="328803" y="79501"/>
                  </a:lnTo>
                  <a:lnTo>
                    <a:pt x="326263" y="77977"/>
                  </a:lnTo>
                  <a:lnTo>
                    <a:pt x="323850" y="76454"/>
                  </a:lnTo>
                  <a:lnTo>
                    <a:pt x="322708" y="75437"/>
                  </a:lnTo>
                  <a:lnTo>
                    <a:pt x="321564" y="74675"/>
                  </a:lnTo>
                  <a:lnTo>
                    <a:pt x="320675" y="73660"/>
                  </a:lnTo>
                  <a:lnTo>
                    <a:pt x="319660" y="72643"/>
                  </a:lnTo>
                  <a:lnTo>
                    <a:pt x="318771" y="71627"/>
                  </a:lnTo>
                  <a:lnTo>
                    <a:pt x="318009" y="70485"/>
                  </a:lnTo>
                  <a:lnTo>
                    <a:pt x="317120" y="69468"/>
                  </a:lnTo>
                  <a:lnTo>
                    <a:pt x="316485" y="68325"/>
                  </a:lnTo>
                  <a:lnTo>
                    <a:pt x="315849" y="67056"/>
                  </a:lnTo>
                  <a:lnTo>
                    <a:pt x="315341" y="65912"/>
                  </a:lnTo>
                  <a:lnTo>
                    <a:pt x="314834" y="64769"/>
                  </a:lnTo>
                  <a:lnTo>
                    <a:pt x="314579" y="63500"/>
                  </a:lnTo>
                  <a:lnTo>
                    <a:pt x="314199" y="62230"/>
                  </a:lnTo>
                  <a:lnTo>
                    <a:pt x="313945" y="60960"/>
                  </a:lnTo>
                  <a:lnTo>
                    <a:pt x="313817" y="59689"/>
                  </a:lnTo>
                  <a:lnTo>
                    <a:pt x="313690" y="58293"/>
                  </a:lnTo>
                  <a:lnTo>
                    <a:pt x="313817" y="56514"/>
                  </a:lnTo>
                  <a:lnTo>
                    <a:pt x="311659" y="57023"/>
                  </a:lnTo>
                  <a:lnTo>
                    <a:pt x="309246" y="57531"/>
                  </a:lnTo>
                  <a:lnTo>
                    <a:pt x="306833" y="57912"/>
                  </a:lnTo>
                  <a:lnTo>
                    <a:pt x="304420" y="58166"/>
                  </a:lnTo>
                  <a:lnTo>
                    <a:pt x="302007" y="58546"/>
                  </a:lnTo>
                  <a:lnTo>
                    <a:pt x="299339" y="58546"/>
                  </a:lnTo>
                  <a:lnTo>
                    <a:pt x="296799" y="58674"/>
                  </a:lnTo>
                  <a:lnTo>
                    <a:pt x="294133" y="58800"/>
                  </a:lnTo>
                  <a:lnTo>
                    <a:pt x="290958" y="58674"/>
                  </a:lnTo>
                  <a:lnTo>
                    <a:pt x="287656" y="58546"/>
                  </a:lnTo>
                  <a:lnTo>
                    <a:pt x="284481" y="58293"/>
                  </a:lnTo>
                  <a:lnTo>
                    <a:pt x="281433" y="57912"/>
                  </a:lnTo>
                  <a:lnTo>
                    <a:pt x="278385" y="57276"/>
                  </a:lnTo>
                  <a:lnTo>
                    <a:pt x="275463" y="56768"/>
                  </a:lnTo>
                  <a:lnTo>
                    <a:pt x="272670" y="56006"/>
                  </a:lnTo>
                  <a:lnTo>
                    <a:pt x="270002" y="55244"/>
                  </a:lnTo>
                  <a:lnTo>
                    <a:pt x="268860" y="56133"/>
                  </a:lnTo>
                  <a:lnTo>
                    <a:pt x="267589" y="57023"/>
                  </a:lnTo>
                  <a:lnTo>
                    <a:pt x="266447" y="57912"/>
                  </a:lnTo>
                  <a:lnTo>
                    <a:pt x="264923" y="58800"/>
                  </a:lnTo>
                  <a:lnTo>
                    <a:pt x="263525" y="59562"/>
                  </a:lnTo>
                  <a:lnTo>
                    <a:pt x="262001" y="60325"/>
                  </a:lnTo>
                  <a:lnTo>
                    <a:pt x="260350" y="60960"/>
                  </a:lnTo>
                  <a:lnTo>
                    <a:pt x="258826" y="61594"/>
                  </a:lnTo>
                  <a:lnTo>
                    <a:pt x="256922" y="62102"/>
                  </a:lnTo>
                  <a:lnTo>
                    <a:pt x="255016" y="62611"/>
                  </a:lnTo>
                  <a:lnTo>
                    <a:pt x="253238" y="63118"/>
                  </a:lnTo>
                  <a:lnTo>
                    <a:pt x="251207" y="63373"/>
                  </a:lnTo>
                  <a:lnTo>
                    <a:pt x="249174" y="63500"/>
                  </a:lnTo>
                  <a:lnTo>
                    <a:pt x="247142" y="63754"/>
                  </a:lnTo>
                  <a:lnTo>
                    <a:pt x="245111" y="63881"/>
                  </a:lnTo>
                  <a:lnTo>
                    <a:pt x="242951" y="64007"/>
                  </a:lnTo>
                  <a:lnTo>
                    <a:pt x="239649" y="63881"/>
                  </a:lnTo>
                  <a:lnTo>
                    <a:pt x="236601" y="63500"/>
                  </a:lnTo>
                  <a:lnTo>
                    <a:pt x="233553" y="63118"/>
                  </a:lnTo>
                  <a:lnTo>
                    <a:pt x="230633" y="62483"/>
                  </a:lnTo>
                  <a:lnTo>
                    <a:pt x="227838" y="61721"/>
                  </a:lnTo>
                  <a:lnTo>
                    <a:pt x="225299" y="60832"/>
                  </a:lnTo>
                  <a:lnTo>
                    <a:pt x="222886" y="59817"/>
                  </a:lnTo>
                  <a:lnTo>
                    <a:pt x="220599" y="58546"/>
                  </a:lnTo>
                  <a:lnTo>
                    <a:pt x="218567" y="57404"/>
                  </a:lnTo>
                  <a:lnTo>
                    <a:pt x="216789" y="56006"/>
                  </a:lnTo>
                  <a:lnTo>
                    <a:pt x="215138" y="54482"/>
                  </a:lnTo>
                  <a:lnTo>
                    <a:pt x="213869" y="52831"/>
                  </a:lnTo>
                  <a:lnTo>
                    <a:pt x="213361" y="51943"/>
                  </a:lnTo>
                  <a:lnTo>
                    <a:pt x="212725" y="51307"/>
                  </a:lnTo>
                  <a:lnTo>
                    <a:pt x="212345" y="50418"/>
                  </a:lnTo>
                  <a:lnTo>
                    <a:pt x="211963" y="49530"/>
                  </a:lnTo>
                  <a:lnTo>
                    <a:pt x="211837" y="48513"/>
                  </a:lnTo>
                  <a:lnTo>
                    <a:pt x="211583" y="47625"/>
                  </a:lnTo>
                  <a:lnTo>
                    <a:pt x="211456" y="46736"/>
                  </a:lnTo>
                  <a:lnTo>
                    <a:pt x="211328" y="45846"/>
                  </a:lnTo>
                  <a:close/>
                  <a:moveTo>
                    <a:pt x="-5687694" y="4614671"/>
                  </a:moveTo>
                  <a:moveTo>
                    <a:pt x="175387" y="198374"/>
                  </a:moveTo>
                  <a:lnTo>
                    <a:pt x="175387" y="234823"/>
                  </a:lnTo>
                  <a:lnTo>
                    <a:pt x="0" y="234823"/>
                  </a:lnTo>
                  <a:lnTo>
                    <a:pt x="0" y="198374"/>
                  </a:lnTo>
                  <a:lnTo>
                    <a:pt x="175387" y="198374"/>
                  </a:lnTo>
                  <a:close/>
                  <a:moveTo>
                    <a:pt x="-5840222" y="4614671"/>
                  </a:moveTo>
                  <a:moveTo>
                    <a:pt x="277114" y="303402"/>
                  </a:moveTo>
                  <a:lnTo>
                    <a:pt x="304927" y="344424"/>
                  </a:lnTo>
                  <a:lnTo>
                    <a:pt x="294260" y="344424"/>
                  </a:lnTo>
                  <a:lnTo>
                    <a:pt x="268606" y="306705"/>
                  </a:lnTo>
                  <a:lnTo>
                    <a:pt x="268478" y="306831"/>
                  </a:lnTo>
                  <a:lnTo>
                    <a:pt x="268478" y="306450"/>
                  </a:lnTo>
                  <a:lnTo>
                    <a:pt x="263525" y="299212"/>
                  </a:lnTo>
                  <a:lnTo>
                    <a:pt x="265938" y="298450"/>
                  </a:lnTo>
                  <a:lnTo>
                    <a:pt x="268478" y="297687"/>
                  </a:lnTo>
                  <a:lnTo>
                    <a:pt x="270257" y="296925"/>
                  </a:lnTo>
                  <a:lnTo>
                    <a:pt x="272035" y="296163"/>
                  </a:lnTo>
                  <a:lnTo>
                    <a:pt x="275210" y="294639"/>
                  </a:lnTo>
                  <a:lnTo>
                    <a:pt x="278131" y="292862"/>
                  </a:lnTo>
                  <a:lnTo>
                    <a:pt x="281051" y="290956"/>
                  </a:lnTo>
                  <a:lnTo>
                    <a:pt x="283591" y="288925"/>
                  </a:lnTo>
                  <a:lnTo>
                    <a:pt x="286132" y="286512"/>
                  </a:lnTo>
                  <a:lnTo>
                    <a:pt x="288417" y="284099"/>
                  </a:lnTo>
                  <a:lnTo>
                    <a:pt x="290576" y="281558"/>
                  </a:lnTo>
                  <a:lnTo>
                    <a:pt x="292609" y="278892"/>
                  </a:lnTo>
                  <a:lnTo>
                    <a:pt x="294260" y="275843"/>
                  </a:lnTo>
                  <a:lnTo>
                    <a:pt x="295784" y="272795"/>
                  </a:lnTo>
                  <a:lnTo>
                    <a:pt x="297053" y="269748"/>
                  </a:lnTo>
                  <a:lnTo>
                    <a:pt x="298324" y="266573"/>
                  </a:lnTo>
                  <a:lnTo>
                    <a:pt x="299212" y="263270"/>
                  </a:lnTo>
                  <a:lnTo>
                    <a:pt x="299848" y="259842"/>
                  </a:lnTo>
                  <a:lnTo>
                    <a:pt x="300228" y="256286"/>
                  </a:lnTo>
                  <a:lnTo>
                    <a:pt x="300356" y="252730"/>
                  </a:lnTo>
                  <a:lnTo>
                    <a:pt x="300356" y="250062"/>
                  </a:lnTo>
                  <a:lnTo>
                    <a:pt x="300228" y="247395"/>
                  </a:lnTo>
                  <a:lnTo>
                    <a:pt x="299848" y="244729"/>
                  </a:lnTo>
                  <a:lnTo>
                    <a:pt x="299212" y="242188"/>
                  </a:lnTo>
                  <a:lnTo>
                    <a:pt x="298704" y="239902"/>
                  </a:lnTo>
                  <a:lnTo>
                    <a:pt x="298070" y="237617"/>
                  </a:lnTo>
                  <a:lnTo>
                    <a:pt x="297053" y="235331"/>
                  </a:lnTo>
                  <a:lnTo>
                    <a:pt x="296164" y="233171"/>
                  </a:lnTo>
                  <a:lnTo>
                    <a:pt x="295275" y="231267"/>
                  </a:lnTo>
                  <a:lnTo>
                    <a:pt x="294133" y="229107"/>
                  </a:lnTo>
                  <a:lnTo>
                    <a:pt x="292989" y="227330"/>
                  </a:lnTo>
                  <a:lnTo>
                    <a:pt x="291720" y="225551"/>
                  </a:lnTo>
                  <a:lnTo>
                    <a:pt x="290323" y="223900"/>
                  </a:lnTo>
                  <a:lnTo>
                    <a:pt x="288925" y="222250"/>
                  </a:lnTo>
                  <a:lnTo>
                    <a:pt x="287401" y="220599"/>
                  </a:lnTo>
                  <a:lnTo>
                    <a:pt x="286004" y="219201"/>
                  </a:lnTo>
                  <a:lnTo>
                    <a:pt x="284481" y="217805"/>
                  </a:lnTo>
                  <a:lnTo>
                    <a:pt x="282829" y="216535"/>
                  </a:lnTo>
                  <a:lnTo>
                    <a:pt x="281306" y="215264"/>
                  </a:lnTo>
                  <a:lnTo>
                    <a:pt x="279654" y="214249"/>
                  </a:lnTo>
                  <a:lnTo>
                    <a:pt x="278003" y="213106"/>
                  </a:lnTo>
                  <a:lnTo>
                    <a:pt x="276352" y="211962"/>
                  </a:lnTo>
                  <a:lnTo>
                    <a:pt x="273050" y="210312"/>
                  </a:lnTo>
                  <a:lnTo>
                    <a:pt x="269875" y="208661"/>
                  </a:lnTo>
                  <a:lnTo>
                    <a:pt x="266700" y="207518"/>
                  </a:lnTo>
                  <a:lnTo>
                    <a:pt x="263779" y="206501"/>
                  </a:lnTo>
                  <a:lnTo>
                    <a:pt x="261112" y="205739"/>
                  </a:lnTo>
                  <a:lnTo>
                    <a:pt x="260350" y="205486"/>
                  </a:lnTo>
                  <a:lnTo>
                    <a:pt x="259715" y="205105"/>
                  </a:lnTo>
                  <a:lnTo>
                    <a:pt x="259208" y="204724"/>
                  </a:lnTo>
                  <a:lnTo>
                    <a:pt x="258826" y="204216"/>
                  </a:lnTo>
                  <a:lnTo>
                    <a:pt x="258319" y="203707"/>
                  </a:lnTo>
                  <a:lnTo>
                    <a:pt x="257937" y="203073"/>
                  </a:lnTo>
                  <a:lnTo>
                    <a:pt x="257811" y="202311"/>
                  </a:lnTo>
                  <a:lnTo>
                    <a:pt x="257684" y="201549"/>
                  </a:lnTo>
                  <a:lnTo>
                    <a:pt x="257684" y="193548"/>
                  </a:lnTo>
                  <a:lnTo>
                    <a:pt x="244349" y="193548"/>
                  </a:lnTo>
                  <a:lnTo>
                    <a:pt x="244349" y="201549"/>
                  </a:lnTo>
                  <a:lnTo>
                    <a:pt x="244222" y="202183"/>
                  </a:lnTo>
                  <a:lnTo>
                    <a:pt x="243967" y="202818"/>
                  </a:lnTo>
                  <a:lnTo>
                    <a:pt x="243713" y="203454"/>
                  </a:lnTo>
                  <a:lnTo>
                    <a:pt x="243333" y="204088"/>
                  </a:lnTo>
                  <a:lnTo>
                    <a:pt x="242698" y="204596"/>
                  </a:lnTo>
                  <a:lnTo>
                    <a:pt x="242189" y="205105"/>
                  </a:lnTo>
                  <a:lnTo>
                    <a:pt x="241427" y="205486"/>
                  </a:lnTo>
                  <a:lnTo>
                    <a:pt x="240792" y="205739"/>
                  </a:lnTo>
                  <a:lnTo>
                    <a:pt x="238761" y="206248"/>
                  </a:lnTo>
                  <a:lnTo>
                    <a:pt x="236728" y="206756"/>
                  </a:lnTo>
                  <a:lnTo>
                    <a:pt x="234697" y="207518"/>
                  </a:lnTo>
                  <a:lnTo>
                    <a:pt x="232664" y="208152"/>
                  </a:lnTo>
                  <a:lnTo>
                    <a:pt x="230760" y="209042"/>
                  </a:lnTo>
                  <a:lnTo>
                    <a:pt x="228854" y="209804"/>
                  </a:lnTo>
                  <a:lnTo>
                    <a:pt x="226949" y="210693"/>
                  </a:lnTo>
                  <a:lnTo>
                    <a:pt x="225299" y="211836"/>
                  </a:lnTo>
                  <a:lnTo>
                    <a:pt x="223521" y="212851"/>
                  </a:lnTo>
                  <a:lnTo>
                    <a:pt x="221742" y="213994"/>
                  </a:lnTo>
                  <a:lnTo>
                    <a:pt x="220219" y="215264"/>
                  </a:lnTo>
                  <a:lnTo>
                    <a:pt x="218567" y="216535"/>
                  </a:lnTo>
                  <a:lnTo>
                    <a:pt x="217044" y="217805"/>
                  </a:lnTo>
                  <a:lnTo>
                    <a:pt x="215520" y="219201"/>
                  </a:lnTo>
                  <a:lnTo>
                    <a:pt x="214249" y="220725"/>
                  </a:lnTo>
                  <a:lnTo>
                    <a:pt x="212852" y="222250"/>
                  </a:lnTo>
                  <a:lnTo>
                    <a:pt x="211583" y="223900"/>
                  </a:lnTo>
                  <a:lnTo>
                    <a:pt x="210312" y="225551"/>
                  </a:lnTo>
                  <a:lnTo>
                    <a:pt x="209170" y="227075"/>
                  </a:lnTo>
                  <a:lnTo>
                    <a:pt x="208026" y="228854"/>
                  </a:lnTo>
                  <a:lnTo>
                    <a:pt x="207137" y="230631"/>
                  </a:lnTo>
                  <a:lnTo>
                    <a:pt x="206249" y="232537"/>
                  </a:lnTo>
                  <a:lnTo>
                    <a:pt x="205360" y="234314"/>
                  </a:lnTo>
                  <a:lnTo>
                    <a:pt x="204598" y="236346"/>
                  </a:lnTo>
                  <a:lnTo>
                    <a:pt x="203962" y="238251"/>
                  </a:lnTo>
                  <a:lnTo>
                    <a:pt x="203327" y="240283"/>
                  </a:lnTo>
                  <a:lnTo>
                    <a:pt x="202820" y="242188"/>
                  </a:lnTo>
                  <a:lnTo>
                    <a:pt x="202438" y="244220"/>
                  </a:lnTo>
                  <a:lnTo>
                    <a:pt x="202058" y="246380"/>
                  </a:lnTo>
                  <a:lnTo>
                    <a:pt x="201931" y="248412"/>
                  </a:lnTo>
                  <a:lnTo>
                    <a:pt x="201676" y="250570"/>
                  </a:lnTo>
                  <a:lnTo>
                    <a:pt x="201676" y="252730"/>
                  </a:lnTo>
                  <a:lnTo>
                    <a:pt x="201676" y="255269"/>
                  </a:lnTo>
                  <a:lnTo>
                    <a:pt x="201931" y="257682"/>
                  </a:lnTo>
                  <a:lnTo>
                    <a:pt x="202185" y="260223"/>
                  </a:lnTo>
                  <a:lnTo>
                    <a:pt x="202820" y="262762"/>
                  </a:lnTo>
                  <a:lnTo>
                    <a:pt x="192660" y="255143"/>
                  </a:lnTo>
                  <a:lnTo>
                    <a:pt x="192660" y="252730"/>
                  </a:lnTo>
                  <a:lnTo>
                    <a:pt x="192660" y="250317"/>
                  </a:lnTo>
                  <a:lnTo>
                    <a:pt x="192913" y="247904"/>
                  </a:lnTo>
                  <a:lnTo>
                    <a:pt x="193167" y="245491"/>
                  </a:lnTo>
                  <a:lnTo>
                    <a:pt x="193422" y="243077"/>
                  </a:lnTo>
                  <a:lnTo>
                    <a:pt x="194057" y="240918"/>
                  </a:lnTo>
                  <a:lnTo>
                    <a:pt x="194437" y="238506"/>
                  </a:lnTo>
                  <a:lnTo>
                    <a:pt x="195199" y="236346"/>
                  </a:lnTo>
                  <a:lnTo>
                    <a:pt x="195962" y="234187"/>
                  </a:lnTo>
                  <a:lnTo>
                    <a:pt x="196724" y="232029"/>
                  </a:lnTo>
                  <a:lnTo>
                    <a:pt x="197612" y="229869"/>
                  </a:lnTo>
                  <a:lnTo>
                    <a:pt x="198628" y="227837"/>
                  </a:lnTo>
                  <a:lnTo>
                    <a:pt x="199772" y="225806"/>
                  </a:lnTo>
                  <a:lnTo>
                    <a:pt x="201041" y="223774"/>
                  </a:lnTo>
                  <a:lnTo>
                    <a:pt x="202185" y="221868"/>
                  </a:lnTo>
                  <a:lnTo>
                    <a:pt x="203327" y="219963"/>
                  </a:lnTo>
                  <a:lnTo>
                    <a:pt x="204851" y="218186"/>
                  </a:lnTo>
                  <a:lnTo>
                    <a:pt x="206249" y="216281"/>
                  </a:lnTo>
                  <a:lnTo>
                    <a:pt x="207773" y="214756"/>
                  </a:lnTo>
                  <a:lnTo>
                    <a:pt x="209424" y="212979"/>
                  </a:lnTo>
                  <a:lnTo>
                    <a:pt x="211074" y="211455"/>
                  </a:lnTo>
                  <a:lnTo>
                    <a:pt x="212852" y="209931"/>
                  </a:lnTo>
                  <a:lnTo>
                    <a:pt x="214631" y="208406"/>
                  </a:lnTo>
                  <a:lnTo>
                    <a:pt x="216409" y="207137"/>
                  </a:lnTo>
                  <a:lnTo>
                    <a:pt x="218440" y="205739"/>
                  </a:lnTo>
                  <a:lnTo>
                    <a:pt x="220346" y="204469"/>
                  </a:lnTo>
                  <a:lnTo>
                    <a:pt x="222377" y="203326"/>
                  </a:lnTo>
                  <a:lnTo>
                    <a:pt x="224410" y="202311"/>
                  </a:lnTo>
                  <a:lnTo>
                    <a:pt x="226569" y="201294"/>
                  </a:lnTo>
                  <a:lnTo>
                    <a:pt x="228727" y="200279"/>
                  </a:lnTo>
                  <a:lnTo>
                    <a:pt x="230887" y="199643"/>
                  </a:lnTo>
                  <a:lnTo>
                    <a:pt x="233173" y="198755"/>
                  </a:lnTo>
                  <a:lnTo>
                    <a:pt x="235459" y="198119"/>
                  </a:lnTo>
                  <a:lnTo>
                    <a:pt x="235459" y="189230"/>
                  </a:lnTo>
                  <a:lnTo>
                    <a:pt x="235586" y="188341"/>
                  </a:lnTo>
                  <a:lnTo>
                    <a:pt x="235839" y="187451"/>
                  </a:lnTo>
                  <a:lnTo>
                    <a:pt x="236221" y="186817"/>
                  </a:lnTo>
                  <a:lnTo>
                    <a:pt x="236856" y="186181"/>
                  </a:lnTo>
                  <a:lnTo>
                    <a:pt x="237490" y="185674"/>
                  </a:lnTo>
                  <a:lnTo>
                    <a:pt x="238252" y="185166"/>
                  </a:lnTo>
                  <a:lnTo>
                    <a:pt x="239014" y="184912"/>
                  </a:lnTo>
                  <a:lnTo>
                    <a:pt x="239903" y="184785"/>
                  </a:lnTo>
                  <a:lnTo>
                    <a:pt x="262128" y="184785"/>
                  </a:lnTo>
                  <a:lnTo>
                    <a:pt x="263145" y="184912"/>
                  </a:lnTo>
                  <a:lnTo>
                    <a:pt x="263779" y="185166"/>
                  </a:lnTo>
                  <a:lnTo>
                    <a:pt x="264669" y="185674"/>
                  </a:lnTo>
                  <a:lnTo>
                    <a:pt x="265303" y="186181"/>
                  </a:lnTo>
                  <a:lnTo>
                    <a:pt x="265812" y="186817"/>
                  </a:lnTo>
                  <a:lnTo>
                    <a:pt x="266320" y="187451"/>
                  </a:lnTo>
                  <a:lnTo>
                    <a:pt x="266447" y="188341"/>
                  </a:lnTo>
                  <a:lnTo>
                    <a:pt x="266700" y="189230"/>
                  </a:lnTo>
                  <a:lnTo>
                    <a:pt x="266700" y="198119"/>
                  </a:lnTo>
                  <a:lnTo>
                    <a:pt x="268987" y="198755"/>
                  </a:lnTo>
                  <a:lnTo>
                    <a:pt x="271146" y="199643"/>
                  </a:lnTo>
                  <a:lnTo>
                    <a:pt x="273432" y="200279"/>
                  </a:lnTo>
                  <a:lnTo>
                    <a:pt x="275463" y="201294"/>
                  </a:lnTo>
                  <a:lnTo>
                    <a:pt x="277623" y="202311"/>
                  </a:lnTo>
                  <a:lnTo>
                    <a:pt x="279782" y="203326"/>
                  </a:lnTo>
                  <a:lnTo>
                    <a:pt x="281813" y="204469"/>
                  </a:lnTo>
                  <a:lnTo>
                    <a:pt x="283591" y="205739"/>
                  </a:lnTo>
                  <a:lnTo>
                    <a:pt x="285624" y="207137"/>
                  </a:lnTo>
                  <a:lnTo>
                    <a:pt x="287401" y="208406"/>
                  </a:lnTo>
                  <a:lnTo>
                    <a:pt x="289179" y="209931"/>
                  </a:lnTo>
                  <a:lnTo>
                    <a:pt x="290958" y="211455"/>
                  </a:lnTo>
                  <a:lnTo>
                    <a:pt x="292736" y="212979"/>
                  </a:lnTo>
                  <a:lnTo>
                    <a:pt x="294260" y="214756"/>
                  </a:lnTo>
                  <a:lnTo>
                    <a:pt x="295784" y="216281"/>
                  </a:lnTo>
                  <a:lnTo>
                    <a:pt x="297308" y="218186"/>
                  </a:lnTo>
                  <a:lnTo>
                    <a:pt x="298704" y="219963"/>
                  </a:lnTo>
                  <a:lnTo>
                    <a:pt x="299974" y="221868"/>
                  </a:lnTo>
                  <a:lnTo>
                    <a:pt x="301117" y="223774"/>
                  </a:lnTo>
                  <a:lnTo>
                    <a:pt x="302387" y="225806"/>
                  </a:lnTo>
                  <a:lnTo>
                    <a:pt x="303531" y="227837"/>
                  </a:lnTo>
                  <a:lnTo>
                    <a:pt x="304547" y="229869"/>
                  </a:lnTo>
                  <a:lnTo>
                    <a:pt x="305436" y="232029"/>
                  </a:lnTo>
                  <a:lnTo>
                    <a:pt x="306071" y="234187"/>
                  </a:lnTo>
                  <a:lnTo>
                    <a:pt x="306960" y="236346"/>
                  </a:lnTo>
                  <a:lnTo>
                    <a:pt x="307595" y="238506"/>
                  </a:lnTo>
                  <a:lnTo>
                    <a:pt x="308102" y="240918"/>
                  </a:lnTo>
                  <a:lnTo>
                    <a:pt x="308611" y="243077"/>
                  </a:lnTo>
                  <a:lnTo>
                    <a:pt x="308991" y="245491"/>
                  </a:lnTo>
                  <a:lnTo>
                    <a:pt x="309119" y="247904"/>
                  </a:lnTo>
                  <a:lnTo>
                    <a:pt x="309373" y="250317"/>
                  </a:lnTo>
                  <a:lnTo>
                    <a:pt x="309373" y="252730"/>
                  </a:lnTo>
                  <a:lnTo>
                    <a:pt x="309373" y="254888"/>
                  </a:lnTo>
                  <a:lnTo>
                    <a:pt x="309246" y="256793"/>
                  </a:lnTo>
                  <a:lnTo>
                    <a:pt x="308991" y="258825"/>
                  </a:lnTo>
                  <a:lnTo>
                    <a:pt x="308864" y="260857"/>
                  </a:lnTo>
                  <a:lnTo>
                    <a:pt x="308484" y="262889"/>
                  </a:lnTo>
                  <a:lnTo>
                    <a:pt x="308102" y="264921"/>
                  </a:lnTo>
                  <a:lnTo>
                    <a:pt x="307595" y="266826"/>
                  </a:lnTo>
                  <a:lnTo>
                    <a:pt x="306960" y="268731"/>
                  </a:lnTo>
                  <a:lnTo>
                    <a:pt x="306324" y="270637"/>
                  </a:lnTo>
                  <a:lnTo>
                    <a:pt x="305689" y="272414"/>
                  </a:lnTo>
                  <a:lnTo>
                    <a:pt x="305054" y="274319"/>
                  </a:lnTo>
                  <a:lnTo>
                    <a:pt x="304292" y="276098"/>
                  </a:lnTo>
                  <a:lnTo>
                    <a:pt x="303403" y="277875"/>
                  </a:lnTo>
                  <a:lnTo>
                    <a:pt x="302514" y="279526"/>
                  </a:lnTo>
                  <a:lnTo>
                    <a:pt x="301499" y="281305"/>
                  </a:lnTo>
                  <a:lnTo>
                    <a:pt x="300356" y="282829"/>
                  </a:lnTo>
                  <a:lnTo>
                    <a:pt x="299339" y="284606"/>
                  </a:lnTo>
                  <a:lnTo>
                    <a:pt x="298197" y="286131"/>
                  </a:lnTo>
                  <a:lnTo>
                    <a:pt x="296926" y="287655"/>
                  </a:lnTo>
                  <a:lnTo>
                    <a:pt x="295657" y="289179"/>
                  </a:lnTo>
                  <a:lnTo>
                    <a:pt x="294387" y="290575"/>
                  </a:lnTo>
                  <a:lnTo>
                    <a:pt x="292989" y="291973"/>
                  </a:lnTo>
                  <a:lnTo>
                    <a:pt x="291720" y="293369"/>
                  </a:lnTo>
                  <a:lnTo>
                    <a:pt x="290323" y="294639"/>
                  </a:lnTo>
                  <a:lnTo>
                    <a:pt x="288672" y="296037"/>
                  </a:lnTo>
                  <a:lnTo>
                    <a:pt x="287148" y="297180"/>
                  </a:lnTo>
                  <a:lnTo>
                    <a:pt x="285624" y="298323"/>
                  </a:lnTo>
                  <a:lnTo>
                    <a:pt x="283973" y="299466"/>
                  </a:lnTo>
                  <a:lnTo>
                    <a:pt x="282322" y="300481"/>
                  </a:lnTo>
                  <a:lnTo>
                    <a:pt x="280544" y="301625"/>
                  </a:lnTo>
                  <a:lnTo>
                    <a:pt x="278892" y="302513"/>
                  </a:lnTo>
                  <a:lnTo>
                    <a:pt x="277114" y="303402"/>
                  </a:lnTo>
                  <a:close/>
                  <a:moveTo>
                    <a:pt x="-5945250" y="4614671"/>
                  </a:moveTo>
                  <a:moveTo>
                    <a:pt x="17781" y="304164"/>
                  </a:moveTo>
                  <a:lnTo>
                    <a:pt x="55119" y="304164"/>
                  </a:lnTo>
                  <a:lnTo>
                    <a:pt x="55373" y="262508"/>
                  </a:lnTo>
                  <a:lnTo>
                    <a:pt x="55499" y="261874"/>
                  </a:lnTo>
                  <a:lnTo>
                    <a:pt x="55499" y="260985"/>
                  </a:lnTo>
                  <a:lnTo>
                    <a:pt x="55753" y="260350"/>
                  </a:lnTo>
                  <a:lnTo>
                    <a:pt x="56008" y="259842"/>
                  </a:lnTo>
                  <a:lnTo>
                    <a:pt x="56388" y="259333"/>
                  </a:lnTo>
                  <a:lnTo>
                    <a:pt x="56642" y="258825"/>
                  </a:lnTo>
                  <a:lnTo>
                    <a:pt x="57150" y="258444"/>
                  </a:lnTo>
                  <a:lnTo>
                    <a:pt x="57659" y="258318"/>
                  </a:lnTo>
                  <a:lnTo>
                    <a:pt x="58039" y="258063"/>
                  </a:lnTo>
                  <a:lnTo>
                    <a:pt x="58674" y="257937"/>
                  </a:lnTo>
                  <a:lnTo>
                    <a:pt x="59310" y="257937"/>
                  </a:lnTo>
                  <a:lnTo>
                    <a:pt x="59817" y="258063"/>
                  </a:lnTo>
                  <a:lnTo>
                    <a:pt x="60579" y="258191"/>
                  </a:lnTo>
                  <a:lnTo>
                    <a:pt x="61214" y="258444"/>
                  </a:lnTo>
                  <a:lnTo>
                    <a:pt x="61849" y="258825"/>
                  </a:lnTo>
                  <a:lnTo>
                    <a:pt x="62612" y="259206"/>
                  </a:lnTo>
                  <a:lnTo>
                    <a:pt x="113412" y="298323"/>
                  </a:lnTo>
                  <a:lnTo>
                    <a:pt x="113412" y="262762"/>
                  </a:lnTo>
                  <a:lnTo>
                    <a:pt x="113538" y="261874"/>
                  </a:lnTo>
                  <a:lnTo>
                    <a:pt x="113665" y="260985"/>
                  </a:lnTo>
                  <a:lnTo>
                    <a:pt x="113792" y="260350"/>
                  </a:lnTo>
                  <a:lnTo>
                    <a:pt x="114047" y="259842"/>
                  </a:lnTo>
                  <a:lnTo>
                    <a:pt x="114427" y="259333"/>
                  </a:lnTo>
                  <a:lnTo>
                    <a:pt x="114809" y="258825"/>
                  </a:lnTo>
                  <a:lnTo>
                    <a:pt x="115189" y="258444"/>
                  </a:lnTo>
                  <a:lnTo>
                    <a:pt x="115698" y="258318"/>
                  </a:lnTo>
                  <a:lnTo>
                    <a:pt x="116206" y="258063"/>
                  </a:lnTo>
                  <a:lnTo>
                    <a:pt x="116713" y="257937"/>
                  </a:lnTo>
                  <a:lnTo>
                    <a:pt x="117475" y="257937"/>
                  </a:lnTo>
                  <a:lnTo>
                    <a:pt x="117984" y="258063"/>
                  </a:lnTo>
                  <a:lnTo>
                    <a:pt x="118746" y="258191"/>
                  </a:lnTo>
                  <a:lnTo>
                    <a:pt x="119381" y="258444"/>
                  </a:lnTo>
                  <a:lnTo>
                    <a:pt x="120015" y="258825"/>
                  </a:lnTo>
                  <a:lnTo>
                    <a:pt x="120650" y="259206"/>
                  </a:lnTo>
                  <a:lnTo>
                    <a:pt x="146812" y="279400"/>
                  </a:lnTo>
                  <a:lnTo>
                    <a:pt x="146812" y="243458"/>
                  </a:lnTo>
                  <a:lnTo>
                    <a:pt x="164592" y="243458"/>
                  </a:lnTo>
                  <a:lnTo>
                    <a:pt x="164592" y="292988"/>
                  </a:lnTo>
                  <a:lnTo>
                    <a:pt x="171577" y="298323"/>
                  </a:lnTo>
                  <a:lnTo>
                    <a:pt x="171577" y="262762"/>
                  </a:lnTo>
                  <a:lnTo>
                    <a:pt x="171577" y="261874"/>
                  </a:lnTo>
                  <a:lnTo>
                    <a:pt x="171832" y="260985"/>
                  </a:lnTo>
                  <a:lnTo>
                    <a:pt x="171832" y="260350"/>
                  </a:lnTo>
                  <a:lnTo>
                    <a:pt x="172212" y="259842"/>
                  </a:lnTo>
                  <a:lnTo>
                    <a:pt x="172594" y="259333"/>
                  </a:lnTo>
                  <a:lnTo>
                    <a:pt x="172848" y="258825"/>
                  </a:lnTo>
                  <a:lnTo>
                    <a:pt x="173356" y="258444"/>
                  </a:lnTo>
                  <a:lnTo>
                    <a:pt x="173737" y="258318"/>
                  </a:lnTo>
                  <a:lnTo>
                    <a:pt x="174372" y="258063"/>
                  </a:lnTo>
                  <a:lnTo>
                    <a:pt x="174879" y="257937"/>
                  </a:lnTo>
                  <a:lnTo>
                    <a:pt x="175387" y="257937"/>
                  </a:lnTo>
                  <a:lnTo>
                    <a:pt x="176149" y="258063"/>
                  </a:lnTo>
                  <a:lnTo>
                    <a:pt x="176785" y="258191"/>
                  </a:lnTo>
                  <a:lnTo>
                    <a:pt x="177420" y="258444"/>
                  </a:lnTo>
                  <a:lnTo>
                    <a:pt x="178182" y="258825"/>
                  </a:lnTo>
                  <a:lnTo>
                    <a:pt x="178816" y="259206"/>
                  </a:lnTo>
                  <a:lnTo>
                    <a:pt x="226187" y="295529"/>
                  </a:lnTo>
                  <a:lnTo>
                    <a:pt x="260859" y="295529"/>
                  </a:lnTo>
                  <a:lnTo>
                    <a:pt x="260859" y="344424"/>
                  </a:lnTo>
                  <a:lnTo>
                    <a:pt x="0" y="344424"/>
                  </a:lnTo>
                  <a:lnTo>
                    <a:pt x="0" y="243458"/>
                  </a:lnTo>
                  <a:lnTo>
                    <a:pt x="17781" y="243458"/>
                  </a:lnTo>
                  <a:lnTo>
                    <a:pt x="17781" y="304164"/>
                  </a:lnTo>
                  <a:close/>
                  <a:moveTo>
                    <a:pt x="-5946012" y="4614671"/>
                  </a:moveTo>
                  <a:moveTo>
                    <a:pt x="228727" y="308610"/>
                  </a:moveTo>
                  <a:lnTo>
                    <a:pt x="180467" y="271525"/>
                  </a:lnTo>
                  <a:lnTo>
                    <a:pt x="180467" y="307086"/>
                  </a:lnTo>
                  <a:lnTo>
                    <a:pt x="180467" y="307975"/>
                  </a:lnTo>
                  <a:lnTo>
                    <a:pt x="180340" y="308610"/>
                  </a:lnTo>
                  <a:lnTo>
                    <a:pt x="180087" y="309371"/>
                  </a:lnTo>
                  <a:lnTo>
                    <a:pt x="179960" y="309880"/>
                  </a:lnTo>
                  <a:lnTo>
                    <a:pt x="179578" y="310514"/>
                  </a:lnTo>
                  <a:lnTo>
                    <a:pt x="179198" y="310895"/>
                  </a:lnTo>
                  <a:lnTo>
                    <a:pt x="178689" y="311276"/>
                  </a:lnTo>
                  <a:lnTo>
                    <a:pt x="178309" y="311531"/>
                  </a:lnTo>
                  <a:lnTo>
                    <a:pt x="177674" y="311785"/>
                  </a:lnTo>
                  <a:lnTo>
                    <a:pt x="177165" y="311912"/>
                  </a:lnTo>
                  <a:lnTo>
                    <a:pt x="176531" y="311912"/>
                  </a:lnTo>
                  <a:lnTo>
                    <a:pt x="175896" y="311785"/>
                  </a:lnTo>
                  <a:lnTo>
                    <a:pt x="175261" y="311657"/>
                  </a:lnTo>
                  <a:lnTo>
                    <a:pt x="174752" y="311404"/>
                  </a:lnTo>
                  <a:lnTo>
                    <a:pt x="173990" y="311023"/>
                  </a:lnTo>
                  <a:lnTo>
                    <a:pt x="173228" y="310642"/>
                  </a:lnTo>
                  <a:lnTo>
                    <a:pt x="122301" y="271525"/>
                  </a:lnTo>
                  <a:lnTo>
                    <a:pt x="122301" y="307086"/>
                  </a:lnTo>
                  <a:lnTo>
                    <a:pt x="122301" y="307975"/>
                  </a:lnTo>
                  <a:lnTo>
                    <a:pt x="122301" y="308610"/>
                  </a:lnTo>
                  <a:lnTo>
                    <a:pt x="122048" y="309371"/>
                  </a:lnTo>
                  <a:lnTo>
                    <a:pt x="121794" y="309880"/>
                  </a:lnTo>
                  <a:lnTo>
                    <a:pt x="121412" y="310514"/>
                  </a:lnTo>
                  <a:lnTo>
                    <a:pt x="121032" y="310895"/>
                  </a:lnTo>
                  <a:lnTo>
                    <a:pt x="120524" y="311276"/>
                  </a:lnTo>
                  <a:lnTo>
                    <a:pt x="120142" y="311531"/>
                  </a:lnTo>
                  <a:lnTo>
                    <a:pt x="119635" y="311785"/>
                  </a:lnTo>
                  <a:lnTo>
                    <a:pt x="118999" y="311912"/>
                  </a:lnTo>
                  <a:lnTo>
                    <a:pt x="118491" y="311912"/>
                  </a:lnTo>
                  <a:lnTo>
                    <a:pt x="117857" y="311785"/>
                  </a:lnTo>
                  <a:lnTo>
                    <a:pt x="117095" y="311657"/>
                  </a:lnTo>
                  <a:lnTo>
                    <a:pt x="116587" y="311404"/>
                  </a:lnTo>
                  <a:lnTo>
                    <a:pt x="115824" y="311023"/>
                  </a:lnTo>
                  <a:lnTo>
                    <a:pt x="115062" y="310642"/>
                  </a:lnTo>
                  <a:lnTo>
                    <a:pt x="64516" y="271525"/>
                  </a:lnTo>
                  <a:lnTo>
                    <a:pt x="64516" y="307212"/>
                  </a:lnTo>
                  <a:lnTo>
                    <a:pt x="64389" y="308356"/>
                  </a:lnTo>
                  <a:lnTo>
                    <a:pt x="64009" y="309625"/>
                  </a:lnTo>
                  <a:lnTo>
                    <a:pt x="63627" y="310514"/>
                  </a:lnTo>
                  <a:lnTo>
                    <a:pt x="62865" y="311404"/>
                  </a:lnTo>
                  <a:lnTo>
                    <a:pt x="62231" y="312038"/>
                  </a:lnTo>
                  <a:lnTo>
                    <a:pt x="61341" y="312419"/>
                  </a:lnTo>
                  <a:lnTo>
                    <a:pt x="60452" y="312800"/>
                  </a:lnTo>
                  <a:lnTo>
                    <a:pt x="59563" y="312800"/>
                  </a:lnTo>
                  <a:lnTo>
                    <a:pt x="17781" y="312800"/>
                  </a:lnTo>
                  <a:lnTo>
                    <a:pt x="17781" y="327151"/>
                  </a:lnTo>
                  <a:lnTo>
                    <a:pt x="18162" y="327151"/>
                  </a:lnTo>
                  <a:lnTo>
                    <a:pt x="245746" y="327151"/>
                  </a:lnTo>
                  <a:lnTo>
                    <a:pt x="245746" y="308610"/>
                  </a:lnTo>
                  <a:lnTo>
                    <a:pt x="228727" y="308610"/>
                  </a:lnTo>
                  <a:close/>
                  <a:moveTo>
                    <a:pt x="-5950458" y="4614671"/>
                  </a:moveTo>
                  <a:moveTo>
                    <a:pt x="391287" y="189737"/>
                  </a:moveTo>
                  <a:lnTo>
                    <a:pt x="395606" y="63118"/>
                  </a:lnTo>
                  <a:lnTo>
                    <a:pt x="415545" y="63118"/>
                  </a:lnTo>
                  <a:lnTo>
                    <a:pt x="419736" y="189737"/>
                  </a:lnTo>
                  <a:lnTo>
                    <a:pt x="391287" y="189737"/>
                  </a:lnTo>
                  <a:close/>
                  <a:moveTo>
                    <a:pt x="-5831585" y="4614671"/>
                  </a:moveTo>
                  <a:moveTo>
                    <a:pt x="404241" y="71755"/>
                  </a:moveTo>
                  <a:lnTo>
                    <a:pt x="400939" y="172974"/>
                  </a:lnTo>
                  <a:lnTo>
                    <a:pt x="409957" y="164211"/>
                  </a:lnTo>
                  <a:lnTo>
                    <a:pt x="406782" y="71755"/>
                  </a:lnTo>
                  <a:lnTo>
                    <a:pt x="404241" y="71755"/>
                  </a:lnTo>
                  <a:close/>
                  <a:moveTo>
                    <a:pt x="-5713603" y="4614671"/>
                  </a:moveTo>
                  <a:moveTo>
                    <a:pt x="429641" y="211708"/>
                  </a:moveTo>
                  <a:lnTo>
                    <a:pt x="436246" y="211708"/>
                  </a:lnTo>
                  <a:lnTo>
                    <a:pt x="436246" y="234314"/>
                  </a:lnTo>
                  <a:lnTo>
                    <a:pt x="451104" y="234314"/>
                  </a:lnTo>
                  <a:lnTo>
                    <a:pt x="451104" y="344424"/>
                  </a:lnTo>
                  <a:lnTo>
                    <a:pt x="329438" y="344424"/>
                  </a:lnTo>
                  <a:lnTo>
                    <a:pt x="329438" y="234314"/>
                  </a:lnTo>
                  <a:lnTo>
                    <a:pt x="371857" y="234314"/>
                  </a:lnTo>
                  <a:lnTo>
                    <a:pt x="371857" y="211708"/>
                  </a:lnTo>
                  <a:lnTo>
                    <a:pt x="379858" y="211708"/>
                  </a:lnTo>
                  <a:lnTo>
                    <a:pt x="379858" y="198374"/>
                  </a:lnTo>
                  <a:lnTo>
                    <a:pt x="429641" y="198374"/>
                  </a:lnTo>
                  <a:lnTo>
                    <a:pt x="429641" y="211708"/>
                  </a:lnTo>
                  <a:close/>
                  <a:moveTo>
                    <a:pt x="-5853556" y="4614671"/>
                  </a:moveTo>
                  <a:moveTo>
                    <a:pt x="397637" y="228981"/>
                  </a:moveTo>
                  <a:lnTo>
                    <a:pt x="389637" y="228981"/>
                  </a:lnTo>
                  <a:lnTo>
                    <a:pt x="389637" y="251587"/>
                  </a:lnTo>
                  <a:lnTo>
                    <a:pt x="347219" y="251587"/>
                  </a:lnTo>
                  <a:lnTo>
                    <a:pt x="347219" y="327151"/>
                  </a:lnTo>
                  <a:lnTo>
                    <a:pt x="433324" y="327151"/>
                  </a:lnTo>
                  <a:lnTo>
                    <a:pt x="433324" y="251587"/>
                  </a:lnTo>
                  <a:lnTo>
                    <a:pt x="418338" y="251587"/>
                  </a:lnTo>
                  <a:lnTo>
                    <a:pt x="418338" y="228981"/>
                  </a:lnTo>
                  <a:lnTo>
                    <a:pt x="411735" y="228981"/>
                  </a:lnTo>
                  <a:lnTo>
                    <a:pt x="411735" y="215645"/>
                  </a:lnTo>
                  <a:lnTo>
                    <a:pt x="397637" y="215645"/>
                  </a:lnTo>
                  <a:lnTo>
                    <a:pt x="397637" y="228981"/>
                  </a:lnTo>
                  <a:close/>
                  <a:moveTo>
                    <a:pt x="-5870829" y="4614671"/>
                  </a:moveTo>
                  <a:moveTo>
                    <a:pt x="360299" y="294258"/>
                  </a:moveTo>
                  <a:lnTo>
                    <a:pt x="389637" y="294258"/>
                  </a:lnTo>
                  <a:lnTo>
                    <a:pt x="389637" y="302894"/>
                  </a:lnTo>
                  <a:lnTo>
                    <a:pt x="360299" y="302894"/>
                  </a:lnTo>
                  <a:lnTo>
                    <a:pt x="360299" y="294258"/>
                  </a:lnTo>
                  <a:close/>
                  <a:moveTo>
                    <a:pt x="-5936106" y="4614671"/>
                  </a:moveTo>
                  <a:moveTo>
                    <a:pt x="360299" y="264032"/>
                  </a:moveTo>
                  <a:lnTo>
                    <a:pt x="389637" y="264032"/>
                  </a:lnTo>
                  <a:lnTo>
                    <a:pt x="389637" y="272668"/>
                  </a:lnTo>
                  <a:lnTo>
                    <a:pt x="360299" y="272668"/>
                  </a:lnTo>
                  <a:lnTo>
                    <a:pt x="360299" y="264032"/>
                  </a:lnTo>
                  <a:close/>
                  <a:moveTo>
                    <a:pt x="-5905880" y="4614671"/>
                  </a:moveTo>
                  <a:moveTo>
                    <a:pt x="360299" y="279145"/>
                  </a:moveTo>
                  <a:lnTo>
                    <a:pt x="389637" y="279145"/>
                  </a:lnTo>
                  <a:lnTo>
                    <a:pt x="389637" y="287781"/>
                  </a:lnTo>
                  <a:lnTo>
                    <a:pt x="360299" y="287781"/>
                  </a:lnTo>
                  <a:lnTo>
                    <a:pt x="360299" y="279145"/>
                  </a:lnTo>
                  <a:close/>
                  <a:moveTo>
                    <a:pt x="-5920993" y="4614671"/>
                  </a:moveTo>
                  <a:moveTo>
                    <a:pt x="115189" y="71755"/>
                  </a:moveTo>
                  <a:lnTo>
                    <a:pt x="111887" y="172974"/>
                  </a:lnTo>
                  <a:lnTo>
                    <a:pt x="120904" y="164211"/>
                  </a:lnTo>
                  <a:lnTo>
                    <a:pt x="117857" y="71755"/>
                  </a:lnTo>
                  <a:lnTo>
                    <a:pt x="115189" y="71755"/>
                  </a:lnTo>
                  <a:close/>
                  <a:moveTo>
                    <a:pt x="-5713603" y="4614671"/>
                  </a:moveTo>
                  <a:moveTo>
                    <a:pt x="102362" y="189737"/>
                  </a:moveTo>
                  <a:lnTo>
                    <a:pt x="106681" y="63118"/>
                  </a:lnTo>
                  <a:lnTo>
                    <a:pt x="126492" y="63118"/>
                  </a:lnTo>
                  <a:lnTo>
                    <a:pt x="130684" y="189737"/>
                  </a:lnTo>
                  <a:lnTo>
                    <a:pt x="102362" y="189737"/>
                  </a:lnTo>
                  <a:close/>
                  <a:moveTo>
                    <a:pt x="-5831585" y="4614671"/>
                  </a:moveTo>
                  <a:moveTo>
                    <a:pt x="75565" y="71755"/>
                  </a:moveTo>
                  <a:lnTo>
                    <a:pt x="72263" y="172974"/>
                  </a:lnTo>
                  <a:lnTo>
                    <a:pt x="81281" y="164211"/>
                  </a:lnTo>
                  <a:lnTo>
                    <a:pt x="78233" y="71755"/>
                  </a:lnTo>
                  <a:lnTo>
                    <a:pt x="75565" y="71755"/>
                  </a:lnTo>
                  <a:close/>
                  <a:moveTo>
                    <a:pt x="-5713603" y="4614671"/>
                  </a:moveTo>
                  <a:moveTo>
                    <a:pt x="62738" y="189737"/>
                  </a:moveTo>
                  <a:lnTo>
                    <a:pt x="67057" y="63118"/>
                  </a:lnTo>
                  <a:lnTo>
                    <a:pt x="86869" y="63118"/>
                  </a:lnTo>
                  <a:lnTo>
                    <a:pt x="91060" y="189737"/>
                  </a:lnTo>
                  <a:lnTo>
                    <a:pt x="62738" y="189737"/>
                  </a:lnTo>
                  <a:close/>
                  <a:moveTo>
                    <a:pt x="-5831585" y="4614671"/>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24" name="Freeform 1524"/>
            <p:cNvSpPr/>
            <p:nvPr/>
          </p:nvSpPr>
          <p:spPr>
            <a:xfrm>
              <a:off x="10087384" y="1467284"/>
              <a:ext cx="1990186" cy="718457"/>
            </a:xfrm>
            <a:custGeom>
              <a:avLst/>
              <a:gdLst/>
              <a:ahLst/>
              <a:cxnLst/>
              <a:rect l="0" t="0" r="0" b="0"/>
              <a:pathLst>
                <a:path w="1511808" h="1298447">
                  <a:moveTo>
                    <a:pt x="0" y="1298447"/>
                  </a:moveTo>
                  <a:lnTo>
                    <a:pt x="1511808" y="1298447"/>
                  </a:lnTo>
                  <a:lnTo>
                    <a:pt x="1511808" y="0"/>
                  </a:lnTo>
                  <a:lnTo>
                    <a:pt x="0" y="0"/>
                  </a:lnTo>
                  <a:lnTo>
                    <a:pt x="0" y="1298447"/>
                  </a:lnTo>
                  <a:close/>
                </a:path>
              </a:pathLst>
            </a:custGeom>
            <a:noFill/>
            <a:ln w="9525" cap="flat" cmpd="sng">
              <a:solidFill>
                <a:srgbClr val="FFFACC"/>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1586" name="Rectangle 1586"/>
            <p:cNvSpPr/>
            <p:nvPr/>
          </p:nvSpPr>
          <p:spPr>
            <a:xfrm>
              <a:off x="10970048" y="1946980"/>
              <a:ext cx="286461" cy="154658"/>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Steel</a:t>
              </a:r>
            </a:p>
          </p:txBody>
        </p:sp>
        <p:sp>
          <p:nvSpPr>
            <p:cNvPr id="1588" name="Rectangle 1588"/>
            <p:cNvSpPr/>
            <p:nvPr/>
          </p:nvSpPr>
          <p:spPr>
            <a:xfrm>
              <a:off x="10143798" y="1946980"/>
              <a:ext cx="567135" cy="154658"/>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Chemicals</a:t>
              </a:r>
            </a:p>
          </p:txBody>
        </p:sp>
        <p:sp>
          <p:nvSpPr>
            <p:cNvPr id="1589" name="Rectangle 1589"/>
            <p:cNvSpPr/>
            <p:nvPr/>
          </p:nvSpPr>
          <p:spPr>
            <a:xfrm>
              <a:off x="11490727" y="1943709"/>
              <a:ext cx="594738" cy="154786"/>
            </a:xfrm>
            <a:prstGeom prst="rect">
              <a:avLst/>
            </a:prstGeom>
          </p:spPr>
          <p:txBody>
            <a:bodyPr wrap="squar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Refineries</a:t>
              </a:r>
            </a:p>
          </p:txBody>
        </p:sp>
      </p:grpSp>
      <p:sp>
        <p:nvSpPr>
          <p:cNvPr id="1567" name="Rectangle 1567"/>
          <p:cNvSpPr/>
          <p:nvPr/>
        </p:nvSpPr>
        <p:spPr>
          <a:xfrm>
            <a:off x="9891884" y="1497374"/>
            <a:ext cx="1495979" cy="246990"/>
          </a:xfrm>
          <a:prstGeom prst="rect">
            <a:avLst/>
          </a:prstGeom>
          <a:solidFill>
            <a:srgbClr val="2E2E38"/>
          </a:solidFill>
        </p:spPr>
        <p:txBody>
          <a:bodyPr wrap="square" lIns="0" tIns="0" rIns="0" bIns="0">
            <a:sp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605" b="1" i="0" u="none" strike="noStrike" kern="1200" cap="none" spc="0" normalizeH="0" baseline="0" noProof="0" dirty="0">
                <a:ln>
                  <a:noFill/>
                </a:ln>
                <a:solidFill>
                  <a:srgbClr val="FFE600"/>
                </a:solidFill>
                <a:effectLst/>
                <a:uLnTx/>
                <a:uFillTx/>
                <a:latin typeface="EYInterstate-LightBold"/>
                <a:ea typeface="+mn-ea"/>
                <a:cs typeface="+mn-cs"/>
              </a:rPr>
              <a:t>Industry </a:t>
            </a:r>
          </a:p>
        </p:txBody>
      </p:sp>
      <p:sp>
        <p:nvSpPr>
          <p:cNvPr id="1569" name="Rectangle 1569"/>
          <p:cNvSpPr/>
          <p:nvPr/>
        </p:nvSpPr>
        <p:spPr>
          <a:xfrm>
            <a:off x="9891884" y="4743016"/>
            <a:ext cx="1520336" cy="247503"/>
          </a:xfrm>
          <a:prstGeom prst="rect">
            <a:avLst/>
          </a:prstGeom>
          <a:solidFill>
            <a:srgbClr val="2E2E38"/>
          </a:solidFill>
        </p:spPr>
        <p:txBody>
          <a:bodyPr wrap="square" lIns="0" tIns="0" rIns="0" bIns="0">
            <a:spAutoFit/>
          </a:bodyPr>
          <a:lstStyle/>
          <a:p>
            <a:pPr marL="0" marR="0" lvl="0" indent="0" algn="ctr" defTabSz="913943" rtl="0" eaLnBrk="1" fontAlgn="auto" latinLnBrk="0" hangingPunct="1">
              <a:lnSpc>
                <a:spcPct val="100000"/>
              </a:lnSpc>
              <a:spcBef>
                <a:spcPts val="0"/>
              </a:spcBef>
              <a:spcAft>
                <a:spcPts val="0"/>
              </a:spcAft>
              <a:buClrTx/>
              <a:buSzTx/>
              <a:buFontTx/>
              <a:buNone/>
              <a:tabLst>
                <a:tab pos="1942426" algn="l"/>
              </a:tabLst>
              <a:defRPr/>
            </a:pPr>
            <a:r>
              <a:rPr kumimoji="0" lang="en-US" sz="1608" b="1" i="0" u="none" strike="noStrike" kern="1200" cap="none" spc="0" normalizeH="0" baseline="0" noProof="0" dirty="0">
                <a:ln>
                  <a:noFill/>
                </a:ln>
                <a:solidFill>
                  <a:srgbClr val="FFE600"/>
                </a:solidFill>
                <a:effectLst/>
                <a:uLnTx/>
                <a:uFillTx/>
                <a:latin typeface="EYInterstate-LightBold"/>
                <a:ea typeface="+mn-ea"/>
                <a:cs typeface="+mn-cs"/>
              </a:rPr>
              <a:t>Power &amp;</a:t>
            </a:r>
            <a:r>
              <a:rPr kumimoji="0" lang="en-US" sz="1608" b="1" i="0" u="none" strike="noStrike" kern="1200" cap="none" spc="-28" normalizeH="0" baseline="0" noProof="0" dirty="0">
                <a:ln>
                  <a:noFill/>
                </a:ln>
                <a:solidFill>
                  <a:srgbClr val="FFE600"/>
                </a:solidFill>
                <a:effectLst/>
                <a:uLnTx/>
                <a:uFillTx/>
                <a:latin typeface="EYInterstate-LightBold"/>
                <a:ea typeface="+mn-ea"/>
                <a:cs typeface="+mn-cs"/>
              </a:rPr>
              <a:t> </a:t>
            </a:r>
            <a:r>
              <a:rPr kumimoji="0" lang="en-US" sz="1608" b="1" i="0" u="none" strike="noStrike" kern="1200" cap="none" spc="0" normalizeH="0" baseline="0" noProof="0" dirty="0">
                <a:ln>
                  <a:noFill/>
                </a:ln>
                <a:solidFill>
                  <a:srgbClr val="FFE600"/>
                </a:solidFill>
                <a:effectLst/>
                <a:uLnTx/>
                <a:uFillTx/>
                <a:latin typeface="EYInterstate-LightBold"/>
                <a:ea typeface="+mn-ea"/>
                <a:cs typeface="+mn-cs"/>
              </a:rPr>
              <a:t>Heat </a:t>
            </a:r>
            <a:endParaRPr kumimoji="0" lang="en-US" sz="2432" b="1" i="0" u="none" strike="noStrike" kern="1200" cap="none" spc="0" normalizeH="0" baseline="17599" noProof="0" dirty="0">
              <a:ln>
                <a:noFill/>
              </a:ln>
              <a:solidFill>
                <a:srgbClr val="FFE600"/>
              </a:solidFill>
              <a:effectLst/>
              <a:uLnTx/>
              <a:uFillTx/>
              <a:latin typeface="EYInterstate-LightBold"/>
              <a:ea typeface="+mn-ea"/>
              <a:cs typeface="+mn-cs"/>
            </a:endParaRPr>
          </a:p>
        </p:txBody>
      </p:sp>
      <p:sp>
        <p:nvSpPr>
          <p:cNvPr id="1570" name="Rectangle 1570"/>
          <p:cNvSpPr/>
          <p:nvPr/>
        </p:nvSpPr>
        <p:spPr>
          <a:xfrm>
            <a:off x="3615861" y="3346571"/>
            <a:ext cx="928774" cy="246861"/>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605" b="1" i="0" u="none" strike="noStrike" kern="1200" cap="none" spc="0" normalizeH="0" baseline="0" noProof="0" dirty="0">
                <a:ln>
                  <a:noFill/>
                </a:ln>
                <a:solidFill>
                  <a:srgbClr val="FFE600"/>
                </a:solidFill>
                <a:effectLst/>
                <a:uLnTx/>
                <a:uFillTx/>
                <a:latin typeface="EYInterstate-LightBold"/>
                <a:ea typeface="+mn-ea"/>
                <a:cs typeface="+mn-cs"/>
              </a:rPr>
              <a:t>Hydrogen</a:t>
            </a:r>
          </a:p>
        </p:txBody>
      </p:sp>
      <p:grpSp>
        <p:nvGrpSpPr>
          <p:cNvPr id="11" name="4. Distribution - Transport">
            <a:extLst>
              <a:ext uri="{FF2B5EF4-FFF2-40B4-BE49-F238E27FC236}">
                <a16:creationId xmlns:a16="http://schemas.microsoft.com/office/drawing/2014/main" id="{EB79EDB0-BAB5-48B2-895A-2B29E70AE9F0}"/>
              </a:ext>
            </a:extLst>
          </p:cNvPr>
          <p:cNvGrpSpPr/>
          <p:nvPr/>
        </p:nvGrpSpPr>
        <p:grpSpPr>
          <a:xfrm>
            <a:off x="7527180" y="3798948"/>
            <a:ext cx="1501347" cy="1334996"/>
            <a:chOff x="7352030" y="3640390"/>
            <a:chExt cx="1502129" cy="1335691"/>
          </a:xfrm>
        </p:grpSpPr>
        <p:sp>
          <p:nvSpPr>
            <p:cNvPr id="1267" name="Freeform 1267"/>
            <p:cNvSpPr/>
            <p:nvPr/>
          </p:nvSpPr>
          <p:spPr>
            <a:xfrm>
              <a:off x="7352030" y="3640390"/>
              <a:ext cx="1502129" cy="1335691"/>
            </a:xfrm>
            <a:custGeom>
              <a:avLst/>
              <a:gdLst/>
              <a:ahLst/>
              <a:cxnLst/>
              <a:rect l="0" t="0" r="0" b="0"/>
              <a:pathLst>
                <a:path w="1487424" h="1319784">
                  <a:moveTo>
                    <a:pt x="0" y="1319784"/>
                  </a:moveTo>
                  <a:lnTo>
                    <a:pt x="1487424" y="1319784"/>
                  </a:lnTo>
                  <a:lnTo>
                    <a:pt x="1487424" y="0"/>
                  </a:lnTo>
                  <a:lnTo>
                    <a:pt x="0" y="0"/>
                  </a:lnTo>
                  <a:lnTo>
                    <a:pt x="0" y="1319784"/>
                  </a:lnTo>
                  <a:close/>
                </a:path>
              </a:pathLst>
            </a:custGeom>
            <a:noFill/>
            <a:ln w="9525" cap="flat" cmpd="sng">
              <a:solidFill>
                <a:srgbClr val="FFF599"/>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1377" name="Freeform 1377"/>
            <p:cNvSpPr/>
            <p:nvPr/>
          </p:nvSpPr>
          <p:spPr>
            <a:xfrm>
              <a:off x="7610070" y="3718411"/>
              <a:ext cx="304641" cy="316826"/>
            </a:xfrm>
            <a:custGeom>
              <a:avLst/>
              <a:gdLst/>
              <a:ahLst/>
              <a:cxnLst/>
              <a:rect l="0" t="0" r="0" b="0"/>
              <a:pathLst>
                <a:path w="304800" h="316991">
                  <a:moveTo>
                    <a:pt x="293750" y="64897"/>
                  </a:moveTo>
                  <a:lnTo>
                    <a:pt x="293750" y="64897"/>
                  </a:lnTo>
                  <a:lnTo>
                    <a:pt x="292100" y="63500"/>
                  </a:lnTo>
                  <a:lnTo>
                    <a:pt x="290449" y="62357"/>
                  </a:lnTo>
                  <a:lnTo>
                    <a:pt x="288671" y="61213"/>
                  </a:lnTo>
                  <a:lnTo>
                    <a:pt x="287020" y="60325"/>
                  </a:lnTo>
                  <a:lnTo>
                    <a:pt x="285114" y="59309"/>
                  </a:lnTo>
                  <a:lnTo>
                    <a:pt x="283337" y="58673"/>
                  </a:lnTo>
                  <a:lnTo>
                    <a:pt x="281304" y="57912"/>
                  </a:lnTo>
                  <a:lnTo>
                    <a:pt x="279400" y="57404"/>
                  </a:lnTo>
                  <a:lnTo>
                    <a:pt x="277495" y="56895"/>
                  </a:lnTo>
                  <a:lnTo>
                    <a:pt x="275462" y="56388"/>
                  </a:lnTo>
                  <a:lnTo>
                    <a:pt x="271399" y="55753"/>
                  </a:lnTo>
                  <a:lnTo>
                    <a:pt x="267462" y="55117"/>
                  </a:lnTo>
                  <a:lnTo>
                    <a:pt x="263398" y="54737"/>
                  </a:lnTo>
                  <a:lnTo>
                    <a:pt x="85344" y="38481"/>
                  </a:lnTo>
                  <a:lnTo>
                    <a:pt x="119761" y="16891"/>
                  </a:lnTo>
                  <a:lnTo>
                    <a:pt x="120903" y="16129"/>
                  </a:lnTo>
                  <a:lnTo>
                    <a:pt x="121920" y="15366"/>
                  </a:lnTo>
                  <a:lnTo>
                    <a:pt x="122936" y="14478"/>
                  </a:lnTo>
                  <a:lnTo>
                    <a:pt x="123571" y="13588"/>
                  </a:lnTo>
                  <a:lnTo>
                    <a:pt x="124205" y="12826"/>
                  </a:lnTo>
                  <a:lnTo>
                    <a:pt x="124587" y="11938"/>
                  </a:lnTo>
                  <a:lnTo>
                    <a:pt x="124967" y="11048"/>
                  </a:lnTo>
                  <a:lnTo>
                    <a:pt x="125222" y="10160"/>
                  </a:lnTo>
                  <a:lnTo>
                    <a:pt x="125222" y="9397"/>
                  </a:lnTo>
                  <a:lnTo>
                    <a:pt x="125222" y="8635"/>
                  </a:lnTo>
                  <a:lnTo>
                    <a:pt x="125095" y="7747"/>
                  </a:lnTo>
                  <a:lnTo>
                    <a:pt x="124840" y="6857"/>
                  </a:lnTo>
                  <a:lnTo>
                    <a:pt x="124587" y="6222"/>
                  </a:lnTo>
                  <a:lnTo>
                    <a:pt x="124205" y="5334"/>
                  </a:lnTo>
                  <a:lnTo>
                    <a:pt x="123571" y="4698"/>
                  </a:lnTo>
                  <a:lnTo>
                    <a:pt x="123062" y="4063"/>
                  </a:lnTo>
                  <a:lnTo>
                    <a:pt x="122427" y="3429"/>
                  </a:lnTo>
                  <a:lnTo>
                    <a:pt x="121665" y="2920"/>
                  </a:lnTo>
                  <a:lnTo>
                    <a:pt x="120776" y="2285"/>
                  </a:lnTo>
                  <a:lnTo>
                    <a:pt x="120014" y="1778"/>
                  </a:lnTo>
                  <a:lnTo>
                    <a:pt x="119252" y="1269"/>
                  </a:lnTo>
                  <a:lnTo>
                    <a:pt x="118363" y="888"/>
                  </a:lnTo>
                  <a:lnTo>
                    <a:pt x="117221" y="635"/>
                  </a:lnTo>
                  <a:lnTo>
                    <a:pt x="116332" y="381"/>
                  </a:lnTo>
                  <a:lnTo>
                    <a:pt x="115315" y="254"/>
                  </a:lnTo>
                  <a:lnTo>
                    <a:pt x="114300" y="0"/>
                  </a:lnTo>
                  <a:lnTo>
                    <a:pt x="113157" y="0"/>
                  </a:lnTo>
                  <a:lnTo>
                    <a:pt x="112267" y="0"/>
                  </a:lnTo>
                  <a:lnTo>
                    <a:pt x="111251" y="126"/>
                  </a:lnTo>
                  <a:lnTo>
                    <a:pt x="110109" y="381"/>
                  </a:lnTo>
                  <a:lnTo>
                    <a:pt x="109092" y="635"/>
                  </a:lnTo>
                  <a:lnTo>
                    <a:pt x="108076" y="888"/>
                  </a:lnTo>
                  <a:lnTo>
                    <a:pt x="22987" y="36575"/>
                  </a:lnTo>
                  <a:lnTo>
                    <a:pt x="21336" y="37084"/>
                  </a:lnTo>
                  <a:lnTo>
                    <a:pt x="19812" y="37719"/>
                  </a:lnTo>
                  <a:lnTo>
                    <a:pt x="18414" y="38354"/>
                  </a:lnTo>
                  <a:lnTo>
                    <a:pt x="17017" y="38988"/>
                  </a:lnTo>
                  <a:lnTo>
                    <a:pt x="15621" y="39623"/>
                  </a:lnTo>
                  <a:lnTo>
                    <a:pt x="14224" y="40513"/>
                  </a:lnTo>
                  <a:lnTo>
                    <a:pt x="13080" y="41147"/>
                  </a:lnTo>
                  <a:lnTo>
                    <a:pt x="11811" y="42037"/>
                  </a:lnTo>
                  <a:lnTo>
                    <a:pt x="9651" y="43814"/>
                  </a:lnTo>
                  <a:lnTo>
                    <a:pt x="7747" y="45719"/>
                  </a:lnTo>
                  <a:lnTo>
                    <a:pt x="5969" y="47751"/>
                  </a:lnTo>
                  <a:lnTo>
                    <a:pt x="4317" y="49910"/>
                  </a:lnTo>
                  <a:lnTo>
                    <a:pt x="3048" y="52069"/>
                  </a:lnTo>
                  <a:lnTo>
                    <a:pt x="2159" y="54356"/>
                  </a:lnTo>
                  <a:lnTo>
                    <a:pt x="1142" y="56895"/>
                  </a:lnTo>
                  <a:lnTo>
                    <a:pt x="635" y="59309"/>
                  </a:lnTo>
                  <a:lnTo>
                    <a:pt x="253" y="61722"/>
                  </a:lnTo>
                  <a:lnTo>
                    <a:pt x="0" y="64262"/>
                  </a:lnTo>
                  <a:lnTo>
                    <a:pt x="126" y="66801"/>
                  </a:lnTo>
                  <a:lnTo>
                    <a:pt x="508" y="69341"/>
                  </a:lnTo>
                  <a:lnTo>
                    <a:pt x="888" y="71754"/>
                  </a:lnTo>
                  <a:lnTo>
                    <a:pt x="1777" y="74422"/>
                  </a:lnTo>
                  <a:lnTo>
                    <a:pt x="2794" y="76835"/>
                  </a:lnTo>
                  <a:lnTo>
                    <a:pt x="3937" y="79247"/>
                  </a:lnTo>
                  <a:lnTo>
                    <a:pt x="5334" y="81534"/>
                  </a:lnTo>
                  <a:lnTo>
                    <a:pt x="7112" y="83819"/>
                  </a:lnTo>
                  <a:lnTo>
                    <a:pt x="9016" y="86106"/>
                  </a:lnTo>
                  <a:lnTo>
                    <a:pt x="11175" y="88138"/>
                  </a:lnTo>
                  <a:lnTo>
                    <a:pt x="13588" y="90169"/>
                  </a:lnTo>
                  <a:lnTo>
                    <a:pt x="16128" y="92075"/>
                  </a:lnTo>
                  <a:lnTo>
                    <a:pt x="19050" y="93598"/>
                  </a:lnTo>
                  <a:lnTo>
                    <a:pt x="20574" y="94488"/>
                  </a:lnTo>
                  <a:lnTo>
                    <a:pt x="21971" y="95122"/>
                  </a:lnTo>
                  <a:lnTo>
                    <a:pt x="23749" y="95885"/>
                  </a:lnTo>
                  <a:lnTo>
                    <a:pt x="25400" y="96647"/>
                  </a:lnTo>
                  <a:lnTo>
                    <a:pt x="27177" y="97282"/>
                  </a:lnTo>
                  <a:lnTo>
                    <a:pt x="28955" y="97789"/>
                  </a:lnTo>
                  <a:lnTo>
                    <a:pt x="30734" y="98425"/>
                  </a:lnTo>
                  <a:lnTo>
                    <a:pt x="32765" y="98806"/>
                  </a:lnTo>
                  <a:lnTo>
                    <a:pt x="34671" y="99187"/>
                  </a:lnTo>
                  <a:lnTo>
                    <a:pt x="36702" y="99567"/>
                  </a:lnTo>
                  <a:lnTo>
                    <a:pt x="170434" y="121285"/>
                  </a:lnTo>
                  <a:lnTo>
                    <a:pt x="38862" y="229107"/>
                  </a:lnTo>
                  <a:lnTo>
                    <a:pt x="36702" y="230885"/>
                  </a:lnTo>
                  <a:lnTo>
                    <a:pt x="34671" y="232917"/>
                  </a:lnTo>
                  <a:lnTo>
                    <a:pt x="32765" y="234950"/>
                  </a:lnTo>
                  <a:lnTo>
                    <a:pt x="31114" y="236982"/>
                  </a:lnTo>
                  <a:lnTo>
                    <a:pt x="29463" y="239141"/>
                  </a:lnTo>
                  <a:lnTo>
                    <a:pt x="28066" y="241426"/>
                  </a:lnTo>
                  <a:lnTo>
                    <a:pt x="26670" y="243713"/>
                  </a:lnTo>
                  <a:lnTo>
                    <a:pt x="25400" y="245872"/>
                  </a:lnTo>
                  <a:lnTo>
                    <a:pt x="24384" y="248285"/>
                  </a:lnTo>
                  <a:lnTo>
                    <a:pt x="23240" y="250697"/>
                  </a:lnTo>
                  <a:lnTo>
                    <a:pt x="22478" y="252984"/>
                  </a:lnTo>
                  <a:lnTo>
                    <a:pt x="21844" y="255523"/>
                  </a:lnTo>
                  <a:lnTo>
                    <a:pt x="21336" y="257937"/>
                  </a:lnTo>
                  <a:lnTo>
                    <a:pt x="20700" y="260350"/>
                  </a:lnTo>
                  <a:lnTo>
                    <a:pt x="20574" y="262763"/>
                  </a:lnTo>
                  <a:lnTo>
                    <a:pt x="20320" y="265303"/>
                  </a:lnTo>
                  <a:lnTo>
                    <a:pt x="20320" y="267842"/>
                  </a:lnTo>
                  <a:lnTo>
                    <a:pt x="20447" y="270256"/>
                  </a:lnTo>
                  <a:lnTo>
                    <a:pt x="20700" y="272795"/>
                  </a:lnTo>
                  <a:lnTo>
                    <a:pt x="21082" y="275209"/>
                  </a:lnTo>
                  <a:lnTo>
                    <a:pt x="21589" y="277748"/>
                  </a:lnTo>
                  <a:lnTo>
                    <a:pt x="22225" y="280035"/>
                  </a:lnTo>
                  <a:lnTo>
                    <a:pt x="23113" y="282575"/>
                  </a:lnTo>
                  <a:lnTo>
                    <a:pt x="24129" y="284860"/>
                  </a:lnTo>
                  <a:lnTo>
                    <a:pt x="25146" y="287147"/>
                  </a:lnTo>
                  <a:lnTo>
                    <a:pt x="26415" y="289560"/>
                  </a:lnTo>
                  <a:lnTo>
                    <a:pt x="27812" y="291719"/>
                  </a:lnTo>
                  <a:lnTo>
                    <a:pt x="29337" y="294004"/>
                  </a:lnTo>
                  <a:lnTo>
                    <a:pt x="30987" y="296163"/>
                  </a:lnTo>
                  <a:lnTo>
                    <a:pt x="32765" y="298322"/>
                  </a:lnTo>
                  <a:lnTo>
                    <a:pt x="34798" y="300354"/>
                  </a:lnTo>
                  <a:lnTo>
                    <a:pt x="36957" y="302387"/>
                  </a:lnTo>
                  <a:lnTo>
                    <a:pt x="39242" y="304164"/>
                  </a:lnTo>
                  <a:lnTo>
                    <a:pt x="41401" y="305816"/>
                  </a:lnTo>
                  <a:lnTo>
                    <a:pt x="43561" y="307466"/>
                  </a:lnTo>
                  <a:lnTo>
                    <a:pt x="45974" y="308863"/>
                  </a:lnTo>
                  <a:lnTo>
                    <a:pt x="48513" y="310134"/>
                  </a:lnTo>
                  <a:lnTo>
                    <a:pt x="50926" y="311404"/>
                  </a:lnTo>
                  <a:lnTo>
                    <a:pt x="53466" y="312547"/>
                  </a:lnTo>
                  <a:lnTo>
                    <a:pt x="56007" y="313435"/>
                  </a:lnTo>
                  <a:lnTo>
                    <a:pt x="58674" y="314325"/>
                  </a:lnTo>
                  <a:lnTo>
                    <a:pt x="61467" y="315087"/>
                  </a:lnTo>
                  <a:lnTo>
                    <a:pt x="64008" y="315722"/>
                  </a:lnTo>
                  <a:lnTo>
                    <a:pt x="66801" y="316229"/>
                  </a:lnTo>
                  <a:lnTo>
                    <a:pt x="69596" y="316610"/>
                  </a:lnTo>
                  <a:lnTo>
                    <a:pt x="72389" y="316738"/>
                  </a:lnTo>
                  <a:lnTo>
                    <a:pt x="75184" y="316991"/>
                  </a:lnTo>
                  <a:lnTo>
                    <a:pt x="77977" y="316991"/>
                  </a:lnTo>
                  <a:lnTo>
                    <a:pt x="80772" y="316864"/>
                  </a:lnTo>
                  <a:lnTo>
                    <a:pt x="83565" y="316610"/>
                  </a:lnTo>
                  <a:lnTo>
                    <a:pt x="86360" y="316357"/>
                  </a:lnTo>
                  <a:lnTo>
                    <a:pt x="89026" y="315975"/>
                  </a:lnTo>
                  <a:lnTo>
                    <a:pt x="91821" y="315467"/>
                  </a:lnTo>
                  <a:lnTo>
                    <a:pt x="94487" y="314706"/>
                  </a:lnTo>
                  <a:lnTo>
                    <a:pt x="97154" y="314070"/>
                  </a:lnTo>
                  <a:lnTo>
                    <a:pt x="99822" y="313182"/>
                  </a:lnTo>
                  <a:lnTo>
                    <a:pt x="102362" y="312038"/>
                  </a:lnTo>
                  <a:lnTo>
                    <a:pt x="105028" y="311022"/>
                  </a:lnTo>
                  <a:lnTo>
                    <a:pt x="107569" y="309753"/>
                  </a:lnTo>
                  <a:lnTo>
                    <a:pt x="109854" y="308356"/>
                  </a:lnTo>
                  <a:lnTo>
                    <a:pt x="112267" y="306959"/>
                  </a:lnTo>
                  <a:lnTo>
                    <a:pt x="114426" y="305307"/>
                  </a:lnTo>
                  <a:lnTo>
                    <a:pt x="116839" y="303784"/>
                  </a:lnTo>
                  <a:lnTo>
                    <a:pt x="118872" y="301879"/>
                  </a:lnTo>
                  <a:lnTo>
                    <a:pt x="271145" y="137667"/>
                  </a:lnTo>
                  <a:lnTo>
                    <a:pt x="271652" y="137794"/>
                  </a:lnTo>
                  <a:lnTo>
                    <a:pt x="271779" y="137160"/>
                  </a:lnTo>
                  <a:lnTo>
                    <a:pt x="294639" y="112394"/>
                  </a:lnTo>
                  <a:lnTo>
                    <a:pt x="295783" y="110997"/>
                  </a:lnTo>
                  <a:lnTo>
                    <a:pt x="297052" y="109728"/>
                  </a:lnTo>
                  <a:lnTo>
                    <a:pt x="298069" y="108331"/>
                  </a:lnTo>
                  <a:lnTo>
                    <a:pt x="298958" y="106807"/>
                  </a:lnTo>
                  <a:lnTo>
                    <a:pt x="299847" y="105410"/>
                  </a:lnTo>
                  <a:lnTo>
                    <a:pt x="300736" y="104013"/>
                  </a:lnTo>
                  <a:lnTo>
                    <a:pt x="301498" y="102362"/>
                  </a:lnTo>
                  <a:lnTo>
                    <a:pt x="302133" y="100964"/>
                  </a:lnTo>
                  <a:lnTo>
                    <a:pt x="302640" y="99441"/>
                  </a:lnTo>
                  <a:lnTo>
                    <a:pt x="303275" y="97916"/>
                  </a:lnTo>
                  <a:lnTo>
                    <a:pt x="303784" y="96266"/>
                  </a:lnTo>
                  <a:lnTo>
                    <a:pt x="304164" y="94741"/>
                  </a:lnTo>
                  <a:lnTo>
                    <a:pt x="304291" y="93217"/>
                  </a:lnTo>
                  <a:lnTo>
                    <a:pt x="304546" y="91694"/>
                  </a:lnTo>
                  <a:lnTo>
                    <a:pt x="304800" y="90169"/>
                  </a:lnTo>
                  <a:lnTo>
                    <a:pt x="304800" y="88391"/>
                  </a:lnTo>
                  <a:lnTo>
                    <a:pt x="304800" y="86867"/>
                  </a:lnTo>
                  <a:lnTo>
                    <a:pt x="304673" y="85344"/>
                  </a:lnTo>
                  <a:lnTo>
                    <a:pt x="304419" y="83819"/>
                  </a:lnTo>
                  <a:lnTo>
                    <a:pt x="304164" y="82295"/>
                  </a:lnTo>
                  <a:lnTo>
                    <a:pt x="303784" y="80772"/>
                  </a:lnTo>
                  <a:lnTo>
                    <a:pt x="303275" y="79120"/>
                  </a:lnTo>
                  <a:lnTo>
                    <a:pt x="302895" y="77723"/>
                  </a:lnTo>
                  <a:lnTo>
                    <a:pt x="302133" y="76200"/>
                  </a:lnTo>
                  <a:lnTo>
                    <a:pt x="301498" y="74548"/>
                  </a:lnTo>
                  <a:lnTo>
                    <a:pt x="300736" y="73151"/>
                  </a:lnTo>
                  <a:lnTo>
                    <a:pt x="299720" y="71754"/>
                  </a:lnTo>
                  <a:lnTo>
                    <a:pt x="298703" y="70231"/>
                  </a:lnTo>
                  <a:lnTo>
                    <a:pt x="297687" y="68834"/>
                  </a:lnTo>
                  <a:lnTo>
                    <a:pt x="296417" y="67563"/>
                  </a:lnTo>
                  <a:lnTo>
                    <a:pt x="295148" y="66166"/>
                  </a:lnTo>
                  <a:lnTo>
                    <a:pt x="293750" y="64897"/>
                  </a:lnTo>
                  <a:close/>
                  <a:moveTo>
                    <a:pt x="-4536314" y="3139439"/>
                  </a:moveTo>
                  <a:moveTo>
                    <a:pt x="39370" y="86741"/>
                  </a:moveTo>
                  <a:lnTo>
                    <a:pt x="39370" y="86741"/>
                  </a:lnTo>
                  <a:lnTo>
                    <a:pt x="35813" y="85979"/>
                  </a:lnTo>
                  <a:lnTo>
                    <a:pt x="32512" y="85216"/>
                  </a:lnTo>
                  <a:lnTo>
                    <a:pt x="29463" y="84200"/>
                  </a:lnTo>
                  <a:lnTo>
                    <a:pt x="26797" y="83057"/>
                  </a:lnTo>
                  <a:lnTo>
                    <a:pt x="24384" y="81788"/>
                  </a:lnTo>
                  <a:lnTo>
                    <a:pt x="22225" y="80517"/>
                  </a:lnTo>
                  <a:lnTo>
                    <a:pt x="20320" y="78994"/>
                  </a:lnTo>
                  <a:lnTo>
                    <a:pt x="18669" y="77469"/>
                  </a:lnTo>
                  <a:lnTo>
                    <a:pt x="17272" y="75945"/>
                  </a:lnTo>
                  <a:lnTo>
                    <a:pt x="16383" y="74294"/>
                  </a:lnTo>
                  <a:lnTo>
                    <a:pt x="15494" y="72516"/>
                  </a:lnTo>
                  <a:lnTo>
                    <a:pt x="14859" y="70866"/>
                  </a:lnTo>
                  <a:lnTo>
                    <a:pt x="14477" y="69088"/>
                  </a:lnTo>
                  <a:lnTo>
                    <a:pt x="14350" y="67182"/>
                  </a:lnTo>
                  <a:lnTo>
                    <a:pt x="14477" y="65532"/>
                  </a:lnTo>
                  <a:lnTo>
                    <a:pt x="14732" y="63754"/>
                  </a:lnTo>
                  <a:lnTo>
                    <a:pt x="15239" y="61975"/>
                  </a:lnTo>
                  <a:lnTo>
                    <a:pt x="16001" y="60451"/>
                  </a:lnTo>
                  <a:lnTo>
                    <a:pt x="16890" y="58800"/>
                  </a:lnTo>
                  <a:lnTo>
                    <a:pt x="18034" y="57150"/>
                  </a:lnTo>
                  <a:lnTo>
                    <a:pt x="19303" y="55753"/>
                  </a:lnTo>
                  <a:lnTo>
                    <a:pt x="20700" y="54356"/>
                  </a:lnTo>
                  <a:lnTo>
                    <a:pt x="22351" y="52959"/>
                  </a:lnTo>
                  <a:lnTo>
                    <a:pt x="24129" y="51816"/>
                  </a:lnTo>
                  <a:lnTo>
                    <a:pt x="26035" y="50672"/>
                  </a:lnTo>
                  <a:lnTo>
                    <a:pt x="28194" y="49784"/>
                  </a:lnTo>
                  <a:lnTo>
                    <a:pt x="30479" y="49022"/>
                  </a:lnTo>
                  <a:lnTo>
                    <a:pt x="32765" y="48387"/>
                  </a:lnTo>
                  <a:lnTo>
                    <a:pt x="35305" y="48006"/>
                  </a:lnTo>
                  <a:lnTo>
                    <a:pt x="37973" y="47751"/>
                  </a:lnTo>
                  <a:lnTo>
                    <a:pt x="40766" y="47751"/>
                  </a:lnTo>
                  <a:lnTo>
                    <a:pt x="43561" y="47879"/>
                  </a:lnTo>
                  <a:lnTo>
                    <a:pt x="76708" y="50926"/>
                  </a:lnTo>
                  <a:lnTo>
                    <a:pt x="75184" y="52069"/>
                  </a:lnTo>
                  <a:lnTo>
                    <a:pt x="73913" y="53213"/>
                  </a:lnTo>
                  <a:lnTo>
                    <a:pt x="72389" y="54356"/>
                  </a:lnTo>
                  <a:lnTo>
                    <a:pt x="71120" y="55625"/>
                  </a:lnTo>
                  <a:lnTo>
                    <a:pt x="70103" y="56895"/>
                  </a:lnTo>
                  <a:lnTo>
                    <a:pt x="68961" y="58292"/>
                  </a:lnTo>
                  <a:lnTo>
                    <a:pt x="67945" y="59689"/>
                  </a:lnTo>
                  <a:lnTo>
                    <a:pt x="66928" y="61087"/>
                  </a:lnTo>
                  <a:lnTo>
                    <a:pt x="66166" y="62610"/>
                  </a:lnTo>
                  <a:lnTo>
                    <a:pt x="65532" y="64135"/>
                  </a:lnTo>
                  <a:lnTo>
                    <a:pt x="64770" y="65659"/>
                  </a:lnTo>
                  <a:lnTo>
                    <a:pt x="64262" y="67310"/>
                  </a:lnTo>
                  <a:lnTo>
                    <a:pt x="63880" y="68960"/>
                  </a:lnTo>
                  <a:lnTo>
                    <a:pt x="63626" y="70738"/>
                  </a:lnTo>
                  <a:lnTo>
                    <a:pt x="63373" y="72389"/>
                  </a:lnTo>
                  <a:lnTo>
                    <a:pt x="63373" y="74167"/>
                  </a:lnTo>
                  <a:lnTo>
                    <a:pt x="63500" y="76581"/>
                  </a:lnTo>
                  <a:lnTo>
                    <a:pt x="63880" y="78994"/>
                  </a:lnTo>
                  <a:lnTo>
                    <a:pt x="64515" y="81279"/>
                  </a:lnTo>
                  <a:lnTo>
                    <a:pt x="65277" y="83566"/>
                  </a:lnTo>
                  <a:lnTo>
                    <a:pt x="66421" y="85725"/>
                  </a:lnTo>
                  <a:lnTo>
                    <a:pt x="67690" y="87884"/>
                  </a:lnTo>
                  <a:lnTo>
                    <a:pt x="69214" y="89916"/>
                  </a:lnTo>
                  <a:lnTo>
                    <a:pt x="70865" y="91820"/>
                  </a:lnTo>
                  <a:lnTo>
                    <a:pt x="39370" y="86741"/>
                  </a:lnTo>
                  <a:close/>
                  <a:moveTo>
                    <a:pt x="-4558158" y="3139439"/>
                  </a:moveTo>
                  <a:moveTo>
                    <a:pt x="89788" y="94869"/>
                  </a:moveTo>
                  <a:lnTo>
                    <a:pt x="89915" y="94741"/>
                  </a:lnTo>
                  <a:lnTo>
                    <a:pt x="88011" y="93853"/>
                  </a:lnTo>
                  <a:lnTo>
                    <a:pt x="86105" y="92963"/>
                  </a:lnTo>
                  <a:lnTo>
                    <a:pt x="84454" y="91947"/>
                  </a:lnTo>
                  <a:lnTo>
                    <a:pt x="82803" y="90932"/>
                  </a:lnTo>
                  <a:lnTo>
                    <a:pt x="81279" y="89662"/>
                  </a:lnTo>
                  <a:lnTo>
                    <a:pt x="79755" y="88519"/>
                  </a:lnTo>
                  <a:lnTo>
                    <a:pt x="78486" y="87248"/>
                  </a:lnTo>
                  <a:lnTo>
                    <a:pt x="77342" y="85979"/>
                  </a:lnTo>
                  <a:lnTo>
                    <a:pt x="76326" y="84582"/>
                  </a:lnTo>
                  <a:lnTo>
                    <a:pt x="75437" y="83185"/>
                  </a:lnTo>
                  <a:lnTo>
                    <a:pt x="74422" y="81788"/>
                  </a:lnTo>
                  <a:lnTo>
                    <a:pt x="73787" y="80263"/>
                  </a:lnTo>
                  <a:lnTo>
                    <a:pt x="73278" y="78739"/>
                  </a:lnTo>
                  <a:lnTo>
                    <a:pt x="72771" y="77216"/>
                  </a:lnTo>
                  <a:lnTo>
                    <a:pt x="72644" y="75691"/>
                  </a:lnTo>
                  <a:lnTo>
                    <a:pt x="72644" y="74167"/>
                  </a:lnTo>
                  <a:lnTo>
                    <a:pt x="72644" y="72389"/>
                  </a:lnTo>
                  <a:lnTo>
                    <a:pt x="72898" y="70612"/>
                  </a:lnTo>
                  <a:lnTo>
                    <a:pt x="73405" y="68960"/>
                  </a:lnTo>
                  <a:lnTo>
                    <a:pt x="73913" y="67182"/>
                  </a:lnTo>
                  <a:lnTo>
                    <a:pt x="74802" y="65659"/>
                  </a:lnTo>
                  <a:lnTo>
                    <a:pt x="75691" y="64135"/>
                  </a:lnTo>
                  <a:lnTo>
                    <a:pt x="76835" y="62610"/>
                  </a:lnTo>
                  <a:lnTo>
                    <a:pt x="78104" y="61087"/>
                  </a:lnTo>
                  <a:lnTo>
                    <a:pt x="79501" y="59689"/>
                  </a:lnTo>
                  <a:lnTo>
                    <a:pt x="81025" y="58419"/>
                  </a:lnTo>
                  <a:lnTo>
                    <a:pt x="82676" y="57150"/>
                  </a:lnTo>
                  <a:lnTo>
                    <a:pt x="84454" y="56007"/>
                  </a:lnTo>
                  <a:lnTo>
                    <a:pt x="86360" y="54991"/>
                  </a:lnTo>
                  <a:lnTo>
                    <a:pt x="88391" y="53975"/>
                  </a:lnTo>
                  <a:lnTo>
                    <a:pt x="90550" y="53213"/>
                  </a:lnTo>
                  <a:lnTo>
                    <a:pt x="92963" y="52450"/>
                  </a:lnTo>
                  <a:lnTo>
                    <a:pt x="161671" y="58928"/>
                  </a:lnTo>
                  <a:lnTo>
                    <a:pt x="160020" y="60070"/>
                  </a:lnTo>
                  <a:lnTo>
                    <a:pt x="158496" y="61341"/>
                  </a:lnTo>
                  <a:lnTo>
                    <a:pt x="156972" y="62738"/>
                  </a:lnTo>
                  <a:lnTo>
                    <a:pt x="155448" y="64135"/>
                  </a:lnTo>
                  <a:lnTo>
                    <a:pt x="154304" y="65659"/>
                  </a:lnTo>
                  <a:lnTo>
                    <a:pt x="153035" y="67182"/>
                  </a:lnTo>
                  <a:lnTo>
                    <a:pt x="151891" y="68707"/>
                  </a:lnTo>
                  <a:lnTo>
                    <a:pt x="150875" y="70231"/>
                  </a:lnTo>
                  <a:lnTo>
                    <a:pt x="149987" y="71882"/>
                  </a:lnTo>
                  <a:lnTo>
                    <a:pt x="149225" y="73660"/>
                  </a:lnTo>
                  <a:lnTo>
                    <a:pt x="148462" y="75438"/>
                  </a:lnTo>
                  <a:lnTo>
                    <a:pt x="147954" y="77216"/>
                  </a:lnTo>
                  <a:lnTo>
                    <a:pt x="147447" y="79120"/>
                  </a:lnTo>
                  <a:lnTo>
                    <a:pt x="147065" y="80898"/>
                  </a:lnTo>
                  <a:lnTo>
                    <a:pt x="146812" y="82804"/>
                  </a:lnTo>
                  <a:lnTo>
                    <a:pt x="146812" y="84835"/>
                  </a:lnTo>
                  <a:lnTo>
                    <a:pt x="146812" y="86232"/>
                  </a:lnTo>
                  <a:lnTo>
                    <a:pt x="147065" y="87629"/>
                  </a:lnTo>
                  <a:lnTo>
                    <a:pt x="147192" y="89154"/>
                  </a:lnTo>
                  <a:lnTo>
                    <a:pt x="147447" y="90550"/>
                  </a:lnTo>
                  <a:lnTo>
                    <a:pt x="147954" y="91947"/>
                  </a:lnTo>
                  <a:lnTo>
                    <a:pt x="148336" y="93344"/>
                  </a:lnTo>
                  <a:lnTo>
                    <a:pt x="148844" y="94741"/>
                  </a:lnTo>
                  <a:lnTo>
                    <a:pt x="149351" y="96012"/>
                  </a:lnTo>
                  <a:lnTo>
                    <a:pt x="150113" y="97282"/>
                  </a:lnTo>
                  <a:lnTo>
                    <a:pt x="150875" y="98679"/>
                  </a:lnTo>
                  <a:lnTo>
                    <a:pt x="151637" y="99948"/>
                  </a:lnTo>
                  <a:lnTo>
                    <a:pt x="152400" y="101091"/>
                  </a:lnTo>
                  <a:lnTo>
                    <a:pt x="154304" y="103378"/>
                  </a:lnTo>
                  <a:lnTo>
                    <a:pt x="156463" y="105663"/>
                  </a:lnTo>
                  <a:lnTo>
                    <a:pt x="89788" y="94869"/>
                  </a:lnTo>
                  <a:close/>
                  <a:moveTo>
                    <a:pt x="-4566286" y="3139439"/>
                  </a:moveTo>
                  <a:moveTo>
                    <a:pt x="167512" y="104013"/>
                  </a:moveTo>
                  <a:lnTo>
                    <a:pt x="167512" y="104013"/>
                  </a:lnTo>
                  <a:lnTo>
                    <a:pt x="166242" y="102997"/>
                  </a:lnTo>
                  <a:lnTo>
                    <a:pt x="165100" y="101854"/>
                  </a:lnTo>
                  <a:lnTo>
                    <a:pt x="163829" y="100838"/>
                  </a:lnTo>
                  <a:lnTo>
                    <a:pt x="162687" y="99822"/>
                  </a:lnTo>
                  <a:lnTo>
                    <a:pt x="161671" y="98679"/>
                  </a:lnTo>
                  <a:lnTo>
                    <a:pt x="160782" y="97535"/>
                  </a:lnTo>
                  <a:lnTo>
                    <a:pt x="159892" y="96266"/>
                  </a:lnTo>
                  <a:lnTo>
                    <a:pt x="159130" y="95122"/>
                  </a:lnTo>
                  <a:lnTo>
                    <a:pt x="158369" y="93853"/>
                  </a:lnTo>
                  <a:lnTo>
                    <a:pt x="157734" y="92582"/>
                  </a:lnTo>
                  <a:lnTo>
                    <a:pt x="157225" y="91313"/>
                  </a:lnTo>
                  <a:lnTo>
                    <a:pt x="156717" y="90169"/>
                  </a:lnTo>
                  <a:lnTo>
                    <a:pt x="156463" y="88772"/>
                  </a:lnTo>
                  <a:lnTo>
                    <a:pt x="156210" y="87503"/>
                  </a:lnTo>
                  <a:lnTo>
                    <a:pt x="156083" y="86106"/>
                  </a:lnTo>
                  <a:lnTo>
                    <a:pt x="155955" y="84835"/>
                  </a:lnTo>
                  <a:lnTo>
                    <a:pt x="156083" y="82804"/>
                  </a:lnTo>
                  <a:lnTo>
                    <a:pt x="156463" y="80898"/>
                  </a:lnTo>
                  <a:lnTo>
                    <a:pt x="156845" y="78994"/>
                  </a:lnTo>
                  <a:lnTo>
                    <a:pt x="157479" y="77088"/>
                  </a:lnTo>
                  <a:lnTo>
                    <a:pt x="158369" y="75438"/>
                  </a:lnTo>
                  <a:lnTo>
                    <a:pt x="159258" y="73660"/>
                  </a:lnTo>
                  <a:lnTo>
                    <a:pt x="160400" y="71882"/>
                  </a:lnTo>
                  <a:lnTo>
                    <a:pt x="161671" y="70231"/>
                  </a:lnTo>
                  <a:lnTo>
                    <a:pt x="163195" y="68707"/>
                  </a:lnTo>
                  <a:lnTo>
                    <a:pt x="164846" y="67182"/>
                  </a:lnTo>
                  <a:lnTo>
                    <a:pt x="166624" y="65913"/>
                  </a:lnTo>
                  <a:lnTo>
                    <a:pt x="168401" y="64516"/>
                  </a:lnTo>
                  <a:lnTo>
                    <a:pt x="170307" y="63372"/>
                  </a:lnTo>
                  <a:lnTo>
                    <a:pt x="172465" y="62229"/>
                  </a:lnTo>
                  <a:lnTo>
                    <a:pt x="174625" y="61213"/>
                  </a:lnTo>
                  <a:lnTo>
                    <a:pt x="177164" y="60325"/>
                  </a:lnTo>
                  <a:lnTo>
                    <a:pt x="239267" y="66039"/>
                  </a:lnTo>
                  <a:lnTo>
                    <a:pt x="167512" y="104013"/>
                  </a:lnTo>
                  <a:close/>
                  <a:moveTo>
                    <a:pt x="-4575430" y="3139439"/>
                  </a:moveTo>
                  <a:moveTo>
                    <a:pt x="107314" y="292862"/>
                  </a:moveTo>
                  <a:lnTo>
                    <a:pt x="107314" y="292862"/>
                  </a:lnTo>
                  <a:lnTo>
                    <a:pt x="105790" y="294004"/>
                  </a:lnTo>
                  <a:lnTo>
                    <a:pt x="104266" y="295147"/>
                  </a:lnTo>
                  <a:lnTo>
                    <a:pt x="102742" y="296291"/>
                  </a:lnTo>
                  <a:lnTo>
                    <a:pt x="101091" y="297307"/>
                  </a:lnTo>
                  <a:lnTo>
                    <a:pt x="99440" y="298195"/>
                  </a:lnTo>
                  <a:lnTo>
                    <a:pt x="97789" y="299212"/>
                  </a:lnTo>
                  <a:lnTo>
                    <a:pt x="96138" y="299973"/>
                  </a:lnTo>
                  <a:lnTo>
                    <a:pt x="94361" y="300735"/>
                  </a:lnTo>
                  <a:lnTo>
                    <a:pt x="92583" y="301244"/>
                  </a:lnTo>
                  <a:lnTo>
                    <a:pt x="90804" y="301879"/>
                  </a:lnTo>
                  <a:lnTo>
                    <a:pt x="89026" y="302260"/>
                  </a:lnTo>
                  <a:lnTo>
                    <a:pt x="87122" y="302641"/>
                  </a:lnTo>
                  <a:lnTo>
                    <a:pt x="85344" y="303148"/>
                  </a:lnTo>
                  <a:lnTo>
                    <a:pt x="83438" y="303403"/>
                  </a:lnTo>
                  <a:lnTo>
                    <a:pt x="81534" y="303529"/>
                  </a:lnTo>
                  <a:lnTo>
                    <a:pt x="79755" y="303657"/>
                  </a:lnTo>
                  <a:lnTo>
                    <a:pt x="77850" y="303784"/>
                  </a:lnTo>
                  <a:lnTo>
                    <a:pt x="75946" y="303784"/>
                  </a:lnTo>
                  <a:lnTo>
                    <a:pt x="74040" y="303657"/>
                  </a:lnTo>
                  <a:lnTo>
                    <a:pt x="72136" y="303403"/>
                  </a:lnTo>
                  <a:lnTo>
                    <a:pt x="70230" y="303148"/>
                  </a:lnTo>
                  <a:lnTo>
                    <a:pt x="68452" y="302767"/>
                  </a:lnTo>
                  <a:lnTo>
                    <a:pt x="66548" y="302387"/>
                  </a:lnTo>
                  <a:lnTo>
                    <a:pt x="64770" y="302006"/>
                  </a:lnTo>
                  <a:lnTo>
                    <a:pt x="62991" y="301370"/>
                  </a:lnTo>
                  <a:lnTo>
                    <a:pt x="61213" y="300735"/>
                  </a:lnTo>
                  <a:lnTo>
                    <a:pt x="59436" y="300100"/>
                  </a:lnTo>
                  <a:lnTo>
                    <a:pt x="57785" y="299338"/>
                  </a:lnTo>
                  <a:lnTo>
                    <a:pt x="56007" y="298450"/>
                  </a:lnTo>
                  <a:lnTo>
                    <a:pt x="54483" y="297434"/>
                  </a:lnTo>
                  <a:lnTo>
                    <a:pt x="52832" y="296544"/>
                  </a:lnTo>
                  <a:lnTo>
                    <a:pt x="51308" y="295529"/>
                  </a:lnTo>
                  <a:lnTo>
                    <a:pt x="49657" y="294132"/>
                  </a:lnTo>
                  <a:lnTo>
                    <a:pt x="48005" y="292862"/>
                  </a:lnTo>
                  <a:lnTo>
                    <a:pt x="45974" y="290957"/>
                  </a:lnTo>
                  <a:lnTo>
                    <a:pt x="44196" y="288925"/>
                  </a:lnTo>
                  <a:lnTo>
                    <a:pt x="42672" y="287019"/>
                  </a:lnTo>
                  <a:lnTo>
                    <a:pt x="41148" y="284860"/>
                  </a:lnTo>
                  <a:lnTo>
                    <a:pt x="39877" y="282701"/>
                  </a:lnTo>
                  <a:lnTo>
                    <a:pt x="38862" y="280542"/>
                  </a:lnTo>
                  <a:lnTo>
                    <a:pt x="37719" y="278384"/>
                  </a:lnTo>
                  <a:lnTo>
                    <a:pt x="37084" y="275970"/>
                  </a:lnTo>
                  <a:lnTo>
                    <a:pt x="36449" y="273685"/>
                  </a:lnTo>
                  <a:lnTo>
                    <a:pt x="96392" y="233172"/>
                  </a:lnTo>
                  <a:lnTo>
                    <a:pt x="99187" y="234569"/>
                  </a:lnTo>
                  <a:lnTo>
                    <a:pt x="101980" y="236219"/>
                  </a:lnTo>
                  <a:lnTo>
                    <a:pt x="103377" y="237109"/>
                  </a:lnTo>
                  <a:lnTo>
                    <a:pt x="104775" y="237997"/>
                  </a:lnTo>
                  <a:lnTo>
                    <a:pt x="106045" y="239013"/>
                  </a:lnTo>
                  <a:lnTo>
                    <a:pt x="107314" y="240029"/>
                  </a:lnTo>
                  <a:lnTo>
                    <a:pt x="108838" y="241554"/>
                  </a:lnTo>
                  <a:lnTo>
                    <a:pt x="110109" y="242950"/>
                  </a:lnTo>
                  <a:lnTo>
                    <a:pt x="111378" y="244475"/>
                  </a:lnTo>
                  <a:lnTo>
                    <a:pt x="112649" y="245998"/>
                  </a:lnTo>
                  <a:lnTo>
                    <a:pt x="113664" y="247522"/>
                  </a:lnTo>
                  <a:lnTo>
                    <a:pt x="114680" y="249173"/>
                  </a:lnTo>
                  <a:lnTo>
                    <a:pt x="115697" y="250825"/>
                  </a:lnTo>
                  <a:lnTo>
                    <a:pt x="116459" y="252475"/>
                  </a:lnTo>
                  <a:lnTo>
                    <a:pt x="117094" y="254126"/>
                  </a:lnTo>
                  <a:lnTo>
                    <a:pt x="117855" y="255904"/>
                  </a:lnTo>
                  <a:lnTo>
                    <a:pt x="118363" y="257682"/>
                  </a:lnTo>
                  <a:lnTo>
                    <a:pt x="118745" y="259334"/>
                  </a:lnTo>
                  <a:lnTo>
                    <a:pt x="118999" y="261112"/>
                  </a:lnTo>
                  <a:lnTo>
                    <a:pt x="119379" y="262889"/>
                  </a:lnTo>
                  <a:lnTo>
                    <a:pt x="119634" y="264667"/>
                  </a:lnTo>
                  <a:lnTo>
                    <a:pt x="119634" y="266445"/>
                  </a:lnTo>
                  <a:lnTo>
                    <a:pt x="119634" y="268223"/>
                  </a:lnTo>
                  <a:lnTo>
                    <a:pt x="119379" y="270129"/>
                  </a:lnTo>
                  <a:lnTo>
                    <a:pt x="118999" y="271779"/>
                  </a:lnTo>
                  <a:lnTo>
                    <a:pt x="118745" y="273557"/>
                  </a:lnTo>
                  <a:lnTo>
                    <a:pt x="118363" y="275335"/>
                  </a:lnTo>
                  <a:lnTo>
                    <a:pt x="117855" y="277113"/>
                  </a:lnTo>
                  <a:lnTo>
                    <a:pt x="117221" y="278891"/>
                  </a:lnTo>
                  <a:lnTo>
                    <a:pt x="116459" y="280416"/>
                  </a:lnTo>
                  <a:lnTo>
                    <a:pt x="115697" y="282066"/>
                  </a:lnTo>
                  <a:lnTo>
                    <a:pt x="114680" y="283844"/>
                  </a:lnTo>
                  <a:lnTo>
                    <a:pt x="113664" y="285369"/>
                  </a:lnTo>
                  <a:lnTo>
                    <a:pt x="112649" y="287019"/>
                  </a:lnTo>
                  <a:lnTo>
                    <a:pt x="111378" y="288544"/>
                  </a:lnTo>
                  <a:lnTo>
                    <a:pt x="110109" y="289941"/>
                  </a:lnTo>
                  <a:lnTo>
                    <a:pt x="108838" y="291338"/>
                  </a:lnTo>
                  <a:lnTo>
                    <a:pt x="107314" y="292862"/>
                  </a:lnTo>
                  <a:close/>
                  <a:moveTo>
                    <a:pt x="-4764279" y="3139439"/>
                  </a:moveTo>
                  <a:moveTo>
                    <a:pt x="283337" y="104139"/>
                  </a:moveTo>
                  <a:lnTo>
                    <a:pt x="248412" y="141732"/>
                  </a:lnTo>
                  <a:lnTo>
                    <a:pt x="247903" y="139445"/>
                  </a:lnTo>
                  <a:lnTo>
                    <a:pt x="247396" y="137287"/>
                  </a:lnTo>
                  <a:lnTo>
                    <a:pt x="246634" y="135254"/>
                  </a:lnTo>
                  <a:lnTo>
                    <a:pt x="245872" y="133222"/>
                  </a:lnTo>
                  <a:lnTo>
                    <a:pt x="244855" y="131191"/>
                  </a:lnTo>
                  <a:lnTo>
                    <a:pt x="243839" y="129285"/>
                  </a:lnTo>
                  <a:lnTo>
                    <a:pt x="242570" y="127254"/>
                  </a:lnTo>
                  <a:lnTo>
                    <a:pt x="241300" y="125475"/>
                  </a:lnTo>
                  <a:lnTo>
                    <a:pt x="234950" y="132079"/>
                  </a:lnTo>
                  <a:lnTo>
                    <a:pt x="236347" y="134112"/>
                  </a:lnTo>
                  <a:lnTo>
                    <a:pt x="237362" y="136397"/>
                  </a:lnTo>
                  <a:lnTo>
                    <a:pt x="238378" y="138810"/>
                  </a:lnTo>
                  <a:lnTo>
                    <a:pt x="239013" y="141223"/>
                  </a:lnTo>
                  <a:lnTo>
                    <a:pt x="239522" y="143637"/>
                  </a:lnTo>
                  <a:lnTo>
                    <a:pt x="239649" y="146176"/>
                  </a:lnTo>
                  <a:lnTo>
                    <a:pt x="239649" y="148716"/>
                  </a:lnTo>
                  <a:lnTo>
                    <a:pt x="239267" y="151384"/>
                  </a:lnTo>
                  <a:lnTo>
                    <a:pt x="196850" y="197357"/>
                  </a:lnTo>
                  <a:lnTo>
                    <a:pt x="196341" y="194944"/>
                  </a:lnTo>
                  <a:lnTo>
                    <a:pt x="195707" y="192659"/>
                  </a:lnTo>
                  <a:lnTo>
                    <a:pt x="195072" y="190245"/>
                  </a:lnTo>
                  <a:lnTo>
                    <a:pt x="194055" y="187960"/>
                  </a:lnTo>
                  <a:lnTo>
                    <a:pt x="193166" y="185673"/>
                  </a:lnTo>
                  <a:lnTo>
                    <a:pt x="192024" y="183514"/>
                  </a:lnTo>
                  <a:lnTo>
                    <a:pt x="190753" y="181482"/>
                  </a:lnTo>
                  <a:lnTo>
                    <a:pt x="189357" y="179323"/>
                  </a:lnTo>
                  <a:lnTo>
                    <a:pt x="183007" y="185928"/>
                  </a:lnTo>
                  <a:lnTo>
                    <a:pt x="184530" y="188341"/>
                  </a:lnTo>
                  <a:lnTo>
                    <a:pt x="185420" y="190754"/>
                  </a:lnTo>
                  <a:lnTo>
                    <a:pt x="186436" y="193294"/>
                  </a:lnTo>
                  <a:lnTo>
                    <a:pt x="187198" y="195960"/>
                  </a:lnTo>
                  <a:lnTo>
                    <a:pt x="187705" y="198628"/>
                  </a:lnTo>
                  <a:lnTo>
                    <a:pt x="187960" y="201422"/>
                  </a:lnTo>
                  <a:lnTo>
                    <a:pt x="188087" y="204216"/>
                  </a:lnTo>
                  <a:lnTo>
                    <a:pt x="187960" y="207010"/>
                  </a:lnTo>
                  <a:lnTo>
                    <a:pt x="128524" y="271017"/>
                  </a:lnTo>
                  <a:lnTo>
                    <a:pt x="128650" y="268604"/>
                  </a:lnTo>
                  <a:lnTo>
                    <a:pt x="128777" y="266064"/>
                  </a:lnTo>
                  <a:lnTo>
                    <a:pt x="128650" y="263651"/>
                  </a:lnTo>
                  <a:lnTo>
                    <a:pt x="128397" y="261112"/>
                  </a:lnTo>
                  <a:lnTo>
                    <a:pt x="128015" y="258698"/>
                  </a:lnTo>
                  <a:lnTo>
                    <a:pt x="127508" y="256285"/>
                  </a:lnTo>
                  <a:lnTo>
                    <a:pt x="126746" y="254000"/>
                  </a:lnTo>
                  <a:lnTo>
                    <a:pt x="125857" y="251587"/>
                  </a:lnTo>
                  <a:lnTo>
                    <a:pt x="124967" y="249300"/>
                  </a:lnTo>
                  <a:lnTo>
                    <a:pt x="123825" y="246888"/>
                  </a:lnTo>
                  <a:lnTo>
                    <a:pt x="122554" y="244601"/>
                  </a:lnTo>
                  <a:lnTo>
                    <a:pt x="121030" y="242569"/>
                  </a:lnTo>
                  <a:lnTo>
                    <a:pt x="119379" y="240410"/>
                  </a:lnTo>
                  <a:lnTo>
                    <a:pt x="117728" y="238251"/>
                  </a:lnTo>
                  <a:lnTo>
                    <a:pt x="115824" y="236219"/>
                  </a:lnTo>
                  <a:lnTo>
                    <a:pt x="113791" y="234314"/>
                  </a:lnTo>
                  <a:lnTo>
                    <a:pt x="111378" y="232410"/>
                  </a:lnTo>
                  <a:lnTo>
                    <a:pt x="108838" y="230632"/>
                  </a:lnTo>
                  <a:lnTo>
                    <a:pt x="106299" y="228981"/>
                  </a:lnTo>
                  <a:lnTo>
                    <a:pt x="103759" y="227457"/>
                  </a:lnTo>
                  <a:lnTo>
                    <a:pt x="100964" y="226060"/>
                  </a:lnTo>
                  <a:lnTo>
                    <a:pt x="98171" y="224916"/>
                  </a:lnTo>
                  <a:lnTo>
                    <a:pt x="95250" y="223773"/>
                  </a:lnTo>
                  <a:lnTo>
                    <a:pt x="92455" y="223012"/>
                  </a:lnTo>
                  <a:lnTo>
                    <a:pt x="89662" y="222250"/>
                  </a:lnTo>
                  <a:lnTo>
                    <a:pt x="86613" y="221741"/>
                  </a:lnTo>
                  <a:lnTo>
                    <a:pt x="83438" y="221234"/>
                  </a:lnTo>
                  <a:lnTo>
                    <a:pt x="80517" y="221107"/>
                  </a:lnTo>
                  <a:lnTo>
                    <a:pt x="77597" y="220979"/>
                  </a:lnTo>
                  <a:lnTo>
                    <a:pt x="74422" y="221107"/>
                  </a:lnTo>
                  <a:lnTo>
                    <a:pt x="71374" y="221360"/>
                  </a:lnTo>
                  <a:lnTo>
                    <a:pt x="68452" y="221869"/>
                  </a:lnTo>
                  <a:lnTo>
                    <a:pt x="99949" y="196214"/>
                  </a:lnTo>
                  <a:lnTo>
                    <a:pt x="137540" y="165735"/>
                  </a:lnTo>
                  <a:lnTo>
                    <a:pt x="139700" y="165481"/>
                  </a:lnTo>
                  <a:lnTo>
                    <a:pt x="142112" y="165226"/>
                  </a:lnTo>
                  <a:lnTo>
                    <a:pt x="144272" y="165226"/>
                  </a:lnTo>
                  <a:lnTo>
                    <a:pt x="146430" y="165226"/>
                  </a:lnTo>
                  <a:lnTo>
                    <a:pt x="148589" y="165226"/>
                  </a:lnTo>
                  <a:lnTo>
                    <a:pt x="150875" y="165481"/>
                  </a:lnTo>
                  <a:lnTo>
                    <a:pt x="152908" y="165862"/>
                  </a:lnTo>
                  <a:lnTo>
                    <a:pt x="154939" y="166242"/>
                  </a:lnTo>
                  <a:lnTo>
                    <a:pt x="156972" y="166750"/>
                  </a:lnTo>
                  <a:lnTo>
                    <a:pt x="158876" y="167259"/>
                  </a:lnTo>
                  <a:lnTo>
                    <a:pt x="160909" y="168020"/>
                  </a:lnTo>
                  <a:lnTo>
                    <a:pt x="162813" y="168782"/>
                  </a:lnTo>
                  <a:lnTo>
                    <a:pt x="164719" y="169544"/>
                  </a:lnTo>
                  <a:lnTo>
                    <a:pt x="166624" y="170560"/>
                  </a:lnTo>
                  <a:lnTo>
                    <a:pt x="168275" y="171322"/>
                  </a:lnTo>
                  <a:lnTo>
                    <a:pt x="170052" y="172466"/>
                  </a:lnTo>
                  <a:lnTo>
                    <a:pt x="176529" y="166750"/>
                  </a:lnTo>
                  <a:lnTo>
                    <a:pt x="173354" y="164591"/>
                  </a:lnTo>
                  <a:lnTo>
                    <a:pt x="170179" y="162941"/>
                  </a:lnTo>
                  <a:lnTo>
                    <a:pt x="168528" y="162179"/>
                  </a:lnTo>
                  <a:lnTo>
                    <a:pt x="166877" y="161416"/>
                  </a:lnTo>
                  <a:lnTo>
                    <a:pt x="165100" y="160654"/>
                  </a:lnTo>
                  <a:lnTo>
                    <a:pt x="163322" y="160019"/>
                  </a:lnTo>
                  <a:lnTo>
                    <a:pt x="161416" y="159512"/>
                  </a:lnTo>
                  <a:lnTo>
                    <a:pt x="159638" y="158876"/>
                  </a:lnTo>
                  <a:lnTo>
                    <a:pt x="157734" y="158495"/>
                  </a:lnTo>
                  <a:lnTo>
                    <a:pt x="155955" y="158114"/>
                  </a:lnTo>
                  <a:lnTo>
                    <a:pt x="153924" y="157734"/>
                  </a:lnTo>
                  <a:lnTo>
                    <a:pt x="152019" y="157353"/>
                  </a:lnTo>
                  <a:lnTo>
                    <a:pt x="150113" y="157225"/>
                  </a:lnTo>
                  <a:lnTo>
                    <a:pt x="148082" y="157098"/>
                  </a:lnTo>
                  <a:lnTo>
                    <a:pt x="198754" y="115823"/>
                  </a:lnTo>
                  <a:lnTo>
                    <a:pt x="200660" y="115697"/>
                  </a:lnTo>
                  <a:lnTo>
                    <a:pt x="202437" y="115697"/>
                  </a:lnTo>
                  <a:lnTo>
                    <a:pt x="204342" y="115697"/>
                  </a:lnTo>
                  <a:lnTo>
                    <a:pt x="206248" y="115823"/>
                  </a:lnTo>
                  <a:lnTo>
                    <a:pt x="208025" y="115950"/>
                  </a:lnTo>
                  <a:lnTo>
                    <a:pt x="209930" y="116204"/>
                  </a:lnTo>
                  <a:lnTo>
                    <a:pt x="211709" y="116585"/>
                  </a:lnTo>
                  <a:lnTo>
                    <a:pt x="213487" y="116966"/>
                  </a:lnTo>
                  <a:lnTo>
                    <a:pt x="215137" y="117475"/>
                  </a:lnTo>
                  <a:lnTo>
                    <a:pt x="216788" y="118110"/>
                  </a:lnTo>
                  <a:lnTo>
                    <a:pt x="218439" y="118617"/>
                  </a:lnTo>
                  <a:lnTo>
                    <a:pt x="220090" y="119379"/>
                  </a:lnTo>
                  <a:lnTo>
                    <a:pt x="221614" y="120141"/>
                  </a:lnTo>
                  <a:lnTo>
                    <a:pt x="223138" y="121031"/>
                  </a:lnTo>
                  <a:lnTo>
                    <a:pt x="224662" y="121792"/>
                  </a:lnTo>
                  <a:lnTo>
                    <a:pt x="226060" y="122809"/>
                  </a:lnTo>
                  <a:lnTo>
                    <a:pt x="232537" y="116966"/>
                  </a:lnTo>
                  <a:lnTo>
                    <a:pt x="229997" y="115316"/>
                  </a:lnTo>
                  <a:lnTo>
                    <a:pt x="227202" y="113664"/>
                  </a:lnTo>
                  <a:lnTo>
                    <a:pt x="224409" y="112267"/>
                  </a:lnTo>
                  <a:lnTo>
                    <a:pt x="221361" y="110870"/>
                  </a:lnTo>
                  <a:lnTo>
                    <a:pt x="218312" y="109854"/>
                  </a:lnTo>
                  <a:lnTo>
                    <a:pt x="215137" y="108966"/>
                  </a:lnTo>
                  <a:lnTo>
                    <a:pt x="211836" y="108331"/>
                  </a:lnTo>
                  <a:lnTo>
                    <a:pt x="208534" y="107695"/>
                  </a:lnTo>
                  <a:lnTo>
                    <a:pt x="249427" y="74294"/>
                  </a:lnTo>
                  <a:lnTo>
                    <a:pt x="251587" y="72770"/>
                  </a:lnTo>
                  <a:lnTo>
                    <a:pt x="253746" y="71373"/>
                  </a:lnTo>
                  <a:lnTo>
                    <a:pt x="256032" y="70231"/>
                  </a:lnTo>
                  <a:lnTo>
                    <a:pt x="258190" y="69341"/>
                  </a:lnTo>
                  <a:lnTo>
                    <a:pt x="260476" y="68707"/>
                  </a:lnTo>
                  <a:lnTo>
                    <a:pt x="262762" y="68325"/>
                  </a:lnTo>
                  <a:lnTo>
                    <a:pt x="264922" y="68072"/>
                  </a:lnTo>
                  <a:lnTo>
                    <a:pt x="267080" y="67944"/>
                  </a:lnTo>
                  <a:lnTo>
                    <a:pt x="269239" y="68198"/>
                  </a:lnTo>
                  <a:lnTo>
                    <a:pt x="271399" y="68453"/>
                  </a:lnTo>
                  <a:lnTo>
                    <a:pt x="273558" y="68960"/>
                  </a:lnTo>
                  <a:lnTo>
                    <a:pt x="275589" y="69595"/>
                  </a:lnTo>
                  <a:lnTo>
                    <a:pt x="277622" y="70357"/>
                  </a:lnTo>
                  <a:lnTo>
                    <a:pt x="279400" y="71373"/>
                  </a:lnTo>
                  <a:lnTo>
                    <a:pt x="281177" y="72389"/>
                  </a:lnTo>
                  <a:lnTo>
                    <a:pt x="282828" y="73660"/>
                  </a:lnTo>
                  <a:lnTo>
                    <a:pt x="284225" y="75057"/>
                  </a:lnTo>
                  <a:lnTo>
                    <a:pt x="285623" y="76581"/>
                  </a:lnTo>
                  <a:lnTo>
                    <a:pt x="286765" y="78104"/>
                  </a:lnTo>
                  <a:lnTo>
                    <a:pt x="287782" y="79629"/>
                  </a:lnTo>
                  <a:lnTo>
                    <a:pt x="288671" y="81534"/>
                  </a:lnTo>
                  <a:lnTo>
                    <a:pt x="289433" y="83312"/>
                  </a:lnTo>
                  <a:lnTo>
                    <a:pt x="289940" y="85216"/>
                  </a:lnTo>
                  <a:lnTo>
                    <a:pt x="290067" y="87122"/>
                  </a:lnTo>
                  <a:lnTo>
                    <a:pt x="290195" y="89154"/>
                  </a:lnTo>
                  <a:lnTo>
                    <a:pt x="289940" y="91185"/>
                  </a:lnTo>
                  <a:lnTo>
                    <a:pt x="289560" y="93344"/>
                  </a:lnTo>
                  <a:lnTo>
                    <a:pt x="288798" y="95376"/>
                  </a:lnTo>
                  <a:lnTo>
                    <a:pt x="287909" y="97535"/>
                  </a:lnTo>
                  <a:lnTo>
                    <a:pt x="286638" y="99694"/>
                  </a:lnTo>
                  <a:lnTo>
                    <a:pt x="285114" y="101854"/>
                  </a:lnTo>
                  <a:lnTo>
                    <a:pt x="283337" y="104139"/>
                  </a:lnTo>
                  <a:close/>
                  <a:moveTo>
                    <a:pt x="-4575556" y="3139439"/>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78" name="Freeform 1378"/>
            <p:cNvSpPr/>
            <p:nvPr/>
          </p:nvSpPr>
          <p:spPr>
            <a:xfrm>
              <a:off x="8213259" y="3684900"/>
              <a:ext cx="493519" cy="365570"/>
            </a:xfrm>
            <a:custGeom>
              <a:avLst/>
              <a:gdLst/>
              <a:ahLst/>
              <a:cxnLst/>
              <a:rect l="0" t="0" r="0" b="0"/>
              <a:pathLst>
                <a:path w="493776" h="365760">
                  <a:moveTo>
                    <a:pt x="440056" y="47497"/>
                  </a:moveTo>
                  <a:lnTo>
                    <a:pt x="143510" y="24638"/>
                  </a:lnTo>
                  <a:lnTo>
                    <a:pt x="152527" y="19557"/>
                  </a:lnTo>
                  <a:lnTo>
                    <a:pt x="153924" y="18541"/>
                  </a:lnTo>
                  <a:lnTo>
                    <a:pt x="155068" y="17653"/>
                  </a:lnTo>
                  <a:lnTo>
                    <a:pt x="156210" y="16763"/>
                  </a:lnTo>
                  <a:lnTo>
                    <a:pt x="157099" y="15747"/>
                  </a:lnTo>
                  <a:lnTo>
                    <a:pt x="157861" y="14859"/>
                  </a:lnTo>
                  <a:lnTo>
                    <a:pt x="158370" y="13842"/>
                  </a:lnTo>
                  <a:lnTo>
                    <a:pt x="158750" y="12826"/>
                  </a:lnTo>
                  <a:lnTo>
                    <a:pt x="158877" y="11938"/>
                  </a:lnTo>
                  <a:lnTo>
                    <a:pt x="159005" y="10922"/>
                  </a:lnTo>
                  <a:lnTo>
                    <a:pt x="159005" y="9906"/>
                  </a:lnTo>
                  <a:lnTo>
                    <a:pt x="158877" y="9016"/>
                  </a:lnTo>
                  <a:lnTo>
                    <a:pt x="158497" y="8254"/>
                  </a:lnTo>
                  <a:lnTo>
                    <a:pt x="158243" y="7238"/>
                  </a:lnTo>
                  <a:lnTo>
                    <a:pt x="157734" y="6476"/>
                  </a:lnTo>
                  <a:lnTo>
                    <a:pt x="156972" y="5588"/>
                  </a:lnTo>
                  <a:lnTo>
                    <a:pt x="156337" y="4698"/>
                  </a:lnTo>
                  <a:lnTo>
                    <a:pt x="155448" y="4063"/>
                  </a:lnTo>
                  <a:lnTo>
                    <a:pt x="154686" y="3428"/>
                  </a:lnTo>
                  <a:lnTo>
                    <a:pt x="153671" y="2666"/>
                  </a:lnTo>
                  <a:lnTo>
                    <a:pt x="152782" y="2032"/>
                  </a:lnTo>
                  <a:lnTo>
                    <a:pt x="151766" y="1650"/>
                  </a:lnTo>
                  <a:lnTo>
                    <a:pt x="150622" y="1142"/>
                  </a:lnTo>
                  <a:lnTo>
                    <a:pt x="149480" y="635"/>
                  </a:lnTo>
                  <a:lnTo>
                    <a:pt x="148336" y="507"/>
                  </a:lnTo>
                  <a:lnTo>
                    <a:pt x="147067" y="253"/>
                  </a:lnTo>
                  <a:lnTo>
                    <a:pt x="145797" y="126"/>
                  </a:lnTo>
                  <a:lnTo>
                    <a:pt x="144654" y="0"/>
                  </a:lnTo>
                  <a:lnTo>
                    <a:pt x="143384" y="0"/>
                  </a:lnTo>
                  <a:lnTo>
                    <a:pt x="142113" y="126"/>
                  </a:lnTo>
                  <a:lnTo>
                    <a:pt x="140971" y="381"/>
                  </a:lnTo>
                  <a:lnTo>
                    <a:pt x="139700" y="635"/>
                  </a:lnTo>
                  <a:lnTo>
                    <a:pt x="138558" y="1142"/>
                  </a:lnTo>
                  <a:lnTo>
                    <a:pt x="25909" y="49275"/>
                  </a:lnTo>
                  <a:lnTo>
                    <a:pt x="22480" y="50419"/>
                  </a:lnTo>
                  <a:lnTo>
                    <a:pt x="19177" y="51688"/>
                  </a:lnTo>
                  <a:lnTo>
                    <a:pt x="16257" y="53085"/>
                  </a:lnTo>
                  <a:lnTo>
                    <a:pt x="13462" y="54863"/>
                  </a:lnTo>
                  <a:lnTo>
                    <a:pt x="11049" y="56641"/>
                  </a:lnTo>
                  <a:lnTo>
                    <a:pt x="8763" y="58673"/>
                  </a:lnTo>
                  <a:lnTo>
                    <a:pt x="6732" y="60832"/>
                  </a:lnTo>
                  <a:lnTo>
                    <a:pt x="4954" y="63119"/>
                  </a:lnTo>
                  <a:lnTo>
                    <a:pt x="3430" y="65404"/>
                  </a:lnTo>
                  <a:lnTo>
                    <a:pt x="2286" y="67944"/>
                  </a:lnTo>
                  <a:lnTo>
                    <a:pt x="1397" y="70485"/>
                  </a:lnTo>
                  <a:lnTo>
                    <a:pt x="635" y="73025"/>
                  </a:lnTo>
                  <a:lnTo>
                    <a:pt x="127" y="75691"/>
                  </a:lnTo>
                  <a:lnTo>
                    <a:pt x="0" y="78359"/>
                  </a:lnTo>
                  <a:lnTo>
                    <a:pt x="0" y="81153"/>
                  </a:lnTo>
                  <a:lnTo>
                    <a:pt x="255" y="83819"/>
                  </a:lnTo>
                  <a:lnTo>
                    <a:pt x="762" y="86487"/>
                  </a:lnTo>
                  <a:lnTo>
                    <a:pt x="1651" y="89153"/>
                  </a:lnTo>
                  <a:lnTo>
                    <a:pt x="2668" y="91820"/>
                  </a:lnTo>
                  <a:lnTo>
                    <a:pt x="4064" y="94360"/>
                  </a:lnTo>
                  <a:lnTo>
                    <a:pt x="5588" y="96900"/>
                  </a:lnTo>
                  <a:lnTo>
                    <a:pt x="7367" y="99313"/>
                  </a:lnTo>
                  <a:lnTo>
                    <a:pt x="9652" y="101726"/>
                  </a:lnTo>
                  <a:lnTo>
                    <a:pt x="12066" y="103885"/>
                  </a:lnTo>
                  <a:lnTo>
                    <a:pt x="14606" y="105917"/>
                  </a:lnTo>
                  <a:lnTo>
                    <a:pt x="17654" y="107950"/>
                  </a:lnTo>
                  <a:lnTo>
                    <a:pt x="20701" y="109854"/>
                  </a:lnTo>
                  <a:lnTo>
                    <a:pt x="24131" y="111506"/>
                  </a:lnTo>
                  <a:lnTo>
                    <a:pt x="27941" y="113029"/>
                  </a:lnTo>
                  <a:lnTo>
                    <a:pt x="31877" y="114172"/>
                  </a:lnTo>
                  <a:lnTo>
                    <a:pt x="36069" y="115316"/>
                  </a:lnTo>
                  <a:lnTo>
                    <a:pt x="40768" y="116204"/>
                  </a:lnTo>
                  <a:lnTo>
                    <a:pt x="205486" y="141985"/>
                  </a:lnTo>
                  <a:lnTo>
                    <a:pt x="42799" y="270891"/>
                  </a:lnTo>
                  <a:lnTo>
                    <a:pt x="40513" y="272795"/>
                  </a:lnTo>
                  <a:lnTo>
                    <a:pt x="38482" y="274954"/>
                  </a:lnTo>
                  <a:lnTo>
                    <a:pt x="36322" y="277113"/>
                  </a:lnTo>
                  <a:lnTo>
                    <a:pt x="34672" y="279272"/>
                  </a:lnTo>
                  <a:lnTo>
                    <a:pt x="32894" y="281559"/>
                  </a:lnTo>
                  <a:lnTo>
                    <a:pt x="31370" y="283972"/>
                  </a:lnTo>
                  <a:lnTo>
                    <a:pt x="29972" y="286257"/>
                  </a:lnTo>
                  <a:lnTo>
                    <a:pt x="28830" y="288797"/>
                  </a:lnTo>
                  <a:lnTo>
                    <a:pt x="27559" y="291338"/>
                  </a:lnTo>
                  <a:lnTo>
                    <a:pt x="26671" y="293878"/>
                  </a:lnTo>
                  <a:lnTo>
                    <a:pt x="25782" y="296544"/>
                  </a:lnTo>
                  <a:lnTo>
                    <a:pt x="25147" y="299085"/>
                  </a:lnTo>
                  <a:lnTo>
                    <a:pt x="24638" y="301751"/>
                  </a:lnTo>
                  <a:lnTo>
                    <a:pt x="24258" y="304291"/>
                  </a:lnTo>
                  <a:lnTo>
                    <a:pt x="24004" y="306959"/>
                  </a:lnTo>
                  <a:lnTo>
                    <a:pt x="24004" y="309753"/>
                  </a:lnTo>
                  <a:lnTo>
                    <a:pt x="24004" y="312419"/>
                  </a:lnTo>
                  <a:lnTo>
                    <a:pt x="24258" y="315087"/>
                  </a:lnTo>
                  <a:lnTo>
                    <a:pt x="24511" y="317753"/>
                  </a:lnTo>
                  <a:lnTo>
                    <a:pt x="25147" y="320420"/>
                  </a:lnTo>
                  <a:lnTo>
                    <a:pt x="25782" y="322960"/>
                  </a:lnTo>
                  <a:lnTo>
                    <a:pt x="26671" y="325628"/>
                  </a:lnTo>
                  <a:lnTo>
                    <a:pt x="27433" y="328294"/>
                  </a:lnTo>
                  <a:lnTo>
                    <a:pt x="28702" y="330835"/>
                  </a:lnTo>
                  <a:lnTo>
                    <a:pt x="29846" y="333247"/>
                  </a:lnTo>
                  <a:lnTo>
                    <a:pt x="31243" y="335788"/>
                  </a:lnTo>
                  <a:lnTo>
                    <a:pt x="32767" y="338200"/>
                  </a:lnTo>
                  <a:lnTo>
                    <a:pt x="34545" y="340487"/>
                  </a:lnTo>
                  <a:lnTo>
                    <a:pt x="36322" y="342900"/>
                  </a:lnTo>
                  <a:lnTo>
                    <a:pt x="38355" y="345059"/>
                  </a:lnTo>
                  <a:lnTo>
                    <a:pt x="40259" y="347217"/>
                  </a:lnTo>
                  <a:lnTo>
                    <a:pt x="42672" y="349250"/>
                  </a:lnTo>
                  <a:lnTo>
                    <a:pt x="45085" y="351154"/>
                  </a:lnTo>
                  <a:lnTo>
                    <a:pt x="47498" y="353060"/>
                  </a:lnTo>
                  <a:lnTo>
                    <a:pt x="50166" y="354838"/>
                  </a:lnTo>
                  <a:lnTo>
                    <a:pt x="52833" y="356362"/>
                  </a:lnTo>
                  <a:lnTo>
                    <a:pt x="55626" y="357885"/>
                  </a:lnTo>
                  <a:lnTo>
                    <a:pt x="58421" y="359028"/>
                  </a:lnTo>
                  <a:lnTo>
                    <a:pt x="61342" y="360172"/>
                  </a:lnTo>
                  <a:lnTo>
                    <a:pt x="64135" y="361315"/>
                  </a:lnTo>
                  <a:lnTo>
                    <a:pt x="67057" y="362203"/>
                  </a:lnTo>
                  <a:lnTo>
                    <a:pt x="70105" y="363092"/>
                  </a:lnTo>
                  <a:lnTo>
                    <a:pt x="73280" y="363728"/>
                  </a:lnTo>
                  <a:lnTo>
                    <a:pt x="76455" y="364235"/>
                  </a:lnTo>
                  <a:lnTo>
                    <a:pt x="79375" y="364744"/>
                  </a:lnTo>
                  <a:lnTo>
                    <a:pt x="82423" y="365125"/>
                  </a:lnTo>
                  <a:lnTo>
                    <a:pt x="85725" y="365125"/>
                  </a:lnTo>
                  <a:lnTo>
                    <a:pt x="88900" y="365125"/>
                  </a:lnTo>
                  <a:lnTo>
                    <a:pt x="92075" y="365125"/>
                  </a:lnTo>
                  <a:lnTo>
                    <a:pt x="95123" y="364870"/>
                  </a:lnTo>
                  <a:lnTo>
                    <a:pt x="98298" y="364616"/>
                  </a:lnTo>
                  <a:lnTo>
                    <a:pt x="101473" y="364109"/>
                  </a:lnTo>
                  <a:lnTo>
                    <a:pt x="104395" y="363473"/>
                  </a:lnTo>
                  <a:lnTo>
                    <a:pt x="107443" y="362838"/>
                  </a:lnTo>
                  <a:lnTo>
                    <a:pt x="110491" y="361950"/>
                  </a:lnTo>
                  <a:lnTo>
                    <a:pt x="113538" y="361060"/>
                  </a:lnTo>
                  <a:lnTo>
                    <a:pt x="116333" y="359917"/>
                  </a:lnTo>
                  <a:lnTo>
                    <a:pt x="119254" y="358775"/>
                  </a:lnTo>
                  <a:lnTo>
                    <a:pt x="122047" y="357250"/>
                  </a:lnTo>
                  <a:lnTo>
                    <a:pt x="124714" y="355981"/>
                  </a:lnTo>
                  <a:lnTo>
                    <a:pt x="127509" y="354329"/>
                  </a:lnTo>
                  <a:lnTo>
                    <a:pt x="130048" y="352551"/>
                  </a:lnTo>
                  <a:lnTo>
                    <a:pt x="132461" y="350773"/>
                  </a:lnTo>
                  <a:lnTo>
                    <a:pt x="134874" y="348741"/>
                  </a:lnTo>
                  <a:lnTo>
                    <a:pt x="150242" y="332866"/>
                  </a:lnTo>
                  <a:lnTo>
                    <a:pt x="152020" y="336169"/>
                  </a:lnTo>
                  <a:lnTo>
                    <a:pt x="154179" y="339344"/>
                  </a:lnTo>
                  <a:lnTo>
                    <a:pt x="156464" y="342391"/>
                  </a:lnTo>
                  <a:lnTo>
                    <a:pt x="158877" y="345185"/>
                  </a:lnTo>
                  <a:lnTo>
                    <a:pt x="161672" y="347853"/>
                  </a:lnTo>
                  <a:lnTo>
                    <a:pt x="164466" y="350266"/>
                  </a:lnTo>
                  <a:lnTo>
                    <a:pt x="167513" y="352678"/>
                  </a:lnTo>
                  <a:lnTo>
                    <a:pt x="170816" y="354838"/>
                  </a:lnTo>
                  <a:lnTo>
                    <a:pt x="173991" y="356742"/>
                  </a:lnTo>
                  <a:lnTo>
                    <a:pt x="177420" y="358520"/>
                  </a:lnTo>
                  <a:lnTo>
                    <a:pt x="180975" y="360044"/>
                  </a:lnTo>
                  <a:lnTo>
                    <a:pt x="184659" y="361441"/>
                  </a:lnTo>
                  <a:lnTo>
                    <a:pt x="188214" y="362712"/>
                  </a:lnTo>
                  <a:lnTo>
                    <a:pt x="192151" y="363728"/>
                  </a:lnTo>
                  <a:lnTo>
                    <a:pt x="195834" y="364490"/>
                  </a:lnTo>
                  <a:lnTo>
                    <a:pt x="199772" y="365125"/>
                  </a:lnTo>
                  <a:lnTo>
                    <a:pt x="203709" y="365506"/>
                  </a:lnTo>
                  <a:lnTo>
                    <a:pt x="207772" y="365760"/>
                  </a:lnTo>
                  <a:lnTo>
                    <a:pt x="211709" y="365760"/>
                  </a:lnTo>
                  <a:lnTo>
                    <a:pt x="215647" y="365506"/>
                  </a:lnTo>
                  <a:lnTo>
                    <a:pt x="219584" y="365125"/>
                  </a:lnTo>
                  <a:lnTo>
                    <a:pt x="223774" y="364490"/>
                  </a:lnTo>
                  <a:lnTo>
                    <a:pt x="227711" y="363728"/>
                  </a:lnTo>
                  <a:lnTo>
                    <a:pt x="231522" y="362457"/>
                  </a:lnTo>
                  <a:lnTo>
                    <a:pt x="235332" y="361188"/>
                  </a:lnTo>
                  <a:lnTo>
                    <a:pt x="239142" y="359663"/>
                  </a:lnTo>
                  <a:lnTo>
                    <a:pt x="242824" y="357885"/>
                  </a:lnTo>
                  <a:lnTo>
                    <a:pt x="246381" y="355853"/>
                  </a:lnTo>
                  <a:lnTo>
                    <a:pt x="249809" y="353567"/>
                  </a:lnTo>
                  <a:lnTo>
                    <a:pt x="253238" y="351028"/>
                  </a:lnTo>
                  <a:lnTo>
                    <a:pt x="256413" y="348360"/>
                  </a:lnTo>
                  <a:lnTo>
                    <a:pt x="259461" y="345313"/>
                  </a:lnTo>
                  <a:lnTo>
                    <a:pt x="268224" y="332104"/>
                  </a:lnTo>
                  <a:lnTo>
                    <a:pt x="268733" y="332994"/>
                  </a:lnTo>
                  <a:lnTo>
                    <a:pt x="269622" y="334898"/>
                  </a:lnTo>
                  <a:lnTo>
                    <a:pt x="270637" y="336676"/>
                  </a:lnTo>
                  <a:lnTo>
                    <a:pt x="271781" y="338454"/>
                  </a:lnTo>
                  <a:lnTo>
                    <a:pt x="272797" y="340232"/>
                  </a:lnTo>
                  <a:lnTo>
                    <a:pt x="274067" y="341757"/>
                  </a:lnTo>
                  <a:lnTo>
                    <a:pt x="275336" y="343281"/>
                  </a:lnTo>
                  <a:lnTo>
                    <a:pt x="276607" y="344932"/>
                  </a:lnTo>
                  <a:lnTo>
                    <a:pt x="278131" y="346328"/>
                  </a:lnTo>
                  <a:lnTo>
                    <a:pt x="279527" y="347853"/>
                  </a:lnTo>
                  <a:lnTo>
                    <a:pt x="281051" y="348995"/>
                  </a:lnTo>
                  <a:lnTo>
                    <a:pt x="282575" y="350519"/>
                  </a:lnTo>
                  <a:lnTo>
                    <a:pt x="284226" y="351663"/>
                  </a:lnTo>
                  <a:lnTo>
                    <a:pt x="287656" y="353948"/>
                  </a:lnTo>
                  <a:lnTo>
                    <a:pt x="291338" y="356107"/>
                  </a:lnTo>
                  <a:lnTo>
                    <a:pt x="295022" y="357885"/>
                  </a:lnTo>
                  <a:lnTo>
                    <a:pt x="298959" y="359537"/>
                  </a:lnTo>
                  <a:lnTo>
                    <a:pt x="303022" y="361060"/>
                  </a:lnTo>
                  <a:lnTo>
                    <a:pt x="307086" y="362203"/>
                  </a:lnTo>
                  <a:lnTo>
                    <a:pt x="311277" y="363219"/>
                  </a:lnTo>
                  <a:lnTo>
                    <a:pt x="315722" y="363854"/>
                  </a:lnTo>
                  <a:lnTo>
                    <a:pt x="320041" y="364363"/>
                  </a:lnTo>
                  <a:lnTo>
                    <a:pt x="324359" y="364616"/>
                  </a:lnTo>
                  <a:lnTo>
                    <a:pt x="328804" y="364490"/>
                  </a:lnTo>
                  <a:lnTo>
                    <a:pt x="333248" y="364235"/>
                  </a:lnTo>
                  <a:lnTo>
                    <a:pt x="337567" y="363728"/>
                  </a:lnTo>
                  <a:lnTo>
                    <a:pt x="341884" y="362838"/>
                  </a:lnTo>
                  <a:lnTo>
                    <a:pt x="346202" y="361822"/>
                  </a:lnTo>
                  <a:lnTo>
                    <a:pt x="350394" y="360553"/>
                  </a:lnTo>
                  <a:lnTo>
                    <a:pt x="352425" y="359663"/>
                  </a:lnTo>
                  <a:lnTo>
                    <a:pt x="354331" y="358901"/>
                  </a:lnTo>
                  <a:lnTo>
                    <a:pt x="356362" y="358140"/>
                  </a:lnTo>
                  <a:lnTo>
                    <a:pt x="358268" y="356997"/>
                  </a:lnTo>
                  <a:lnTo>
                    <a:pt x="360299" y="356107"/>
                  </a:lnTo>
                  <a:lnTo>
                    <a:pt x="362077" y="354838"/>
                  </a:lnTo>
                  <a:lnTo>
                    <a:pt x="363983" y="353694"/>
                  </a:lnTo>
                  <a:lnTo>
                    <a:pt x="365760" y="352551"/>
                  </a:lnTo>
                  <a:lnTo>
                    <a:pt x="367411" y="351154"/>
                  </a:lnTo>
                  <a:lnTo>
                    <a:pt x="369189" y="349885"/>
                  </a:lnTo>
                  <a:lnTo>
                    <a:pt x="370841" y="348360"/>
                  </a:lnTo>
                  <a:lnTo>
                    <a:pt x="372492" y="346837"/>
                  </a:lnTo>
                  <a:lnTo>
                    <a:pt x="373888" y="345313"/>
                  </a:lnTo>
                  <a:lnTo>
                    <a:pt x="375412" y="343662"/>
                  </a:lnTo>
                  <a:lnTo>
                    <a:pt x="376809" y="342010"/>
                  </a:lnTo>
                  <a:lnTo>
                    <a:pt x="378334" y="340232"/>
                  </a:lnTo>
                  <a:lnTo>
                    <a:pt x="379604" y="338328"/>
                  </a:lnTo>
                  <a:lnTo>
                    <a:pt x="380873" y="336295"/>
                  </a:lnTo>
                  <a:lnTo>
                    <a:pt x="382017" y="334391"/>
                  </a:lnTo>
                  <a:lnTo>
                    <a:pt x="383033" y="332232"/>
                  </a:lnTo>
                  <a:lnTo>
                    <a:pt x="483617" y="130682"/>
                  </a:lnTo>
                  <a:lnTo>
                    <a:pt x="485522" y="127126"/>
                  </a:lnTo>
                  <a:lnTo>
                    <a:pt x="487046" y="123825"/>
                  </a:lnTo>
                  <a:lnTo>
                    <a:pt x="488316" y="120269"/>
                  </a:lnTo>
                  <a:lnTo>
                    <a:pt x="489585" y="116713"/>
                  </a:lnTo>
                  <a:lnTo>
                    <a:pt x="490601" y="113284"/>
                  </a:lnTo>
                  <a:lnTo>
                    <a:pt x="491618" y="109600"/>
                  </a:lnTo>
                  <a:lnTo>
                    <a:pt x="492380" y="106172"/>
                  </a:lnTo>
                  <a:lnTo>
                    <a:pt x="493014" y="102742"/>
                  </a:lnTo>
                  <a:lnTo>
                    <a:pt x="493522" y="99187"/>
                  </a:lnTo>
                  <a:lnTo>
                    <a:pt x="493776" y="95631"/>
                  </a:lnTo>
                  <a:lnTo>
                    <a:pt x="493776" y="92328"/>
                  </a:lnTo>
                  <a:lnTo>
                    <a:pt x="493776" y="89026"/>
                  </a:lnTo>
                  <a:lnTo>
                    <a:pt x="493269" y="85725"/>
                  </a:lnTo>
                  <a:lnTo>
                    <a:pt x="492760" y="82676"/>
                  </a:lnTo>
                  <a:lnTo>
                    <a:pt x="492125" y="79501"/>
                  </a:lnTo>
                  <a:lnTo>
                    <a:pt x="491236" y="76453"/>
                  </a:lnTo>
                  <a:lnTo>
                    <a:pt x="489967" y="73532"/>
                  </a:lnTo>
                  <a:lnTo>
                    <a:pt x="488570" y="70738"/>
                  </a:lnTo>
                  <a:lnTo>
                    <a:pt x="486792" y="68072"/>
                  </a:lnTo>
                  <a:lnTo>
                    <a:pt x="484886" y="65404"/>
                  </a:lnTo>
                  <a:lnTo>
                    <a:pt x="482727" y="62991"/>
                  </a:lnTo>
                  <a:lnTo>
                    <a:pt x="480314" y="60706"/>
                  </a:lnTo>
                  <a:lnTo>
                    <a:pt x="477647" y="58419"/>
                  </a:lnTo>
                  <a:lnTo>
                    <a:pt x="474726" y="56388"/>
                  </a:lnTo>
                  <a:lnTo>
                    <a:pt x="473075" y="55498"/>
                  </a:lnTo>
                  <a:lnTo>
                    <a:pt x="471424" y="54737"/>
                  </a:lnTo>
                  <a:lnTo>
                    <a:pt x="469773" y="53720"/>
                  </a:lnTo>
                  <a:lnTo>
                    <a:pt x="467742" y="53085"/>
                  </a:lnTo>
                  <a:lnTo>
                    <a:pt x="465836" y="52197"/>
                  </a:lnTo>
                  <a:lnTo>
                    <a:pt x="464059" y="51562"/>
                  </a:lnTo>
                  <a:lnTo>
                    <a:pt x="459868" y="50165"/>
                  </a:lnTo>
                  <a:lnTo>
                    <a:pt x="455422" y="49275"/>
                  </a:lnTo>
                  <a:lnTo>
                    <a:pt x="450470" y="48387"/>
                  </a:lnTo>
                  <a:lnTo>
                    <a:pt x="445517" y="47751"/>
                  </a:lnTo>
                  <a:lnTo>
                    <a:pt x="440056" y="47497"/>
                  </a:lnTo>
                  <a:close/>
                  <a:moveTo>
                    <a:pt x="-5088889" y="3172967"/>
                  </a:moveTo>
                  <a:moveTo>
                    <a:pt x="42672" y="106934"/>
                  </a:moveTo>
                  <a:lnTo>
                    <a:pt x="42672" y="106934"/>
                  </a:lnTo>
                  <a:lnTo>
                    <a:pt x="40259" y="106553"/>
                  </a:lnTo>
                  <a:lnTo>
                    <a:pt x="38100" y="106172"/>
                  </a:lnTo>
                  <a:lnTo>
                    <a:pt x="36069" y="105663"/>
                  </a:lnTo>
                  <a:lnTo>
                    <a:pt x="33909" y="105028"/>
                  </a:lnTo>
                  <a:lnTo>
                    <a:pt x="31877" y="104394"/>
                  </a:lnTo>
                  <a:lnTo>
                    <a:pt x="30099" y="103759"/>
                  </a:lnTo>
                  <a:lnTo>
                    <a:pt x="28448" y="102997"/>
                  </a:lnTo>
                  <a:lnTo>
                    <a:pt x="26671" y="102362"/>
                  </a:lnTo>
                  <a:lnTo>
                    <a:pt x="24893" y="101472"/>
                  </a:lnTo>
                  <a:lnTo>
                    <a:pt x="23496" y="100710"/>
                  </a:lnTo>
                  <a:lnTo>
                    <a:pt x="22098" y="99948"/>
                  </a:lnTo>
                  <a:lnTo>
                    <a:pt x="20701" y="99060"/>
                  </a:lnTo>
                  <a:lnTo>
                    <a:pt x="19559" y="98170"/>
                  </a:lnTo>
                  <a:lnTo>
                    <a:pt x="18288" y="97154"/>
                  </a:lnTo>
                  <a:lnTo>
                    <a:pt x="17272" y="96138"/>
                  </a:lnTo>
                  <a:lnTo>
                    <a:pt x="16257" y="95250"/>
                  </a:lnTo>
                  <a:lnTo>
                    <a:pt x="14479" y="93091"/>
                  </a:lnTo>
                  <a:lnTo>
                    <a:pt x="13082" y="91059"/>
                  </a:lnTo>
                  <a:lnTo>
                    <a:pt x="11938" y="88900"/>
                  </a:lnTo>
                  <a:lnTo>
                    <a:pt x="11049" y="86613"/>
                  </a:lnTo>
                  <a:lnTo>
                    <a:pt x="10669" y="84200"/>
                  </a:lnTo>
                  <a:lnTo>
                    <a:pt x="10414" y="82041"/>
                  </a:lnTo>
                  <a:lnTo>
                    <a:pt x="10542" y="79756"/>
                  </a:lnTo>
                  <a:lnTo>
                    <a:pt x="10796" y="77469"/>
                  </a:lnTo>
                  <a:lnTo>
                    <a:pt x="11558" y="75310"/>
                  </a:lnTo>
                  <a:lnTo>
                    <a:pt x="12320" y="73025"/>
                  </a:lnTo>
                  <a:lnTo>
                    <a:pt x="13462" y="70992"/>
                  </a:lnTo>
                  <a:lnTo>
                    <a:pt x="14859" y="68960"/>
                  </a:lnTo>
                  <a:lnTo>
                    <a:pt x="16510" y="66928"/>
                  </a:lnTo>
                  <a:lnTo>
                    <a:pt x="18288" y="65150"/>
                  </a:lnTo>
                  <a:lnTo>
                    <a:pt x="20447" y="63372"/>
                  </a:lnTo>
                  <a:lnTo>
                    <a:pt x="22734" y="61975"/>
                  </a:lnTo>
                  <a:lnTo>
                    <a:pt x="25273" y="60451"/>
                  </a:lnTo>
                  <a:lnTo>
                    <a:pt x="28068" y="59309"/>
                  </a:lnTo>
                  <a:lnTo>
                    <a:pt x="30861" y="58419"/>
                  </a:lnTo>
                  <a:lnTo>
                    <a:pt x="34163" y="57531"/>
                  </a:lnTo>
                  <a:lnTo>
                    <a:pt x="37466" y="57022"/>
                  </a:lnTo>
                  <a:lnTo>
                    <a:pt x="41022" y="56641"/>
                  </a:lnTo>
                  <a:lnTo>
                    <a:pt x="44705" y="56641"/>
                  </a:lnTo>
                  <a:lnTo>
                    <a:pt x="48514" y="56895"/>
                  </a:lnTo>
                  <a:lnTo>
                    <a:pt x="85725" y="60197"/>
                  </a:lnTo>
                  <a:lnTo>
                    <a:pt x="83567" y="61594"/>
                  </a:lnTo>
                  <a:lnTo>
                    <a:pt x="81534" y="62991"/>
                  </a:lnTo>
                  <a:lnTo>
                    <a:pt x="79502" y="64516"/>
                  </a:lnTo>
                  <a:lnTo>
                    <a:pt x="77724" y="66166"/>
                  </a:lnTo>
                  <a:lnTo>
                    <a:pt x="75947" y="67817"/>
                  </a:lnTo>
                  <a:lnTo>
                    <a:pt x="74296" y="69469"/>
                  </a:lnTo>
                  <a:lnTo>
                    <a:pt x="72772" y="71247"/>
                  </a:lnTo>
                  <a:lnTo>
                    <a:pt x="71501" y="73151"/>
                  </a:lnTo>
                  <a:lnTo>
                    <a:pt x="70232" y="75057"/>
                  </a:lnTo>
                  <a:lnTo>
                    <a:pt x="69216" y="76962"/>
                  </a:lnTo>
                  <a:lnTo>
                    <a:pt x="68326" y="78994"/>
                  </a:lnTo>
                  <a:lnTo>
                    <a:pt x="67564" y="81153"/>
                  </a:lnTo>
                  <a:lnTo>
                    <a:pt x="66802" y="83185"/>
                  </a:lnTo>
                  <a:lnTo>
                    <a:pt x="66422" y="85344"/>
                  </a:lnTo>
                  <a:lnTo>
                    <a:pt x="66168" y="87629"/>
                  </a:lnTo>
                  <a:lnTo>
                    <a:pt x="66168" y="89788"/>
                  </a:lnTo>
                  <a:lnTo>
                    <a:pt x="66168" y="91566"/>
                  </a:lnTo>
                  <a:lnTo>
                    <a:pt x="66295" y="92963"/>
                  </a:lnTo>
                  <a:lnTo>
                    <a:pt x="66548" y="94488"/>
                  </a:lnTo>
                  <a:lnTo>
                    <a:pt x="66802" y="96012"/>
                  </a:lnTo>
                  <a:lnTo>
                    <a:pt x="67310" y="97663"/>
                  </a:lnTo>
                  <a:lnTo>
                    <a:pt x="67819" y="99060"/>
                  </a:lnTo>
                  <a:lnTo>
                    <a:pt x="68326" y="100457"/>
                  </a:lnTo>
                  <a:lnTo>
                    <a:pt x="68961" y="101853"/>
                  </a:lnTo>
                  <a:lnTo>
                    <a:pt x="70739" y="104647"/>
                  </a:lnTo>
                  <a:lnTo>
                    <a:pt x="72518" y="107315"/>
                  </a:lnTo>
                  <a:lnTo>
                    <a:pt x="74549" y="109982"/>
                  </a:lnTo>
                  <a:lnTo>
                    <a:pt x="76962" y="112267"/>
                  </a:lnTo>
                  <a:lnTo>
                    <a:pt x="42672" y="106934"/>
                  </a:lnTo>
                  <a:close/>
                  <a:moveTo>
                    <a:pt x="-5148326" y="3172967"/>
                  </a:moveTo>
                  <a:moveTo>
                    <a:pt x="101220" y="116204"/>
                  </a:moveTo>
                  <a:lnTo>
                    <a:pt x="101473" y="116078"/>
                  </a:lnTo>
                  <a:lnTo>
                    <a:pt x="98680" y="114935"/>
                  </a:lnTo>
                  <a:lnTo>
                    <a:pt x="96267" y="113665"/>
                  </a:lnTo>
                  <a:lnTo>
                    <a:pt x="93726" y="112394"/>
                  </a:lnTo>
                  <a:lnTo>
                    <a:pt x="91441" y="111125"/>
                  </a:lnTo>
                  <a:lnTo>
                    <a:pt x="89282" y="109600"/>
                  </a:lnTo>
                  <a:lnTo>
                    <a:pt x="87249" y="108076"/>
                  </a:lnTo>
                  <a:lnTo>
                    <a:pt x="85345" y="106425"/>
                  </a:lnTo>
                  <a:lnTo>
                    <a:pt x="83694" y="104775"/>
                  </a:lnTo>
                  <a:lnTo>
                    <a:pt x="82170" y="102997"/>
                  </a:lnTo>
                  <a:lnTo>
                    <a:pt x="80899" y="101345"/>
                  </a:lnTo>
                  <a:lnTo>
                    <a:pt x="79757" y="99441"/>
                  </a:lnTo>
                  <a:lnTo>
                    <a:pt x="78868" y="97663"/>
                  </a:lnTo>
                  <a:lnTo>
                    <a:pt x="77979" y="95631"/>
                  </a:lnTo>
                  <a:lnTo>
                    <a:pt x="77471" y="93725"/>
                  </a:lnTo>
                  <a:lnTo>
                    <a:pt x="76962" y="91820"/>
                  </a:lnTo>
                  <a:lnTo>
                    <a:pt x="76962" y="89788"/>
                  </a:lnTo>
                  <a:lnTo>
                    <a:pt x="77217" y="87629"/>
                  </a:lnTo>
                  <a:lnTo>
                    <a:pt x="77471" y="85344"/>
                  </a:lnTo>
                  <a:lnTo>
                    <a:pt x="78106" y="83185"/>
                  </a:lnTo>
                  <a:lnTo>
                    <a:pt x="79122" y="81025"/>
                  </a:lnTo>
                  <a:lnTo>
                    <a:pt x="80137" y="78994"/>
                  </a:lnTo>
                  <a:lnTo>
                    <a:pt x="81534" y="76835"/>
                  </a:lnTo>
                  <a:lnTo>
                    <a:pt x="83185" y="74929"/>
                  </a:lnTo>
                  <a:lnTo>
                    <a:pt x="84963" y="73025"/>
                  </a:lnTo>
                  <a:lnTo>
                    <a:pt x="86996" y="71247"/>
                  </a:lnTo>
                  <a:lnTo>
                    <a:pt x="89282" y="69595"/>
                  </a:lnTo>
                  <a:lnTo>
                    <a:pt x="91568" y="68072"/>
                  </a:lnTo>
                  <a:lnTo>
                    <a:pt x="94361" y="66547"/>
                  </a:lnTo>
                  <a:lnTo>
                    <a:pt x="97029" y="65150"/>
                  </a:lnTo>
                  <a:lnTo>
                    <a:pt x="99949" y="64007"/>
                  </a:lnTo>
                  <a:lnTo>
                    <a:pt x="103124" y="62991"/>
                  </a:lnTo>
                  <a:lnTo>
                    <a:pt x="106426" y="62103"/>
                  </a:lnTo>
                  <a:lnTo>
                    <a:pt x="181737" y="68707"/>
                  </a:lnTo>
                  <a:lnTo>
                    <a:pt x="179451" y="70231"/>
                  </a:lnTo>
                  <a:lnTo>
                    <a:pt x="177293" y="71754"/>
                  </a:lnTo>
                  <a:lnTo>
                    <a:pt x="175260" y="73406"/>
                  </a:lnTo>
                  <a:lnTo>
                    <a:pt x="173356" y="75057"/>
                  </a:lnTo>
                  <a:lnTo>
                    <a:pt x="171323" y="76835"/>
                  </a:lnTo>
                  <a:lnTo>
                    <a:pt x="169799" y="78740"/>
                  </a:lnTo>
                  <a:lnTo>
                    <a:pt x="168148" y="80644"/>
                  </a:lnTo>
                  <a:lnTo>
                    <a:pt x="166879" y="82676"/>
                  </a:lnTo>
                  <a:lnTo>
                    <a:pt x="165355" y="84835"/>
                  </a:lnTo>
                  <a:lnTo>
                    <a:pt x="164338" y="86867"/>
                  </a:lnTo>
                  <a:lnTo>
                    <a:pt x="163322" y="89153"/>
                  </a:lnTo>
                  <a:lnTo>
                    <a:pt x="162560" y="91440"/>
                  </a:lnTo>
                  <a:lnTo>
                    <a:pt x="161925" y="93725"/>
                  </a:lnTo>
                  <a:lnTo>
                    <a:pt x="161418" y="96138"/>
                  </a:lnTo>
                  <a:lnTo>
                    <a:pt x="161163" y="98551"/>
                  </a:lnTo>
                  <a:lnTo>
                    <a:pt x="161163" y="101091"/>
                  </a:lnTo>
                  <a:lnTo>
                    <a:pt x="161163" y="102997"/>
                  </a:lnTo>
                  <a:lnTo>
                    <a:pt x="161418" y="104775"/>
                  </a:lnTo>
                  <a:lnTo>
                    <a:pt x="161672" y="106679"/>
                  </a:lnTo>
                  <a:lnTo>
                    <a:pt x="162052" y="108585"/>
                  </a:lnTo>
                  <a:lnTo>
                    <a:pt x="162560" y="110363"/>
                  </a:lnTo>
                  <a:lnTo>
                    <a:pt x="163196" y="112013"/>
                  </a:lnTo>
                  <a:lnTo>
                    <a:pt x="163958" y="113791"/>
                  </a:lnTo>
                  <a:lnTo>
                    <a:pt x="164847" y="115569"/>
                  </a:lnTo>
                  <a:lnTo>
                    <a:pt x="165609" y="117220"/>
                  </a:lnTo>
                  <a:lnTo>
                    <a:pt x="166879" y="118872"/>
                  </a:lnTo>
                  <a:lnTo>
                    <a:pt x="167895" y="120522"/>
                  </a:lnTo>
                  <a:lnTo>
                    <a:pt x="169037" y="122047"/>
                  </a:lnTo>
                  <a:lnTo>
                    <a:pt x="170434" y="123444"/>
                  </a:lnTo>
                  <a:lnTo>
                    <a:pt x="171832" y="124967"/>
                  </a:lnTo>
                  <a:lnTo>
                    <a:pt x="173229" y="126365"/>
                  </a:lnTo>
                  <a:lnTo>
                    <a:pt x="174625" y="127762"/>
                  </a:lnTo>
                  <a:lnTo>
                    <a:pt x="101220" y="116204"/>
                  </a:lnTo>
                  <a:close/>
                  <a:moveTo>
                    <a:pt x="-5157596" y="3172967"/>
                  </a:moveTo>
                  <a:moveTo>
                    <a:pt x="126238" y="341122"/>
                  </a:moveTo>
                  <a:lnTo>
                    <a:pt x="126238" y="341122"/>
                  </a:lnTo>
                  <a:lnTo>
                    <a:pt x="124334" y="342645"/>
                  </a:lnTo>
                  <a:lnTo>
                    <a:pt x="122429" y="344042"/>
                  </a:lnTo>
                  <a:lnTo>
                    <a:pt x="120397" y="345440"/>
                  </a:lnTo>
                  <a:lnTo>
                    <a:pt x="118237" y="346710"/>
                  </a:lnTo>
                  <a:lnTo>
                    <a:pt x="116206" y="347853"/>
                  </a:lnTo>
                  <a:lnTo>
                    <a:pt x="113920" y="348995"/>
                  </a:lnTo>
                  <a:lnTo>
                    <a:pt x="111634" y="349885"/>
                  </a:lnTo>
                  <a:lnTo>
                    <a:pt x="109347" y="350647"/>
                  </a:lnTo>
                  <a:lnTo>
                    <a:pt x="107188" y="351535"/>
                  </a:lnTo>
                  <a:lnTo>
                    <a:pt x="104775" y="352044"/>
                  </a:lnTo>
                  <a:lnTo>
                    <a:pt x="102362" y="352678"/>
                  </a:lnTo>
                  <a:lnTo>
                    <a:pt x="99949" y="353187"/>
                  </a:lnTo>
                  <a:lnTo>
                    <a:pt x="97536" y="353441"/>
                  </a:lnTo>
                  <a:lnTo>
                    <a:pt x="95123" y="353694"/>
                  </a:lnTo>
                  <a:lnTo>
                    <a:pt x="92710" y="353822"/>
                  </a:lnTo>
                  <a:lnTo>
                    <a:pt x="90297" y="353948"/>
                  </a:lnTo>
                  <a:lnTo>
                    <a:pt x="87758" y="353822"/>
                  </a:lnTo>
                  <a:lnTo>
                    <a:pt x="85345" y="353694"/>
                  </a:lnTo>
                  <a:lnTo>
                    <a:pt x="82932" y="353441"/>
                  </a:lnTo>
                  <a:lnTo>
                    <a:pt x="80646" y="353187"/>
                  </a:lnTo>
                  <a:lnTo>
                    <a:pt x="78106" y="352678"/>
                  </a:lnTo>
                  <a:lnTo>
                    <a:pt x="75693" y="352044"/>
                  </a:lnTo>
                  <a:lnTo>
                    <a:pt x="73407" y="351535"/>
                  </a:lnTo>
                  <a:lnTo>
                    <a:pt x="70994" y="350647"/>
                  </a:lnTo>
                  <a:lnTo>
                    <a:pt x="68708" y="349885"/>
                  </a:lnTo>
                  <a:lnTo>
                    <a:pt x="66548" y="348995"/>
                  </a:lnTo>
                  <a:lnTo>
                    <a:pt x="64389" y="347853"/>
                  </a:lnTo>
                  <a:lnTo>
                    <a:pt x="62231" y="346710"/>
                  </a:lnTo>
                  <a:lnTo>
                    <a:pt x="60198" y="345440"/>
                  </a:lnTo>
                  <a:lnTo>
                    <a:pt x="58167" y="344042"/>
                  </a:lnTo>
                  <a:lnTo>
                    <a:pt x="56134" y="342645"/>
                  </a:lnTo>
                  <a:lnTo>
                    <a:pt x="54230" y="341122"/>
                  </a:lnTo>
                  <a:lnTo>
                    <a:pt x="51435" y="338709"/>
                  </a:lnTo>
                  <a:lnTo>
                    <a:pt x="49022" y="335915"/>
                  </a:lnTo>
                  <a:lnTo>
                    <a:pt x="46863" y="333120"/>
                  </a:lnTo>
                  <a:lnTo>
                    <a:pt x="44959" y="330326"/>
                  </a:lnTo>
                  <a:lnTo>
                    <a:pt x="43434" y="327406"/>
                  </a:lnTo>
                  <a:lnTo>
                    <a:pt x="42037" y="324357"/>
                  </a:lnTo>
                  <a:lnTo>
                    <a:pt x="41022" y="321182"/>
                  </a:lnTo>
                  <a:lnTo>
                    <a:pt x="40259" y="318135"/>
                  </a:lnTo>
                  <a:lnTo>
                    <a:pt x="112396" y="270763"/>
                  </a:lnTo>
                  <a:lnTo>
                    <a:pt x="114300" y="271525"/>
                  </a:lnTo>
                  <a:lnTo>
                    <a:pt x="116079" y="272415"/>
                  </a:lnTo>
                  <a:lnTo>
                    <a:pt x="117857" y="273303"/>
                  </a:lnTo>
                  <a:lnTo>
                    <a:pt x="119634" y="274319"/>
                  </a:lnTo>
                  <a:lnTo>
                    <a:pt x="121285" y="275590"/>
                  </a:lnTo>
                  <a:lnTo>
                    <a:pt x="123063" y="276732"/>
                  </a:lnTo>
                  <a:lnTo>
                    <a:pt x="124587" y="277875"/>
                  </a:lnTo>
                  <a:lnTo>
                    <a:pt x="126238" y="279145"/>
                  </a:lnTo>
                  <a:lnTo>
                    <a:pt x="128017" y="280797"/>
                  </a:lnTo>
                  <a:lnTo>
                    <a:pt x="129795" y="282575"/>
                  </a:lnTo>
                  <a:lnTo>
                    <a:pt x="131319" y="284225"/>
                  </a:lnTo>
                  <a:lnTo>
                    <a:pt x="132843" y="286003"/>
                  </a:lnTo>
                  <a:lnTo>
                    <a:pt x="134112" y="287909"/>
                  </a:lnTo>
                  <a:lnTo>
                    <a:pt x="135383" y="289813"/>
                  </a:lnTo>
                  <a:lnTo>
                    <a:pt x="136398" y="291845"/>
                  </a:lnTo>
                  <a:lnTo>
                    <a:pt x="137414" y="293623"/>
                  </a:lnTo>
                  <a:lnTo>
                    <a:pt x="138431" y="295656"/>
                  </a:lnTo>
                  <a:lnTo>
                    <a:pt x="139066" y="297688"/>
                  </a:lnTo>
                  <a:lnTo>
                    <a:pt x="139700" y="299719"/>
                  </a:lnTo>
                  <a:lnTo>
                    <a:pt x="140335" y="301878"/>
                  </a:lnTo>
                  <a:lnTo>
                    <a:pt x="140589" y="303784"/>
                  </a:lnTo>
                  <a:lnTo>
                    <a:pt x="140971" y="305942"/>
                  </a:lnTo>
                  <a:lnTo>
                    <a:pt x="141097" y="307975"/>
                  </a:lnTo>
                  <a:lnTo>
                    <a:pt x="141224" y="310134"/>
                  </a:lnTo>
                  <a:lnTo>
                    <a:pt x="141097" y="312292"/>
                  </a:lnTo>
                  <a:lnTo>
                    <a:pt x="140971" y="314325"/>
                  </a:lnTo>
                  <a:lnTo>
                    <a:pt x="140589" y="316484"/>
                  </a:lnTo>
                  <a:lnTo>
                    <a:pt x="140335" y="318516"/>
                  </a:lnTo>
                  <a:lnTo>
                    <a:pt x="139700" y="320547"/>
                  </a:lnTo>
                  <a:lnTo>
                    <a:pt x="139066" y="322579"/>
                  </a:lnTo>
                  <a:lnTo>
                    <a:pt x="138431" y="324612"/>
                  </a:lnTo>
                  <a:lnTo>
                    <a:pt x="137414" y="326644"/>
                  </a:lnTo>
                  <a:lnTo>
                    <a:pt x="136398" y="328548"/>
                  </a:lnTo>
                  <a:lnTo>
                    <a:pt x="135383" y="330453"/>
                  </a:lnTo>
                  <a:lnTo>
                    <a:pt x="134112" y="332485"/>
                  </a:lnTo>
                  <a:lnTo>
                    <a:pt x="132843" y="334137"/>
                  </a:lnTo>
                  <a:lnTo>
                    <a:pt x="131319" y="336041"/>
                  </a:lnTo>
                  <a:lnTo>
                    <a:pt x="129795" y="337819"/>
                  </a:lnTo>
                  <a:lnTo>
                    <a:pt x="128017" y="339470"/>
                  </a:lnTo>
                  <a:lnTo>
                    <a:pt x="126238" y="341122"/>
                  </a:lnTo>
                  <a:close/>
                  <a:moveTo>
                    <a:pt x="-5382514" y="3172967"/>
                  </a:moveTo>
                  <a:moveTo>
                    <a:pt x="148845" y="293242"/>
                  </a:moveTo>
                  <a:lnTo>
                    <a:pt x="148845" y="293242"/>
                  </a:lnTo>
                  <a:lnTo>
                    <a:pt x="147574" y="290322"/>
                  </a:lnTo>
                  <a:lnTo>
                    <a:pt x="146305" y="287528"/>
                  </a:lnTo>
                  <a:lnTo>
                    <a:pt x="144654" y="284860"/>
                  </a:lnTo>
                  <a:lnTo>
                    <a:pt x="142875" y="282320"/>
                  </a:lnTo>
                  <a:lnTo>
                    <a:pt x="140971" y="279781"/>
                  </a:lnTo>
                  <a:lnTo>
                    <a:pt x="138811" y="277241"/>
                  </a:lnTo>
                  <a:lnTo>
                    <a:pt x="136398" y="274828"/>
                  </a:lnTo>
                  <a:lnTo>
                    <a:pt x="133985" y="272669"/>
                  </a:lnTo>
                  <a:lnTo>
                    <a:pt x="130937" y="270128"/>
                  </a:lnTo>
                  <a:lnTo>
                    <a:pt x="127635" y="267842"/>
                  </a:lnTo>
                  <a:lnTo>
                    <a:pt x="124207" y="265684"/>
                  </a:lnTo>
                  <a:lnTo>
                    <a:pt x="120777" y="263906"/>
                  </a:lnTo>
                  <a:lnTo>
                    <a:pt x="117095" y="262254"/>
                  </a:lnTo>
                  <a:lnTo>
                    <a:pt x="113411" y="260731"/>
                  </a:lnTo>
                  <a:lnTo>
                    <a:pt x="109601" y="259588"/>
                  </a:lnTo>
                  <a:lnTo>
                    <a:pt x="105664" y="258698"/>
                  </a:lnTo>
                  <a:lnTo>
                    <a:pt x="101727" y="257810"/>
                  </a:lnTo>
                  <a:lnTo>
                    <a:pt x="97791" y="257428"/>
                  </a:lnTo>
                  <a:lnTo>
                    <a:pt x="93726" y="257047"/>
                  </a:lnTo>
                  <a:lnTo>
                    <a:pt x="89789" y="257047"/>
                  </a:lnTo>
                  <a:lnTo>
                    <a:pt x="85725" y="257175"/>
                  </a:lnTo>
                  <a:lnTo>
                    <a:pt x="81788" y="257556"/>
                  </a:lnTo>
                  <a:lnTo>
                    <a:pt x="77851" y="258063"/>
                  </a:lnTo>
                  <a:lnTo>
                    <a:pt x="73914" y="258953"/>
                  </a:lnTo>
                  <a:lnTo>
                    <a:pt x="168910" y="183641"/>
                  </a:lnTo>
                  <a:lnTo>
                    <a:pt x="171959" y="183007"/>
                  </a:lnTo>
                  <a:lnTo>
                    <a:pt x="175007" y="182625"/>
                  </a:lnTo>
                  <a:lnTo>
                    <a:pt x="178182" y="182244"/>
                  </a:lnTo>
                  <a:lnTo>
                    <a:pt x="181357" y="182117"/>
                  </a:lnTo>
                  <a:lnTo>
                    <a:pt x="184405" y="182244"/>
                  </a:lnTo>
                  <a:lnTo>
                    <a:pt x="187580" y="182498"/>
                  </a:lnTo>
                  <a:lnTo>
                    <a:pt x="190627" y="182879"/>
                  </a:lnTo>
                  <a:lnTo>
                    <a:pt x="193802" y="183388"/>
                  </a:lnTo>
                  <a:lnTo>
                    <a:pt x="196850" y="184022"/>
                  </a:lnTo>
                  <a:lnTo>
                    <a:pt x="199772" y="184785"/>
                  </a:lnTo>
                  <a:lnTo>
                    <a:pt x="202820" y="185800"/>
                  </a:lnTo>
                  <a:lnTo>
                    <a:pt x="205741" y="186944"/>
                  </a:lnTo>
                  <a:lnTo>
                    <a:pt x="208408" y="188213"/>
                  </a:lnTo>
                  <a:lnTo>
                    <a:pt x="210947" y="189738"/>
                  </a:lnTo>
                  <a:lnTo>
                    <a:pt x="213614" y="191262"/>
                  </a:lnTo>
                  <a:lnTo>
                    <a:pt x="215900" y="192785"/>
                  </a:lnTo>
                  <a:lnTo>
                    <a:pt x="223394" y="185928"/>
                  </a:lnTo>
                  <a:lnTo>
                    <a:pt x="221108" y="184403"/>
                  </a:lnTo>
                  <a:lnTo>
                    <a:pt x="218948" y="183007"/>
                  </a:lnTo>
                  <a:lnTo>
                    <a:pt x="216789" y="181737"/>
                  </a:lnTo>
                  <a:lnTo>
                    <a:pt x="214376" y="180466"/>
                  </a:lnTo>
                  <a:lnTo>
                    <a:pt x="212091" y="179197"/>
                  </a:lnTo>
                  <a:lnTo>
                    <a:pt x="209423" y="178181"/>
                  </a:lnTo>
                  <a:lnTo>
                    <a:pt x="207010" y="177291"/>
                  </a:lnTo>
                  <a:lnTo>
                    <a:pt x="204471" y="176275"/>
                  </a:lnTo>
                  <a:lnTo>
                    <a:pt x="201804" y="175513"/>
                  </a:lnTo>
                  <a:lnTo>
                    <a:pt x="199136" y="174878"/>
                  </a:lnTo>
                  <a:lnTo>
                    <a:pt x="196343" y="174244"/>
                  </a:lnTo>
                  <a:lnTo>
                    <a:pt x="193675" y="173735"/>
                  </a:lnTo>
                  <a:lnTo>
                    <a:pt x="191009" y="173354"/>
                  </a:lnTo>
                  <a:lnTo>
                    <a:pt x="188087" y="173100"/>
                  </a:lnTo>
                  <a:lnTo>
                    <a:pt x="185421" y="172973"/>
                  </a:lnTo>
                  <a:lnTo>
                    <a:pt x="182499" y="172847"/>
                  </a:lnTo>
                  <a:lnTo>
                    <a:pt x="224791" y="139319"/>
                  </a:lnTo>
                  <a:lnTo>
                    <a:pt x="241300" y="127635"/>
                  </a:lnTo>
                  <a:lnTo>
                    <a:pt x="243586" y="127381"/>
                  </a:lnTo>
                  <a:lnTo>
                    <a:pt x="246126" y="127381"/>
                  </a:lnTo>
                  <a:lnTo>
                    <a:pt x="248285" y="127381"/>
                  </a:lnTo>
                  <a:lnTo>
                    <a:pt x="250698" y="127635"/>
                  </a:lnTo>
                  <a:lnTo>
                    <a:pt x="253111" y="127888"/>
                  </a:lnTo>
                  <a:lnTo>
                    <a:pt x="255524" y="128142"/>
                  </a:lnTo>
                  <a:lnTo>
                    <a:pt x="257557" y="128650"/>
                  </a:lnTo>
                  <a:lnTo>
                    <a:pt x="259970" y="129159"/>
                  </a:lnTo>
                  <a:lnTo>
                    <a:pt x="262129" y="129794"/>
                  </a:lnTo>
                  <a:lnTo>
                    <a:pt x="264160" y="130556"/>
                  </a:lnTo>
                  <a:lnTo>
                    <a:pt x="266320" y="131444"/>
                  </a:lnTo>
                  <a:lnTo>
                    <a:pt x="268351" y="132334"/>
                  </a:lnTo>
                  <a:lnTo>
                    <a:pt x="270257" y="133350"/>
                  </a:lnTo>
                  <a:lnTo>
                    <a:pt x="272161" y="134492"/>
                  </a:lnTo>
                  <a:lnTo>
                    <a:pt x="274067" y="135635"/>
                  </a:lnTo>
                  <a:lnTo>
                    <a:pt x="275718" y="136906"/>
                  </a:lnTo>
                  <a:lnTo>
                    <a:pt x="283210" y="130047"/>
                  </a:lnTo>
                  <a:lnTo>
                    <a:pt x="280035" y="127888"/>
                  </a:lnTo>
                  <a:lnTo>
                    <a:pt x="276607" y="125729"/>
                  </a:lnTo>
                  <a:lnTo>
                    <a:pt x="273050" y="124078"/>
                  </a:lnTo>
                  <a:lnTo>
                    <a:pt x="269622" y="122300"/>
                  </a:lnTo>
                  <a:lnTo>
                    <a:pt x="265684" y="121157"/>
                  </a:lnTo>
                  <a:lnTo>
                    <a:pt x="261747" y="119888"/>
                  </a:lnTo>
                  <a:lnTo>
                    <a:pt x="257937" y="119125"/>
                  </a:lnTo>
                  <a:lnTo>
                    <a:pt x="253747" y="118491"/>
                  </a:lnTo>
                  <a:lnTo>
                    <a:pt x="291084" y="91566"/>
                  </a:lnTo>
                  <a:lnTo>
                    <a:pt x="291720" y="91059"/>
                  </a:lnTo>
                  <a:lnTo>
                    <a:pt x="292100" y="90550"/>
                  </a:lnTo>
                  <a:lnTo>
                    <a:pt x="292609" y="90169"/>
                  </a:lnTo>
                  <a:lnTo>
                    <a:pt x="292735" y="89788"/>
                  </a:lnTo>
                  <a:lnTo>
                    <a:pt x="292735" y="89535"/>
                  </a:lnTo>
                  <a:lnTo>
                    <a:pt x="292609" y="89153"/>
                  </a:lnTo>
                  <a:lnTo>
                    <a:pt x="292355" y="88900"/>
                  </a:lnTo>
                  <a:lnTo>
                    <a:pt x="291973" y="88645"/>
                  </a:lnTo>
                  <a:lnTo>
                    <a:pt x="291084" y="88265"/>
                  </a:lnTo>
                  <a:lnTo>
                    <a:pt x="289687" y="88138"/>
                  </a:lnTo>
                  <a:lnTo>
                    <a:pt x="287909" y="88010"/>
                  </a:lnTo>
                  <a:lnTo>
                    <a:pt x="285877" y="88138"/>
                  </a:lnTo>
                  <a:lnTo>
                    <a:pt x="283592" y="88265"/>
                  </a:lnTo>
                  <a:lnTo>
                    <a:pt x="281051" y="88519"/>
                  </a:lnTo>
                  <a:lnTo>
                    <a:pt x="278638" y="88900"/>
                  </a:lnTo>
                  <a:lnTo>
                    <a:pt x="276098" y="89535"/>
                  </a:lnTo>
                  <a:lnTo>
                    <a:pt x="273559" y="90042"/>
                  </a:lnTo>
                  <a:lnTo>
                    <a:pt x="270892" y="90932"/>
                  </a:lnTo>
                  <a:lnTo>
                    <a:pt x="268479" y="91820"/>
                  </a:lnTo>
                  <a:lnTo>
                    <a:pt x="266193" y="92710"/>
                  </a:lnTo>
                  <a:lnTo>
                    <a:pt x="190882" y="127000"/>
                  </a:lnTo>
                  <a:lnTo>
                    <a:pt x="188849" y="125729"/>
                  </a:lnTo>
                  <a:lnTo>
                    <a:pt x="186691" y="124460"/>
                  </a:lnTo>
                  <a:lnTo>
                    <a:pt x="184912" y="123190"/>
                  </a:lnTo>
                  <a:lnTo>
                    <a:pt x="183134" y="121792"/>
                  </a:lnTo>
                  <a:lnTo>
                    <a:pt x="181484" y="120269"/>
                  </a:lnTo>
                  <a:lnTo>
                    <a:pt x="179833" y="118744"/>
                  </a:lnTo>
                  <a:lnTo>
                    <a:pt x="178435" y="117094"/>
                  </a:lnTo>
                  <a:lnTo>
                    <a:pt x="177038" y="115442"/>
                  </a:lnTo>
                  <a:lnTo>
                    <a:pt x="176022" y="113791"/>
                  </a:lnTo>
                  <a:lnTo>
                    <a:pt x="175007" y="112013"/>
                  </a:lnTo>
                  <a:lnTo>
                    <a:pt x="174118" y="110363"/>
                  </a:lnTo>
                  <a:lnTo>
                    <a:pt x="173356" y="108457"/>
                  </a:lnTo>
                  <a:lnTo>
                    <a:pt x="172721" y="106679"/>
                  </a:lnTo>
                  <a:lnTo>
                    <a:pt x="172339" y="104775"/>
                  </a:lnTo>
                  <a:lnTo>
                    <a:pt x="172085" y="102997"/>
                  </a:lnTo>
                  <a:lnTo>
                    <a:pt x="171959" y="101091"/>
                  </a:lnTo>
                  <a:lnTo>
                    <a:pt x="172085" y="98551"/>
                  </a:lnTo>
                  <a:lnTo>
                    <a:pt x="172467" y="95885"/>
                  </a:lnTo>
                  <a:lnTo>
                    <a:pt x="173229" y="93472"/>
                  </a:lnTo>
                  <a:lnTo>
                    <a:pt x="174118" y="91185"/>
                  </a:lnTo>
                  <a:lnTo>
                    <a:pt x="175260" y="88900"/>
                  </a:lnTo>
                  <a:lnTo>
                    <a:pt x="176784" y="86487"/>
                  </a:lnTo>
                  <a:lnTo>
                    <a:pt x="178435" y="84454"/>
                  </a:lnTo>
                  <a:lnTo>
                    <a:pt x="180468" y="82295"/>
                  </a:lnTo>
                  <a:lnTo>
                    <a:pt x="182499" y="80391"/>
                  </a:lnTo>
                  <a:lnTo>
                    <a:pt x="184659" y="78613"/>
                  </a:lnTo>
                  <a:lnTo>
                    <a:pt x="187198" y="76835"/>
                  </a:lnTo>
                  <a:lnTo>
                    <a:pt x="189866" y="75310"/>
                  </a:lnTo>
                  <a:lnTo>
                    <a:pt x="192786" y="73913"/>
                  </a:lnTo>
                  <a:lnTo>
                    <a:pt x="195834" y="72516"/>
                  </a:lnTo>
                  <a:lnTo>
                    <a:pt x="198883" y="71500"/>
                  </a:lnTo>
                  <a:lnTo>
                    <a:pt x="202058" y="70612"/>
                  </a:lnTo>
                  <a:lnTo>
                    <a:pt x="317247" y="80772"/>
                  </a:lnTo>
                  <a:lnTo>
                    <a:pt x="320041" y="81153"/>
                  </a:lnTo>
                  <a:lnTo>
                    <a:pt x="322581" y="81534"/>
                  </a:lnTo>
                  <a:lnTo>
                    <a:pt x="325121" y="82169"/>
                  </a:lnTo>
                  <a:lnTo>
                    <a:pt x="327280" y="82931"/>
                  </a:lnTo>
                  <a:lnTo>
                    <a:pt x="329311" y="83947"/>
                  </a:lnTo>
                  <a:lnTo>
                    <a:pt x="331089" y="84963"/>
                  </a:lnTo>
                  <a:lnTo>
                    <a:pt x="331724" y="85597"/>
                  </a:lnTo>
                  <a:lnTo>
                    <a:pt x="332359" y="86106"/>
                  </a:lnTo>
                  <a:lnTo>
                    <a:pt x="332995" y="86867"/>
                  </a:lnTo>
                  <a:lnTo>
                    <a:pt x="333502" y="87503"/>
                  </a:lnTo>
                  <a:lnTo>
                    <a:pt x="333884" y="88265"/>
                  </a:lnTo>
                  <a:lnTo>
                    <a:pt x="334264" y="89026"/>
                  </a:lnTo>
                  <a:lnTo>
                    <a:pt x="334519" y="89788"/>
                  </a:lnTo>
                  <a:lnTo>
                    <a:pt x="334772" y="90678"/>
                  </a:lnTo>
                  <a:lnTo>
                    <a:pt x="334772" y="91566"/>
                  </a:lnTo>
                  <a:lnTo>
                    <a:pt x="334772" y="92582"/>
                  </a:lnTo>
                  <a:lnTo>
                    <a:pt x="334519" y="93472"/>
                  </a:lnTo>
                  <a:lnTo>
                    <a:pt x="334264" y="94488"/>
                  </a:lnTo>
                  <a:lnTo>
                    <a:pt x="333884" y="95631"/>
                  </a:lnTo>
                  <a:lnTo>
                    <a:pt x="333502" y="96647"/>
                  </a:lnTo>
                  <a:lnTo>
                    <a:pt x="332741" y="97790"/>
                  </a:lnTo>
                  <a:lnTo>
                    <a:pt x="332106" y="98932"/>
                  </a:lnTo>
                  <a:lnTo>
                    <a:pt x="331344" y="100329"/>
                  </a:lnTo>
                  <a:lnTo>
                    <a:pt x="330200" y="101472"/>
                  </a:lnTo>
                  <a:lnTo>
                    <a:pt x="327914" y="104140"/>
                  </a:lnTo>
                  <a:lnTo>
                    <a:pt x="167386" y="269747"/>
                  </a:lnTo>
                  <a:lnTo>
                    <a:pt x="165355" y="271017"/>
                  </a:lnTo>
                  <a:lnTo>
                    <a:pt x="163704" y="272669"/>
                  </a:lnTo>
                  <a:lnTo>
                    <a:pt x="161163" y="274828"/>
                  </a:lnTo>
                  <a:lnTo>
                    <a:pt x="158877" y="277241"/>
                  </a:lnTo>
                  <a:lnTo>
                    <a:pt x="156719" y="279781"/>
                  </a:lnTo>
                  <a:lnTo>
                    <a:pt x="154813" y="282320"/>
                  </a:lnTo>
                  <a:lnTo>
                    <a:pt x="153035" y="284860"/>
                  </a:lnTo>
                  <a:lnTo>
                    <a:pt x="151511" y="287528"/>
                  </a:lnTo>
                  <a:lnTo>
                    <a:pt x="149987" y="290322"/>
                  </a:lnTo>
                  <a:lnTo>
                    <a:pt x="148845" y="293242"/>
                  </a:lnTo>
                  <a:close/>
                  <a:moveTo>
                    <a:pt x="-5334634" y="3172967"/>
                  </a:moveTo>
                  <a:moveTo>
                    <a:pt x="243459" y="341122"/>
                  </a:moveTo>
                  <a:lnTo>
                    <a:pt x="243459" y="341122"/>
                  </a:lnTo>
                  <a:lnTo>
                    <a:pt x="241555" y="342645"/>
                  </a:lnTo>
                  <a:lnTo>
                    <a:pt x="239522" y="344042"/>
                  </a:lnTo>
                  <a:lnTo>
                    <a:pt x="237491" y="345440"/>
                  </a:lnTo>
                  <a:lnTo>
                    <a:pt x="235459" y="346710"/>
                  </a:lnTo>
                  <a:lnTo>
                    <a:pt x="233299" y="347853"/>
                  </a:lnTo>
                  <a:lnTo>
                    <a:pt x="231013" y="348995"/>
                  </a:lnTo>
                  <a:lnTo>
                    <a:pt x="228982" y="349885"/>
                  </a:lnTo>
                  <a:lnTo>
                    <a:pt x="226569" y="350647"/>
                  </a:lnTo>
                  <a:lnTo>
                    <a:pt x="224283" y="351535"/>
                  </a:lnTo>
                  <a:lnTo>
                    <a:pt x="221997" y="352044"/>
                  </a:lnTo>
                  <a:lnTo>
                    <a:pt x="219584" y="352678"/>
                  </a:lnTo>
                  <a:lnTo>
                    <a:pt x="217171" y="353187"/>
                  </a:lnTo>
                  <a:lnTo>
                    <a:pt x="214758" y="353441"/>
                  </a:lnTo>
                  <a:lnTo>
                    <a:pt x="212345" y="353694"/>
                  </a:lnTo>
                  <a:lnTo>
                    <a:pt x="209932" y="353822"/>
                  </a:lnTo>
                  <a:lnTo>
                    <a:pt x="207392" y="353948"/>
                  </a:lnTo>
                  <a:lnTo>
                    <a:pt x="204979" y="353822"/>
                  </a:lnTo>
                  <a:lnTo>
                    <a:pt x="202566" y="353694"/>
                  </a:lnTo>
                  <a:lnTo>
                    <a:pt x="200025" y="353441"/>
                  </a:lnTo>
                  <a:lnTo>
                    <a:pt x="197612" y="353187"/>
                  </a:lnTo>
                  <a:lnTo>
                    <a:pt x="195326" y="352678"/>
                  </a:lnTo>
                  <a:lnTo>
                    <a:pt x="192913" y="352044"/>
                  </a:lnTo>
                  <a:lnTo>
                    <a:pt x="190627" y="351535"/>
                  </a:lnTo>
                  <a:lnTo>
                    <a:pt x="188214" y="350647"/>
                  </a:lnTo>
                  <a:lnTo>
                    <a:pt x="185929" y="349885"/>
                  </a:lnTo>
                  <a:lnTo>
                    <a:pt x="183770" y="348995"/>
                  </a:lnTo>
                  <a:lnTo>
                    <a:pt x="181484" y="347853"/>
                  </a:lnTo>
                  <a:lnTo>
                    <a:pt x="179451" y="346710"/>
                  </a:lnTo>
                  <a:lnTo>
                    <a:pt x="177293" y="345440"/>
                  </a:lnTo>
                  <a:lnTo>
                    <a:pt x="175260" y="344042"/>
                  </a:lnTo>
                  <a:lnTo>
                    <a:pt x="173356" y="342645"/>
                  </a:lnTo>
                  <a:lnTo>
                    <a:pt x="171323" y="341122"/>
                  </a:lnTo>
                  <a:lnTo>
                    <a:pt x="168910" y="338835"/>
                  </a:lnTo>
                  <a:lnTo>
                    <a:pt x="166879" y="336676"/>
                  </a:lnTo>
                  <a:lnTo>
                    <a:pt x="164847" y="334391"/>
                  </a:lnTo>
                  <a:lnTo>
                    <a:pt x="163069" y="331723"/>
                  </a:lnTo>
                  <a:lnTo>
                    <a:pt x="161672" y="329310"/>
                  </a:lnTo>
                  <a:lnTo>
                    <a:pt x="160274" y="326644"/>
                  </a:lnTo>
                  <a:lnTo>
                    <a:pt x="159005" y="324103"/>
                  </a:lnTo>
                  <a:lnTo>
                    <a:pt x="158116" y="321437"/>
                  </a:lnTo>
                  <a:lnTo>
                    <a:pt x="232919" y="272288"/>
                  </a:lnTo>
                  <a:lnTo>
                    <a:pt x="235712" y="273685"/>
                  </a:lnTo>
                  <a:lnTo>
                    <a:pt x="238252" y="275463"/>
                  </a:lnTo>
                  <a:lnTo>
                    <a:pt x="241047" y="277241"/>
                  </a:lnTo>
                  <a:lnTo>
                    <a:pt x="243459" y="279145"/>
                  </a:lnTo>
                  <a:lnTo>
                    <a:pt x="245237" y="280797"/>
                  </a:lnTo>
                  <a:lnTo>
                    <a:pt x="246888" y="282575"/>
                  </a:lnTo>
                  <a:lnTo>
                    <a:pt x="248539" y="284225"/>
                  </a:lnTo>
                  <a:lnTo>
                    <a:pt x="250063" y="286003"/>
                  </a:lnTo>
                  <a:lnTo>
                    <a:pt x="251334" y="287909"/>
                  </a:lnTo>
                  <a:lnTo>
                    <a:pt x="252604" y="289813"/>
                  </a:lnTo>
                  <a:lnTo>
                    <a:pt x="253620" y="291845"/>
                  </a:lnTo>
                  <a:lnTo>
                    <a:pt x="254635" y="293623"/>
                  </a:lnTo>
                  <a:lnTo>
                    <a:pt x="255524" y="295656"/>
                  </a:lnTo>
                  <a:lnTo>
                    <a:pt x="256286" y="297688"/>
                  </a:lnTo>
                  <a:lnTo>
                    <a:pt x="256922" y="299719"/>
                  </a:lnTo>
                  <a:lnTo>
                    <a:pt x="257430" y="301878"/>
                  </a:lnTo>
                  <a:lnTo>
                    <a:pt x="257937" y="303784"/>
                  </a:lnTo>
                  <a:lnTo>
                    <a:pt x="258192" y="305942"/>
                  </a:lnTo>
                  <a:lnTo>
                    <a:pt x="258319" y="307975"/>
                  </a:lnTo>
                  <a:lnTo>
                    <a:pt x="258446" y="310134"/>
                  </a:lnTo>
                  <a:lnTo>
                    <a:pt x="258319" y="312292"/>
                  </a:lnTo>
                  <a:lnTo>
                    <a:pt x="258192" y="314325"/>
                  </a:lnTo>
                  <a:lnTo>
                    <a:pt x="257937" y="316484"/>
                  </a:lnTo>
                  <a:lnTo>
                    <a:pt x="257430" y="318516"/>
                  </a:lnTo>
                  <a:lnTo>
                    <a:pt x="256922" y="320547"/>
                  </a:lnTo>
                  <a:lnTo>
                    <a:pt x="256286" y="322579"/>
                  </a:lnTo>
                  <a:lnTo>
                    <a:pt x="255524" y="324612"/>
                  </a:lnTo>
                  <a:lnTo>
                    <a:pt x="254635" y="326644"/>
                  </a:lnTo>
                  <a:lnTo>
                    <a:pt x="253620" y="328548"/>
                  </a:lnTo>
                  <a:lnTo>
                    <a:pt x="252604" y="330453"/>
                  </a:lnTo>
                  <a:lnTo>
                    <a:pt x="251334" y="332485"/>
                  </a:lnTo>
                  <a:lnTo>
                    <a:pt x="250063" y="334137"/>
                  </a:lnTo>
                  <a:lnTo>
                    <a:pt x="248539" y="336041"/>
                  </a:lnTo>
                  <a:lnTo>
                    <a:pt x="247016" y="337819"/>
                  </a:lnTo>
                  <a:lnTo>
                    <a:pt x="245237" y="339470"/>
                  </a:lnTo>
                  <a:lnTo>
                    <a:pt x="243459" y="341122"/>
                  </a:lnTo>
                  <a:close/>
                  <a:moveTo>
                    <a:pt x="-5382514" y="3172967"/>
                  </a:moveTo>
                  <a:moveTo>
                    <a:pt x="266066" y="293242"/>
                  </a:moveTo>
                  <a:lnTo>
                    <a:pt x="266066" y="293242"/>
                  </a:lnTo>
                  <a:lnTo>
                    <a:pt x="264796" y="290322"/>
                  </a:lnTo>
                  <a:lnTo>
                    <a:pt x="263398" y="287528"/>
                  </a:lnTo>
                  <a:lnTo>
                    <a:pt x="261747" y="284860"/>
                  </a:lnTo>
                  <a:lnTo>
                    <a:pt x="259970" y="282320"/>
                  </a:lnTo>
                  <a:lnTo>
                    <a:pt x="258192" y="279781"/>
                  </a:lnTo>
                  <a:lnTo>
                    <a:pt x="256033" y="277241"/>
                  </a:lnTo>
                  <a:lnTo>
                    <a:pt x="253620" y="274828"/>
                  </a:lnTo>
                  <a:lnTo>
                    <a:pt x="251080" y="272669"/>
                  </a:lnTo>
                  <a:lnTo>
                    <a:pt x="248032" y="270128"/>
                  </a:lnTo>
                  <a:lnTo>
                    <a:pt x="244857" y="267842"/>
                  </a:lnTo>
                  <a:lnTo>
                    <a:pt x="241555" y="265810"/>
                  </a:lnTo>
                  <a:lnTo>
                    <a:pt x="237998" y="264032"/>
                  </a:lnTo>
                  <a:lnTo>
                    <a:pt x="234443" y="262382"/>
                  </a:lnTo>
                  <a:lnTo>
                    <a:pt x="230759" y="260985"/>
                  </a:lnTo>
                  <a:lnTo>
                    <a:pt x="227204" y="259841"/>
                  </a:lnTo>
                  <a:lnTo>
                    <a:pt x="223394" y="258825"/>
                  </a:lnTo>
                  <a:lnTo>
                    <a:pt x="219584" y="258063"/>
                  </a:lnTo>
                  <a:lnTo>
                    <a:pt x="215647" y="257556"/>
                  </a:lnTo>
                  <a:lnTo>
                    <a:pt x="211709" y="257175"/>
                  </a:lnTo>
                  <a:lnTo>
                    <a:pt x="207772" y="257047"/>
                  </a:lnTo>
                  <a:lnTo>
                    <a:pt x="203962" y="257047"/>
                  </a:lnTo>
                  <a:lnTo>
                    <a:pt x="200025" y="257428"/>
                  </a:lnTo>
                  <a:lnTo>
                    <a:pt x="196088" y="257810"/>
                  </a:lnTo>
                  <a:lnTo>
                    <a:pt x="192151" y="258698"/>
                  </a:lnTo>
                  <a:lnTo>
                    <a:pt x="266827" y="181737"/>
                  </a:lnTo>
                  <a:lnTo>
                    <a:pt x="270002" y="181101"/>
                  </a:lnTo>
                  <a:lnTo>
                    <a:pt x="273050" y="180720"/>
                  </a:lnTo>
                  <a:lnTo>
                    <a:pt x="276225" y="180466"/>
                  </a:lnTo>
                  <a:lnTo>
                    <a:pt x="279273" y="180466"/>
                  </a:lnTo>
                  <a:lnTo>
                    <a:pt x="282448" y="180594"/>
                  </a:lnTo>
                  <a:lnTo>
                    <a:pt x="285623" y="180720"/>
                  </a:lnTo>
                  <a:lnTo>
                    <a:pt x="288672" y="181101"/>
                  </a:lnTo>
                  <a:lnTo>
                    <a:pt x="291593" y="181737"/>
                  </a:lnTo>
                  <a:lnTo>
                    <a:pt x="294386" y="182372"/>
                  </a:lnTo>
                  <a:lnTo>
                    <a:pt x="297434" y="183388"/>
                  </a:lnTo>
                  <a:lnTo>
                    <a:pt x="300101" y="184276"/>
                  </a:lnTo>
                  <a:lnTo>
                    <a:pt x="302896" y="185419"/>
                  </a:lnTo>
                  <a:lnTo>
                    <a:pt x="305562" y="186816"/>
                  </a:lnTo>
                  <a:lnTo>
                    <a:pt x="307975" y="188087"/>
                  </a:lnTo>
                  <a:lnTo>
                    <a:pt x="310516" y="189738"/>
                  </a:lnTo>
                  <a:lnTo>
                    <a:pt x="312801" y="191262"/>
                  </a:lnTo>
                  <a:lnTo>
                    <a:pt x="319406" y="183895"/>
                  </a:lnTo>
                  <a:lnTo>
                    <a:pt x="317120" y="182244"/>
                  </a:lnTo>
                  <a:lnTo>
                    <a:pt x="314834" y="180720"/>
                  </a:lnTo>
                  <a:lnTo>
                    <a:pt x="312547" y="179450"/>
                  </a:lnTo>
                  <a:lnTo>
                    <a:pt x="310008" y="178181"/>
                  </a:lnTo>
                  <a:lnTo>
                    <a:pt x="307595" y="177038"/>
                  </a:lnTo>
                  <a:lnTo>
                    <a:pt x="305055" y="176022"/>
                  </a:lnTo>
                  <a:lnTo>
                    <a:pt x="302514" y="174878"/>
                  </a:lnTo>
                  <a:lnTo>
                    <a:pt x="299847" y="174116"/>
                  </a:lnTo>
                  <a:lnTo>
                    <a:pt x="297054" y="173354"/>
                  </a:lnTo>
                  <a:lnTo>
                    <a:pt x="294386" y="172719"/>
                  </a:lnTo>
                  <a:lnTo>
                    <a:pt x="291466" y="172212"/>
                  </a:lnTo>
                  <a:lnTo>
                    <a:pt x="288672" y="171576"/>
                  </a:lnTo>
                  <a:lnTo>
                    <a:pt x="285877" y="171322"/>
                  </a:lnTo>
                  <a:lnTo>
                    <a:pt x="282957" y="171195"/>
                  </a:lnTo>
                  <a:lnTo>
                    <a:pt x="280035" y="171069"/>
                  </a:lnTo>
                  <a:lnTo>
                    <a:pt x="277242" y="171069"/>
                  </a:lnTo>
                  <a:lnTo>
                    <a:pt x="320295" y="126491"/>
                  </a:lnTo>
                  <a:lnTo>
                    <a:pt x="322961" y="126110"/>
                  </a:lnTo>
                  <a:lnTo>
                    <a:pt x="325629" y="125729"/>
                  </a:lnTo>
                  <a:lnTo>
                    <a:pt x="328296" y="125475"/>
                  </a:lnTo>
                  <a:lnTo>
                    <a:pt x="331089" y="125475"/>
                  </a:lnTo>
                  <a:lnTo>
                    <a:pt x="333884" y="125475"/>
                  </a:lnTo>
                  <a:lnTo>
                    <a:pt x="336550" y="125729"/>
                  </a:lnTo>
                  <a:lnTo>
                    <a:pt x="339218" y="125984"/>
                  </a:lnTo>
                  <a:lnTo>
                    <a:pt x="342011" y="126491"/>
                  </a:lnTo>
                  <a:lnTo>
                    <a:pt x="344679" y="127000"/>
                  </a:lnTo>
                  <a:lnTo>
                    <a:pt x="347219" y="127888"/>
                  </a:lnTo>
                  <a:lnTo>
                    <a:pt x="349885" y="128650"/>
                  </a:lnTo>
                  <a:lnTo>
                    <a:pt x="352298" y="129666"/>
                  </a:lnTo>
                  <a:lnTo>
                    <a:pt x="354711" y="130810"/>
                  </a:lnTo>
                  <a:lnTo>
                    <a:pt x="356997" y="132079"/>
                  </a:lnTo>
                  <a:lnTo>
                    <a:pt x="359284" y="133603"/>
                  </a:lnTo>
                  <a:lnTo>
                    <a:pt x="361316" y="135128"/>
                  </a:lnTo>
                  <a:lnTo>
                    <a:pt x="367920" y="127507"/>
                  </a:lnTo>
                  <a:lnTo>
                    <a:pt x="365760" y="126110"/>
                  </a:lnTo>
                  <a:lnTo>
                    <a:pt x="363729" y="124841"/>
                  </a:lnTo>
                  <a:lnTo>
                    <a:pt x="361570" y="123444"/>
                  </a:lnTo>
                  <a:lnTo>
                    <a:pt x="359537" y="122300"/>
                  </a:lnTo>
                  <a:lnTo>
                    <a:pt x="357124" y="121285"/>
                  </a:lnTo>
                  <a:lnTo>
                    <a:pt x="354966" y="120395"/>
                  </a:lnTo>
                  <a:lnTo>
                    <a:pt x="352552" y="119507"/>
                  </a:lnTo>
                  <a:lnTo>
                    <a:pt x="350139" y="118744"/>
                  </a:lnTo>
                  <a:lnTo>
                    <a:pt x="347726" y="118110"/>
                  </a:lnTo>
                  <a:lnTo>
                    <a:pt x="345313" y="117601"/>
                  </a:lnTo>
                  <a:lnTo>
                    <a:pt x="342900" y="117094"/>
                  </a:lnTo>
                  <a:lnTo>
                    <a:pt x="340487" y="116713"/>
                  </a:lnTo>
                  <a:lnTo>
                    <a:pt x="337947" y="116459"/>
                  </a:lnTo>
                  <a:lnTo>
                    <a:pt x="335408" y="116204"/>
                  </a:lnTo>
                  <a:lnTo>
                    <a:pt x="332995" y="116204"/>
                  </a:lnTo>
                  <a:lnTo>
                    <a:pt x="330582" y="116204"/>
                  </a:lnTo>
                  <a:lnTo>
                    <a:pt x="336297" y="109982"/>
                  </a:lnTo>
                  <a:lnTo>
                    <a:pt x="338201" y="107950"/>
                  </a:lnTo>
                  <a:lnTo>
                    <a:pt x="339980" y="105791"/>
                  </a:lnTo>
                  <a:lnTo>
                    <a:pt x="341504" y="103759"/>
                  </a:lnTo>
                  <a:lnTo>
                    <a:pt x="342900" y="101726"/>
                  </a:lnTo>
                  <a:lnTo>
                    <a:pt x="343789" y="99822"/>
                  </a:lnTo>
                  <a:lnTo>
                    <a:pt x="344679" y="97916"/>
                  </a:lnTo>
                  <a:lnTo>
                    <a:pt x="345313" y="96012"/>
                  </a:lnTo>
                  <a:lnTo>
                    <a:pt x="345695" y="94360"/>
                  </a:lnTo>
                  <a:lnTo>
                    <a:pt x="345822" y="92710"/>
                  </a:lnTo>
                  <a:lnTo>
                    <a:pt x="345822" y="91059"/>
                  </a:lnTo>
                  <a:lnTo>
                    <a:pt x="345695" y="89535"/>
                  </a:lnTo>
                  <a:lnTo>
                    <a:pt x="345441" y="88010"/>
                  </a:lnTo>
                  <a:lnTo>
                    <a:pt x="345059" y="86487"/>
                  </a:lnTo>
                  <a:lnTo>
                    <a:pt x="344424" y="85216"/>
                  </a:lnTo>
                  <a:lnTo>
                    <a:pt x="343662" y="83819"/>
                  </a:lnTo>
                  <a:lnTo>
                    <a:pt x="342647" y="82676"/>
                  </a:lnTo>
                  <a:lnTo>
                    <a:pt x="341758" y="81279"/>
                  </a:lnTo>
                  <a:lnTo>
                    <a:pt x="340742" y="80263"/>
                  </a:lnTo>
                  <a:lnTo>
                    <a:pt x="339472" y="79247"/>
                  </a:lnTo>
                  <a:lnTo>
                    <a:pt x="338074" y="78232"/>
                  </a:lnTo>
                  <a:lnTo>
                    <a:pt x="336805" y="77216"/>
                  </a:lnTo>
                  <a:lnTo>
                    <a:pt x="335281" y="76453"/>
                  </a:lnTo>
                  <a:lnTo>
                    <a:pt x="333757" y="75691"/>
                  </a:lnTo>
                  <a:lnTo>
                    <a:pt x="332106" y="74929"/>
                  </a:lnTo>
                  <a:lnTo>
                    <a:pt x="330582" y="74167"/>
                  </a:lnTo>
                  <a:lnTo>
                    <a:pt x="328676" y="73660"/>
                  </a:lnTo>
                  <a:lnTo>
                    <a:pt x="327152" y="73025"/>
                  </a:lnTo>
                  <a:lnTo>
                    <a:pt x="325374" y="72516"/>
                  </a:lnTo>
                  <a:lnTo>
                    <a:pt x="321819" y="71882"/>
                  </a:lnTo>
                  <a:lnTo>
                    <a:pt x="318389" y="71373"/>
                  </a:lnTo>
                  <a:lnTo>
                    <a:pt x="96267" y="51816"/>
                  </a:lnTo>
                  <a:lnTo>
                    <a:pt x="107443" y="45338"/>
                  </a:lnTo>
                  <a:lnTo>
                    <a:pt x="383795" y="68453"/>
                  </a:lnTo>
                  <a:lnTo>
                    <a:pt x="386970" y="68834"/>
                  </a:lnTo>
                  <a:lnTo>
                    <a:pt x="389891" y="69215"/>
                  </a:lnTo>
                  <a:lnTo>
                    <a:pt x="392684" y="69595"/>
                  </a:lnTo>
                  <a:lnTo>
                    <a:pt x="395224" y="70231"/>
                  </a:lnTo>
                  <a:lnTo>
                    <a:pt x="397510" y="70992"/>
                  </a:lnTo>
                  <a:lnTo>
                    <a:pt x="399670" y="71628"/>
                  </a:lnTo>
                  <a:lnTo>
                    <a:pt x="401574" y="72390"/>
                  </a:lnTo>
                  <a:lnTo>
                    <a:pt x="403352" y="73278"/>
                  </a:lnTo>
                  <a:lnTo>
                    <a:pt x="405004" y="74167"/>
                  </a:lnTo>
                  <a:lnTo>
                    <a:pt x="406400" y="75310"/>
                  </a:lnTo>
                  <a:lnTo>
                    <a:pt x="407671" y="76326"/>
                  </a:lnTo>
                  <a:lnTo>
                    <a:pt x="408813" y="77469"/>
                  </a:lnTo>
                  <a:lnTo>
                    <a:pt x="409830" y="78613"/>
                  </a:lnTo>
                  <a:lnTo>
                    <a:pt x="410464" y="79756"/>
                  </a:lnTo>
                  <a:lnTo>
                    <a:pt x="411099" y="81153"/>
                  </a:lnTo>
                  <a:lnTo>
                    <a:pt x="411608" y="82422"/>
                  </a:lnTo>
                  <a:lnTo>
                    <a:pt x="411988" y="83819"/>
                  </a:lnTo>
                  <a:lnTo>
                    <a:pt x="412243" y="85216"/>
                  </a:lnTo>
                  <a:lnTo>
                    <a:pt x="412370" y="86613"/>
                  </a:lnTo>
                  <a:lnTo>
                    <a:pt x="412370" y="88010"/>
                  </a:lnTo>
                  <a:lnTo>
                    <a:pt x="412116" y="89535"/>
                  </a:lnTo>
                  <a:lnTo>
                    <a:pt x="411988" y="91059"/>
                  </a:lnTo>
                  <a:lnTo>
                    <a:pt x="411481" y="92582"/>
                  </a:lnTo>
                  <a:lnTo>
                    <a:pt x="410972" y="94107"/>
                  </a:lnTo>
                  <a:lnTo>
                    <a:pt x="410464" y="95631"/>
                  </a:lnTo>
                  <a:lnTo>
                    <a:pt x="409830" y="97154"/>
                  </a:lnTo>
                  <a:lnTo>
                    <a:pt x="408051" y="100329"/>
                  </a:lnTo>
                  <a:lnTo>
                    <a:pt x="406147" y="103504"/>
                  </a:lnTo>
                  <a:lnTo>
                    <a:pt x="404114" y="106679"/>
                  </a:lnTo>
                  <a:lnTo>
                    <a:pt x="274067" y="279272"/>
                  </a:lnTo>
                  <a:lnTo>
                    <a:pt x="274194" y="279272"/>
                  </a:lnTo>
                  <a:lnTo>
                    <a:pt x="272923" y="280923"/>
                  </a:lnTo>
                  <a:lnTo>
                    <a:pt x="271781" y="282575"/>
                  </a:lnTo>
                  <a:lnTo>
                    <a:pt x="270510" y="284225"/>
                  </a:lnTo>
                  <a:lnTo>
                    <a:pt x="269368" y="286003"/>
                  </a:lnTo>
                  <a:lnTo>
                    <a:pt x="268479" y="287782"/>
                  </a:lnTo>
                  <a:lnTo>
                    <a:pt x="267589" y="289560"/>
                  </a:lnTo>
                  <a:lnTo>
                    <a:pt x="266700" y="291338"/>
                  </a:lnTo>
                  <a:lnTo>
                    <a:pt x="266066" y="293242"/>
                  </a:lnTo>
                  <a:close/>
                  <a:moveTo>
                    <a:pt x="-5334634" y="3172967"/>
                  </a:moveTo>
                  <a:moveTo>
                    <a:pt x="360554" y="341122"/>
                  </a:moveTo>
                  <a:lnTo>
                    <a:pt x="360554" y="341122"/>
                  </a:lnTo>
                  <a:lnTo>
                    <a:pt x="358775" y="342645"/>
                  </a:lnTo>
                  <a:lnTo>
                    <a:pt x="356744" y="344042"/>
                  </a:lnTo>
                  <a:lnTo>
                    <a:pt x="354711" y="345440"/>
                  </a:lnTo>
                  <a:lnTo>
                    <a:pt x="352680" y="346710"/>
                  </a:lnTo>
                  <a:lnTo>
                    <a:pt x="350394" y="347853"/>
                  </a:lnTo>
                  <a:lnTo>
                    <a:pt x="348361" y="348995"/>
                  </a:lnTo>
                  <a:lnTo>
                    <a:pt x="345948" y="349885"/>
                  </a:lnTo>
                  <a:lnTo>
                    <a:pt x="343789" y="350647"/>
                  </a:lnTo>
                  <a:lnTo>
                    <a:pt x="341504" y="351535"/>
                  </a:lnTo>
                  <a:lnTo>
                    <a:pt x="338963" y="352044"/>
                  </a:lnTo>
                  <a:lnTo>
                    <a:pt x="336805" y="352678"/>
                  </a:lnTo>
                  <a:lnTo>
                    <a:pt x="334264" y="353187"/>
                  </a:lnTo>
                  <a:lnTo>
                    <a:pt x="331851" y="353441"/>
                  </a:lnTo>
                  <a:lnTo>
                    <a:pt x="329311" y="353694"/>
                  </a:lnTo>
                  <a:lnTo>
                    <a:pt x="327152" y="353822"/>
                  </a:lnTo>
                  <a:lnTo>
                    <a:pt x="324612" y="353948"/>
                  </a:lnTo>
                  <a:lnTo>
                    <a:pt x="322199" y="353822"/>
                  </a:lnTo>
                  <a:lnTo>
                    <a:pt x="319659" y="353694"/>
                  </a:lnTo>
                  <a:lnTo>
                    <a:pt x="317247" y="353441"/>
                  </a:lnTo>
                  <a:lnTo>
                    <a:pt x="314834" y="353187"/>
                  </a:lnTo>
                  <a:lnTo>
                    <a:pt x="312421" y="352678"/>
                  </a:lnTo>
                  <a:lnTo>
                    <a:pt x="310008" y="352044"/>
                  </a:lnTo>
                  <a:lnTo>
                    <a:pt x="307722" y="351535"/>
                  </a:lnTo>
                  <a:lnTo>
                    <a:pt x="305562" y="350647"/>
                  </a:lnTo>
                  <a:lnTo>
                    <a:pt x="303149" y="349885"/>
                  </a:lnTo>
                  <a:lnTo>
                    <a:pt x="300863" y="348995"/>
                  </a:lnTo>
                  <a:lnTo>
                    <a:pt x="298577" y="347853"/>
                  </a:lnTo>
                  <a:lnTo>
                    <a:pt x="296419" y="346710"/>
                  </a:lnTo>
                  <a:lnTo>
                    <a:pt x="294386" y="345440"/>
                  </a:lnTo>
                  <a:lnTo>
                    <a:pt x="292355" y="344042"/>
                  </a:lnTo>
                  <a:lnTo>
                    <a:pt x="290449" y="342645"/>
                  </a:lnTo>
                  <a:lnTo>
                    <a:pt x="288672" y="341122"/>
                  </a:lnTo>
                  <a:lnTo>
                    <a:pt x="287147" y="339851"/>
                  </a:lnTo>
                  <a:lnTo>
                    <a:pt x="285750" y="338454"/>
                  </a:lnTo>
                  <a:lnTo>
                    <a:pt x="284354" y="337057"/>
                  </a:lnTo>
                  <a:lnTo>
                    <a:pt x="283210" y="335788"/>
                  </a:lnTo>
                  <a:lnTo>
                    <a:pt x="281051" y="332866"/>
                  </a:lnTo>
                  <a:lnTo>
                    <a:pt x="279020" y="329945"/>
                  </a:lnTo>
                  <a:lnTo>
                    <a:pt x="278258" y="327913"/>
                  </a:lnTo>
                  <a:lnTo>
                    <a:pt x="277622" y="325882"/>
                  </a:lnTo>
                  <a:lnTo>
                    <a:pt x="276860" y="323850"/>
                  </a:lnTo>
                  <a:lnTo>
                    <a:pt x="276352" y="321944"/>
                  </a:lnTo>
                  <a:lnTo>
                    <a:pt x="351156" y="272795"/>
                  </a:lnTo>
                  <a:lnTo>
                    <a:pt x="353569" y="274192"/>
                  </a:lnTo>
                  <a:lnTo>
                    <a:pt x="356109" y="275716"/>
                  </a:lnTo>
                  <a:lnTo>
                    <a:pt x="358268" y="277494"/>
                  </a:lnTo>
                  <a:lnTo>
                    <a:pt x="360554" y="279145"/>
                  </a:lnTo>
                  <a:lnTo>
                    <a:pt x="362459" y="280797"/>
                  </a:lnTo>
                  <a:lnTo>
                    <a:pt x="363983" y="282575"/>
                  </a:lnTo>
                  <a:lnTo>
                    <a:pt x="365760" y="284225"/>
                  </a:lnTo>
                  <a:lnTo>
                    <a:pt x="367031" y="286003"/>
                  </a:lnTo>
                  <a:lnTo>
                    <a:pt x="368427" y="287909"/>
                  </a:lnTo>
                  <a:lnTo>
                    <a:pt x="369697" y="289813"/>
                  </a:lnTo>
                  <a:lnTo>
                    <a:pt x="370713" y="291845"/>
                  </a:lnTo>
                  <a:lnTo>
                    <a:pt x="371857" y="293623"/>
                  </a:lnTo>
                  <a:lnTo>
                    <a:pt x="372619" y="295656"/>
                  </a:lnTo>
                  <a:lnTo>
                    <a:pt x="373381" y="297688"/>
                  </a:lnTo>
                  <a:lnTo>
                    <a:pt x="373888" y="299719"/>
                  </a:lnTo>
                  <a:lnTo>
                    <a:pt x="374523" y="301878"/>
                  </a:lnTo>
                  <a:lnTo>
                    <a:pt x="374905" y="303784"/>
                  </a:lnTo>
                  <a:lnTo>
                    <a:pt x="375159" y="305942"/>
                  </a:lnTo>
                  <a:lnTo>
                    <a:pt x="375412" y="307975"/>
                  </a:lnTo>
                  <a:lnTo>
                    <a:pt x="375412" y="310134"/>
                  </a:lnTo>
                  <a:lnTo>
                    <a:pt x="375412" y="312292"/>
                  </a:lnTo>
                  <a:lnTo>
                    <a:pt x="375159" y="314325"/>
                  </a:lnTo>
                  <a:lnTo>
                    <a:pt x="374905" y="316484"/>
                  </a:lnTo>
                  <a:lnTo>
                    <a:pt x="374523" y="318516"/>
                  </a:lnTo>
                  <a:lnTo>
                    <a:pt x="373888" y="320547"/>
                  </a:lnTo>
                  <a:lnTo>
                    <a:pt x="373381" y="322579"/>
                  </a:lnTo>
                  <a:lnTo>
                    <a:pt x="372619" y="324612"/>
                  </a:lnTo>
                  <a:lnTo>
                    <a:pt x="371857" y="326644"/>
                  </a:lnTo>
                  <a:lnTo>
                    <a:pt x="370713" y="328548"/>
                  </a:lnTo>
                  <a:lnTo>
                    <a:pt x="369697" y="330453"/>
                  </a:lnTo>
                  <a:lnTo>
                    <a:pt x="368427" y="332485"/>
                  </a:lnTo>
                  <a:lnTo>
                    <a:pt x="367031" y="334137"/>
                  </a:lnTo>
                  <a:lnTo>
                    <a:pt x="365760" y="336041"/>
                  </a:lnTo>
                  <a:lnTo>
                    <a:pt x="363983" y="337819"/>
                  </a:lnTo>
                  <a:lnTo>
                    <a:pt x="362459" y="339470"/>
                  </a:lnTo>
                  <a:lnTo>
                    <a:pt x="360554" y="341122"/>
                  </a:lnTo>
                  <a:close/>
                  <a:moveTo>
                    <a:pt x="-5382514" y="3172967"/>
                  </a:moveTo>
                  <a:moveTo>
                    <a:pt x="473710" y="127000"/>
                  </a:moveTo>
                  <a:lnTo>
                    <a:pt x="462026" y="150622"/>
                  </a:lnTo>
                  <a:lnTo>
                    <a:pt x="461264" y="148716"/>
                  </a:lnTo>
                  <a:lnTo>
                    <a:pt x="460630" y="146938"/>
                  </a:lnTo>
                  <a:lnTo>
                    <a:pt x="459868" y="145034"/>
                  </a:lnTo>
                  <a:lnTo>
                    <a:pt x="458979" y="143128"/>
                  </a:lnTo>
                  <a:lnTo>
                    <a:pt x="458089" y="141350"/>
                  </a:lnTo>
                  <a:lnTo>
                    <a:pt x="456947" y="139572"/>
                  </a:lnTo>
                  <a:lnTo>
                    <a:pt x="455676" y="138048"/>
                  </a:lnTo>
                  <a:lnTo>
                    <a:pt x="454407" y="136270"/>
                  </a:lnTo>
                  <a:lnTo>
                    <a:pt x="448692" y="146557"/>
                  </a:lnTo>
                  <a:lnTo>
                    <a:pt x="449708" y="148463"/>
                  </a:lnTo>
                  <a:lnTo>
                    <a:pt x="450470" y="150113"/>
                  </a:lnTo>
                  <a:lnTo>
                    <a:pt x="451105" y="152019"/>
                  </a:lnTo>
                  <a:lnTo>
                    <a:pt x="451612" y="153923"/>
                  </a:lnTo>
                  <a:lnTo>
                    <a:pt x="452121" y="155701"/>
                  </a:lnTo>
                  <a:lnTo>
                    <a:pt x="452374" y="157734"/>
                  </a:lnTo>
                  <a:lnTo>
                    <a:pt x="452629" y="159638"/>
                  </a:lnTo>
                  <a:lnTo>
                    <a:pt x="452629" y="161670"/>
                  </a:lnTo>
                  <a:lnTo>
                    <a:pt x="452629" y="163448"/>
                  </a:lnTo>
                  <a:lnTo>
                    <a:pt x="452374" y="165481"/>
                  </a:lnTo>
                  <a:lnTo>
                    <a:pt x="452121" y="167513"/>
                  </a:lnTo>
                  <a:lnTo>
                    <a:pt x="451612" y="169417"/>
                  </a:lnTo>
                  <a:lnTo>
                    <a:pt x="451105" y="171322"/>
                  </a:lnTo>
                  <a:lnTo>
                    <a:pt x="450470" y="173354"/>
                  </a:lnTo>
                  <a:lnTo>
                    <a:pt x="449454" y="175132"/>
                  </a:lnTo>
                  <a:lnTo>
                    <a:pt x="448437" y="177038"/>
                  </a:lnTo>
                  <a:lnTo>
                    <a:pt x="448692" y="177165"/>
                  </a:lnTo>
                  <a:lnTo>
                    <a:pt x="431927" y="210692"/>
                  </a:lnTo>
                  <a:lnTo>
                    <a:pt x="431166" y="208279"/>
                  </a:lnTo>
                  <a:lnTo>
                    <a:pt x="430404" y="205994"/>
                  </a:lnTo>
                  <a:lnTo>
                    <a:pt x="429387" y="203707"/>
                  </a:lnTo>
                  <a:lnTo>
                    <a:pt x="428372" y="201422"/>
                  </a:lnTo>
                  <a:lnTo>
                    <a:pt x="427356" y="199263"/>
                  </a:lnTo>
                  <a:lnTo>
                    <a:pt x="425959" y="197103"/>
                  </a:lnTo>
                  <a:lnTo>
                    <a:pt x="424561" y="195072"/>
                  </a:lnTo>
                  <a:lnTo>
                    <a:pt x="423037" y="193040"/>
                  </a:lnTo>
                  <a:lnTo>
                    <a:pt x="417322" y="203200"/>
                  </a:lnTo>
                  <a:lnTo>
                    <a:pt x="418466" y="205359"/>
                  </a:lnTo>
                  <a:lnTo>
                    <a:pt x="419482" y="207391"/>
                  </a:lnTo>
                  <a:lnTo>
                    <a:pt x="420371" y="209550"/>
                  </a:lnTo>
                  <a:lnTo>
                    <a:pt x="421006" y="211709"/>
                  </a:lnTo>
                  <a:lnTo>
                    <a:pt x="421641" y="214122"/>
                  </a:lnTo>
                  <a:lnTo>
                    <a:pt x="422022" y="216281"/>
                  </a:lnTo>
                  <a:lnTo>
                    <a:pt x="422275" y="218566"/>
                  </a:lnTo>
                  <a:lnTo>
                    <a:pt x="422402" y="220979"/>
                  </a:lnTo>
                  <a:lnTo>
                    <a:pt x="422275" y="223266"/>
                  </a:lnTo>
                  <a:lnTo>
                    <a:pt x="422148" y="225806"/>
                  </a:lnTo>
                  <a:lnTo>
                    <a:pt x="421768" y="228091"/>
                  </a:lnTo>
                  <a:lnTo>
                    <a:pt x="421133" y="230504"/>
                  </a:lnTo>
                  <a:lnTo>
                    <a:pt x="420371" y="232917"/>
                  </a:lnTo>
                  <a:lnTo>
                    <a:pt x="419482" y="235331"/>
                  </a:lnTo>
                  <a:lnTo>
                    <a:pt x="418338" y="237870"/>
                  </a:lnTo>
                  <a:lnTo>
                    <a:pt x="417069" y="240157"/>
                  </a:lnTo>
                  <a:lnTo>
                    <a:pt x="417196" y="240284"/>
                  </a:lnTo>
                  <a:lnTo>
                    <a:pt x="385826" y="303022"/>
                  </a:lnTo>
                  <a:lnTo>
                    <a:pt x="385446" y="300863"/>
                  </a:lnTo>
                  <a:lnTo>
                    <a:pt x="385064" y="298957"/>
                  </a:lnTo>
                  <a:lnTo>
                    <a:pt x="384557" y="296798"/>
                  </a:lnTo>
                  <a:lnTo>
                    <a:pt x="383795" y="294766"/>
                  </a:lnTo>
                  <a:lnTo>
                    <a:pt x="383033" y="292735"/>
                  </a:lnTo>
                  <a:lnTo>
                    <a:pt x="382144" y="290703"/>
                  </a:lnTo>
                  <a:lnTo>
                    <a:pt x="381127" y="288797"/>
                  </a:lnTo>
                  <a:lnTo>
                    <a:pt x="380111" y="286892"/>
                  </a:lnTo>
                  <a:lnTo>
                    <a:pt x="379096" y="284860"/>
                  </a:lnTo>
                  <a:lnTo>
                    <a:pt x="377825" y="283082"/>
                  </a:lnTo>
                  <a:lnTo>
                    <a:pt x="376429" y="281178"/>
                  </a:lnTo>
                  <a:lnTo>
                    <a:pt x="374905" y="279400"/>
                  </a:lnTo>
                  <a:lnTo>
                    <a:pt x="373381" y="277622"/>
                  </a:lnTo>
                  <a:lnTo>
                    <a:pt x="371857" y="275970"/>
                  </a:lnTo>
                  <a:lnTo>
                    <a:pt x="370079" y="274192"/>
                  </a:lnTo>
                  <a:lnTo>
                    <a:pt x="368300" y="272669"/>
                  </a:lnTo>
                  <a:lnTo>
                    <a:pt x="366522" y="271017"/>
                  </a:lnTo>
                  <a:lnTo>
                    <a:pt x="364745" y="269875"/>
                  </a:lnTo>
                  <a:lnTo>
                    <a:pt x="362967" y="268478"/>
                  </a:lnTo>
                  <a:lnTo>
                    <a:pt x="361061" y="267207"/>
                  </a:lnTo>
                  <a:lnTo>
                    <a:pt x="359157" y="266065"/>
                  </a:lnTo>
                  <a:lnTo>
                    <a:pt x="357124" y="265048"/>
                  </a:lnTo>
                  <a:lnTo>
                    <a:pt x="355220" y="264032"/>
                  </a:lnTo>
                  <a:lnTo>
                    <a:pt x="353187" y="263016"/>
                  </a:lnTo>
                  <a:lnTo>
                    <a:pt x="351156" y="262128"/>
                  </a:lnTo>
                  <a:lnTo>
                    <a:pt x="348870" y="261366"/>
                  </a:lnTo>
                  <a:lnTo>
                    <a:pt x="346964" y="260603"/>
                  </a:lnTo>
                  <a:lnTo>
                    <a:pt x="344679" y="259841"/>
                  </a:lnTo>
                  <a:lnTo>
                    <a:pt x="342647" y="259334"/>
                  </a:lnTo>
                  <a:lnTo>
                    <a:pt x="340487" y="258825"/>
                  </a:lnTo>
                  <a:lnTo>
                    <a:pt x="338201" y="258444"/>
                  </a:lnTo>
                  <a:lnTo>
                    <a:pt x="336043" y="257810"/>
                  </a:lnTo>
                  <a:lnTo>
                    <a:pt x="333757" y="257682"/>
                  </a:lnTo>
                  <a:lnTo>
                    <a:pt x="331597" y="257428"/>
                  </a:lnTo>
                  <a:lnTo>
                    <a:pt x="327152" y="257047"/>
                  </a:lnTo>
                  <a:lnTo>
                    <a:pt x="322581" y="257047"/>
                  </a:lnTo>
                  <a:lnTo>
                    <a:pt x="318135" y="257301"/>
                  </a:lnTo>
                  <a:lnTo>
                    <a:pt x="315976" y="257556"/>
                  </a:lnTo>
                  <a:lnTo>
                    <a:pt x="313691" y="257810"/>
                  </a:lnTo>
                  <a:lnTo>
                    <a:pt x="311532" y="258191"/>
                  </a:lnTo>
                  <a:lnTo>
                    <a:pt x="309246" y="258698"/>
                  </a:lnTo>
                  <a:lnTo>
                    <a:pt x="307086" y="259207"/>
                  </a:lnTo>
                  <a:lnTo>
                    <a:pt x="304927" y="259841"/>
                  </a:lnTo>
                  <a:lnTo>
                    <a:pt x="302769" y="260476"/>
                  </a:lnTo>
                  <a:lnTo>
                    <a:pt x="300609" y="261112"/>
                  </a:lnTo>
                  <a:lnTo>
                    <a:pt x="360934" y="181101"/>
                  </a:lnTo>
                  <a:lnTo>
                    <a:pt x="363474" y="180594"/>
                  </a:lnTo>
                  <a:lnTo>
                    <a:pt x="366142" y="180085"/>
                  </a:lnTo>
                  <a:lnTo>
                    <a:pt x="368682" y="179832"/>
                  </a:lnTo>
                  <a:lnTo>
                    <a:pt x="371222" y="179578"/>
                  </a:lnTo>
                  <a:lnTo>
                    <a:pt x="373634" y="179578"/>
                  </a:lnTo>
                  <a:lnTo>
                    <a:pt x="376174" y="179578"/>
                  </a:lnTo>
                  <a:lnTo>
                    <a:pt x="378587" y="179704"/>
                  </a:lnTo>
                  <a:lnTo>
                    <a:pt x="381127" y="180085"/>
                  </a:lnTo>
                  <a:lnTo>
                    <a:pt x="383286" y="180466"/>
                  </a:lnTo>
                  <a:lnTo>
                    <a:pt x="385699" y="180975"/>
                  </a:lnTo>
                  <a:lnTo>
                    <a:pt x="387985" y="181482"/>
                  </a:lnTo>
                  <a:lnTo>
                    <a:pt x="390272" y="182117"/>
                  </a:lnTo>
                  <a:lnTo>
                    <a:pt x="392431" y="182879"/>
                  </a:lnTo>
                  <a:lnTo>
                    <a:pt x="394462" y="183641"/>
                  </a:lnTo>
                  <a:lnTo>
                    <a:pt x="396748" y="184657"/>
                  </a:lnTo>
                  <a:lnTo>
                    <a:pt x="398654" y="185673"/>
                  </a:lnTo>
                  <a:lnTo>
                    <a:pt x="404114" y="177545"/>
                  </a:lnTo>
                  <a:lnTo>
                    <a:pt x="402083" y="176529"/>
                  </a:lnTo>
                  <a:lnTo>
                    <a:pt x="400177" y="175641"/>
                  </a:lnTo>
                  <a:lnTo>
                    <a:pt x="398146" y="174878"/>
                  </a:lnTo>
                  <a:lnTo>
                    <a:pt x="396113" y="174116"/>
                  </a:lnTo>
                  <a:lnTo>
                    <a:pt x="394082" y="173354"/>
                  </a:lnTo>
                  <a:lnTo>
                    <a:pt x="391922" y="172719"/>
                  </a:lnTo>
                  <a:lnTo>
                    <a:pt x="389763" y="172212"/>
                  </a:lnTo>
                  <a:lnTo>
                    <a:pt x="387605" y="171576"/>
                  </a:lnTo>
                  <a:lnTo>
                    <a:pt x="385319" y="171195"/>
                  </a:lnTo>
                  <a:lnTo>
                    <a:pt x="383033" y="170815"/>
                  </a:lnTo>
                  <a:lnTo>
                    <a:pt x="380873" y="170688"/>
                  </a:lnTo>
                  <a:lnTo>
                    <a:pt x="378460" y="170434"/>
                  </a:lnTo>
                  <a:lnTo>
                    <a:pt x="376174" y="170307"/>
                  </a:lnTo>
                  <a:lnTo>
                    <a:pt x="373634" y="170307"/>
                  </a:lnTo>
                  <a:lnTo>
                    <a:pt x="371475" y="170307"/>
                  </a:lnTo>
                  <a:lnTo>
                    <a:pt x="368935" y="170434"/>
                  </a:lnTo>
                  <a:lnTo>
                    <a:pt x="401574" y="127000"/>
                  </a:lnTo>
                  <a:lnTo>
                    <a:pt x="404114" y="126491"/>
                  </a:lnTo>
                  <a:lnTo>
                    <a:pt x="406400" y="126110"/>
                  </a:lnTo>
                  <a:lnTo>
                    <a:pt x="408559" y="125984"/>
                  </a:lnTo>
                  <a:lnTo>
                    <a:pt x="410972" y="125857"/>
                  </a:lnTo>
                  <a:lnTo>
                    <a:pt x="413132" y="125857"/>
                  </a:lnTo>
                  <a:lnTo>
                    <a:pt x="415291" y="125984"/>
                  </a:lnTo>
                  <a:lnTo>
                    <a:pt x="417449" y="126110"/>
                  </a:lnTo>
                  <a:lnTo>
                    <a:pt x="419735" y="126491"/>
                  </a:lnTo>
                  <a:lnTo>
                    <a:pt x="421768" y="126745"/>
                  </a:lnTo>
                  <a:lnTo>
                    <a:pt x="423672" y="127381"/>
                  </a:lnTo>
                  <a:lnTo>
                    <a:pt x="425832" y="127888"/>
                  </a:lnTo>
                  <a:lnTo>
                    <a:pt x="427609" y="128523"/>
                  </a:lnTo>
                  <a:lnTo>
                    <a:pt x="429642" y="129413"/>
                  </a:lnTo>
                  <a:lnTo>
                    <a:pt x="431420" y="130175"/>
                  </a:lnTo>
                  <a:lnTo>
                    <a:pt x="433071" y="131063"/>
                  </a:lnTo>
                  <a:lnTo>
                    <a:pt x="434848" y="132079"/>
                  </a:lnTo>
                  <a:lnTo>
                    <a:pt x="440309" y="123825"/>
                  </a:lnTo>
                  <a:lnTo>
                    <a:pt x="437008" y="122047"/>
                  </a:lnTo>
                  <a:lnTo>
                    <a:pt x="433324" y="120522"/>
                  </a:lnTo>
                  <a:lnTo>
                    <a:pt x="429896" y="119125"/>
                  </a:lnTo>
                  <a:lnTo>
                    <a:pt x="427991" y="118617"/>
                  </a:lnTo>
                  <a:lnTo>
                    <a:pt x="426085" y="118110"/>
                  </a:lnTo>
                  <a:lnTo>
                    <a:pt x="423926" y="117601"/>
                  </a:lnTo>
                  <a:lnTo>
                    <a:pt x="422148" y="117347"/>
                  </a:lnTo>
                  <a:lnTo>
                    <a:pt x="420117" y="116966"/>
                  </a:lnTo>
                  <a:lnTo>
                    <a:pt x="417958" y="116713"/>
                  </a:lnTo>
                  <a:lnTo>
                    <a:pt x="415798" y="116585"/>
                  </a:lnTo>
                  <a:lnTo>
                    <a:pt x="413767" y="116459"/>
                  </a:lnTo>
                  <a:lnTo>
                    <a:pt x="411608" y="116459"/>
                  </a:lnTo>
                  <a:lnTo>
                    <a:pt x="409575" y="116459"/>
                  </a:lnTo>
                  <a:lnTo>
                    <a:pt x="413132" y="111760"/>
                  </a:lnTo>
                  <a:lnTo>
                    <a:pt x="414401" y="109982"/>
                  </a:lnTo>
                  <a:lnTo>
                    <a:pt x="415545" y="108203"/>
                  </a:lnTo>
                  <a:lnTo>
                    <a:pt x="416687" y="106298"/>
                  </a:lnTo>
                  <a:lnTo>
                    <a:pt x="417704" y="104394"/>
                  </a:lnTo>
                  <a:lnTo>
                    <a:pt x="418847" y="102488"/>
                  </a:lnTo>
                  <a:lnTo>
                    <a:pt x="419735" y="100457"/>
                  </a:lnTo>
                  <a:lnTo>
                    <a:pt x="420497" y="98551"/>
                  </a:lnTo>
                  <a:lnTo>
                    <a:pt x="421259" y="96392"/>
                  </a:lnTo>
                  <a:lnTo>
                    <a:pt x="421895" y="94488"/>
                  </a:lnTo>
                  <a:lnTo>
                    <a:pt x="422275" y="92328"/>
                  </a:lnTo>
                  <a:lnTo>
                    <a:pt x="422657" y="90169"/>
                  </a:lnTo>
                  <a:lnTo>
                    <a:pt x="422910" y="88265"/>
                  </a:lnTo>
                  <a:lnTo>
                    <a:pt x="422910" y="86106"/>
                  </a:lnTo>
                  <a:lnTo>
                    <a:pt x="422784" y="84200"/>
                  </a:lnTo>
                  <a:lnTo>
                    <a:pt x="422657" y="82169"/>
                  </a:lnTo>
                  <a:lnTo>
                    <a:pt x="422148" y="80137"/>
                  </a:lnTo>
                  <a:lnTo>
                    <a:pt x="421641" y="78232"/>
                  </a:lnTo>
                  <a:lnTo>
                    <a:pt x="420751" y="76326"/>
                  </a:lnTo>
                  <a:lnTo>
                    <a:pt x="419735" y="74548"/>
                  </a:lnTo>
                  <a:lnTo>
                    <a:pt x="418593" y="72770"/>
                  </a:lnTo>
                  <a:lnTo>
                    <a:pt x="417069" y="70992"/>
                  </a:lnTo>
                  <a:lnTo>
                    <a:pt x="415545" y="69469"/>
                  </a:lnTo>
                  <a:lnTo>
                    <a:pt x="413767" y="68072"/>
                  </a:lnTo>
                  <a:lnTo>
                    <a:pt x="411481" y="66547"/>
                  </a:lnTo>
                  <a:lnTo>
                    <a:pt x="409195" y="65150"/>
                  </a:lnTo>
                  <a:lnTo>
                    <a:pt x="406527" y="63881"/>
                  </a:lnTo>
                  <a:lnTo>
                    <a:pt x="403607" y="62865"/>
                  </a:lnTo>
                  <a:lnTo>
                    <a:pt x="400432" y="61848"/>
                  </a:lnTo>
                  <a:lnTo>
                    <a:pt x="397002" y="60960"/>
                  </a:lnTo>
                  <a:lnTo>
                    <a:pt x="393320" y="60197"/>
                  </a:lnTo>
                  <a:lnTo>
                    <a:pt x="389256" y="59563"/>
                  </a:lnTo>
                  <a:lnTo>
                    <a:pt x="384810" y="59182"/>
                  </a:lnTo>
                  <a:lnTo>
                    <a:pt x="121794" y="37210"/>
                  </a:lnTo>
                  <a:lnTo>
                    <a:pt x="129159" y="32892"/>
                  </a:lnTo>
                  <a:lnTo>
                    <a:pt x="439294" y="56641"/>
                  </a:lnTo>
                  <a:lnTo>
                    <a:pt x="443866" y="57022"/>
                  </a:lnTo>
                  <a:lnTo>
                    <a:pt x="448184" y="57531"/>
                  </a:lnTo>
                  <a:lnTo>
                    <a:pt x="452374" y="58292"/>
                  </a:lnTo>
                  <a:lnTo>
                    <a:pt x="456184" y="59182"/>
                  </a:lnTo>
                  <a:lnTo>
                    <a:pt x="459613" y="60197"/>
                  </a:lnTo>
                  <a:lnTo>
                    <a:pt x="462916" y="61467"/>
                  </a:lnTo>
                  <a:lnTo>
                    <a:pt x="465836" y="62865"/>
                  </a:lnTo>
                  <a:lnTo>
                    <a:pt x="468504" y="64388"/>
                  </a:lnTo>
                  <a:lnTo>
                    <a:pt x="470917" y="66166"/>
                  </a:lnTo>
                  <a:lnTo>
                    <a:pt x="473075" y="67944"/>
                  </a:lnTo>
                  <a:lnTo>
                    <a:pt x="475234" y="69850"/>
                  </a:lnTo>
                  <a:lnTo>
                    <a:pt x="476759" y="72009"/>
                  </a:lnTo>
                  <a:lnTo>
                    <a:pt x="478283" y="74041"/>
                  </a:lnTo>
                  <a:lnTo>
                    <a:pt x="479680" y="76453"/>
                  </a:lnTo>
                  <a:lnTo>
                    <a:pt x="480696" y="78740"/>
                  </a:lnTo>
                  <a:lnTo>
                    <a:pt x="481584" y="81279"/>
                  </a:lnTo>
                  <a:lnTo>
                    <a:pt x="482220" y="83819"/>
                  </a:lnTo>
                  <a:lnTo>
                    <a:pt x="482727" y="86487"/>
                  </a:lnTo>
                  <a:lnTo>
                    <a:pt x="483109" y="89153"/>
                  </a:lnTo>
                  <a:lnTo>
                    <a:pt x="483109" y="91947"/>
                  </a:lnTo>
                  <a:lnTo>
                    <a:pt x="483109" y="94741"/>
                  </a:lnTo>
                  <a:lnTo>
                    <a:pt x="482855" y="97663"/>
                  </a:lnTo>
                  <a:lnTo>
                    <a:pt x="482600" y="100457"/>
                  </a:lnTo>
                  <a:lnTo>
                    <a:pt x="482093" y="103378"/>
                  </a:lnTo>
                  <a:lnTo>
                    <a:pt x="481458" y="106298"/>
                  </a:lnTo>
                  <a:lnTo>
                    <a:pt x="480696" y="109347"/>
                  </a:lnTo>
                  <a:lnTo>
                    <a:pt x="479807" y="112267"/>
                  </a:lnTo>
                  <a:lnTo>
                    <a:pt x="478791" y="115188"/>
                  </a:lnTo>
                  <a:lnTo>
                    <a:pt x="477647" y="118237"/>
                  </a:lnTo>
                  <a:lnTo>
                    <a:pt x="476505" y="121157"/>
                  </a:lnTo>
                  <a:lnTo>
                    <a:pt x="475234" y="124078"/>
                  </a:lnTo>
                  <a:lnTo>
                    <a:pt x="473710" y="127000"/>
                  </a:lnTo>
                  <a:close/>
                  <a:moveTo>
                    <a:pt x="-5168392" y="3172967"/>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79" name="Freeform 1379"/>
            <p:cNvSpPr/>
            <p:nvPr/>
          </p:nvSpPr>
          <p:spPr>
            <a:xfrm>
              <a:off x="8396044" y="4644520"/>
              <a:ext cx="207156" cy="57883"/>
            </a:xfrm>
            <a:custGeom>
              <a:avLst/>
              <a:gdLst/>
              <a:ahLst/>
              <a:cxnLst/>
              <a:rect l="0" t="0" r="0" b="0"/>
              <a:pathLst>
                <a:path w="207264" h="57913">
                  <a:moveTo>
                    <a:pt x="175132" y="57913"/>
                  </a:moveTo>
                  <a:lnTo>
                    <a:pt x="0" y="57913"/>
                  </a:lnTo>
                  <a:lnTo>
                    <a:pt x="0" y="55753"/>
                  </a:lnTo>
                  <a:lnTo>
                    <a:pt x="175132" y="55753"/>
                  </a:lnTo>
                  <a:lnTo>
                    <a:pt x="183133" y="55500"/>
                  </a:lnTo>
                  <a:lnTo>
                    <a:pt x="188594" y="54610"/>
                  </a:lnTo>
                  <a:lnTo>
                    <a:pt x="192531" y="53594"/>
                  </a:lnTo>
                  <a:lnTo>
                    <a:pt x="195199" y="52197"/>
                  </a:lnTo>
                  <a:lnTo>
                    <a:pt x="195199" y="5716"/>
                  </a:lnTo>
                  <a:lnTo>
                    <a:pt x="192531" y="4319"/>
                  </a:lnTo>
                  <a:lnTo>
                    <a:pt x="188594" y="3303"/>
                  </a:lnTo>
                  <a:lnTo>
                    <a:pt x="183133" y="2668"/>
                  </a:lnTo>
                  <a:lnTo>
                    <a:pt x="175132" y="2159"/>
                  </a:lnTo>
                  <a:lnTo>
                    <a:pt x="108330" y="2159"/>
                  </a:lnTo>
                  <a:lnTo>
                    <a:pt x="108330" y="0"/>
                  </a:lnTo>
                  <a:lnTo>
                    <a:pt x="175132" y="0"/>
                  </a:lnTo>
                  <a:lnTo>
                    <a:pt x="181864" y="254"/>
                  </a:lnTo>
                  <a:lnTo>
                    <a:pt x="187198" y="509"/>
                  </a:lnTo>
                  <a:lnTo>
                    <a:pt x="192531" y="1016"/>
                  </a:lnTo>
                  <a:lnTo>
                    <a:pt x="197866" y="1651"/>
                  </a:lnTo>
                  <a:lnTo>
                    <a:pt x="201929" y="2668"/>
                  </a:lnTo>
                  <a:lnTo>
                    <a:pt x="204596" y="3556"/>
                  </a:lnTo>
                  <a:lnTo>
                    <a:pt x="205866" y="4572"/>
                  </a:lnTo>
                  <a:lnTo>
                    <a:pt x="207264" y="5716"/>
                  </a:lnTo>
                  <a:lnTo>
                    <a:pt x="207264" y="52197"/>
                  </a:lnTo>
                  <a:lnTo>
                    <a:pt x="205866" y="53341"/>
                  </a:lnTo>
                  <a:lnTo>
                    <a:pt x="204596" y="54356"/>
                  </a:lnTo>
                  <a:lnTo>
                    <a:pt x="201929" y="55246"/>
                  </a:lnTo>
                  <a:lnTo>
                    <a:pt x="197866" y="56262"/>
                  </a:lnTo>
                  <a:lnTo>
                    <a:pt x="192531" y="56897"/>
                  </a:lnTo>
                  <a:lnTo>
                    <a:pt x="187198" y="57404"/>
                  </a:lnTo>
                  <a:lnTo>
                    <a:pt x="181864" y="57659"/>
                  </a:lnTo>
                  <a:lnTo>
                    <a:pt x="175132" y="57913"/>
                  </a:lnTo>
                  <a:close/>
                  <a:moveTo>
                    <a:pt x="-6242305" y="2212848"/>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80" name="Freeform 1380"/>
            <p:cNvSpPr/>
            <p:nvPr/>
          </p:nvSpPr>
          <p:spPr>
            <a:xfrm>
              <a:off x="8207168" y="4644520"/>
              <a:ext cx="310733" cy="57883"/>
            </a:xfrm>
            <a:custGeom>
              <a:avLst/>
              <a:gdLst/>
              <a:ahLst/>
              <a:cxnLst/>
              <a:rect l="0" t="0" r="0" b="0"/>
              <a:pathLst>
                <a:path w="310895" h="57913">
                  <a:moveTo>
                    <a:pt x="127889" y="57913"/>
                  </a:moveTo>
                  <a:lnTo>
                    <a:pt x="30988" y="57913"/>
                  </a:lnTo>
                  <a:lnTo>
                    <a:pt x="24256" y="57659"/>
                  </a:lnTo>
                  <a:lnTo>
                    <a:pt x="18795" y="57404"/>
                  </a:lnTo>
                  <a:lnTo>
                    <a:pt x="13462" y="56897"/>
                  </a:lnTo>
                  <a:lnTo>
                    <a:pt x="9397" y="56262"/>
                  </a:lnTo>
                  <a:lnTo>
                    <a:pt x="5333" y="55246"/>
                  </a:lnTo>
                  <a:lnTo>
                    <a:pt x="2667" y="54356"/>
                  </a:lnTo>
                  <a:lnTo>
                    <a:pt x="0" y="53341"/>
                  </a:lnTo>
                  <a:lnTo>
                    <a:pt x="0" y="52197"/>
                  </a:lnTo>
                  <a:lnTo>
                    <a:pt x="0" y="5716"/>
                  </a:lnTo>
                  <a:lnTo>
                    <a:pt x="0" y="4572"/>
                  </a:lnTo>
                  <a:lnTo>
                    <a:pt x="2667" y="3556"/>
                  </a:lnTo>
                  <a:lnTo>
                    <a:pt x="5333" y="2668"/>
                  </a:lnTo>
                  <a:lnTo>
                    <a:pt x="9397" y="1651"/>
                  </a:lnTo>
                  <a:lnTo>
                    <a:pt x="13462" y="1016"/>
                  </a:lnTo>
                  <a:lnTo>
                    <a:pt x="18795" y="509"/>
                  </a:lnTo>
                  <a:lnTo>
                    <a:pt x="24256" y="254"/>
                  </a:lnTo>
                  <a:lnTo>
                    <a:pt x="30988" y="0"/>
                  </a:lnTo>
                  <a:lnTo>
                    <a:pt x="310895" y="0"/>
                  </a:lnTo>
                  <a:lnTo>
                    <a:pt x="310895" y="2159"/>
                  </a:lnTo>
                  <a:lnTo>
                    <a:pt x="30988" y="2159"/>
                  </a:lnTo>
                  <a:lnTo>
                    <a:pt x="24256" y="2668"/>
                  </a:lnTo>
                  <a:lnTo>
                    <a:pt x="17526" y="3303"/>
                  </a:lnTo>
                  <a:lnTo>
                    <a:pt x="13462" y="4319"/>
                  </a:lnTo>
                  <a:lnTo>
                    <a:pt x="12065" y="5716"/>
                  </a:lnTo>
                  <a:lnTo>
                    <a:pt x="12065" y="52197"/>
                  </a:lnTo>
                  <a:lnTo>
                    <a:pt x="13462" y="53594"/>
                  </a:lnTo>
                  <a:lnTo>
                    <a:pt x="17526" y="54610"/>
                  </a:lnTo>
                  <a:lnTo>
                    <a:pt x="24256" y="55500"/>
                  </a:lnTo>
                  <a:lnTo>
                    <a:pt x="30988" y="55753"/>
                  </a:lnTo>
                  <a:lnTo>
                    <a:pt x="127889" y="55753"/>
                  </a:lnTo>
                  <a:lnTo>
                    <a:pt x="127889" y="57913"/>
                  </a:lnTo>
                  <a:close/>
                  <a:moveTo>
                    <a:pt x="-6053329" y="2212848"/>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81" name="Freeform 1381"/>
            <p:cNvSpPr/>
            <p:nvPr/>
          </p:nvSpPr>
          <p:spPr>
            <a:xfrm>
              <a:off x="8591014" y="4510478"/>
              <a:ext cx="185832" cy="188879"/>
            </a:xfrm>
            <a:custGeom>
              <a:avLst/>
              <a:gdLst/>
              <a:ahLst/>
              <a:cxnLst/>
              <a:rect l="0" t="0" r="0" b="0"/>
              <a:pathLst>
                <a:path w="185929" h="188977">
                  <a:moveTo>
                    <a:pt x="168530" y="188977"/>
                  </a:moveTo>
                  <a:lnTo>
                    <a:pt x="163195" y="188977"/>
                  </a:lnTo>
                  <a:lnTo>
                    <a:pt x="163195" y="177038"/>
                  </a:lnTo>
                  <a:lnTo>
                    <a:pt x="168530" y="177038"/>
                  </a:lnTo>
                  <a:lnTo>
                    <a:pt x="171196" y="177038"/>
                  </a:lnTo>
                  <a:lnTo>
                    <a:pt x="172594" y="175641"/>
                  </a:lnTo>
                  <a:lnTo>
                    <a:pt x="173864" y="174371"/>
                  </a:lnTo>
                  <a:lnTo>
                    <a:pt x="173864" y="171705"/>
                  </a:lnTo>
                  <a:lnTo>
                    <a:pt x="173864" y="118491"/>
                  </a:lnTo>
                  <a:lnTo>
                    <a:pt x="173864" y="115825"/>
                  </a:lnTo>
                  <a:lnTo>
                    <a:pt x="123064" y="14606"/>
                  </a:lnTo>
                  <a:lnTo>
                    <a:pt x="121667" y="11938"/>
                  </a:lnTo>
                  <a:lnTo>
                    <a:pt x="118999" y="11938"/>
                  </a:lnTo>
                  <a:lnTo>
                    <a:pt x="16003" y="11938"/>
                  </a:lnTo>
                  <a:lnTo>
                    <a:pt x="14732" y="11938"/>
                  </a:lnTo>
                  <a:lnTo>
                    <a:pt x="13335" y="13335"/>
                  </a:lnTo>
                  <a:lnTo>
                    <a:pt x="12066" y="14606"/>
                  </a:lnTo>
                  <a:lnTo>
                    <a:pt x="12066" y="17272"/>
                  </a:lnTo>
                  <a:lnTo>
                    <a:pt x="12066" y="155703"/>
                  </a:lnTo>
                  <a:lnTo>
                    <a:pt x="0" y="155703"/>
                  </a:lnTo>
                  <a:lnTo>
                    <a:pt x="0" y="17272"/>
                  </a:lnTo>
                  <a:lnTo>
                    <a:pt x="1397" y="10668"/>
                  </a:lnTo>
                  <a:lnTo>
                    <a:pt x="4065" y="5334"/>
                  </a:lnTo>
                  <a:lnTo>
                    <a:pt x="9398" y="1271"/>
                  </a:lnTo>
                  <a:lnTo>
                    <a:pt x="16003" y="0"/>
                  </a:lnTo>
                  <a:lnTo>
                    <a:pt x="118999" y="0"/>
                  </a:lnTo>
                  <a:lnTo>
                    <a:pt x="123064" y="0"/>
                  </a:lnTo>
                  <a:lnTo>
                    <a:pt x="128397" y="2668"/>
                  </a:lnTo>
                  <a:lnTo>
                    <a:pt x="131065" y="5334"/>
                  </a:lnTo>
                  <a:lnTo>
                    <a:pt x="133732" y="9271"/>
                  </a:lnTo>
                  <a:lnTo>
                    <a:pt x="184532" y="110490"/>
                  </a:lnTo>
                  <a:lnTo>
                    <a:pt x="185929" y="114428"/>
                  </a:lnTo>
                  <a:lnTo>
                    <a:pt x="185929" y="118491"/>
                  </a:lnTo>
                  <a:lnTo>
                    <a:pt x="185929" y="171705"/>
                  </a:lnTo>
                  <a:lnTo>
                    <a:pt x="184532" y="178309"/>
                  </a:lnTo>
                  <a:lnTo>
                    <a:pt x="180595" y="185040"/>
                  </a:lnTo>
                  <a:lnTo>
                    <a:pt x="175260" y="187706"/>
                  </a:lnTo>
                  <a:lnTo>
                    <a:pt x="168530" y="188977"/>
                  </a:lnTo>
                  <a:close/>
                  <a:moveTo>
                    <a:pt x="-6434328" y="2346960"/>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82" name="Freeform 1382"/>
            <p:cNvSpPr/>
            <p:nvPr/>
          </p:nvSpPr>
          <p:spPr>
            <a:xfrm>
              <a:off x="8636711" y="4531803"/>
              <a:ext cx="103579" cy="79206"/>
            </a:xfrm>
            <a:custGeom>
              <a:avLst/>
              <a:gdLst/>
              <a:ahLst/>
              <a:cxnLst/>
              <a:rect l="0" t="0" r="0" b="0"/>
              <a:pathLst>
                <a:path w="103633" h="79247">
                  <a:moveTo>
                    <a:pt x="91695" y="79247"/>
                  </a:moveTo>
                  <a:lnTo>
                    <a:pt x="13336" y="79247"/>
                  </a:lnTo>
                  <a:lnTo>
                    <a:pt x="8001" y="79247"/>
                  </a:lnTo>
                  <a:lnTo>
                    <a:pt x="3937" y="76453"/>
                  </a:lnTo>
                  <a:lnTo>
                    <a:pt x="1271" y="72390"/>
                  </a:lnTo>
                  <a:lnTo>
                    <a:pt x="0" y="66928"/>
                  </a:lnTo>
                  <a:lnTo>
                    <a:pt x="0" y="12319"/>
                  </a:lnTo>
                  <a:lnTo>
                    <a:pt x="1271" y="6857"/>
                  </a:lnTo>
                  <a:lnTo>
                    <a:pt x="3937" y="2794"/>
                  </a:lnTo>
                  <a:lnTo>
                    <a:pt x="8001" y="0"/>
                  </a:lnTo>
                  <a:lnTo>
                    <a:pt x="13336" y="0"/>
                  </a:lnTo>
                  <a:lnTo>
                    <a:pt x="65151" y="0"/>
                  </a:lnTo>
                  <a:lnTo>
                    <a:pt x="67819" y="0"/>
                  </a:lnTo>
                  <a:lnTo>
                    <a:pt x="71755" y="1397"/>
                  </a:lnTo>
                  <a:lnTo>
                    <a:pt x="74423" y="4063"/>
                  </a:lnTo>
                  <a:lnTo>
                    <a:pt x="75692" y="6857"/>
                  </a:lnTo>
                  <a:lnTo>
                    <a:pt x="102362" y="61468"/>
                  </a:lnTo>
                  <a:lnTo>
                    <a:pt x="103633" y="64262"/>
                  </a:lnTo>
                  <a:lnTo>
                    <a:pt x="103633" y="66928"/>
                  </a:lnTo>
                  <a:lnTo>
                    <a:pt x="103633" y="70993"/>
                  </a:lnTo>
                  <a:lnTo>
                    <a:pt x="102362" y="73787"/>
                  </a:lnTo>
                  <a:lnTo>
                    <a:pt x="99696" y="76453"/>
                  </a:lnTo>
                  <a:lnTo>
                    <a:pt x="98299" y="77850"/>
                  </a:lnTo>
                  <a:lnTo>
                    <a:pt x="94362" y="79247"/>
                  </a:lnTo>
                  <a:lnTo>
                    <a:pt x="91695" y="79247"/>
                  </a:lnTo>
                  <a:close/>
                  <a:moveTo>
                    <a:pt x="-6391655" y="2325623"/>
                  </a:moveTo>
                  <a:moveTo>
                    <a:pt x="13336" y="12319"/>
                  </a:moveTo>
                  <a:lnTo>
                    <a:pt x="11938" y="66928"/>
                  </a:lnTo>
                  <a:lnTo>
                    <a:pt x="91695" y="66928"/>
                  </a:lnTo>
                  <a:lnTo>
                    <a:pt x="65151" y="12319"/>
                  </a:lnTo>
                  <a:lnTo>
                    <a:pt x="13336" y="12319"/>
                  </a:lnTo>
                  <a:close/>
                  <a:moveTo>
                    <a:pt x="-6324727" y="2325623"/>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83" name="Freeform 1383"/>
            <p:cNvSpPr/>
            <p:nvPr/>
          </p:nvSpPr>
          <p:spPr>
            <a:xfrm>
              <a:off x="8697640" y="4687169"/>
              <a:ext cx="94439" cy="48744"/>
            </a:xfrm>
            <a:custGeom>
              <a:avLst/>
              <a:gdLst/>
              <a:ahLst/>
              <a:cxnLst/>
              <a:rect l="0" t="0" r="0" b="0"/>
              <a:pathLst>
                <a:path w="94488" h="48769">
                  <a:moveTo>
                    <a:pt x="78231" y="48769"/>
                  </a:moveTo>
                  <a:lnTo>
                    <a:pt x="0" y="48769"/>
                  </a:lnTo>
                  <a:lnTo>
                    <a:pt x="0" y="36957"/>
                  </a:lnTo>
                  <a:lnTo>
                    <a:pt x="78231" y="36957"/>
                  </a:lnTo>
                  <a:lnTo>
                    <a:pt x="81026" y="35560"/>
                  </a:lnTo>
                  <a:lnTo>
                    <a:pt x="82296" y="32894"/>
                  </a:lnTo>
                  <a:lnTo>
                    <a:pt x="82296" y="15875"/>
                  </a:lnTo>
                  <a:lnTo>
                    <a:pt x="81026" y="13209"/>
                  </a:lnTo>
                  <a:lnTo>
                    <a:pt x="78231" y="11812"/>
                  </a:lnTo>
                  <a:lnTo>
                    <a:pt x="8127" y="11812"/>
                  </a:lnTo>
                  <a:lnTo>
                    <a:pt x="8127" y="0"/>
                  </a:lnTo>
                  <a:lnTo>
                    <a:pt x="78231" y="0"/>
                  </a:lnTo>
                  <a:lnTo>
                    <a:pt x="85089" y="1271"/>
                  </a:lnTo>
                  <a:lnTo>
                    <a:pt x="89026" y="5334"/>
                  </a:lnTo>
                  <a:lnTo>
                    <a:pt x="93090" y="9272"/>
                  </a:lnTo>
                  <a:lnTo>
                    <a:pt x="94488" y="15875"/>
                  </a:lnTo>
                  <a:lnTo>
                    <a:pt x="94488" y="32894"/>
                  </a:lnTo>
                  <a:lnTo>
                    <a:pt x="93090" y="39497"/>
                  </a:lnTo>
                  <a:lnTo>
                    <a:pt x="89026" y="43434"/>
                  </a:lnTo>
                  <a:lnTo>
                    <a:pt x="85089" y="47499"/>
                  </a:lnTo>
                  <a:lnTo>
                    <a:pt x="78231" y="48769"/>
                  </a:lnTo>
                  <a:close/>
                  <a:moveTo>
                    <a:pt x="-6577585" y="2170176"/>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84" name="Freeform 1384"/>
            <p:cNvSpPr/>
            <p:nvPr/>
          </p:nvSpPr>
          <p:spPr>
            <a:xfrm>
              <a:off x="8268094" y="4693264"/>
              <a:ext cx="54836" cy="45695"/>
            </a:xfrm>
            <a:custGeom>
              <a:avLst/>
              <a:gdLst/>
              <a:ahLst/>
              <a:cxnLst/>
              <a:rect l="0" t="0" r="0" b="0"/>
              <a:pathLst>
                <a:path w="54865" h="45719">
                  <a:moveTo>
                    <a:pt x="54865" y="45719"/>
                  </a:moveTo>
                  <a:lnTo>
                    <a:pt x="14733" y="45719"/>
                  </a:lnTo>
                  <a:lnTo>
                    <a:pt x="9398" y="44450"/>
                  </a:lnTo>
                  <a:lnTo>
                    <a:pt x="4065" y="41909"/>
                  </a:lnTo>
                  <a:lnTo>
                    <a:pt x="1397" y="36829"/>
                  </a:lnTo>
                  <a:lnTo>
                    <a:pt x="0" y="30479"/>
                  </a:lnTo>
                  <a:lnTo>
                    <a:pt x="0" y="0"/>
                  </a:lnTo>
                  <a:lnTo>
                    <a:pt x="12066" y="0"/>
                  </a:lnTo>
                  <a:lnTo>
                    <a:pt x="12066" y="30479"/>
                  </a:lnTo>
                  <a:lnTo>
                    <a:pt x="13335" y="33019"/>
                  </a:lnTo>
                  <a:lnTo>
                    <a:pt x="14733" y="34290"/>
                  </a:lnTo>
                  <a:lnTo>
                    <a:pt x="54865" y="34290"/>
                  </a:lnTo>
                  <a:lnTo>
                    <a:pt x="54865" y="45719"/>
                  </a:lnTo>
                  <a:close/>
                  <a:moveTo>
                    <a:pt x="-6150863" y="2164079"/>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85" name="Freeform 1385"/>
            <p:cNvSpPr/>
            <p:nvPr/>
          </p:nvSpPr>
          <p:spPr>
            <a:xfrm>
              <a:off x="8313791" y="4678029"/>
              <a:ext cx="103579" cy="103578"/>
            </a:xfrm>
            <a:custGeom>
              <a:avLst/>
              <a:gdLst/>
              <a:ahLst/>
              <a:cxnLst/>
              <a:rect l="0" t="0" r="0" b="0"/>
              <a:pathLst>
                <a:path w="103633" h="103632">
                  <a:moveTo>
                    <a:pt x="51182" y="103632"/>
                  </a:moveTo>
                  <a:lnTo>
                    <a:pt x="51182" y="103632"/>
                  </a:lnTo>
                  <a:lnTo>
                    <a:pt x="41784" y="102363"/>
                  </a:lnTo>
                  <a:lnTo>
                    <a:pt x="30988" y="99695"/>
                  </a:lnTo>
                  <a:lnTo>
                    <a:pt x="22861" y="95631"/>
                  </a:lnTo>
                  <a:lnTo>
                    <a:pt x="14860" y="89028"/>
                  </a:lnTo>
                  <a:lnTo>
                    <a:pt x="8128" y="81026"/>
                  </a:lnTo>
                  <a:lnTo>
                    <a:pt x="4064" y="71756"/>
                  </a:lnTo>
                  <a:lnTo>
                    <a:pt x="0" y="62485"/>
                  </a:lnTo>
                  <a:lnTo>
                    <a:pt x="0" y="51816"/>
                  </a:lnTo>
                  <a:lnTo>
                    <a:pt x="0" y="42545"/>
                  </a:lnTo>
                  <a:lnTo>
                    <a:pt x="4064" y="31878"/>
                  </a:lnTo>
                  <a:lnTo>
                    <a:pt x="8128" y="23876"/>
                  </a:lnTo>
                  <a:lnTo>
                    <a:pt x="14860" y="16003"/>
                  </a:lnTo>
                  <a:lnTo>
                    <a:pt x="22861" y="9272"/>
                  </a:lnTo>
                  <a:lnTo>
                    <a:pt x="30988" y="5335"/>
                  </a:lnTo>
                  <a:lnTo>
                    <a:pt x="41784" y="1270"/>
                  </a:lnTo>
                  <a:lnTo>
                    <a:pt x="51182" y="0"/>
                  </a:lnTo>
                  <a:lnTo>
                    <a:pt x="61850" y="1270"/>
                  </a:lnTo>
                  <a:lnTo>
                    <a:pt x="72645" y="5335"/>
                  </a:lnTo>
                  <a:lnTo>
                    <a:pt x="80773" y="9272"/>
                  </a:lnTo>
                  <a:lnTo>
                    <a:pt x="88774" y="16003"/>
                  </a:lnTo>
                  <a:lnTo>
                    <a:pt x="95504" y="23876"/>
                  </a:lnTo>
                  <a:lnTo>
                    <a:pt x="99568" y="31878"/>
                  </a:lnTo>
                  <a:lnTo>
                    <a:pt x="103633" y="42545"/>
                  </a:lnTo>
                  <a:lnTo>
                    <a:pt x="103633" y="51816"/>
                  </a:lnTo>
                  <a:lnTo>
                    <a:pt x="103633" y="62485"/>
                  </a:lnTo>
                  <a:lnTo>
                    <a:pt x="99568" y="71756"/>
                  </a:lnTo>
                  <a:lnTo>
                    <a:pt x="95504" y="81026"/>
                  </a:lnTo>
                  <a:lnTo>
                    <a:pt x="88774" y="89028"/>
                  </a:lnTo>
                  <a:lnTo>
                    <a:pt x="80773" y="95631"/>
                  </a:lnTo>
                  <a:lnTo>
                    <a:pt x="72645" y="99695"/>
                  </a:lnTo>
                  <a:lnTo>
                    <a:pt x="61850" y="102363"/>
                  </a:lnTo>
                  <a:lnTo>
                    <a:pt x="51182" y="103632"/>
                  </a:lnTo>
                  <a:close/>
                  <a:moveTo>
                    <a:pt x="-6239255" y="2179320"/>
                  </a:moveTo>
                  <a:moveTo>
                    <a:pt x="51182" y="11938"/>
                  </a:moveTo>
                  <a:lnTo>
                    <a:pt x="51182" y="11938"/>
                  </a:lnTo>
                  <a:lnTo>
                    <a:pt x="43053" y="13335"/>
                  </a:lnTo>
                  <a:lnTo>
                    <a:pt x="36323" y="16003"/>
                  </a:lnTo>
                  <a:lnTo>
                    <a:pt x="29591" y="19940"/>
                  </a:lnTo>
                  <a:lnTo>
                    <a:pt x="22861" y="23876"/>
                  </a:lnTo>
                  <a:lnTo>
                    <a:pt x="18797" y="30607"/>
                  </a:lnTo>
                  <a:lnTo>
                    <a:pt x="14860" y="37212"/>
                  </a:lnTo>
                  <a:lnTo>
                    <a:pt x="12065" y="43816"/>
                  </a:lnTo>
                  <a:lnTo>
                    <a:pt x="12065" y="51816"/>
                  </a:lnTo>
                  <a:lnTo>
                    <a:pt x="12065" y="59818"/>
                  </a:lnTo>
                  <a:lnTo>
                    <a:pt x="14860" y="67819"/>
                  </a:lnTo>
                  <a:lnTo>
                    <a:pt x="18797" y="74422"/>
                  </a:lnTo>
                  <a:lnTo>
                    <a:pt x="22861" y="79756"/>
                  </a:lnTo>
                  <a:lnTo>
                    <a:pt x="29591" y="85091"/>
                  </a:lnTo>
                  <a:lnTo>
                    <a:pt x="36323" y="89028"/>
                  </a:lnTo>
                  <a:lnTo>
                    <a:pt x="43053" y="91694"/>
                  </a:lnTo>
                  <a:lnTo>
                    <a:pt x="51182" y="91694"/>
                  </a:lnTo>
                  <a:lnTo>
                    <a:pt x="59183" y="91694"/>
                  </a:lnTo>
                  <a:lnTo>
                    <a:pt x="67311" y="89028"/>
                  </a:lnTo>
                  <a:lnTo>
                    <a:pt x="74041" y="85091"/>
                  </a:lnTo>
                  <a:lnTo>
                    <a:pt x="80773" y="79756"/>
                  </a:lnTo>
                  <a:lnTo>
                    <a:pt x="84837" y="74422"/>
                  </a:lnTo>
                  <a:lnTo>
                    <a:pt x="88774" y="67819"/>
                  </a:lnTo>
                  <a:lnTo>
                    <a:pt x="91567" y="59818"/>
                  </a:lnTo>
                  <a:lnTo>
                    <a:pt x="91567" y="51816"/>
                  </a:lnTo>
                  <a:lnTo>
                    <a:pt x="91567" y="43816"/>
                  </a:lnTo>
                  <a:lnTo>
                    <a:pt x="88774" y="37212"/>
                  </a:lnTo>
                  <a:lnTo>
                    <a:pt x="84837" y="30607"/>
                  </a:lnTo>
                  <a:lnTo>
                    <a:pt x="80773" y="23876"/>
                  </a:lnTo>
                  <a:lnTo>
                    <a:pt x="74041" y="19940"/>
                  </a:lnTo>
                  <a:lnTo>
                    <a:pt x="67311" y="16003"/>
                  </a:lnTo>
                  <a:lnTo>
                    <a:pt x="59183" y="13335"/>
                  </a:lnTo>
                  <a:lnTo>
                    <a:pt x="51182" y="11938"/>
                  </a:lnTo>
                  <a:close/>
                  <a:moveTo>
                    <a:pt x="-6147561" y="2179320"/>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86" name="Freeform 1386"/>
            <p:cNvSpPr/>
            <p:nvPr/>
          </p:nvSpPr>
          <p:spPr>
            <a:xfrm>
              <a:off x="8606248" y="4678029"/>
              <a:ext cx="103577" cy="103578"/>
            </a:xfrm>
            <a:custGeom>
              <a:avLst/>
              <a:gdLst/>
              <a:ahLst/>
              <a:cxnLst/>
              <a:rect l="0" t="0" r="0" b="0"/>
              <a:pathLst>
                <a:path w="103631" h="103632">
                  <a:moveTo>
                    <a:pt x="52451" y="103632"/>
                  </a:moveTo>
                  <a:lnTo>
                    <a:pt x="52451" y="103632"/>
                  </a:lnTo>
                  <a:lnTo>
                    <a:pt x="41782" y="102363"/>
                  </a:lnTo>
                  <a:lnTo>
                    <a:pt x="30988" y="99695"/>
                  </a:lnTo>
                  <a:lnTo>
                    <a:pt x="22859" y="95631"/>
                  </a:lnTo>
                  <a:lnTo>
                    <a:pt x="14858" y="89028"/>
                  </a:lnTo>
                  <a:lnTo>
                    <a:pt x="8128" y="81026"/>
                  </a:lnTo>
                  <a:lnTo>
                    <a:pt x="4064" y="71756"/>
                  </a:lnTo>
                  <a:lnTo>
                    <a:pt x="1396" y="62485"/>
                  </a:lnTo>
                  <a:lnTo>
                    <a:pt x="0" y="51816"/>
                  </a:lnTo>
                  <a:lnTo>
                    <a:pt x="1396" y="42545"/>
                  </a:lnTo>
                  <a:lnTo>
                    <a:pt x="4064" y="31878"/>
                  </a:lnTo>
                  <a:lnTo>
                    <a:pt x="8128" y="23876"/>
                  </a:lnTo>
                  <a:lnTo>
                    <a:pt x="14858" y="16003"/>
                  </a:lnTo>
                  <a:lnTo>
                    <a:pt x="22859" y="9272"/>
                  </a:lnTo>
                  <a:lnTo>
                    <a:pt x="30988" y="5335"/>
                  </a:lnTo>
                  <a:lnTo>
                    <a:pt x="41782" y="1270"/>
                  </a:lnTo>
                  <a:lnTo>
                    <a:pt x="52451" y="0"/>
                  </a:lnTo>
                  <a:lnTo>
                    <a:pt x="61849" y="1270"/>
                  </a:lnTo>
                  <a:lnTo>
                    <a:pt x="72643" y="5335"/>
                  </a:lnTo>
                  <a:lnTo>
                    <a:pt x="80771" y="9272"/>
                  </a:lnTo>
                  <a:lnTo>
                    <a:pt x="88773" y="16003"/>
                  </a:lnTo>
                  <a:lnTo>
                    <a:pt x="95504" y="23876"/>
                  </a:lnTo>
                  <a:lnTo>
                    <a:pt x="99567" y="31878"/>
                  </a:lnTo>
                  <a:lnTo>
                    <a:pt x="103631" y="42545"/>
                  </a:lnTo>
                  <a:lnTo>
                    <a:pt x="103631" y="51816"/>
                  </a:lnTo>
                  <a:lnTo>
                    <a:pt x="103631" y="62485"/>
                  </a:lnTo>
                  <a:lnTo>
                    <a:pt x="99567" y="71756"/>
                  </a:lnTo>
                  <a:lnTo>
                    <a:pt x="95504" y="81026"/>
                  </a:lnTo>
                  <a:lnTo>
                    <a:pt x="88773" y="89028"/>
                  </a:lnTo>
                  <a:lnTo>
                    <a:pt x="80771" y="95631"/>
                  </a:lnTo>
                  <a:lnTo>
                    <a:pt x="72643" y="99695"/>
                  </a:lnTo>
                  <a:lnTo>
                    <a:pt x="61849" y="102363"/>
                  </a:lnTo>
                  <a:lnTo>
                    <a:pt x="52451" y="103632"/>
                  </a:lnTo>
                  <a:close/>
                  <a:moveTo>
                    <a:pt x="-6531864" y="2179320"/>
                  </a:moveTo>
                  <a:moveTo>
                    <a:pt x="52451" y="11938"/>
                  </a:moveTo>
                  <a:lnTo>
                    <a:pt x="52451" y="11938"/>
                  </a:lnTo>
                  <a:lnTo>
                    <a:pt x="44450" y="13335"/>
                  </a:lnTo>
                  <a:lnTo>
                    <a:pt x="36321" y="16003"/>
                  </a:lnTo>
                  <a:lnTo>
                    <a:pt x="29591" y="19940"/>
                  </a:lnTo>
                  <a:lnTo>
                    <a:pt x="22859" y="23876"/>
                  </a:lnTo>
                  <a:lnTo>
                    <a:pt x="18795" y="30607"/>
                  </a:lnTo>
                  <a:lnTo>
                    <a:pt x="14858" y="37212"/>
                  </a:lnTo>
                  <a:lnTo>
                    <a:pt x="12065" y="43816"/>
                  </a:lnTo>
                  <a:lnTo>
                    <a:pt x="12065" y="51816"/>
                  </a:lnTo>
                  <a:lnTo>
                    <a:pt x="12065" y="59818"/>
                  </a:lnTo>
                  <a:lnTo>
                    <a:pt x="14858" y="67819"/>
                  </a:lnTo>
                  <a:lnTo>
                    <a:pt x="18795" y="74422"/>
                  </a:lnTo>
                  <a:lnTo>
                    <a:pt x="22859" y="79756"/>
                  </a:lnTo>
                  <a:lnTo>
                    <a:pt x="29591" y="85091"/>
                  </a:lnTo>
                  <a:lnTo>
                    <a:pt x="36321" y="89028"/>
                  </a:lnTo>
                  <a:lnTo>
                    <a:pt x="44450" y="91694"/>
                  </a:lnTo>
                  <a:lnTo>
                    <a:pt x="52451" y="91694"/>
                  </a:lnTo>
                  <a:lnTo>
                    <a:pt x="60579" y="91694"/>
                  </a:lnTo>
                  <a:lnTo>
                    <a:pt x="67309" y="89028"/>
                  </a:lnTo>
                  <a:lnTo>
                    <a:pt x="74041" y="85091"/>
                  </a:lnTo>
                  <a:lnTo>
                    <a:pt x="80771" y="79756"/>
                  </a:lnTo>
                  <a:lnTo>
                    <a:pt x="84836" y="74422"/>
                  </a:lnTo>
                  <a:lnTo>
                    <a:pt x="88773" y="67819"/>
                  </a:lnTo>
                  <a:lnTo>
                    <a:pt x="91566" y="59818"/>
                  </a:lnTo>
                  <a:lnTo>
                    <a:pt x="91566" y="51816"/>
                  </a:lnTo>
                  <a:lnTo>
                    <a:pt x="91566" y="43816"/>
                  </a:lnTo>
                  <a:lnTo>
                    <a:pt x="88773" y="37212"/>
                  </a:lnTo>
                  <a:lnTo>
                    <a:pt x="84836" y="30607"/>
                  </a:lnTo>
                  <a:lnTo>
                    <a:pt x="80771" y="23876"/>
                  </a:lnTo>
                  <a:lnTo>
                    <a:pt x="74041" y="19940"/>
                  </a:lnTo>
                  <a:lnTo>
                    <a:pt x="67309" y="16003"/>
                  </a:lnTo>
                  <a:lnTo>
                    <a:pt x="60579" y="13335"/>
                  </a:lnTo>
                  <a:lnTo>
                    <a:pt x="52451" y="11938"/>
                  </a:lnTo>
                  <a:close/>
                  <a:moveTo>
                    <a:pt x="-6440170" y="2179320"/>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87" name="Freeform 1387"/>
            <p:cNvSpPr/>
            <p:nvPr/>
          </p:nvSpPr>
          <p:spPr>
            <a:xfrm>
              <a:off x="8405183" y="4723726"/>
              <a:ext cx="213249" cy="12186"/>
            </a:xfrm>
            <a:custGeom>
              <a:avLst/>
              <a:gdLst/>
              <a:ahLst/>
              <a:cxnLst/>
              <a:rect l="0" t="0" r="0" b="0"/>
              <a:pathLst>
                <a:path w="213360" h="12192">
                  <a:moveTo>
                    <a:pt x="0" y="12192"/>
                  </a:moveTo>
                  <a:lnTo>
                    <a:pt x="213360" y="12192"/>
                  </a:lnTo>
                  <a:lnTo>
                    <a:pt x="213360" y="0"/>
                  </a:lnTo>
                  <a:lnTo>
                    <a:pt x="0" y="0"/>
                  </a:lnTo>
                  <a:lnTo>
                    <a:pt x="0" y="12192"/>
                  </a:lnTo>
                  <a:close/>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88" name="Freeform 1388"/>
            <p:cNvSpPr/>
            <p:nvPr/>
          </p:nvSpPr>
          <p:spPr>
            <a:xfrm>
              <a:off x="8341209" y="4705448"/>
              <a:ext cx="48742" cy="48743"/>
            </a:xfrm>
            <a:custGeom>
              <a:avLst/>
              <a:gdLst/>
              <a:ahLst/>
              <a:cxnLst/>
              <a:rect l="0" t="0" r="0" b="0"/>
              <a:pathLst>
                <a:path w="48767" h="48768">
                  <a:moveTo>
                    <a:pt x="23749" y="48768"/>
                  </a:moveTo>
                  <a:lnTo>
                    <a:pt x="23749" y="48768"/>
                  </a:lnTo>
                  <a:lnTo>
                    <a:pt x="19812" y="47499"/>
                  </a:lnTo>
                  <a:lnTo>
                    <a:pt x="14478" y="46102"/>
                  </a:lnTo>
                  <a:lnTo>
                    <a:pt x="10541" y="44831"/>
                  </a:lnTo>
                  <a:lnTo>
                    <a:pt x="6604" y="40894"/>
                  </a:lnTo>
                  <a:lnTo>
                    <a:pt x="3937" y="38228"/>
                  </a:lnTo>
                  <a:lnTo>
                    <a:pt x="2667" y="34290"/>
                  </a:lnTo>
                  <a:lnTo>
                    <a:pt x="0" y="28956"/>
                  </a:lnTo>
                  <a:lnTo>
                    <a:pt x="0" y="23749"/>
                  </a:lnTo>
                  <a:lnTo>
                    <a:pt x="0" y="19812"/>
                  </a:lnTo>
                  <a:lnTo>
                    <a:pt x="2667" y="14478"/>
                  </a:lnTo>
                  <a:lnTo>
                    <a:pt x="3937" y="10541"/>
                  </a:lnTo>
                  <a:lnTo>
                    <a:pt x="6604" y="6605"/>
                  </a:lnTo>
                  <a:lnTo>
                    <a:pt x="10541" y="3937"/>
                  </a:lnTo>
                  <a:lnTo>
                    <a:pt x="14478" y="1271"/>
                  </a:lnTo>
                  <a:lnTo>
                    <a:pt x="19812" y="0"/>
                  </a:lnTo>
                  <a:lnTo>
                    <a:pt x="23749" y="0"/>
                  </a:lnTo>
                  <a:lnTo>
                    <a:pt x="28955" y="0"/>
                  </a:lnTo>
                  <a:lnTo>
                    <a:pt x="34290" y="1271"/>
                  </a:lnTo>
                  <a:lnTo>
                    <a:pt x="38227" y="3937"/>
                  </a:lnTo>
                  <a:lnTo>
                    <a:pt x="40893" y="6605"/>
                  </a:lnTo>
                  <a:lnTo>
                    <a:pt x="44830" y="10541"/>
                  </a:lnTo>
                  <a:lnTo>
                    <a:pt x="46101" y="14478"/>
                  </a:lnTo>
                  <a:lnTo>
                    <a:pt x="48767" y="19812"/>
                  </a:lnTo>
                  <a:lnTo>
                    <a:pt x="48767" y="23749"/>
                  </a:lnTo>
                  <a:lnTo>
                    <a:pt x="48767" y="28956"/>
                  </a:lnTo>
                  <a:lnTo>
                    <a:pt x="46101" y="34290"/>
                  </a:lnTo>
                  <a:lnTo>
                    <a:pt x="44830" y="38228"/>
                  </a:lnTo>
                  <a:lnTo>
                    <a:pt x="40893" y="40894"/>
                  </a:lnTo>
                  <a:lnTo>
                    <a:pt x="38227" y="44831"/>
                  </a:lnTo>
                  <a:lnTo>
                    <a:pt x="34290" y="46102"/>
                  </a:lnTo>
                  <a:lnTo>
                    <a:pt x="28955" y="47499"/>
                  </a:lnTo>
                  <a:lnTo>
                    <a:pt x="23749" y="48768"/>
                  </a:lnTo>
                  <a:close/>
                  <a:moveTo>
                    <a:pt x="-6239256" y="2151888"/>
                  </a:moveTo>
                  <a:moveTo>
                    <a:pt x="23749" y="11812"/>
                  </a:moveTo>
                  <a:lnTo>
                    <a:pt x="23749" y="11812"/>
                  </a:lnTo>
                  <a:lnTo>
                    <a:pt x="19812" y="13209"/>
                  </a:lnTo>
                  <a:lnTo>
                    <a:pt x="15875" y="15875"/>
                  </a:lnTo>
                  <a:lnTo>
                    <a:pt x="13207" y="19812"/>
                  </a:lnTo>
                  <a:lnTo>
                    <a:pt x="11810" y="23749"/>
                  </a:lnTo>
                  <a:lnTo>
                    <a:pt x="13207" y="28956"/>
                  </a:lnTo>
                  <a:lnTo>
                    <a:pt x="15875" y="32893"/>
                  </a:lnTo>
                  <a:lnTo>
                    <a:pt x="19812" y="35561"/>
                  </a:lnTo>
                  <a:lnTo>
                    <a:pt x="23749" y="36958"/>
                  </a:lnTo>
                  <a:lnTo>
                    <a:pt x="28955" y="35561"/>
                  </a:lnTo>
                  <a:lnTo>
                    <a:pt x="32892" y="32893"/>
                  </a:lnTo>
                  <a:lnTo>
                    <a:pt x="35559" y="28956"/>
                  </a:lnTo>
                  <a:lnTo>
                    <a:pt x="36956" y="23749"/>
                  </a:lnTo>
                  <a:lnTo>
                    <a:pt x="35559" y="19812"/>
                  </a:lnTo>
                  <a:lnTo>
                    <a:pt x="32892" y="15875"/>
                  </a:lnTo>
                  <a:lnTo>
                    <a:pt x="28955" y="13209"/>
                  </a:lnTo>
                  <a:lnTo>
                    <a:pt x="23749" y="11812"/>
                  </a:lnTo>
                  <a:close/>
                  <a:moveTo>
                    <a:pt x="-6202300" y="2151888"/>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89" name="Freeform 1389"/>
            <p:cNvSpPr/>
            <p:nvPr/>
          </p:nvSpPr>
          <p:spPr>
            <a:xfrm>
              <a:off x="8633663" y="4705448"/>
              <a:ext cx="48744" cy="48743"/>
            </a:xfrm>
            <a:custGeom>
              <a:avLst/>
              <a:gdLst/>
              <a:ahLst/>
              <a:cxnLst/>
              <a:rect l="0" t="0" r="0" b="0"/>
              <a:pathLst>
                <a:path w="48769" h="48768">
                  <a:moveTo>
                    <a:pt x="25020" y="48768"/>
                  </a:moveTo>
                  <a:lnTo>
                    <a:pt x="25020" y="48768"/>
                  </a:lnTo>
                  <a:lnTo>
                    <a:pt x="19812" y="47499"/>
                  </a:lnTo>
                  <a:lnTo>
                    <a:pt x="14478" y="46102"/>
                  </a:lnTo>
                  <a:lnTo>
                    <a:pt x="10542" y="44831"/>
                  </a:lnTo>
                  <a:lnTo>
                    <a:pt x="7874" y="40894"/>
                  </a:lnTo>
                  <a:lnTo>
                    <a:pt x="3937" y="38228"/>
                  </a:lnTo>
                  <a:lnTo>
                    <a:pt x="2668" y="34290"/>
                  </a:lnTo>
                  <a:lnTo>
                    <a:pt x="1271" y="28956"/>
                  </a:lnTo>
                  <a:lnTo>
                    <a:pt x="0" y="23749"/>
                  </a:lnTo>
                  <a:lnTo>
                    <a:pt x="1271" y="19812"/>
                  </a:lnTo>
                  <a:lnTo>
                    <a:pt x="2668" y="14478"/>
                  </a:lnTo>
                  <a:lnTo>
                    <a:pt x="3937" y="10541"/>
                  </a:lnTo>
                  <a:lnTo>
                    <a:pt x="7874" y="6605"/>
                  </a:lnTo>
                  <a:lnTo>
                    <a:pt x="10542" y="3937"/>
                  </a:lnTo>
                  <a:lnTo>
                    <a:pt x="14478" y="1271"/>
                  </a:lnTo>
                  <a:lnTo>
                    <a:pt x="19812" y="0"/>
                  </a:lnTo>
                  <a:lnTo>
                    <a:pt x="25020" y="0"/>
                  </a:lnTo>
                  <a:lnTo>
                    <a:pt x="28957" y="0"/>
                  </a:lnTo>
                  <a:lnTo>
                    <a:pt x="34290" y="1271"/>
                  </a:lnTo>
                  <a:lnTo>
                    <a:pt x="38227" y="3937"/>
                  </a:lnTo>
                  <a:lnTo>
                    <a:pt x="42164" y="6605"/>
                  </a:lnTo>
                  <a:lnTo>
                    <a:pt x="44832" y="10541"/>
                  </a:lnTo>
                  <a:lnTo>
                    <a:pt x="47498" y="14478"/>
                  </a:lnTo>
                  <a:lnTo>
                    <a:pt x="48769" y="19812"/>
                  </a:lnTo>
                  <a:lnTo>
                    <a:pt x="48769" y="23749"/>
                  </a:lnTo>
                  <a:lnTo>
                    <a:pt x="48769" y="28956"/>
                  </a:lnTo>
                  <a:lnTo>
                    <a:pt x="47498" y="34290"/>
                  </a:lnTo>
                  <a:lnTo>
                    <a:pt x="44832" y="38228"/>
                  </a:lnTo>
                  <a:lnTo>
                    <a:pt x="42164" y="40894"/>
                  </a:lnTo>
                  <a:lnTo>
                    <a:pt x="38227" y="44831"/>
                  </a:lnTo>
                  <a:lnTo>
                    <a:pt x="34290" y="46102"/>
                  </a:lnTo>
                  <a:lnTo>
                    <a:pt x="28957" y="47499"/>
                  </a:lnTo>
                  <a:lnTo>
                    <a:pt x="25020" y="48768"/>
                  </a:lnTo>
                  <a:close/>
                  <a:moveTo>
                    <a:pt x="-6531863" y="2151888"/>
                  </a:moveTo>
                  <a:moveTo>
                    <a:pt x="25020" y="11812"/>
                  </a:moveTo>
                  <a:lnTo>
                    <a:pt x="25020" y="11812"/>
                  </a:lnTo>
                  <a:lnTo>
                    <a:pt x="19812" y="13209"/>
                  </a:lnTo>
                  <a:lnTo>
                    <a:pt x="15875" y="15875"/>
                  </a:lnTo>
                  <a:lnTo>
                    <a:pt x="13209" y="19812"/>
                  </a:lnTo>
                  <a:lnTo>
                    <a:pt x="11811" y="23749"/>
                  </a:lnTo>
                  <a:lnTo>
                    <a:pt x="13209" y="28956"/>
                  </a:lnTo>
                  <a:lnTo>
                    <a:pt x="15875" y="32893"/>
                  </a:lnTo>
                  <a:lnTo>
                    <a:pt x="19812" y="35561"/>
                  </a:lnTo>
                  <a:lnTo>
                    <a:pt x="25020" y="36958"/>
                  </a:lnTo>
                  <a:lnTo>
                    <a:pt x="28957" y="35561"/>
                  </a:lnTo>
                  <a:lnTo>
                    <a:pt x="32894" y="32893"/>
                  </a:lnTo>
                  <a:lnTo>
                    <a:pt x="35560" y="28956"/>
                  </a:lnTo>
                  <a:lnTo>
                    <a:pt x="36958" y="23749"/>
                  </a:lnTo>
                  <a:lnTo>
                    <a:pt x="35560" y="19812"/>
                  </a:lnTo>
                  <a:lnTo>
                    <a:pt x="32894" y="15875"/>
                  </a:lnTo>
                  <a:lnTo>
                    <a:pt x="28957" y="13209"/>
                  </a:lnTo>
                  <a:lnTo>
                    <a:pt x="25020" y="11812"/>
                  </a:lnTo>
                  <a:close/>
                  <a:moveTo>
                    <a:pt x="-6494907" y="2151888"/>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90" name="Freeform 1390"/>
            <p:cNvSpPr/>
            <p:nvPr/>
          </p:nvSpPr>
          <p:spPr>
            <a:xfrm>
              <a:off x="8642804" y="4620148"/>
              <a:ext cx="36557" cy="12186"/>
            </a:xfrm>
            <a:custGeom>
              <a:avLst/>
              <a:gdLst/>
              <a:ahLst/>
              <a:cxnLst/>
              <a:rect l="0" t="0" r="0" b="0"/>
              <a:pathLst>
                <a:path w="36576" h="12192">
                  <a:moveTo>
                    <a:pt x="0" y="12192"/>
                  </a:moveTo>
                  <a:lnTo>
                    <a:pt x="36576" y="12192"/>
                  </a:lnTo>
                  <a:lnTo>
                    <a:pt x="36576" y="0"/>
                  </a:lnTo>
                  <a:lnTo>
                    <a:pt x="0" y="0"/>
                  </a:lnTo>
                  <a:lnTo>
                    <a:pt x="0" y="12192"/>
                  </a:lnTo>
                  <a:close/>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91" name="Freeform 1391"/>
            <p:cNvSpPr/>
            <p:nvPr/>
          </p:nvSpPr>
          <p:spPr>
            <a:xfrm>
              <a:off x="8187365" y="4594254"/>
              <a:ext cx="405172" cy="60928"/>
            </a:xfrm>
            <a:custGeom>
              <a:avLst/>
              <a:gdLst/>
              <a:ahLst/>
              <a:cxnLst/>
              <a:rect l="0" t="0" r="0" b="0"/>
              <a:pathLst>
                <a:path w="405383" h="60960">
                  <a:moveTo>
                    <a:pt x="379094" y="60960"/>
                  </a:moveTo>
                  <a:lnTo>
                    <a:pt x="26289" y="60960"/>
                  </a:lnTo>
                  <a:lnTo>
                    <a:pt x="15748" y="54229"/>
                  </a:lnTo>
                  <a:lnTo>
                    <a:pt x="10541" y="47370"/>
                  </a:lnTo>
                  <a:lnTo>
                    <a:pt x="5206" y="40639"/>
                  </a:lnTo>
                  <a:lnTo>
                    <a:pt x="0" y="27050"/>
                  </a:lnTo>
                  <a:lnTo>
                    <a:pt x="5206" y="13588"/>
                  </a:lnTo>
                  <a:lnTo>
                    <a:pt x="10541" y="6731"/>
                  </a:lnTo>
                  <a:lnTo>
                    <a:pt x="15748" y="0"/>
                  </a:lnTo>
                  <a:lnTo>
                    <a:pt x="26289" y="0"/>
                  </a:lnTo>
                  <a:lnTo>
                    <a:pt x="379094" y="0"/>
                  </a:lnTo>
                  <a:lnTo>
                    <a:pt x="389636" y="0"/>
                  </a:lnTo>
                  <a:lnTo>
                    <a:pt x="394842" y="6731"/>
                  </a:lnTo>
                  <a:lnTo>
                    <a:pt x="400177" y="13588"/>
                  </a:lnTo>
                  <a:lnTo>
                    <a:pt x="405383" y="27050"/>
                  </a:lnTo>
                  <a:lnTo>
                    <a:pt x="400177" y="40639"/>
                  </a:lnTo>
                  <a:lnTo>
                    <a:pt x="394842" y="47370"/>
                  </a:lnTo>
                  <a:lnTo>
                    <a:pt x="389636" y="54229"/>
                  </a:lnTo>
                  <a:lnTo>
                    <a:pt x="379094" y="60960"/>
                  </a:lnTo>
                  <a:close/>
                  <a:moveTo>
                    <a:pt x="-5986273" y="2263139"/>
                  </a:moveTo>
                </a:path>
              </a:pathLst>
            </a:custGeom>
            <a:noFill/>
            <a:ln w="9525" cap="flat" cmpd="sng">
              <a:solidFill>
                <a:srgbClr val="97979C">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392" name="Freeform 1392"/>
            <p:cNvSpPr/>
            <p:nvPr/>
          </p:nvSpPr>
          <p:spPr>
            <a:xfrm>
              <a:off x="8187365" y="4545513"/>
              <a:ext cx="405172" cy="60927"/>
            </a:xfrm>
            <a:custGeom>
              <a:avLst/>
              <a:gdLst/>
              <a:ahLst/>
              <a:cxnLst/>
              <a:rect l="0" t="0" r="0" b="0"/>
              <a:pathLst>
                <a:path w="405383" h="60959">
                  <a:moveTo>
                    <a:pt x="379094" y="60959"/>
                  </a:moveTo>
                  <a:lnTo>
                    <a:pt x="26289" y="60959"/>
                  </a:lnTo>
                  <a:lnTo>
                    <a:pt x="15748" y="54228"/>
                  </a:lnTo>
                  <a:lnTo>
                    <a:pt x="10541" y="47371"/>
                  </a:lnTo>
                  <a:lnTo>
                    <a:pt x="5206" y="40640"/>
                  </a:lnTo>
                  <a:lnTo>
                    <a:pt x="0" y="27050"/>
                  </a:lnTo>
                  <a:lnTo>
                    <a:pt x="5206" y="13588"/>
                  </a:lnTo>
                  <a:lnTo>
                    <a:pt x="10541" y="6731"/>
                  </a:lnTo>
                  <a:lnTo>
                    <a:pt x="15748" y="0"/>
                  </a:lnTo>
                  <a:lnTo>
                    <a:pt x="26289" y="0"/>
                  </a:lnTo>
                  <a:lnTo>
                    <a:pt x="379094" y="0"/>
                  </a:lnTo>
                  <a:lnTo>
                    <a:pt x="389636" y="0"/>
                  </a:lnTo>
                  <a:lnTo>
                    <a:pt x="394842" y="6731"/>
                  </a:lnTo>
                  <a:lnTo>
                    <a:pt x="400177" y="13588"/>
                  </a:lnTo>
                  <a:lnTo>
                    <a:pt x="405383" y="27050"/>
                  </a:lnTo>
                  <a:lnTo>
                    <a:pt x="400177" y="40640"/>
                  </a:lnTo>
                  <a:lnTo>
                    <a:pt x="394842" y="47371"/>
                  </a:lnTo>
                  <a:lnTo>
                    <a:pt x="389636" y="54228"/>
                  </a:lnTo>
                  <a:lnTo>
                    <a:pt x="379094" y="60959"/>
                  </a:lnTo>
                  <a:close/>
                  <a:moveTo>
                    <a:pt x="-5937504" y="2311907"/>
                  </a:moveTo>
                </a:path>
              </a:pathLst>
            </a:custGeom>
            <a:noFill/>
            <a:ln w="9525" cap="flat" cmpd="sng">
              <a:solidFill>
                <a:srgbClr val="97979C">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393" name="Freeform 1393"/>
            <p:cNvSpPr/>
            <p:nvPr/>
          </p:nvSpPr>
          <p:spPr>
            <a:xfrm>
              <a:off x="8187365" y="4499817"/>
              <a:ext cx="405172" cy="57881"/>
            </a:xfrm>
            <a:custGeom>
              <a:avLst/>
              <a:gdLst/>
              <a:ahLst/>
              <a:cxnLst/>
              <a:rect l="0" t="0" r="0" b="0"/>
              <a:pathLst>
                <a:path w="405383" h="57911">
                  <a:moveTo>
                    <a:pt x="379094" y="57911"/>
                  </a:moveTo>
                  <a:lnTo>
                    <a:pt x="26289" y="57911"/>
                  </a:lnTo>
                  <a:lnTo>
                    <a:pt x="15748" y="51435"/>
                  </a:lnTo>
                  <a:lnTo>
                    <a:pt x="10541" y="45085"/>
                  </a:lnTo>
                  <a:lnTo>
                    <a:pt x="5206" y="38607"/>
                  </a:lnTo>
                  <a:lnTo>
                    <a:pt x="0" y="25780"/>
                  </a:lnTo>
                  <a:lnTo>
                    <a:pt x="5206" y="12826"/>
                  </a:lnTo>
                  <a:lnTo>
                    <a:pt x="10541" y="6476"/>
                  </a:lnTo>
                  <a:lnTo>
                    <a:pt x="15748" y="0"/>
                  </a:lnTo>
                  <a:lnTo>
                    <a:pt x="26289" y="0"/>
                  </a:lnTo>
                  <a:lnTo>
                    <a:pt x="379094" y="0"/>
                  </a:lnTo>
                  <a:lnTo>
                    <a:pt x="389636" y="0"/>
                  </a:lnTo>
                  <a:lnTo>
                    <a:pt x="394842" y="6476"/>
                  </a:lnTo>
                  <a:lnTo>
                    <a:pt x="400177" y="12826"/>
                  </a:lnTo>
                  <a:lnTo>
                    <a:pt x="405383" y="25780"/>
                  </a:lnTo>
                  <a:lnTo>
                    <a:pt x="400177" y="38607"/>
                  </a:lnTo>
                  <a:lnTo>
                    <a:pt x="394842" y="45085"/>
                  </a:lnTo>
                  <a:lnTo>
                    <a:pt x="389636" y="51435"/>
                  </a:lnTo>
                  <a:lnTo>
                    <a:pt x="379094" y="57911"/>
                  </a:lnTo>
                  <a:close/>
                  <a:moveTo>
                    <a:pt x="-5888736" y="2357627"/>
                  </a:moveTo>
                </a:path>
              </a:pathLst>
            </a:custGeom>
            <a:noFill/>
            <a:ln w="9525" cap="flat" cmpd="sng">
              <a:solidFill>
                <a:srgbClr val="97979C">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424" name="Freeform 1424"/>
            <p:cNvSpPr/>
            <p:nvPr/>
          </p:nvSpPr>
          <p:spPr>
            <a:xfrm>
              <a:off x="7533909" y="4705448"/>
              <a:ext cx="392986" cy="39603"/>
            </a:xfrm>
            <a:custGeom>
              <a:avLst/>
              <a:gdLst/>
              <a:ahLst/>
              <a:cxnLst/>
              <a:rect l="0" t="0" r="0" b="0"/>
              <a:pathLst>
                <a:path w="393191" h="39624">
                  <a:moveTo>
                    <a:pt x="348361" y="39624"/>
                  </a:moveTo>
                  <a:lnTo>
                    <a:pt x="348361" y="39624"/>
                  </a:lnTo>
                  <a:lnTo>
                    <a:pt x="336803" y="38481"/>
                  </a:lnTo>
                  <a:lnTo>
                    <a:pt x="326644" y="35053"/>
                  </a:lnTo>
                  <a:lnTo>
                    <a:pt x="318008" y="29465"/>
                  </a:lnTo>
                  <a:lnTo>
                    <a:pt x="310769" y="22606"/>
                  </a:lnTo>
                  <a:lnTo>
                    <a:pt x="303529" y="29465"/>
                  </a:lnTo>
                  <a:lnTo>
                    <a:pt x="294894" y="35053"/>
                  </a:lnTo>
                  <a:lnTo>
                    <a:pt x="284734" y="38481"/>
                  </a:lnTo>
                  <a:lnTo>
                    <a:pt x="273176" y="39624"/>
                  </a:lnTo>
                  <a:lnTo>
                    <a:pt x="261620" y="38481"/>
                  </a:lnTo>
                  <a:lnTo>
                    <a:pt x="251587" y="35053"/>
                  </a:lnTo>
                  <a:lnTo>
                    <a:pt x="241426" y="29465"/>
                  </a:lnTo>
                  <a:lnTo>
                    <a:pt x="235585" y="22606"/>
                  </a:lnTo>
                  <a:lnTo>
                    <a:pt x="228346" y="29465"/>
                  </a:lnTo>
                  <a:lnTo>
                    <a:pt x="219710" y="35053"/>
                  </a:lnTo>
                  <a:lnTo>
                    <a:pt x="208152" y="38481"/>
                  </a:lnTo>
                  <a:lnTo>
                    <a:pt x="196596" y="39624"/>
                  </a:lnTo>
                  <a:lnTo>
                    <a:pt x="185038" y="38481"/>
                  </a:lnTo>
                  <a:lnTo>
                    <a:pt x="174878" y="35053"/>
                  </a:lnTo>
                  <a:lnTo>
                    <a:pt x="166242" y="29465"/>
                  </a:lnTo>
                  <a:lnTo>
                    <a:pt x="159003" y="22606"/>
                  </a:lnTo>
                  <a:lnTo>
                    <a:pt x="151764" y="29465"/>
                  </a:lnTo>
                  <a:lnTo>
                    <a:pt x="143128" y="35053"/>
                  </a:lnTo>
                  <a:lnTo>
                    <a:pt x="132969" y="38481"/>
                  </a:lnTo>
                  <a:lnTo>
                    <a:pt x="121412" y="39624"/>
                  </a:lnTo>
                  <a:lnTo>
                    <a:pt x="109854" y="38481"/>
                  </a:lnTo>
                  <a:lnTo>
                    <a:pt x="98298" y="35053"/>
                  </a:lnTo>
                  <a:lnTo>
                    <a:pt x="89662" y="29465"/>
                  </a:lnTo>
                  <a:lnTo>
                    <a:pt x="82423" y="22606"/>
                  </a:lnTo>
                  <a:lnTo>
                    <a:pt x="75184" y="29465"/>
                  </a:lnTo>
                  <a:lnTo>
                    <a:pt x="66548" y="35053"/>
                  </a:lnTo>
                  <a:lnTo>
                    <a:pt x="56387" y="38481"/>
                  </a:lnTo>
                  <a:lnTo>
                    <a:pt x="44830" y="39624"/>
                  </a:lnTo>
                  <a:lnTo>
                    <a:pt x="36195" y="38481"/>
                  </a:lnTo>
                  <a:lnTo>
                    <a:pt x="27432" y="37338"/>
                  </a:lnTo>
                  <a:lnTo>
                    <a:pt x="20192" y="33909"/>
                  </a:lnTo>
                  <a:lnTo>
                    <a:pt x="12953" y="29465"/>
                  </a:lnTo>
                  <a:lnTo>
                    <a:pt x="7238" y="23749"/>
                  </a:lnTo>
                  <a:lnTo>
                    <a:pt x="4317" y="18162"/>
                  </a:lnTo>
                  <a:lnTo>
                    <a:pt x="1397" y="11303"/>
                  </a:lnTo>
                  <a:lnTo>
                    <a:pt x="0" y="4572"/>
                  </a:lnTo>
                  <a:lnTo>
                    <a:pt x="0" y="0"/>
                  </a:lnTo>
                  <a:lnTo>
                    <a:pt x="12953" y="0"/>
                  </a:lnTo>
                  <a:lnTo>
                    <a:pt x="12953" y="4572"/>
                  </a:lnTo>
                  <a:lnTo>
                    <a:pt x="14477" y="10161"/>
                  </a:lnTo>
                  <a:lnTo>
                    <a:pt x="15875" y="14733"/>
                  </a:lnTo>
                  <a:lnTo>
                    <a:pt x="18796" y="18162"/>
                  </a:lnTo>
                  <a:lnTo>
                    <a:pt x="23113" y="22606"/>
                  </a:lnTo>
                  <a:lnTo>
                    <a:pt x="27432" y="24893"/>
                  </a:lnTo>
                  <a:lnTo>
                    <a:pt x="33274" y="27178"/>
                  </a:lnTo>
                  <a:lnTo>
                    <a:pt x="38988" y="28321"/>
                  </a:lnTo>
                  <a:lnTo>
                    <a:pt x="44830" y="29465"/>
                  </a:lnTo>
                  <a:lnTo>
                    <a:pt x="50546" y="28321"/>
                  </a:lnTo>
                  <a:lnTo>
                    <a:pt x="57785" y="27178"/>
                  </a:lnTo>
                  <a:lnTo>
                    <a:pt x="62102" y="24893"/>
                  </a:lnTo>
                  <a:lnTo>
                    <a:pt x="66548" y="22606"/>
                  </a:lnTo>
                  <a:lnTo>
                    <a:pt x="70865" y="18162"/>
                  </a:lnTo>
                  <a:lnTo>
                    <a:pt x="73660" y="14733"/>
                  </a:lnTo>
                  <a:lnTo>
                    <a:pt x="75184" y="10161"/>
                  </a:lnTo>
                  <a:lnTo>
                    <a:pt x="76580" y="4572"/>
                  </a:lnTo>
                  <a:lnTo>
                    <a:pt x="89662" y="4572"/>
                  </a:lnTo>
                  <a:lnTo>
                    <a:pt x="89662" y="10161"/>
                  </a:lnTo>
                  <a:lnTo>
                    <a:pt x="92455" y="14733"/>
                  </a:lnTo>
                  <a:lnTo>
                    <a:pt x="95376" y="18162"/>
                  </a:lnTo>
                  <a:lnTo>
                    <a:pt x="98298" y="22606"/>
                  </a:lnTo>
                  <a:lnTo>
                    <a:pt x="102615" y="24893"/>
                  </a:lnTo>
                  <a:lnTo>
                    <a:pt x="108458" y="27178"/>
                  </a:lnTo>
                  <a:lnTo>
                    <a:pt x="114173" y="28321"/>
                  </a:lnTo>
                  <a:lnTo>
                    <a:pt x="121412" y="29465"/>
                  </a:lnTo>
                  <a:lnTo>
                    <a:pt x="127253" y="28321"/>
                  </a:lnTo>
                  <a:lnTo>
                    <a:pt x="132969" y="27178"/>
                  </a:lnTo>
                  <a:lnTo>
                    <a:pt x="138811" y="24893"/>
                  </a:lnTo>
                  <a:lnTo>
                    <a:pt x="143128" y="22606"/>
                  </a:lnTo>
                  <a:lnTo>
                    <a:pt x="147447" y="18162"/>
                  </a:lnTo>
                  <a:lnTo>
                    <a:pt x="150367" y="14733"/>
                  </a:lnTo>
                  <a:lnTo>
                    <a:pt x="151764" y="10161"/>
                  </a:lnTo>
                  <a:lnTo>
                    <a:pt x="151764" y="4572"/>
                  </a:lnTo>
                  <a:lnTo>
                    <a:pt x="164846" y="4572"/>
                  </a:lnTo>
                  <a:lnTo>
                    <a:pt x="166242" y="10161"/>
                  </a:lnTo>
                  <a:lnTo>
                    <a:pt x="167639" y="14733"/>
                  </a:lnTo>
                  <a:lnTo>
                    <a:pt x="170561" y="18162"/>
                  </a:lnTo>
                  <a:lnTo>
                    <a:pt x="174878" y="22606"/>
                  </a:lnTo>
                  <a:lnTo>
                    <a:pt x="179197" y="24893"/>
                  </a:lnTo>
                  <a:lnTo>
                    <a:pt x="185038" y="27178"/>
                  </a:lnTo>
                  <a:lnTo>
                    <a:pt x="190753" y="28321"/>
                  </a:lnTo>
                  <a:lnTo>
                    <a:pt x="196596" y="29465"/>
                  </a:lnTo>
                  <a:lnTo>
                    <a:pt x="203835" y="28321"/>
                  </a:lnTo>
                  <a:lnTo>
                    <a:pt x="209550" y="27178"/>
                  </a:lnTo>
                  <a:lnTo>
                    <a:pt x="213995" y="24893"/>
                  </a:lnTo>
                  <a:lnTo>
                    <a:pt x="219710" y="22606"/>
                  </a:lnTo>
                  <a:lnTo>
                    <a:pt x="222630" y="18162"/>
                  </a:lnTo>
                  <a:lnTo>
                    <a:pt x="225551" y="14733"/>
                  </a:lnTo>
                  <a:lnTo>
                    <a:pt x="228346" y="10161"/>
                  </a:lnTo>
                  <a:lnTo>
                    <a:pt x="228346" y="4572"/>
                  </a:lnTo>
                  <a:lnTo>
                    <a:pt x="241426" y="4572"/>
                  </a:lnTo>
                  <a:lnTo>
                    <a:pt x="241426" y="10161"/>
                  </a:lnTo>
                  <a:lnTo>
                    <a:pt x="244348" y="14733"/>
                  </a:lnTo>
                  <a:lnTo>
                    <a:pt x="247141" y="18162"/>
                  </a:lnTo>
                  <a:lnTo>
                    <a:pt x="250062" y="22606"/>
                  </a:lnTo>
                  <a:lnTo>
                    <a:pt x="255904" y="24893"/>
                  </a:lnTo>
                  <a:lnTo>
                    <a:pt x="260223" y="27178"/>
                  </a:lnTo>
                  <a:lnTo>
                    <a:pt x="265937" y="28321"/>
                  </a:lnTo>
                  <a:lnTo>
                    <a:pt x="273176" y="29465"/>
                  </a:lnTo>
                  <a:lnTo>
                    <a:pt x="279019" y="28321"/>
                  </a:lnTo>
                  <a:lnTo>
                    <a:pt x="284734" y="27178"/>
                  </a:lnTo>
                  <a:lnTo>
                    <a:pt x="290575" y="24893"/>
                  </a:lnTo>
                  <a:lnTo>
                    <a:pt x="294894" y="22606"/>
                  </a:lnTo>
                  <a:lnTo>
                    <a:pt x="299212" y="18162"/>
                  </a:lnTo>
                  <a:lnTo>
                    <a:pt x="302133" y="14733"/>
                  </a:lnTo>
                  <a:lnTo>
                    <a:pt x="303529" y="10161"/>
                  </a:lnTo>
                  <a:lnTo>
                    <a:pt x="305053" y="4572"/>
                  </a:lnTo>
                  <a:lnTo>
                    <a:pt x="318008" y="4572"/>
                  </a:lnTo>
                  <a:lnTo>
                    <a:pt x="318008" y="10161"/>
                  </a:lnTo>
                  <a:lnTo>
                    <a:pt x="319404" y="14733"/>
                  </a:lnTo>
                  <a:lnTo>
                    <a:pt x="322325" y="18162"/>
                  </a:lnTo>
                  <a:lnTo>
                    <a:pt x="326644" y="22606"/>
                  </a:lnTo>
                  <a:lnTo>
                    <a:pt x="331088" y="24893"/>
                  </a:lnTo>
                  <a:lnTo>
                    <a:pt x="336803" y="27178"/>
                  </a:lnTo>
                  <a:lnTo>
                    <a:pt x="342646" y="28321"/>
                  </a:lnTo>
                  <a:lnTo>
                    <a:pt x="348361" y="29465"/>
                  </a:lnTo>
                  <a:lnTo>
                    <a:pt x="355600" y="28321"/>
                  </a:lnTo>
                  <a:lnTo>
                    <a:pt x="361441" y="27178"/>
                  </a:lnTo>
                  <a:lnTo>
                    <a:pt x="367157" y="24893"/>
                  </a:lnTo>
                  <a:lnTo>
                    <a:pt x="371475" y="22606"/>
                  </a:lnTo>
                  <a:lnTo>
                    <a:pt x="374396" y="18162"/>
                  </a:lnTo>
                  <a:lnTo>
                    <a:pt x="377316" y="14733"/>
                  </a:lnTo>
                  <a:lnTo>
                    <a:pt x="380237" y="10161"/>
                  </a:lnTo>
                  <a:lnTo>
                    <a:pt x="380237" y="4572"/>
                  </a:lnTo>
                  <a:lnTo>
                    <a:pt x="380237" y="0"/>
                  </a:lnTo>
                  <a:lnTo>
                    <a:pt x="393191" y="0"/>
                  </a:lnTo>
                  <a:lnTo>
                    <a:pt x="393191" y="4572"/>
                  </a:lnTo>
                  <a:lnTo>
                    <a:pt x="393191" y="11303"/>
                  </a:lnTo>
                  <a:lnTo>
                    <a:pt x="390271" y="18162"/>
                  </a:lnTo>
                  <a:lnTo>
                    <a:pt x="385952" y="23749"/>
                  </a:lnTo>
                  <a:lnTo>
                    <a:pt x="380237" y="29465"/>
                  </a:lnTo>
                  <a:lnTo>
                    <a:pt x="374396" y="33909"/>
                  </a:lnTo>
                  <a:lnTo>
                    <a:pt x="365760" y="37338"/>
                  </a:lnTo>
                  <a:lnTo>
                    <a:pt x="358521" y="38481"/>
                  </a:lnTo>
                  <a:lnTo>
                    <a:pt x="348361" y="39624"/>
                  </a:lnTo>
                  <a:close/>
                  <a:moveTo>
                    <a:pt x="-5422392" y="215188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25" name="Freeform 1425"/>
            <p:cNvSpPr/>
            <p:nvPr/>
          </p:nvSpPr>
          <p:spPr>
            <a:xfrm>
              <a:off x="7500399" y="4443456"/>
              <a:ext cx="463054" cy="246760"/>
            </a:xfrm>
            <a:custGeom>
              <a:avLst/>
              <a:gdLst/>
              <a:ahLst/>
              <a:cxnLst/>
              <a:rect l="0" t="0" r="0" b="0"/>
              <a:pathLst>
                <a:path w="463295" h="246889">
                  <a:moveTo>
                    <a:pt x="367411" y="246889"/>
                  </a:moveTo>
                  <a:lnTo>
                    <a:pt x="355853" y="242316"/>
                  </a:lnTo>
                  <a:lnTo>
                    <a:pt x="445897" y="88393"/>
                  </a:lnTo>
                  <a:lnTo>
                    <a:pt x="232410" y="11431"/>
                  </a:lnTo>
                  <a:lnTo>
                    <a:pt x="17399" y="88393"/>
                  </a:lnTo>
                  <a:lnTo>
                    <a:pt x="106044" y="242316"/>
                  </a:lnTo>
                  <a:lnTo>
                    <a:pt x="94361" y="246889"/>
                  </a:lnTo>
                  <a:lnTo>
                    <a:pt x="0" y="83821"/>
                  </a:lnTo>
                  <a:lnTo>
                    <a:pt x="232410" y="0"/>
                  </a:lnTo>
                  <a:lnTo>
                    <a:pt x="463295" y="83821"/>
                  </a:lnTo>
                  <a:lnTo>
                    <a:pt x="367411" y="246889"/>
                  </a:lnTo>
                  <a:close/>
                  <a:moveTo>
                    <a:pt x="-5334001" y="2414016"/>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26" name="Freeform 1426"/>
            <p:cNvSpPr/>
            <p:nvPr/>
          </p:nvSpPr>
          <p:spPr>
            <a:xfrm>
              <a:off x="7725833" y="4449550"/>
              <a:ext cx="12186" cy="240667"/>
            </a:xfrm>
            <a:custGeom>
              <a:avLst/>
              <a:gdLst/>
              <a:ahLst/>
              <a:cxnLst/>
              <a:rect l="0" t="0" r="0" b="0"/>
              <a:pathLst>
                <a:path w="12192" h="240792">
                  <a:moveTo>
                    <a:pt x="0" y="240792"/>
                  </a:moveTo>
                  <a:lnTo>
                    <a:pt x="12192" y="240792"/>
                  </a:lnTo>
                  <a:lnTo>
                    <a:pt x="12192" y="0"/>
                  </a:lnTo>
                  <a:lnTo>
                    <a:pt x="0" y="0"/>
                  </a:lnTo>
                  <a:lnTo>
                    <a:pt x="0" y="240792"/>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27" name="Freeform 1427"/>
            <p:cNvSpPr/>
            <p:nvPr/>
          </p:nvSpPr>
          <p:spPr>
            <a:xfrm>
              <a:off x="7573512" y="4400807"/>
              <a:ext cx="313780" cy="103579"/>
            </a:xfrm>
            <a:custGeom>
              <a:avLst/>
              <a:gdLst/>
              <a:ahLst/>
              <a:cxnLst/>
              <a:rect l="0" t="0" r="0" b="0"/>
              <a:pathLst>
                <a:path w="313943" h="103633">
                  <a:moveTo>
                    <a:pt x="313943" y="103633"/>
                  </a:moveTo>
                  <a:lnTo>
                    <a:pt x="300863" y="103633"/>
                  </a:lnTo>
                  <a:lnTo>
                    <a:pt x="300863" y="16130"/>
                  </a:lnTo>
                  <a:lnTo>
                    <a:pt x="299465" y="13843"/>
                  </a:lnTo>
                  <a:lnTo>
                    <a:pt x="298068" y="11558"/>
                  </a:lnTo>
                  <a:lnTo>
                    <a:pt x="296545" y="10415"/>
                  </a:lnTo>
                  <a:lnTo>
                    <a:pt x="293751" y="10415"/>
                  </a:lnTo>
                  <a:lnTo>
                    <a:pt x="20192" y="10415"/>
                  </a:lnTo>
                  <a:lnTo>
                    <a:pt x="17399" y="10415"/>
                  </a:lnTo>
                  <a:lnTo>
                    <a:pt x="14477" y="11558"/>
                  </a:lnTo>
                  <a:lnTo>
                    <a:pt x="13080" y="13843"/>
                  </a:lnTo>
                  <a:lnTo>
                    <a:pt x="13080" y="16130"/>
                  </a:lnTo>
                  <a:lnTo>
                    <a:pt x="13080" y="103633"/>
                  </a:lnTo>
                  <a:lnTo>
                    <a:pt x="0" y="103633"/>
                  </a:lnTo>
                  <a:lnTo>
                    <a:pt x="0" y="16130"/>
                  </a:lnTo>
                  <a:lnTo>
                    <a:pt x="1397" y="10415"/>
                  </a:lnTo>
                  <a:lnTo>
                    <a:pt x="5841" y="4572"/>
                  </a:lnTo>
                  <a:lnTo>
                    <a:pt x="11556" y="1143"/>
                  </a:lnTo>
                  <a:lnTo>
                    <a:pt x="20192" y="0"/>
                  </a:lnTo>
                  <a:lnTo>
                    <a:pt x="293751" y="0"/>
                  </a:lnTo>
                  <a:lnTo>
                    <a:pt x="300863" y="1143"/>
                  </a:lnTo>
                  <a:lnTo>
                    <a:pt x="308101" y="4572"/>
                  </a:lnTo>
                  <a:lnTo>
                    <a:pt x="312547" y="10415"/>
                  </a:lnTo>
                  <a:lnTo>
                    <a:pt x="313943" y="16130"/>
                  </a:lnTo>
                  <a:lnTo>
                    <a:pt x="313943" y="103633"/>
                  </a:lnTo>
                  <a:close/>
                  <a:moveTo>
                    <a:pt x="-5221225" y="245668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28" name="Freeform 1428"/>
            <p:cNvSpPr/>
            <p:nvPr/>
          </p:nvSpPr>
          <p:spPr>
            <a:xfrm>
              <a:off x="7634440" y="4367295"/>
              <a:ext cx="191924" cy="42650"/>
            </a:xfrm>
            <a:custGeom>
              <a:avLst/>
              <a:gdLst/>
              <a:ahLst/>
              <a:cxnLst/>
              <a:rect l="0" t="0" r="0" b="0"/>
              <a:pathLst>
                <a:path w="192024" h="42672">
                  <a:moveTo>
                    <a:pt x="192024" y="42672"/>
                  </a:moveTo>
                  <a:lnTo>
                    <a:pt x="0" y="42672"/>
                  </a:lnTo>
                  <a:lnTo>
                    <a:pt x="0" y="14224"/>
                  </a:lnTo>
                  <a:lnTo>
                    <a:pt x="1396" y="8764"/>
                  </a:lnTo>
                  <a:lnTo>
                    <a:pt x="5841" y="4318"/>
                  </a:lnTo>
                  <a:lnTo>
                    <a:pt x="11683" y="1143"/>
                  </a:lnTo>
                  <a:lnTo>
                    <a:pt x="18923" y="0"/>
                  </a:lnTo>
                  <a:lnTo>
                    <a:pt x="174625" y="0"/>
                  </a:lnTo>
                  <a:lnTo>
                    <a:pt x="180340" y="1143"/>
                  </a:lnTo>
                  <a:lnTo>
                    <a:pt x="186181" y="4318"/>
                  </a:lnTo>
                  <a:lnTo>
                    <a:pt x="190627" y="8764"/>
                  </a:lnTo>
                  <a:lnTo>
                    <a:pt x="192024" y="14224"/>
                  </a:lnTo>
                  <a:lnTo>
                    <a:pt x="192024" y="42672"/>
                  </a:lnTo>
                  <a:close/>
                  <a:moveTo>
                    <a:pt x="-5187696" y="2490216"/>
                  </a:moveTo>
                  <a:moveTo>
                    <a:pt x="13080" y="32766"/>
                  </a:moveTo>
                  <a:lnTo>
                    <a:pt x="178942" y="32766"/>
                  </a:lnTo>
                  <a:lnTo>
                    <a:pt x="178942" y="14224"/>
                  </a:lnTo>
                  <a:lnTo>
                    <a:pt x="177418" y="10922"/>
                  </a:lnTo>
                  <a:lnTo>
                    <a:pt x="174625" y="9906"/>
                  </a:lnTo>
                  <a:lnTo>
                    <a:pt x="18923" y="9906"/>
                  </a:lnTo>
                  <a:lnTo>
                    <a:pt x="14604" y="10922"/>
                  </a:lnTo>
                  <a:lnTo>
                    <a:pt x="13080" y="14224"/>
                  </a:lnTo>
                  <a:lnTo>
                    <a:pt x="13080" y="32766"/>
                  </a:lnTo>
                  <a:close/>
                  <a:moveTo>
                    <a:pt x="-5177790" y="2490216"/>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29" name="Freeform 1429"/>
            <p:cNvSpPr/>
            <p:nvPr/>
          </p:nvSpPr>
          <p:spPr>
            <a:xfrm>
              <a:off x="7725833" y="4309414"/>
              <a:ext cx="12186" cy="67021"/>
            </a:xfrm>
            <a:custGeom>
              <a:avLst/>
              <a:gdLst/>
              <a:ahLst/>
              <a:cxnLst/>
              <a:rect l="0" t="0" r="0" b="0"/>
              <a:pathLst>
                <a:path w="12192" h="67056">
                  <a:moveTo>
                    <a:pt x="0" y="67056"/>
                  </a:moveTo>
                  <a:lnTo>
                    <a:pt x="12192" y="67056"/>
                  </a:lnTo>
                  <a:lnTo>
                    <a:pt x="12192" y="0"/>
                  </a:lnTo>
                  <a:lnTo>
                    <a:pt x="0" y="0"/>
                  </a:lnTo>
                  <a:lnTo>
                    <a:pt x="0" y="67056"/>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31" name="Freeform 1431"/>
            <p:cNvSpPr/>
            <p:nvPr/>
          </p:nvSpPr>
          <p:spPr>
            <a:xfrm>
              <a:off x="7844644" y="4525709"/>
              <a:ext cx="54835" cy="42650"/>
            </a:xfrm>
            <a:custGeom>
              <a:avLst/>
              <a:gdLst/>
              <a:ahLst/>
              <a:cxnLst/>
              <a:rect l="0" t="0" r="0" b="0"/>
              <a:pathLst>
                <a:path w="54864" h="42672">
                  <a:moveTo>
                    <a:pt x="26669" y="42672"/>
                  </a:moveTo>
                  <a:lnTo>
                    <a:pt x="26669" y="42672"/>
                  </a:lnTo>
                  <a:lnTo>
                    <a:pt x="22225" y="41529"/>
                  </a:lnTo>
                  <a:lnTo>
                    <a:pt x="16255" y="40387"/>
                  </a:lnTo>
                  <a:lnTo>
                    <a:pt x="11811" y="39244"/>
                  </a:lnTo>
                  <a:lnTo>
                    <a:pt x="7366" y="35815"/>
                  </a:lnTo>
                  <a:lnTo>
                    <a:pt x="4444" y="33401"/>
                  </a:lnTo>
                  <a:lnTo>
                    <a:pt x="2920" y="29972"/>
                  </a:lnTo>
                  <a:lnTo>
                    <a:pt x="0" y="25400"/>
                  </a:lnTo>
                  <a:lnTo>
                    <a:pt x="0" y="20701"/>
                  </a:lnTo>
                  <a:lnTo>
                    <a:pt x="0" y="17272"/>
                  </a:lnTo>
                  <a:lnTo>
                    <a:pt x="2920" y="12700"/>
                  </a:lnTo>
                  <a:lnTo>
                    <a:pt x="4444" y="9272"/>
                  </a:lnTo>
                  <a:lnTo>
                    <a:pt x="7366" y="5716"/>
                  </a:lnTo>
                  <a:lnTo>
                    <a:pt x="11811" y="3429"/>
                  </a:lnTo>
                  <a:lnTo>
                    <a:pt x="16255" y="1144"/>
                  </a:lnTo>
                  <a:lnTo>
                    <a:pt x="22225" y="0"/>
                  </a:lnTo>
                  <a:lnTo>
                    <a:pt x="26669" y="0"/>
                  </a:lnTo>
                  <a:lnTo>
                    <a:pt x="32639" y="0"/>
                  </a:lnTo>
                  <a:lnTo>
                    <a:pt x="38607" y="1144"/>
                  </a:lnTo>
                  <a:lnTo>
                    <a:pt x="43053" y="3429"/>
                  </a:lnTo>
                  <a:lnTo>
                    <a:pt x="45974" y="5716"/>
                  </a:lnTo>
                  <a:lnTo>
                    <a:pt x="50418" y="9272"/>
                  </a:lnTo>
                  <a:lnTo>
                    <a:pt x="51942" y="12700"/>
                  </a:lnTo>
                  <a:lnTo>
                    <a:pt x="53340" y="17272"/>
                  </a:lnTo>
                  <a:lnTo>
                    <a:pt x="54864" y="20701"/>
                  </a:lnTo>
                  <a:lnTo>
                    <a:pt x="53340" y="25400"/>
                  </a:lnTo>
                  <a:lnTo>
                    <a:pt x="51942" y="29972"/>
                  </a:lnTo>
                  <a:lnTo>
                    <a:pt x="50418" y="33401"/>
                  </a:lnTo>
                  <a:lnTo>
                    <a:pt x="45974" y="35815"/>
                  </a:lnTo>
                  <a:lnTo>
                    <a:pt x="43053" y="39244"/>
                  </a:lnTo>
                  <a:lnTo>
                    <a:pt x="38607" y="40387"/>
                  </a:lnTo>
                  <a:lnTo>
                    <a:pt x="32639" y="41529"/>
                  </a:lnTo>
                  <a:lnTo>
                    <a:pt x="26669" y="42672"/>
                  </a:lnTo>
                  <a:close/>
                  <a:moveTo>
                    <a:pt x="-5556504" y="2331720"/>
                  </a:moveTo>
                  <a:moveTo>
                    <a:pt x="26669" y="10415"/>
                  </a:moveTo>
                  <a:lnTo>
                    <a:pt x="26669" y="10415"/>
                  </a:lnTo>
                  <a:lnTo>
                    <a:pt x="22225" y="11557"/>
                  </a:lnTo>
                  <a:lnTo>
                    <a:pt x="17779" y="13844"/>
                  </a:lnTo>
                  <a:lnTo>
                    <a:pt x="14858" y="17272"/>
                  </a:lnTo>
                  <a:lnTo>
                    <a:pt x="13334" y="20701"/>
                  </a:lnTo>
                  <a:lnTo>
                    <a:pt x="14858" y="25400"/>
                  </a:lnTo>
                  <a:lnTo>
                    <a:pt x="17779" y="28829"/>
                  </a:lnTo>
                  <a:lnTo>
                    <a:pt x="22225" y="31116"/>
                  </a:lnTo>
                  <a:lnTo>
                    <a:pt x="26669" y="32259"/>
                  </a:lnTo>
                  <a:lnTo>
                    <a:pt x="32639" y="31116"/>
                  </a:lnTo>
                  <a:lnTo>
                    <a:pt x="37083" y="28829"/>
                  </a:lnTo>
                  <a:lnTo>
                    <a:pt x="40004" y="25400"/>
                  </a:lnTo>
                  <a:lnTo>
                    <a:pt x="41529" y="20701"/>
                  </a:lnTo>
                  <a:lnTo>
                    <a:pt x="40004" y="17272"/>
                  </a:lnTo>
                  <a:lnTo>
                    <a:pt x="37083" y="13844"/>
                  </a:lnTo>
                  <a:lnTo>
                    <a:pt x="32639" y="11557"/>
                  </a:lnTo>
                  <a:lnTo>
                    <a:pt x="26669" y="10415"/>
                  </a:lnTo>
                  <a:close/>
                  <a:moveTo>
                    <a:pt x="-5524247" y="233172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63" name="Rectangle 1563"/>
            <p:cNvSpPr/>
            <p:nvPr/>
          </p:nvSpPr>
          <p:spPr>
            <a:xfrm>
              <a:off x="7529339" y="4069821"/>
              <a:ext cx="1204625" cy="154786"/>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tab pos="679913" algn="l"/>
                </a:tabLst>
                <a:defRPr/>
              </a:pP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H</a:t>
              </a:r>
              <a:r>
                <a:rPr kumimoji="0" lang="en-US" sz="1014" b="1" i="0" u="none" strike="noStrike" kern="1200" cap="none" spc="255" normalizeH="0" baseline="-32142" noProof="0" dirty="0">
                  <a:ln>
                    <a:noFill/>
                  </a:ln>
                  <a:solidFill>
                    <a:srgbClr val="FFFFFF"/>
                  </a:solidFill>
                  <a:effectLst/>
                  <a:uLnTx/>
                  <a:uFillTx/>
                  <a:latin typeface="EYInterstate-LightBold"/>
                  <a:ea typeface="+mn-ea"/>
                  <a:cs typeface="+mn-cs"/>
                </a:rPr>
                <a:t>2</a:t>
              </a:r>
              <a:r>
                <a:rPr kumimoji="0" lang="en-US" sz="1005" b="1" i="0" u="none" strike="noStrike" kern="1200" cap="none" spc="-12" normalizeH="0" baseline="0" noProof="0" dirty="0">
                  <a:ln>
                    <a:noFill/>
                  </a:ln>
                  <a:solidFill>
                    <a:srgbClr val="FFFFFF"/>
                  </a:solidFill>
                  <a:effectLst/>
                  <a:uLnTx/>
                  <a:uFillTx/>
                  <a:latin typeface="EYInterstate-LightBold"/>
                  <a:ea typeface="+mn-ea"/>
                  <a:cs typeface="+mn-cs"/>
                </a:rPr>
                <a:t>G</a:t>
              </a: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rid	</a:t>
              </a:r>
              <a:r>
                <a:rPr kumimoji="0" lang="en-US" sz="1005" b="1" i="0" u="none" strike="noStrike" kern="1200" cap="none" spc="-12" normalizeH="0" baseline="0" noProof="0" dirty="0">
                  <a:ln>
                    <a:noFill/>
                  </a:ln>
                  <a:solidFill>
                    <a:srgbClr val="FFFFFF"/>
                  </a:solidFill>
                  <a:effectLst/>
                  <a:uLnTx/>
                  <a:uFillTx/>
                  <a:latin typeface="EYInterstate-LightBold"/>
                  <a:ea typeface="+mn-ea"/>
                  <a:cs typeface="+mn-cs"/>
                </a:rPr>
                <a:t>G</a:t>
              </a: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as </a:t>
              </a:r>
              <a:r>
                <a:rPr kumimoji="0" lang="en-US" sz="1005" b="1" i="0" u="none" strike="noStrike" kern="1200" cap="none" spc="-12" normalizeH="0" baseline="0" noProof="0" dirty="0">
                  <a:ln>
                    <a:noFill/>
                  </a:ln>
                  <a:solidFill>
                    <a:srgbClr val="FFFFFF"/>
                  </a:solidFill>
                  <a:effectLst/>
                  <a:uLnTx/>
                  <a:uFillTx/>
                  <a:latin typeface="EYInterstate-LightBold"/>
                  <a:ea typeface="+mn-ea"/>
                  <a:cs typeface="+mn-cs"/>
                </a:rPr>
                <a:t>G</a:t>
              </a: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rid</a:t>
              </a:r>
            </a:p>
          </p:txBody>
        </p:sp>
        <p:sp>
          <p:nvSpPr>
            <p:cNvPr id="1564" name="Rectangle 1564"/>
            <p:cNvSpPr/>
            <p:nvPr/>
          </p:nvSpPr>
          <p:spPr>
            <a:xfrm>
              <a:off x="8293989" y="4753995"/>
              <a:ext cx="403893" cy="154786"/>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13" normalizeH="0" baseline="0" noProof="0" dirty="0">
                  <a:ln>
                    <a:noFill/>
                  </a:ln>
                  <a:solidFill>
                    <a:srgbClr val="FFFFFF"/>
                  </a:solidFill>
                  <a:effectLst/>
                  <a:uLnTx/>
                  <a:uFillTx/>
                  <a:latin typeface="EYInterstate-LightBold"/>
                  <a:ea typeface="+mn-ea"/>
                  <a:cs typeface="+mn-cs"/>
                </a:rPr>
                <a:t>T</a:t>
              </a: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railer</a:t>
              </a:r>
            </a:p>
          </p:txBody>
        </p:sp>
        <p:sp>
          <p:nvSpPr>
            <p:cNvPr id="1572" name="Rectangle 1572"/>
            <p:cNvSpPr/>
            <p:nvPr/>
          </p:nvSpPr>
          <p:spPr>
            <a:xfrm>
              <a:off x="7604610" y="4753995"/>
              <a:ext cx="269304" cy="154786"/>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Ship</a:t>
              </a:r>
            </a:p>
          </p:txBody>
        </p:sp>
      </p:grpSp>
      <p:grpSp>
        <p:nvGrpSpPr>
          <p:cNvPr id="10" name="4. Distribution - Storage">
            <a:extLst>
              <a:ext uri="{FF2B5EF4-FFF2-40B4-BE49-F238E27FC236}">
                <a16:creationId xmlns:a16="http://schemas.microsoft.com/office/drawing/2014/main" id="{3BAB8D9D-E547-4C2D-9815-3BA4D59FB795}"/>
              </a:ext>
            </a:extLst>
          </p:cNvPr>
          <p:cNvGrpSpPr/>
          <p:nvPr/>
        </p:nvGrpSpPr>
        <p:grpSpPr>
          <a:xfrm>
            <a:off x="7521722" y="1530552"/>
            <a:ext cx="1516324" cy="968255"/>
            <a:chOff x="7316089" y="1529563"/>
            <a:chExt cx="1517114" cy="968759"/>
          </a:xfrm>
        </p:grpSpPr>
        <p:sp>
          <p:nvSpPr>
            <p:cNvPr id="1308" name="Freeform 1308"/>
            <p:cNvSpPr/>
            <p:nvPr/>
          </p:nvSpPr>
          <p:spPr>
            <a:xfrm>
              <a:off x="7390727" y="1729102"/>
              <a:ext cx="222388" cy="371662"/>
            </a:xfrm>
            <a:custGeom>
              <a:avLst/>
              <a:gdLst/>
              <a:ahLst/>
              <a:cxnLst/>
              <a:rect l="0" t="0" r="0" b="0"/>
              <a:pathLst>
                <a:path w="222504" h="371856">
                  <a:moveTo>
                    <a:pt x="190118" y="371856"/>
                  </a:moveTo>
                  <a:lnTo>
                    <a:pt x="32384" y="371856"/>
                  </a:lnTo>
                  <a:lnTo>
                    <a:pt x="25907" y="371856"/>
                  </a:lnTo>
                  <a:lnTo>
                    <a:pt x="19431" y="369825"/>
                  </a:lnTo>
                  <a:lnTo>
                    <a:pt x="14096" y="366776"/>
                  </a:lnTo>
                  <a:lnTo>
                    <a:pt x="8635" y="362586"/>
                  </a:lnTo>
                  <a:lnTo>
                    <a:pt x="5460" y="358521"/>
                  </a:lnTo>
                  <a:lnTo>
                    <a:pt x="2158" y="353442"/>
                  </a:lnTo>
                  <a:lnTo>
                    <a:pt x="0" y="347219"/>
                  </a:lnTo>
                  <a:lnTo>
                    <a:pt x="0" y="341123"/>
                  </a:lnTo>
                  <a:lnTo>
                    <a:pt x="0" y="30734"/>
                  </a:lnTo>
                  <a:lnTo>
                    <a:pt x="0" y="23623"/>
                  </a:lnTo>
                  <a:lnTo>
                    <a:pt x="2158" y="18415"/>
                  </a:lnTo>
                  <a:lnTo>
                    <a:pt x="5460" y="13336"/>
                  </a:lnTo>
                  <a:lnTo>
                    <a:pt x="8635" y="8256"/>
                  </a:lnTo>
                  <a:lnTo>
                    <a:pt x="14096" y="5081"/>
                  </a:lnTo>
                  <a:lnTo>
                    <a:pt x="19431" y="2032"/>
                  </a:lnTo>
                  <a:lnTo>
                    <a:pt x="25907" y="0"/>
                  </a:lnTo>
                  <a:lnTo>
                    <a:pt x="32384" y="0"/>
                  </a:lnTo>
                  <a:lnTo>
                    <a:pt x="190118" y="0"/>
                  </a:lnTo>
                  <a:lnTo>
                    <a:pt x="196595" y="0"/>
                  </a:lnTo>
                  <a:lnTo>
                    <a:pt x="203072" y="2032"/>
                  </a:lnTo>
                  <a:lnTo>
                    <a:pt x="208406" y="5081"/>
                  </a:lnTo>
                  <a:lnTo>
                    <a:pt x="213868" y="8256"/>
                  </a:lnTo>
                  <a:lnTo>
                    <a:pt x="217043" y="13336"/>
                  </a:lnTo>
                  <a:lnTo>
                    <a:pt x="220344" y="18415"/>
                  </a:lnTo>
                  <a:lnTo>
                    <a:pt x="222504" y="23623"/>
                  </a:lnTo>
                  <a:lnTo>
                    <a:pt x="222504" y="30734"/>
                  </a:lnTo>
                  <a:lnTo>
                    <a:pt x="222504" y="341123"/>
                  </a:lnTo>
                  <a:lnTo>
                    <a:pt x="222504" y="347219"/>
                  </a:lnTo>
                  <a:lnTo>
                    <a:pt x="220344" y="353442"/>
                  </a:lnTo>
                  <a:lnTo>
                    <a:pt x="217043" y="358521"/>
                  </a:lnTo>
                  <a:lnTo>
                    <a:pt x="213868" y="362586"/>
                  </a:lnTo>
                  <a:lnTo>
                    <a:pt x="208406" y="366776"/>
                  </a:lnTo>
                  <a:lnTo>
                    <a:pt x="203072" y="369825"/>
                  </a:lnTo>
                  <a:lnTo>
                    <a:pt x="196595" y="371856"/>
                  </a:lnTo>
                  <a:lnTo>
                    <a:pt x="190118" y="371856"/>
                  </a:lnTo>
                  <a:close/>
                  <a:moveTo>
                    <a:pt x="-2633472" y="5129784"/>
                  </a:moveTo>
                  <a:moveTo>
                    <a:pt x="32384" y="9271"/>
                  </a:moveTo>
                  <a:lnTo>
                    <a:pt x="32384" y="9271"/>
                  </a:lnTo>
                  <a:lnTo>
                    <a:pt x="27051" y="9271"/>
                  </a:lnTo>
                  <a:lnTo>
                    <a:pt x="22732" y="10288"/>
                  </a:lnTo>
                  <a:lnTo>
                    <a:pt x="19431" y="12319"/>
                  </a:lnTo>
                  <a:lnTo>
                    <a:pt x="16256" y="15368"/>
                  </a:lnTo>
                  <a:lnTo>
                    <a:pt x="12954" y="18415"/>
                  </a:lnTo>
                  <a:lnTo>
                    <a:pt x="10794" y="21463"/>
                  </a:lnTo>
                  <a:lnTo>
                    <a:pt x="9779" y="25655"/>
                  </a:lnTo>
                  <a:lnTo>
                    <a:pt x="9779" y="30734"/>
                  </a:lnTo>
                  <a:lnTo>
                    <a:pt x="9779" y="341123"/>
                  </a:lnTo>
                  <a:lnTo>
                    <a:pt x="9779" y="345187"/>
                  </a:lnTo>
                  <a:lnTo>
                    <a:pt x="10794" y="349377"/>
                  </a:lnTo>
                  <a:lnTo>
                    <a:pt x="12954" y="353442"/>
                  </a:lnTo>
                  <a:lnTo>
                    <a:pt x="16256" y="356489"/>
                  </a:lnTo>
                  <a:lnTo>
                    <a:pt x="19431" y="359538"/>
                  </a:lnTo>
                  <a:lnTo>
                    <a:pt x="22732" y="361569"/>
                  </a:lnTo>
                  <a:lnTo>
                    <a:pt x="27051" y="362586"/>
                  </a:lnTo>
                  <a:lnTo>
                    <a:pt x="32384" y="362586"/>
                  </a:lnTo>
                  <a:lnTo>
                    <a:pt x="190118" y="362586"/>
                  </a:lnTo>
                  <a:lnTo>
                    <a:pt x="195453" y="362586"/>
                  </a:lnTo>
                  <a:lnTo>
                    <a:pt x="198755" y="361569"/>
                  </a:lnTo>
                  <a:lnTo>
                    <a:pt x="203072" y="359538"/>
                  </a:lnTo>
                  <a:lnTo>
                    <a:pt x="206247" y="356489"/>
                  </a:lnTo>
                  <a:lnTo>
                    <a:pt x="209550" y="353442"/>
                  </a:lnTo>
                  <a:lnTo>
                    <a:pt x="211708" y="349377"/>
                  </a:lnTo>
                  <a:lnTo>
                    <a:pt x="212725" y="345187"/>
                  </a:lnTo>
                  <a:lnTo>
                    <a:pt x="212725" y="341123"/>
                  </a:lnTo>
                  <a:lnTo>
                    <a:pt x="212725" y="30734"/>
                  </a:lnTo>
                  <a:lnTo>
                    <a:pt x="212725" y="25655"/>
                  </a:lnTo>
                  <a:lnTo>
                    <a:pt x="211708" y="21463"/>
                  </a:lnTo>
                  <a:lnTo>
                    <a:pt x="209550" y="18415"/>
                  </a:lnTo>
                  <a:lnTo>
                    <a:pt x="206247" y="15368"/>
                  </a:lnTo>
                  <a:lnTo>
                    <a:pt x="203072" y="12319"/>
                  </a:lnTo>
                  <a:lnTo>
                    <a:pt x="198755" y="10288"/>
                  </a:lnTo>
                  <a:lnTo>
                    <a:pt x="195453" y="9271"/>
                  </a:lnTo>
                  <a:lnTo>
                    <a:pt x="190118" y="9271"/>
                  </a:lnTo>
                  <a:lnTo>
                    <a:pt x="32384" y="9271"/>
                  </a:lnTo>
                  <a:close/>
                  <a:moveTo>
                    <a:pt x="-2270887" y="5129784"/>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09" name="Freeform 1309"/>
            <p:cNvSpPr/>
            <p:nvPr/>
          </p:nvSpPr>
          <p:spPr>
            <a:xfrm>
              <a:off x="7415099" y="1750428"/>
              <a:ext cx="170599" cy="329012"/>
            </a:xfrm>
            <a:custGeom>
              <a:avLst/>
              <a:gdLst/>
              <a:ahLst/>
              <a:cxnLst/>
              <a:rect l="0" t="0" r="0" b="0"/>
              <a:pathLst>
                <a:path w="170688" h="329183">
                  <a:moveTo>
                    <a:pt x="152655" y="329183"/>
                  </a:moveTo>
                  <a:lnTo>
                    <a:pt x="19050" y="329183"/>
                  </a:lnTo>
                  <a:lnTo>
                    <a:pt x="14860" y="328168"/>
                  </a:lnTo>
                  <a:lnTo>
                    <a:pt x="11685" y="327151"/>
                  </a:lnTo>
                  <a:lnTo>
                    <a:pt x="8510" y="326136"/>
                  </a:lnTo>
                  <a:lnTo>
                    <a:pt x="6350" y="324103"/>
                  </a:lnTo>
                  <a:lnTo>
                    <a:pt x="3175" y="320928"/>
                  </a:lnTo>
                  <a:lnTo>
                    <a:pt x="2160" y="317881"/>
                  </a:lnTo>
                  <a:lnTo>
                    <a:pt x="1017" y="314832"/>
                  </a:lnTo>
                  <a:lnTo>
                    <a:pt x="0" y="311784"/>
                  </a:lnTo>
                  <a:lnTo>
                    <a:pt x="0" y="17399"/>
                  </a:lnTo>
                  <a:lnTo>
                    <a:pt x="1017" y="14351"/>
                  </a:lnTo>
                  <a:lnTo>
                    <a:pt x="2160" y="11302"/>
                  </a:lnTo>
                  <a:lnTo>
                    <a:pt x="3175" y="8255"/>
                  </a:lnTo>
                  <a:lnTo>
                    <a:pt x="6350" y="5080"/>
                  </a:lnTo>
                  <a:lnTo>
                    <a:pt x="8510" y="3047"/>
                  </a:lnTo>
                  <a:lnTo>
                    <a:pt x="11685" y="1015"/>
                  </a:lnTo>
                  <a:lnTo>
                    <a:pt x="14860" y="0"/>
                  </a:lnTo>
                  <a:lnTo>
                    <a:pt x="19050" y="0"/>
                  </a:lnTo>
                  <a:lnTo>
                    <a:pt x="152655" y="0"/>
                  </a:lnTo>
                  <a:lnTo>
                    <a:pt x="156846" y="0"/>
                  </a:lnTo>
                  <a:lnTo>
                    <a:pt x="160148" y="1015"/>
                  </a:lnTo>
                  <a:lnTo>
                    <a:pt x="163323" y="3047"/>
                  </a:lnTo>
                  <a:lnTo>
                    <a:pt x="165355" y="5080"/>
                  </a:lnTo>
                  <a:lnTo>
                    <a:pt x="168530" y="8255"/>
                  </a:lnTo>
                  <a:lnTo>
                    <a:pt x="169673" y="11302"/>
                  </a:lnTo>
                  <a:lnTo>
                    <a:pt x="170688" y="14351"/>
                  </a:lnTo>
                  <a:lnTo>
                    <a:pt x="170688" y="17399"/>
                  </a:lnTo>
                  <a:lnTo>
                    <a:pt x="170688" y="311784"/>
                  </a:lnTo>
                  <a:lnTo>
                    <a:pt x="170688" y="314832"/>
                  </a:lnTo>
                  <a:lnTo>
                    <a:pt x="169673" y="317881"/>
                  </a:lnTo>
                  <a:lnTo>
                    <a:pt x="168530" y="320928"/>
                  </a:lnTo>
                  <a:lnTo>
                    <a:pt x="165355" y="324103"/>
                  </a:lnTo>
                  <a:lnTo>
                    <a:pt x="163323" y="326136"/>
                  </a:lnTo>
                  <a:lnTo>
                    <a:pt x="160148" y="327151"/>
                  </a:lnTo>
                  <a:lnTo>
                    <a:pt x="156846" y="328168"/>
                  </a:lnTo>
                  <a:lnTo>
                    <a:pt x="152655" y="329183"/>
                  </a:lnTo>
                  <a:close/>
                  <a:moveTo>
                    <a:pt x="-2636519" y="5108447"/>
                  </a:moveTo>
                  <a:moveTo>
                    <a:pt x="19050" y="9270"/>
                  </a:moveTo>
                  <a:lnTo>
                    <a:pt x="19050" y="9270"/>
                  </a:lnTo>
                  <a:lnTo>
                    <a:pt x="14860" y="10287"/>
                  </a:lnTo>
                  <a:lnTo>
                    <a:pt x="12700" y="11302"/>
                  </a:lnTo>
                  <a:lnTo>
                    <a:pt x="10542" y="14351"/>
                  </a:lnTo>
                  <a:lnTo>
                    <a:pt x="9525" y="17399"/>
                  </a:lnTo>
                  <a:lnTo>
                    <a:pt x="9525" y="311784"/>
                  </a:lnTo>
                  <a:lnTo>
                    <a:pt x="10542" y="314832"/>
                  </a:lnTo>
                  <a:lnTo>
                    <a:pt x="12700" y="316864"/>
                  </a:lnTo>
                  <a:lnTo>
                    <a:pt x="14860" y="318896"/>
                  </a:lnTo>
                  <a:lnTo>
                    <a:pt x="19050" y="319913"/>
                  </a:lnTo>
                  <a:lnTo>
                    <a:pt x="152655" y="319913"/>
                  </a:lnTo>
                  <a:lnTo>
                    <a:pt x="155830" y="318896"/>
                  </a:lnTo>
                  <a:lnTo>
                    <a:pt x="159005" y="316864"/>
                  </a:lnTo>
                  <a:lnTo>
                    <a:pt x="161163" y="314832"/>
                  </a:lnTo>
                  <a:lnTo>
                    <a:pt x="161163" y="311784"/>
                  </a:lnTo>
                  <a:lnTo>
                    <a:pt x="161163" y="17399"/>
                  </a:lnTo>
                  <a:lnTo>
                    <a:pt x="161163" y="14351"/>
                  </a:lnTo>
                  <a:lnTo>
                    <a:pt x="159005" y="11302"/>
                  </a:lnTo>
                  <a:lnTo>
                    <a:pt x="155830" y="10287"/>
                  </a:lnTo>
                  <a:lnTo>
                    <a:pt x="152655" y="9270"/>
                  </a:lnTo>
                  <a:lnTo>
                    <a:pt x="19050" y="9270"/>
                  </a:lnTo>
                  <a:close/>
                  <a:moveTo>
                    <a:pt x="-2316606" y="5108447"/>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10" name="Freeform 1310"/>
            <p:cNvSpPr/>
            <p:nvPr/>
          </p:nvSpPr>
          <p:spPr>
            <a:xfrm>
              <a:off x="7469933" y="1710825"/>
              <a:ext cx="60928" cy="27417"/>
            </a:xfrm>
            <a:custGeom>
              <a:avLst/>
              <a:gdLst/>
              <a:ahLst/>
              <a:cxnLst/>
              <a:rect l="0" t="0" r="0" b="0"/>
              <a:pathLst>
                <a:path w="60960" h="27431">
                  <a:moveTo>
                    <a:pt x="60960" y="27431"/>
                  </a:moveTo>
                  <a:lnTo>
                    <a:pt x="0" y="27431"/>
                  </a:lnTo>
                  <a:lnTo>
                    <a:pt x="0" y="10160"/>
                  </a:lnTo>
                  <a:lnTo>
                    <a:pt x="0" y="6095"/>
                  </a:lnTo>
                  <a:lnTo>
                    <a:pt x="2159" y="3048"/>
                  </a:lnTo>
                  <a:lnTo>
                    <a:pt x="5461" y="1016"/>
                  </a:lnTo>
                  <a:lnTo>
                    <a:pt x="9780" y="0"/>
                  </a:lnTo>
                  <a:lnTo>
                    <a:pt x="51182" y="0"/>
                  </a:lnTo>
                  <a:lnTo>
                    <a:pt x="55499" y="1016"/>
                  </a:lnTo>
                  <a:lnTo>
                    <a:pt x="58801" y="3048"/>
                  </a:lnTo>
                  <a:lnTo>
                    <a:pt x="60960" y="6095"/>
                  </a:lnTo>
                  <a:lnTo>
                    <a:pt x="60960" y="10160"/>
                  </a:lnTo>
                  <a:lnTo>
                    <a:pt x="60960" y="27431"/>
                  </a:lnTo>
                  <a:close/>
                  <a:moveTo>
                    <a:pt x="-2350007" y="5148071"/>
                  </a:moveTo>
                  <a:moveTo>
                    <a:pt x="9780" y="18287"/>
                  </a:moveTo>
                  <a:lnTo>
                    <a:pt x="51182" y="18287"/>
                  </a:lnTo>
                  <a:lnTo>
                    <a:pt x="51182" y="10160"/>
                  </a:lnTo>
                  <a:lnTo>
                    <a:pt x="9780" y="9143"/>
                  </a:lnTo>
                  <a:lnTo>
                    <a:pt x="9780" y="18287"/>
                  </a:lnTo>
                  <a:close/>
                  <a:moveTo>
                    <a:pt x="-2340863" y="5148071"/>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11" name="Freeform 1311"/>
            <p:cNvSpPr/>
            <p:nvPr/>
          </p:nvSpPr>
          <p:spPr>
            <a:xfrm>
              <a:off x="7661857" y="1924073"/>
              <a:ext cx="380802" cy="185830"/>
            </a:xfrm>
            <a:custGeom>
              <a:avLst/>
              <a:gdLst/>
              <a:ahLst/>
              <a:cxnLst/>
              <a:rect l="0" t="0" r="0" b="0"/>
              <a:pathLst>
                <a:path w="381000" h="185927">
                  <a:moveTo>
                    <a:pt x="325501" y="185927"/>
                  </a:moveTo>
                  <a:lnTo>
                    <a:pt x="55499" y="185927"/>
                  </a:lnTo>
                  <a:lnTo>
                    <a:pt x="44450" y="185927"/>
                  </a:lnTo>
                  <a:lnTo>
                    <a:pt x="33274" y="184911"/>
                  </a:lnTo>
                  <a:lnTo>
                    <a:pt x="24004" y="183388"/>
                  </a:lnTo>
                  <a:lnTo>
                    <a:pt x="14860" y="181356"/>
                  </a:lnTo>
                  <a:lnTo>
                    <a:pt x="9272" y="179323"/>
                  </a:lnTo>
                  <a:lnTo>
                    <a:pt x="3684" y="176657"/>
                  </a:lnTo>
                  <a:lnTo>
                    <a:pt x="0" y="173608"/>
                  </a:lnTo>
                  <a:lnTo>
                    <a:pt x="0" y="170560"/>
                  </a:lnTo>
                  <a:lnTo>
                    <a:pt x="0" y="15366"/>
                  </a:lnTo>
                  <a:lnTo>
                    <a:pt x="0" y="11810"/>
                  </a:lnTo>
                  <a:lnTo>
                    <a:pt x="3684" y="9271"/>
                  </a:lnTo>
                  <a:lnTo>
                    <a:pt x="9272" y="6603"/>
                  </a:lnTo>
                  <a:lnTo>
                    <a:pt x="14860" y="4064"/>
                  </a:lnTo>
                  <a:lnTo>
                    <a:pt x="24004" y="2540"/>
                  </a:lnTo>
                  <a:lnTo>
                    <a:pt x="33274" y="1015"/>
                  </a:lnTo>
                  <a:lnTo>
                    <a:pt x="44450" y="0"/>
                  </a:lnTo>
                  <a:lnTo>
                    <a:pt x="55499" y="0"/>
                  </a:lnTo>
                  <a:lnTo>
                    <a:pt x="325501" y="0"/>
                  </a:lnTo>
                  <a:lnTo>
                    <a:pt x="336550" y="0"/>
                  </a:lnTo>
                  <a:lnTo>
                    <a:pt x="347726" y="1015"/>
                  </a:lnTo>
                  <a:lnTo>
                    <a:pt x="356997" y="2540"/>
                  </a:lnTo>
                  <a:lnTo>
                    <a:pt x="366142" y="4064"/>
                  </a:lnTo>
                  <a:lnTo>
                    <a:pt x="371730" y="6603"/>
                  </a:lnTo>
                  <a:lnTo>
                    <a:pt x="377318" y="9271"/>
                  </a:lnTo>
                  <a:lnTo>
                    <a:pt x="381000" y="11810"/>
                  </a:lnTo>
                  <a:lnTo>
                    <a:pt x="381000" y="15366"/>
                  </a:lnTo>
                  <a:lnTo>
                    <a:pt x="381000" y="170560"/>
                  </a:lnTo>
                  <a:lnTo>
                    <a:pt x="381000" y="173608"/>
                  </a:lnTo>
                  <a:lnTo>
                    <a:pt x="377318" y="176657"/>
                  </a:lnTo>
                  <a:lnTo>
                    <a:pt x="371730" y="179323"/>
                  </a:lnTo>
                  <a:lnTo>
                    <a:pt x="366142" y="181356"/>
                  </a:lnTo>
                  <a:lnTo>
                    <a:pt x="356997" y="183388"/>
                  </a:lnTo>
                  <a:lnTo>
                    <a:pt x="347726" y="184911"/>
                  </a:lnTo>
                  <a:lnTo>
                    <a:pt x="336550" y="185927"/>
                  </a:lnTo>
                  <a:lnTo>
                    <a:pt x="325501" y="185927"/>
                  </a:lnTo>
                  <a:close/>
                  <a:moveTo>
                    <a:pt x="-2913887" y="4934711"/>
                  </a:moveTo>
                  <a:moveTo>
                    <a:pt x="55499" y="4571"/>
                  </a:moveTo>
                  <a:lnTo>
                    <a:pt x="55499" y="4571"/>
                  </a:lnTo>
                  <a:lnTo>
                    <a:pt x="46229" y="4571"/>
                  </a:lnTo>
                  <a:lnTo>
                    <a:pt x="38862" y="5079"/>
                  </a:lnTo>
                  <a:lnTo>
                    <a:pt x="33274" y="6096"/>
                  </a:lnTo>
                  <a:lnTo>
                    <a:pt x="27686" y="7620"/>
                  </a:lnTo>
                  <a:lnTo>
                    <a:pt x="22225" y="9271"/>
                  </a:lnTo>
                  <a:lnTo>
                    <a:pt x="18543" y="10795"/>
                  </a:lnTo>
                  <a:lnTo>
                    <a:pt x="16637" y="12827"/>
                  </a:lnTo>
                  <a:lnTo>
                    <a:pt x="16637" y="15366"/>
                  </a:lnTo>
                  <a:lnTo>
                    <a:pt x="16637" y="170560"/>
                  </a:lnTo>
                  <a:lnTo>
                    <a:pt x="16637" y="172592"/>
                  </a:lnTo>
                  <a:lnTo>
                    <a:pt x="18543" y="174625"/>
                  </a:lnTo>
                  <a:lnTo>
                    <a:pt x="22225" y="176657"/>
                  </a:lnTo>
                  <a:lnTo>
                    <a:pt x="27686" y="178308"/>
                  </a:lnTo>
                  <a:lnTo>
                    <a:pt x="33274" y="179832"/>
                  </a:lnTo>
                  <a:lnTo>
                    <a:pt x="38862" y="180847"/>
                  </a:lnTo>
                  <a:lnTo>
                    <a:pt x="46229" y="181356"/>
                  </a:lnTo>
                  <a:lnTo>
                    <a:pt x="55499" y="181356"/>
                  </a:lnTo>
                  <a:lnTo>
                    <a:pt x="325501" y="181356"/>
                  </a:lnTo>
                  <a:lnTo>
                    <a:pt x="334772" y="181356"/>
                  </a:lnTo>
                  <a:lnTo>
                    <a:pt x="340360" y="180847"/>
                  </a:lnTo>
                  <a:lnTo>
                    <a:pt x="347726" y="179832"/>
                  </a:lnTo>
                  <a:lnTo>
                    <a:pt x="353314" y="178308"/>
                  </a:lnTo>
                  <a:lnTo>
                    <a:pt x="358775" y="176657"/>
                  </a:lnTo>
                  <a:lnTo>
                    <a:pt x="362459" y="174625"/>
                  </a:lnTo>
                  <a:lnTo>
                    <a:pt x="364363" y="172592"/>
                  </a:lnTo>
                  <a:lnTo>
                    <a:pt x="364363" y="170560"/>
                  </a:lnTo>
                  <a:lnTo>
                    <a:pt x="364363" y="15366"/>
                  </a:lnTo>
                  <a:lnTo>
                    <a:pt x="364363" y="12827"/>
                  </a:lnTo>
                  <a:lnTo>
                    <a:pt x="362459" y="10795"/>
                  </a:lnTo>
                  <a:lnTo>
                    <a:pt x="358775" y="9271"/>
                  </a:lnTo>
                  <a:lnTo>
                    <a:pt x="353314" y="7620"/>
                  </a:lnTo>
                  <a:lnTo>
                    <a:pt x="347726" y="6096"/>
                  </a:lnTo>
                  <a:lnTo>
                    <a:pt x="340360" y="5079"/>
                  </a:lnTo>
                  <a:lnTo>
                    <a:pt x="334772" y="4571"/>
                  </a:lnTo>
                  <a:lnTo>
                    <a:pt x="325501" y="4571"/>
                  </a:lnTo>
                  <a:lnTo>
                    <a:pt x="55499" y="4571"/>
                  </a:lnTo>
                  <a:close/>
                  <a:moveTo>
                    <a:pt x="-2732531" y="4934711"/>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12" name="Freeform 1312"/>
            <p:cNvSpPr/>
            <p:nvPr/>
          </p:nvSpPr>
          <p:spPr>
            <a:xfrm>
              <a:off x="7701461" y="1936257"/>
              <a:ext cx="298550" cy="161460"/>
            </a:xfrm>
            <a:custGeom>
              <a:avLst/>
              <a:gdLst/>
              <a:ahLst/>
              <a:cxnLst/>
              <a:rect l="0" t="0" r="0" b="0"/>
              <a:pathLst>
                <a:path w="298705" h="161544">
                  <a:moveTo>
                    <a:pt x="267209" y="161544"/>
                  </a:moveTo>
                  <a:lnTo>
                    <a:pt x="33401" y="161544"/>
                  </a:lnTo>
                  <a:lnTo>
                    <a:pt x="26036" y="161036"/>
                  </a:lnTo>
                  <a:lnTo>
                    <a:pt x="20448" y="160529"/>
                  </a:lnTo>
                  <a:lnTo>
                    <a:pt x="14860" y="160020"/>
                  </a:lnTo>
                  <a:lnTo>
                    <a:pt x="11176" y="159005"/>
                  </a:lnTo>
                  <a:lnTo>
                    <a:pt x="5588" y="157480"/>
                  </a:lnTo>
                  <a:lnTo>
                    <a:pt x="3684" y="155956"/>
                  </a:lnTo>
                  <a:lnTo>
                    <a:pt x="1906" y="154560"/>
                  </a:lnTo>
                  <a:lnTo>
                    <a:pt x="0" y="153036"/>
                  </a:lnTo>
                  <a:lnTo>
                    <a:pt x="0" y="8510"/>
                  </a:lnTo>
                  <a:lnTo>
                    <a:pt x="1906" y="6986"/>
                  </a:lnTo>
                  <a:lnTo>
                    <a:pt x="3684" y="5588"/>
                  </a:lnTo>
                  <a:lnTo>
                    <a:pt x="5588" y="4065"/>
                  </a:lnTo>
                  <a:lnTo>
                    <a:pt x="11176" y="2541"/>
                  </a:lnTo>
                  <a:lnTo>
                    <a:pt x="14860" y="1524"/>
                  </a:lnTo>
                  <a:lnTo>
                    <a:pt x="20448" y="509"/>
                  </a:lnTo>
                  <a:lnTo>
                    <a:pt x="26036" y="0"/>
                  </a:lnTo>
                  <a:lnTo>
                    <a:pt x="33401" y="0"/>
                  </a:lnTo>
                  <a:lnTo>
                    <a:pt x="267209" y="0"/>
                  </a:lnTo>
                  <a:lnTo>
                    <a:pt x="274574" y="0"/>
                  </a:lnTo>
                  <a:lnTo>
                    <a:pt x="280162" y="509"/>
                  </a:lnTo>
                  <a:lnTo>
                    <a:pt x="285750" y="1524"/>
                  </a:lnTo>
                  <a:lnTo>
                    <a:pt x="289434" y="2541"/>
                  </a:lnTo>
                  <a:lnTo>
                    <a:pt x="295022" y="4065"/>
                  </a:lnTo>
                  <a:lnTo>
                    <a:pt x="296799" y="5588"/>
                  </a:lnTo>
                  <a:lnTo>
                    <a:pt x="298705" y="6986"/>
                  </a:lnTo>
                  <a:lnTo>
                    <a:pt x="298705" y="8510"/>
                  </a:lnTo>
                  <a:lnTo>
                    <a:pt x="298705" y="153036"/>
                  </a:lnTo>
                  <a:lnTo>
                    <a:pt x="298705" y="154560"/>
                  </a:lnTo>
                  <a:lnTo>
                    <a:pt x="296799" y="155956"/>
                  </a:lnTo>
                  <a:lnTo>
                    <a:pt x="295022" y="157480"/>
                  </a:lnTo>
                  <a:lnTo>
                    <a:pt x="289434" y="159005"/>
                  </a:lnTo>
                  <a:lnTo>
                    <a:pt x="285750" y="160020"/>
                  </a:lnTo>
                  <a:lnTo>
                    <a:pt x="280162" y="160529"/>
                  </a:lnTo>
                  <a:lnTo>
                    <a:pt x="274574" y="161036"/>
                  </a:lnTo>
                  <a:lnTo>
                    <a:pt x="267209" y="161544"/>
                  </a:lnTo>
                  <a:close/>
                  <a:moveTo>
                    <a:pt x="-2941319" y="4922520"/>
                  </a:moveTo>
                  <a:moveTo>
                    <a:pt x="33401" y="4573"/>
                  </a:moveTo>
                  <a:lnTo>
                    <a:pt x="33401" y="4573"/>
                  </a:lnTo>
                  <a:lnTo>
                    <a:pt x="26036" y="5080"/>
                  </a:lnTo>
                  <a:lnTo>
                    <a:pt x="22225" y="5588"/>
                  </a:lnTo>
                  <a:lnTo>
                    <a:pt x="18543" y="6986"/>
                  </a:lnTo>
                  <a:lnTo>
                    <a:pt x="16637" y="8510"/>
                  </a:lnTo>
                  <a:lnTo>
                    <a:pt x="16637" y="153036"/>
                  </a:lnTo>
                  <a:lnTo>
                    <a:pt x="18543" y="154560"/>
                  </a:lnTo>
                  <a:lnTo>
                    <a:pt x="22225" y="155449"/>
                  </a:lnTo>
                  <a:lnTo>
                    <a:pt x="26036" y="156465"/>
                  </a:lnTo>
                  <a:lnTo>
                    <a:pt x="33401" y="156973"/>
                  </a:lnTo>
                  <a:lnTo>
                    <a:pt x="267209" y="156973"/>
                  </a:lnTo>
                  <a:lnTo>
                    <a:pt x="272670" y="156465"/>
                  </a:lnTo>
                  <a:lnTo>
                    <a:pt x="278258" y="155449"/>
                  </a:lnTo>
                  <a:lnTo>
                    <a:pt x="282068" y="154560"/>
                  </a:lnTo>
                  <a:lnTo>
                    <a:pt x="282068" y="153036"/>
                  </a:lnTo>
                  <a:lnTo>
                    <a:pt x="282068" y="8510"/>
                  </a:lnTo>
                  <a:lnTo>
                    <a:pt x="282068" y="6986"/>
                  </a:lnTo>
                  <a:lnTo>
                    <a:pt x="278258" y="5588"/>
                  </a:lnTo>
                  <a:lnTo>
                    <a:pt x="272670" y="5080"/>
                  </a:lnTo>
                  <a:lnTo>
                    <a:pt x="267209" y="4573"/>
                  </a:lnTo>
                  <a:lnTo>
                    <a:pt x="33401" y="4573"/>
                  </a:lnTo>
                  <a:close/>
                  <a:moveTo>
                    <a:pt x="-2784348" y="4922520"/>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13" name="Freeform 1313"/>
            <p:cNvSpPr/>
            <p:nvPr/>
          </p:nvSpPr>
          <p:spPr>
            <a:xfrm>
              <a:off x="7798947" y="1914934"/>
              <a:ext cx="103579" cy="15232"/>
            </a:xfrm>
            <a:custGeom>
              <a:avLst/>
              <a:gdLst/>
              <a:ahLst/>
              <a:cxnLst/>
              <a:rect l="0" t="0" r="0" b="0"/>
              <a:pathLst>
                <a:path w="103633" h="15240">
                  <a:moveTo>
                    <a:pt x="103633" y="15240"/>
                  </a:moveTo>
                  <a:lnTo>
                    <a:pt x="0" y="15240"/>
                  </a:lnTo>
                  <a:lnTo>
                    <a:pt x="0" y="5588"/>
                  </a:lnTo>
                  <a:lnTo>
                    <a:pt x="0" y="3428"/>
                  </a:lnTo>
                  <a:lnTo>
                    <a:pt x="3684" y="1651"/>
                  </a:lnTo>
                  <a:lnTo>
                    <a:pt x="9272" y="508"/>
                  </a:lnTo>
                  <a:lnTo>
                    <a:pt x="16637" y="0"/>
                  </a:lnTo>
                  <a:lnTo>
                    <a:pt x="86996" y="0"/>
                  </a:lnTo>
                  <a:lnTo>
                    <a:pt x="94362" y="508"/>
                  </a:lnTo>
                  <a:lnTo>
                    <a:pt x="99950" y="1651"/>
                  </a:lnTo>
                  <a:lnTo>
                    <a:pt x="103633" y="3428"/>
                  </a:lnTo>
                  <a:lnTo>
                    <a:pt x="103633" y="5588"/>
                  </a:lnTo>
                  <a:lnTo>
                    <a:pt x="103633" y="15240"/>
                  </a:lnTo>
                  <a:close/>
                  <a:moveTo>
                    <a:pt x="-2871216" y="4943855"/>
                  </a:moveTo>
                  <a:moveTo>
                    <a:pt x="16637" y="10159"/>
                  </a:moveTo>
                  <a:lnTo>
                    <a:pt x="86996" y="10159"/>
                  </a:lnTo>
                  <a:lnTo>
                    <a:pt x="86996" y="5588"/>
                  </a:lnTo>
                  <a:lnTo>
                    <a:pt x="16637" y="5079"/>
                  </a:lnTo>
                  <a:lnTo>
                    <a:pt x="16637" y="10159"/>
                  </a:lnTo>
                  <a:close/>
                  <a:moveTo>
                    <a:pt x="-2866135" y="4943855"/>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pic>
          <p:nvPicPr>
            <p:cNvPr id="1319" name="Picture 1319"/>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8155758" y="1784319"/>
              <a:ext cx="543276" cy="327615"/>
            </a:xfrm>
            <a:prstGeom prst="rect">
              <a:avLst/>
            </a:prstGeom>
            <a:noFill/>
          </p:spPr>
        </p:pic>
        <p:sp>
          <p:nvSpPr>
            <p:cNvPr id="1320" name="Freeform 1320"/>
            <p:cNvSpPr/>
            <p:nvPr/>
          </p:nvSpPr>
          <p:spPr>
            <a:xfrm>
              <a:off x="8208690" y="1718441"/>
              <a:ext cx="435637" cy="6093"/>
            </a:xfrm>
            <a:custGeom>
              <a:avLst/>
              <a:gdLst/>
              <a:ahLst/>
              <a:cxnLst/>
              <a:rect l="0" t="0" r="0" b="0"/>
              <a:pathLst>
                <a:path w="435864" h="6096">
                  <a:moveTo>
                    <a:pt x="0" y="6096"/>
                  </a:moveTo>
                  <a:lnTo>
                    <a:pt x="435864" y="6096"/>
                  </a:lnTo>
                  <a:lnTo>
                    <a:pt x="435864" y="0"/>
                  </a:lnTo>
                  <a:lnTo>
                    <a:pt x="0" y="0"/>
                  </a:lnTo>
                  <a:lnTo>
                    <a:pt x="0" y="6096"/>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21" name="Freeform 1321"/>
            <p:cNvSpPr/>
            <p:nvPr/>
          </p:nvSpPr>
          <p:spPr>
            <a:xfrm>
              <a:off x="8208690" y="1718441"/>
              <a:ext cx="435637" cy="6093"/>
            </a:xfrm>
            <a:custGeom>
              <a:avLst/>
              <a:gdLst/>
              <a:ahLst/>
              <a:cxnLst/>
              <a:rect l="0" t="0" r="0" b="0"/>
              <a:pathLst>
                <a:path w="435864" h="6096">
                  <a:moveTo>
                    <a:pt x="0" y="6096"/>
                  </a:moveTo>
                  <a:lnTo>
                    <a:pt x="435864" y="6096"/>
                  </a:lnTo>
                  <a:lnTo>
                    <a:pt x="435864" y="0"/>
                  </a:lnTo>
                  <a:lnTo>
                    <a:pt x="0" y="0"/>
                  </a:lnTo>
                  <a:lnTo>
                    <a:pt x="0" y="6096"/>
                  </a:lnTo>
                  <a:close/>
                </a:path>
              </a:pathLst>
            </a:custGeom>
            <a:noFill/>
            <a:ln w="9525" cap="flat" cmpd="sng">
              <a:solidFill>
                <a:srgbClr val="97979C">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sp>
          <p:nvSpPr>
            <p:cNvPr id="1322" name="Freeform 1322"/>
            <p:cNvSpPr/>
            <p:nvPr/>
          </p:nvSpPr>
          <p:spPr>
            <a:xfrm>
              <a:off x="8443264" y="1745857"/>
              <a:ext cx="7363" cy="112464"/>
            </a:xfrm>
            <a:custGeom>
              <a:avLst/>
              <a:gdLst/>
              <a:ahLst/>
              <a:cxnLst/>
              <a:rect l="0" t="0" r="0" b="0"/>
              <a:pathLst>
                <a:path w="7367" h="112523">
                  <a:moveTo>
                    <a:pt x="0" y="0"/>
                  </a:moveTo>
                  <a:lnTo>
                    <a:pt x="7367" y="112523"/>
                  </a:lnTo>
                </a:path>
              </a:pathLst>
            </a:custGeom>
            <a:noFill/>
            <a:ln w="28575" cap="sq" cmpd="sng">
              <a:solidFill>
                <a:srgbClr val="97979C">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sp>
          <p:nvSpPr>
            <p:cNvPr id="1323" name="Freeform 1323"/>
            <p:cNvSpPr/>
            <p:nvPr/>
          </p:nvSpPr>
          <p:spPr>
            <a:xfrm>
              <a:off x="8204119" y="1786985"/>
              <a:ext cx="188878" cy="185830"/>
            </a:xfrm>
            <a:custGeom>
              <a:avLst/>
              <a:gdLst/>
              <a:ahLst/>
              <a:cxnLst/>
              <a:rect l="0" t="0" r="0" b="0"/>
              <a:pathLst>
                <a:path w="188976" h="185927">
                  <a:moveTo>
                    <a:pt x="0" y="92963"/>
                  </a:moveTo>
                  <a:cubicBezTo>
                    <a:pt x="0" y="41656"/>
                    <a:pt x="42290" y="0"/>
                    <a:pt x="94488" y="0"/>
                  </a:cubicBezTo>
                  <a:cubicBezTo>
                    <a:pt x="146685" y="0"/>
                    <a:pt x="188976" y="41656"/>
                    <a:pt x="188976" y="92963"/>
                  </a:cubicBezTo>
                  <a:cubicBezTo>
                    <a:pt x="188976" y="144271"/>
                    <a:pt x="146685" y="185927"/>
                    <a:pt x="94488" y="185927"/>
                  </a:cubicBezTo>
                  <a:cubicBezTo>
                    <a:pt x="42290" y="185927"/>
                    <a:pt x="0" y="144271"/>
                    <a:pt x="0" y="92963"/>
                  </a:cubicBezTo>
                  <a:close/>
                  <a:moveTo>
                    <a:pt x="-3226308" y="5071871"/>
                  </a:moveTo>
                </a:path>
              </a:pathLst>
            </a:custGeom>
            <a:solidFill>
              <a:srgbClr val="2E2E38">
                <a:alpha val="100000"/>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24" name="Freeform 1324"/>
            <p:cNvSpPr/>
            <p:nvPr/>
          </p:nvSpPr>
          <p:spPr>
            <a:xfrm>
              <a:off x="8185842" y="1777846"/>
              <a:ext cx="201062" cy="185830"/>
            </a:xfrm>
            <a:custGeom>
              <a:avLst/>
              <a:gdLst/>
              <a:ahLst/>
              <a:cxnLst/>
              <a:rect l="0" t="0" r="0" b="0"/>
              <a:pathLst>
                <a:path w="201167" h="185927">
                  <a:moveTo>
                    <a:pt x="94615" y="89535"/>
                  </a:moveTo>
                  <a:lnTo>
                    <a:pt x="94615" y="89535"/>
                  </a:lnTo>
                  <a:lnTo>
                    <a:pt x="94233" y="90169"/>
                  </a:lnTo>
                  <a:lnTo>
                    <a:pt x="93979" y="90805"/>
                  </a:lnTo>
                  <a:lnTo>
                    <a:pt x="93726" y="91312"/>
                  </a:lnTo>
                  <a:lnTo>
                    <a:pt x="93726" y="92075"/>
                  </a:lnTo>
                  <a:lnTo>
                    <a:pt x="93599" y="92710"/>
                  </a:lnTo>
                  <a:lnTo>
                    <a:pt x="93599" y="93218"/>
                  </a:lnTo>
                  <a:lnTo>
                    <a:pt x="93726" y="93852"/>
                  </a:lnTo>
                  <a:lnTo>
                    <a:pt x="93726" y="94487"/>
                  </a:lnTo>
                  <a:lnTo>
                    <a:pt x="93979" y="95123"/>
                  </a:lnTo>
                  <a:lnTo>
                    <a:pt x="94233" y="95631"/>
                  </a:lnTo>
                  <a:lnTo>
                    <a:pt x="94488" y="96138"/>
                  </a:lnTo>
                  <a:lnTo>
                    <a:pt x="94868" y="96774"/>
                  </a:lnTo>
                  <a:lnTo>
                    <a:pt x="95377" y="97155"/>
                  </a:lnTo>
                  <a:lnTo>
                    <a:pt x="95757" y="97662"/>
                  </a:lnTo>
                  <a:lnTo>
                    <a:pt x="96392" y="98044"/>
                  </a:lnTo>
                  <a:lnTo>
                    <a:pt x="96901" y="98551"/>
                  </a:lnTo>
                  <a:lnTo>
                    <a:pt x="97536" y="98806"/>
                  </a:lnTo>
                  <a:lnTo>
                    <a:pt x="98170" y="99060"/>
                  </a:lnTo>
                  <a:lnTo>
                    <a:pt x="98805" y="99187"/>
                  </a:lnTo>
                  <a:lnTo>
                    <a:pt x="99567" y="99313"/>
                  </a:lnTo>
                  <a:lnTo>
                    <a:pt x="100203" y="99440"/>
                  </a:lnTo>
                  <a:lnTo>
                    <a:pt x="100965" y="99313"/>
                  </a:lnTo>
                  <a:lnTo>
                    <a:pt x="101600" y="99313"/>
                  </a:lnTo>
                  <a:lnTo>
                    <a:pt x="102235" y="99187"/>
                  </a:lnTo>
                  <a:lnTo>
                    <a:pt x="102869" y="99060"/>
                  </a:lnTo>
                  <a:lnTo>
                    <a:pt x="103504" y="98806"/>
                  </a:lnTo>
                  <a:lnTo>
                    <a:pt x="104140" y="98551"/>
                  </a:lnTo>
                  <a:lnTo>
                    <a:pt x="104775" y="98170"/>
                  </a:lnTo>
                  <a:lnTo>
                    <a:pt x="105155" y="97662"/>
                  </a:lnTo>
                  <a:lnTo>
                    <a:pt x="105790" y="97281"/>
                  </a:lnTo>
                  <a:lnTo>
                    <a:pt x="106172" y="96774"/>
                  </a:lnTo>
                  <a:lnTo>
                    <a:pt x="106553" y="96265"/>
                  </a:lnTo>
                  <a:lnTo>
                    <a:pt x="106806" y="95631"/>
                  </a:lnTo>
                  <a:lnTo>
                    <a:pt x="107188" y="95123"/>
                  </a:lnTo>
                  <a:lnTo>
                    <a:pt x="107315" y="94487"/>
                  </a:lnTo>
                  <a:lnTo>
                    <a:pt x="107441" y="93852"/>
                  </a:lnTo>
                  <a:lnTo>
                    <a:pt x="107568" y="93218"/>
                  </a:lnTo>
                  <a:lnTo>
                    <a:pt x="107568" y="92582"/>
                  </a:lnTo>
                  <a:lnTo>
                    <a:pt x="107441" y="91948"/>
                  </a:lnTo>
                  <a:lnTo>
                    <a:pt x="107315" y="91312"/>
                  </a:lnTo>
                  <a:lnTo>
                    <a:pt x="107188" y="90805"/>
                  </a:lnTo>
                  <a:lnTo>
                    <a:pt x="106933" y="90169"/>
                  </a:lnTo>
                  <a:lnTo>
                    <a:pt x="106553" y="89662"/>
                  </a:lnTo>
                  <a:lnTo>
                    <a:pt x="106172" y="89154"/>
                  </a:lnTo>
                  <a:lnTo>
                    <a:pt x="105790" y="88645"/>
                  </a:lnTo>
                  <a:lnTo>
                    <a:pt x="105282" y="88264"/>
                  </a:lnTo>
                  <a:lnTo>
                    <a:pt x="104775" y="87756"/>
                  </a:lnTo>
                  <a:lnTo>
                    <a:pt x="104140" y="87375"/>
                  </a:lnTo>
                  <a:lnTo>
                    <a:pt x="103504" y="87121"/>
                  </a:lnTo>
                  <a:lnTo>
                    <a:pt x="102869" y="86868"/>
                  </a:lnTo>
                  <a:lnTo>
                    <a:pt x="102235" y="86613"/>
                  </a:lnTo>
                  <a:lnTo>
                    <a:pt x="101600" y="86613"/>
                  </a:lnTo>
                  <a:lnTo>
                    <a:pt x="100965" y="86487"/>
                  </a:lnTo>
                  <a:lnTo>
                    <a:pt x="100203" y="86487"/>
                  </a:lnTo>
                  <a:lnTo>
                    <a:pt x="99567" y="86613"/>
                  </a:lnTo>
                  <a:lnTo>
                    <a:pt x="98805" y="86613"/>
                  </a:lnTo>
                  <a:lnTo>
                    <a:pt x="98170" y="86868"/>
                  </a:lnTo>
                  <a:lnTo>
                    <a:pt x="97536" y="87121"/>
                  </a:lnTo>
                  <a:lnTo>
                    <a:pt x="97028" y="87375"/>
                  </a:lnTo>
                  <a:lnTo>
                    <a:pt x="96392" y="87630"/>
                  </a:lnTo>
                  <a:lnTo>
                    <a:pt x="95885" y="88137"/>
                  </a:lnTo>
                  <a:lnTo>
                    <a:pt x="95377" y="88519"/>
                  </a:lnTo>
                  <a:lnTo>
                    <a:pt x="94995" y="89026"/>
                  </a:lnTo>
                  <a:lnTo>
                    <a:pt x="94615" y="89535"/>
                  </a:lnTo>
                  <a:close/>
                  <a:moveTo>
                    <a:pt x="-3195448" y="5081015"/>
                  </a:moveTo>
                  <a:moveTo>
                    <a:pt x="35814" y="65912"/>
                  </a:moveTo>
                  <a:lnTo>
                    <a:pt x="35814" y="65912"/>
                  </a:lnTo>
                  <a:lnTo>
                    <a:pt x="35305" y="65405"/>
                  </a:lnTo>
                  <a:lnTo>
                    <a:pt x="35052" y="65150"/>
                  </a:lnTo>
                  <a:lnTo>
                    <a:pt x="35052" y="64643"/>
                  </a:lnTo>
                  <a:lnTo>
                    <a:pt x="35052" y="64388"/>
                  </a:lnTo>
                  <a:lnTo>
                    <a:pt x="35305" y="64135"/>
                  </a:lnTo>
                  <a:lnTo>
                    <a:pt x="35687" y="63881"/>
                  </a:lnTo>
                  <a:lnTo>
                    <a:pt x="36194" y="63881"/>
                  </a:lnTo>
                  <a:lnTo>
                    <a:pt x="36829" y="64007"/>
                  </a:lnTo>
                  <a:lnTo>
                    <a:pt x="71881" y="72517"/>
                  </a:lnTo>
                  <a:lnTo>
                    <a:pt x="96392" y="78612"/>
                  </a:lnTo>
                  <a:lnTo>
                    <a:pt x="104648" y="80771"/>
                  </a:lnTo>
                  <a:lnTo>
                    <a:pt x="107188" y="81280"/>
                  </a:lnTo>
                  <a:lnTo>
                    <a:pt x="108203" y="81787"/>
                  </a:lnTo>
                  <a:lnTo>
                    <a:pt x="109347" y="82423"/>
                  </a:lnTo>
                  <a:lnTo>
                    <a:pt x="110490" y="83312"/>
                  </a:lnTo>
                  <a:lnTo>
                    <a:pt x="111378" y="84200"/>
                  </a:lnTo>
                  <a:lnTo>
                    <a:pt x="112267" y="85089"/>
                  </a:lnTo>
                  <a:lnTo>
                    <a:pt x="113029" y="86106"/>
                  </a:lnTo>
                  <a:lnTo>
                    <a:pt x="113665" y="87249"/>
                  </a:lnTo>
                  <a:lnTo>
                    <a:pt x="114045" y="88392"/>
                  </a:lnTo>
                  <a:lnTo>
                    <a:pt x="114427" y="89535"/>
                  </a:lnTo>
                  <a:lnTo>
                    <a:pt x="114680" y="90805"/>
                  </a:lnTo>
                  <a:lnTo>
                    <a:pt x="114807" y="91948"/>
                  </a:lnTo>
                  <a:lnTo>
                    <a:pt x="114807" y="93218"/>
                  </a:lnTo>
                  <a:lnTo>
                    <a:pt x="114680" y="94487"/>
                  </a:lnTo>
                  <a:lnTo>
                    <a:pt x="114427" y="95631"/>
                  </a:lnTo>
                  <a:lnTo>
                    <a:pt x="114045" y="96900"/>
                  </a:lnTo>
                  <a:lnTo>
                    <a:pt x="113538" y="98044"/>
                  </a:lnTo>
                  <a:lnTo>
                    <a:pt x="112903" y="99313"/>
                  </a:lnTo>
                  <a:lnTo>
                    <a:pt x="112140" y="100330"/>
                  </a:lnTo>
                  <a:lnTo>
                    <a:pt x="111252" y="101345"/>
                  </a:lnTo>
                  <a:lnTo>
                    <a:pt x="110236" y="102235"/>
                  </a:lnTo>
                  <a:lnTo>
                    <a:pt x="109219" y="102996"/>
                  </a:lnTo>
                  <a:lnTo>
                    <a:pt x="108077" y="103631"/>
                  </a:lnTo>
                  <a:lnTo>
                    <a:pt x="106933" y="104267"/>
                  </a:lnTo>
                  <a:lnTo>
                    <a:pt x="105664" y="104648"/>
                  </a:lnTo>
                  <a:lnTo>
                    <a:pt x="104393" y="105029"/>
                  </a:lnTo>
                  <a:lnTo>
                    <a:pt x="103124" y="105282"/>
                  </a:lnTo>
                  <a:lnTo>
                    <a:pt x="101853" y="105410"/>
                  </a:lnTo>
                  <a:lnTo>
                    <a:pt x="100456" y="105410"/>
                  </a:lnTo>
                  <a:lnTo>
                    <a:pt x="99187" y="105282"/>
                  </a:lnTo>
                  <a:lnTo>
                    <a:pt x="97790" y="105029"/>
                  </a:lnTo>
                  <a:lnTo>
                    <a:pt x="96519" y="104648"/>
                  </a:lnTo>
                  <a:lnTo>
                    <a:pt x="95250" y="104267"/>
                  </a:lnTo>
                  <a:lnTo>
                    <a:pt x="93979" y="103505"/>
                  </a:lnTo>
                  <a:lnTo>
                    <a:pt x="84328" y="97408"/>
                  </a:lnTo>
                  <a:lnTo>
                    <a:pt x="64389" y="84455"/>
                  </a:lnTo>
                  <a:lnTo>
                    <a:pt x="35814" y="65912"/>
                  </a:lnTo>
                  <a:close/>
                  <a:moveTo>
                    <a:pt x="-3171825" y="5081015"/>
                  </a:moveTo>
                  <a:moveTo>
                    <a:pt x="76073" y="145033"/>
                  </a:moveTo>
                  <a:lnTo>
                    <a:pt x="127253" y="145033"/>
                  </a:lnTo>
                  <a:lnTo>
                    <a:pt x="127253" y="130175"/>
                  </a:lnTo>
                  <a:lnTo>
                    <a:pt x="69215" y="130175"/>
                  </a:lnTo>
                  <a:lnTo>
                    <a:pt x="69215" y="123951"/>
                  </a:lnTo>
                  <a:lnTo>
                    <a:pt x="134112" y="123951"/>
                  </a:lnTo>
                  <a:lnTo>
                    <a:pt x="134112" y="151383"/>
                  </a:lnTo>
                  <a:lnTo>
                    <a:pt x="69215" y="151383"/>
                  </a:lnTo>
                  <a:lnTo>
                    <a:pt x="69215" y="137287"/>
                  </a:lnTo>
                  <a:lnTo>
                    <a:pt x="76073" y="137287"/>
                  </a:lnTo>
                  <a:lnTo>
                    <a:pt x="76073" y="145033"/>
                  </a:lnTo>
                  <a:close/>
                  <a:moveTo>
                    <a:pt x="-3250946" y="5081015"/>
                  </a:moveTo>
                  <a:moveTo>
                    <a:pt x="100583" y="13715"/>
                  </a:moveTo>
                  <a:lnTo>
                    <a:pt x="100583" y="13715"/>
                  </a:lnTo>
                  <a:lnTo>
                    <a:pt x="96392" y="13843"/>
                  </a:lnTo>
                  <a:lnTo>
                    <a:pt x="92328" y="14096"/>
                  </a:lnTo>
                  <a:lnTo>
                    <a:pt x="88138" y="14477"/>
                  </a:lnTo>
                  <a:lnTo>
                    <a:pt x="84074" y="15239"/>
                  </a:lnTo>
                  <a:lnTo>
                    <a:pt x="80264" y="16001"/>
                  </a:lnTo>
                  <a:lnTo>
                    <a:pt x="76327" y="16890"/>
                  </a:lnTo>
                  <a:lnTo>
                    <a:pt x="72516" y="18033"/>
                  </a:lnTo>
                  <a:lnTo>
                    <a:pt x="68833" y="19304"/>
                  </a:lnTo>
                  <a:lnTo>
                    <a:pt x="65024" y="20700"/>
                  </a:lnTo>
                  <a:lnTo>
                    <a:pt x="61594" y="22351"/>
                  </a:lnTo>
                  <a:lnTo>
                    <a:pt x="58165" y="24130"/>
                  </a:lnTo>
                  <a:lnTo>
                    <a:pt x="54737" y="26035"/>
                  </a:lnTo>
                  <a:lnTo>
                    <a:pt x="51435" y="27939"/>
                  </a:lnTo>
                  <a:lnTo>
                    <a:pt x="48260" y="30099"/>
                  </a:lnTo>
                  <a:lnTo>
                    <a:pt x="45339" y="32385"/>
                  </a:lnTo>
                  <a:lnTo>
                    <a:pt x="42290" y="34798"/>
                  </a:lnTo>
                  <a:lnTo>
                    <a:pt x="39497" y="37337"/>
                  </a:lnTo>
                  <a:lnTo>
                    <a:pt x="36829" y="39877"/>
                  </a:lnTo>
                  <a:lnTo>
                    <a:pt x="34290" y="42671"/>
                  </a:lnTo>
                  <a:lnTo>
                    <a:pt x="31877" y="45465"/>
                  </a:lnTo>
                  <a:lnTo>
                    <a:pt x="29590" y="48513"/>
                  </a:lnTo>
                  <a:lnTo>
                    <a:pt x="27431" y="51435"/>
                  </a:lnTo>
                  <a:lnTo>
                    <a:pt x="25527" y="54610"/>
                  </a:lnTo>
                  <a:lnTo>
                    <a:pt x="23622" y="57785"/>
                  </a:lnTo>
                  <a:lnTo>
                    <a:pt x="21970" y="61213"/>
                  </a:lnTo>
                  <a:lnTo>
                    <a:pt x="20574" y="64643"/>
                  </a:lnTo>
                  <a:lnTo>
                    <a:pt x="19177" y="68071"/>
                  </a:lnTo>
                  <a:lnTo>
                    <a:pt x="18033" y="71500"/>
                  </a:lnTo>
                  <a:lnTo>
                    <a:pt x="17017" y="75183"/>
                  </a:lnTo>
                  <a:lnTo>
                    <a:pt x="16128" y="78867"/>
                  </a:lnTo>
                  <a:lnTo>
                    <a:pt x="15620" y="82676"/>
                  </a:lnTo>
                  <a:lnTo>
                    <a:pt x="15113" y="86360"/>
                  </a:lnTo>
                  <a:lnTo>
                    <a:pt x="127" y="86360"/>
                  </a:lnTo>
                  <a:lnTo>
                    <a:pt x="507" y="84200"/>
                  </a:lnTo>
                  <a:lnTo>
                    <a:pt x="635" y="81914"/>
                  </a:lnTo>
                  <a:lnTo>
                    <a:pt x="1015" y="79756"/>
                  </a:lnTo>
                  <a:lnTo>
                    <a:pt x="1397" y="77469"/>
                  </a:lnTo>
                  <a:lnTo>
                    <a:pt x="1778" y="75183"/>
                  </a:lnTo>
                  <a:lnTo>
                    <a:pt x="2286" y="73151"/>
                  </a:lnTo>
                  <a:lnTo>
                    <a:pt x="2793" y="70993"/>
                  </a:lnTo>
                  <a:lnTo>
                    <a:pt x="3428" y="68833"/>
                  </a:lnTo>
                  <a:lnTo>
                    <a:pt x="4064" y="66675"/>
                  </a:lnTo>
                  <a:lnTo>
                    <a:pt x="4699" y="64643"/>
                  </a:lnTo>
                  <a:lnTo>
                    <a:pt x="5461" y="62611"/>
                  </a:lnTo>
                  <a:lnTo>
                    <a:pt x="6350" y="60451"/>
                  </a:lnTo>
                  <a:lnTo>
                    <a:pt x="8001" y="56514"/>
                  </a:lnTo>
                  <a:lnTo>
                    <a:pt x="9905" y="52450"/>
                  </a:lnTo>
                  <a:lnTo>
                    <a:pt x="12065" y="48640"/>
                  </a:lnTo>
                  <a:lnTo>
                    <a:pt x="14351" y="44957"/>
                  </a:lnTo>
                  <a:lnTo>
                    <a:pt x="16890" y="41401"/>
                  </a:lnTo>
                  <a:lnTo>
                    <a:pt x="19557" y="37845"/>
                  </a:lnTo>
                  <a:lnTo>
                    <a:pt x="22352" y="34417"/>
                  </a:lnTo>
                  <a:lnTo>
                    <a:pt x="25400" y="31242"/>
                  </a:lnTo>
                  <a:lnTo>
                    <a:pt x="28448" y="28067"/>
                  </a:lnTo>
                  <a:lnTo>
                    <a:pt x="31877" y="25019"/>
                  </a:lnTo>
                  <a:lnTo>
                    <a:pt x="35305" y="22225"/>
                  </a:lnTo>
                  <a:lnTo>
                    <a:pt x="38862" y="19557"/>
                  </a:lnTo>
                  <a:lnTo>
                    <a:pt x="42544" y="17018"/>
                  </a:lnTo>
                  <a:lnTo>
                    <a:pt x="46354" y="14605"/>
                  </a:lnTo>
                  <a:lnTo>
                    <a:pt x="50418" y="12319"/>
                  </a:lnTo>
                  <a:lnTo>
                    <a:pt x="54482" y="10287"/>
                  </a:lnTo>
                  <a:lnTo>
                    <a:pt x="58674" y="8381"/>
                  </a:lnTo>
                  <a:lnTo>
                    <a:pt x="62991" y="6731"/>
                  </a:lnTo>
                  <a:lnTo>
                    <a:pt x="67437" y="5206"/>
                  </a:lnTo>
                  <a:lnTo>
                    <a:pt x="69595" y="4444"/>
                  </a:lnTo>
                  <a:lnTo>
                    <a:pt x="71881" y="3810"/>
                  </a:lnTo>
                  <a:lnTo>
                    <a:pt x="74167" y="3175"/>
                  </a:lnTo>
                  <a:lnTo>
                    <a:pt x="76453" y="2667"/>
                  </a:lnTo>
                  <a:lnTo>
                    <a:pt x="78866" y="2158"/>
                  </a:lnTo>
                  <a:lnTo>
                    <a:pt x="81153" y="1777"/>
                  </a:lnTo>
                  <a:lnTo>
                    <a:pt x="83439" y="1269"/>
                  </a:lnTo>
                  <a:lnTo>
                    <a:pt x="85852" y="888"/>
                  </a:lnTo>
                  <a:lnTo>
                    <a:pt x="88265" y="635"/>
                  </a:lnTo>
                  <a:lnTo>
                    <a:pt x="90678" y="381"/>
                  </a:lnTo>
                  <a:lnTo>
                    <a:pt x="93090" y="254"/>
                  </a:lnTo>
                  <a:lnTo>
                    <a:pt x="95630" y="126"/>
                  </a:lnTo>
                  <a:lnTo>
                    <a:pt x="98043" y="0"/>
                  </a:lnTo>
                  <a:lnTo>
                    <a:pt x="100583" y="0"/>
                  </a:lnTo>
                  <a:lnTo>
                    <a:pt x="102997" y="0"/>
                  </a:lnTo>
                  <a:lnTo>
                    <a:pt x="105537" y="126"/>
                  </a:lnTo>
                  <a:lnTo>
                    <a:pt x="107950" y="254"/>
                  </a:lnTo>
                  <a:lnTo>
                    <a:pt x="110363" y="381"/>
                  </a:lnTo>
                  <a:lnTo>
                    <a:pt x="112776" y="635"/>
                  </a:lnTo>
                  <a:lnTo>
                    <a:pt x="115189" y="888"/>
                  </a:lnTo>
                  <a:lnTo>
                    <a:pt x="117602" y="1269"/>
                  </a:lnTo>
                  <a:lnTo>
                    <a:pt x="119888" y="1777"/>
                  </a:lnTo>
                  <a:lnTo>
                    <a:pt x="122301" y="2158"/>
                  </a:lnTo>
                  <a:lnTo>
                    <a:pt x="124714" y="2667"/>
                  </a:lnTo>
                  <a:lnTo>
                    <a:pt x="127000" y="3175"/>
                  </a:lnTo>
                  <a:lnTo>
                    <a:pt x="129286" y="3810"/>
                  </a:lnTo>
                  <a:lnTo>
                    <a:pt x="131572" y="4444"/>
                  </a:lnTo>
                  <a:lnTo>
                    <a:pt x="133730" y="5206"/>
                  </a:lnTo>
                  <a:lnTo>
                    <a:pt x="138176" y="6731"/>
                  </a:lnTo>
                  <a:lnTo>
                    <a:pt x="142493" y="8381"/>
                  </a:lnTo>
                  <a:lnTo>
                    <a:pt x="146685" y="10287"/>
                  </a:lnTo>
                  <a:lnTo>
                    <a:pt x="150749" y="12319"/>
                  </a:lnTo>
                  <a:lnTo>
                    <a:pt x="154813" y="14605"/>
                  </a:lnTo>
                  <a:lnTo>
                    <a:pt x="158495" y="17018"/>
                  </a:lnTo>
                  <a:lnTo>
                    <a:pt x="162305" y="19557"/>
                  </a:lnTo>
                  <a:lnTo>
                    <a:pt x="165862" y="22225"/>
                  </a:lnTo>
                  <a:lnTo>
                    <a:pt x="169290" y="25019"/>
                  </a:lnTo>
                  <a:lnTo>
                    <a:pt x="172592" y="28067"/>
                  </a:lnTo>
                  <a:lnTo>
                    <a:pt x="175767" y="31242"/>
                  </a:lnTo>
                  <a:lnTo>
                    <a:pt x="178689" y="34417"/>
                  </a:lnTo>
                  <a:lnTo>
                    <a:pt x="181610" y="37845"/>
                  </a:lnTo>
                  <a:lnTo>
                    <a:pt x="184277" y="41401"/>
                  </a:lnTo>
                  <a:lnTo>
                    <a:pt x="186690" y="44957"/>
                  </a:lnTo>
                  <a:lnTo>
                    <a:pt x="188976" y="48640"/>
                  </a:lnTo>
                  <a:lnTo>
                    <a:pt x="191135" y="52450"/>
                  </a:lnTo>
                  <a:lnTo>
                    <a:pt x="193040" y="56514"/>
                  </a:lnTo>
                  <a:lnTo>
                    <a:pt x="194817" y="60451"/>
                  </a:lnTo>
                  <a:lnTo>
                    <a:pt x="195579" y="62611"/>
                  </a:lnTo>
                  <a:lnTo>
                    <a:pt x="196341" y="64643"/>
                  </a:lnTo>
                  <a:lnTo>
                    <a:pt x="197103" y="66675"/>
                  </a:lnTo>
                  <a:lnTo>
                    <a:pt x="197739" y="68833"/>
                  </a:lnTo>
                  <a:lnTo>
                    <a:pt x="198247" y="70993"/>
                  </a:lnTo>
                  <a:lnTo>
                    <a:pt x="198881" y="73151"/>
                  </a:lnTo>
                  <a:lnTo>
                    <a:pt x="199263" y="75183"/>
                  </a:lnTo>
                  <a:lnTo>
                    <a:pt x="199770" y="77469"/>
                  </a:lnTo>
                  <a:lnTo>
                    <a:pt x="200152" y="79756"/>
                  </a:lnTo>
                  <a:lnTo>
                    <a:pt x="200405" y="81914"/>
                  </a:lnTo>
                  <a:lnTo>
                    <a:pt x="200660" y="84200"/>
                  </a:lnTo>
                  <a:lnTo>
                    <a:pt x="200914" y="86360"/>
                  </a:lnTo>
                  <a:lnTo>
                    <a:pt x="186054" y="86360"/>
                  </a:lnTo>
                  <a:lnTo>
                    <a:pt x="185547" y="82676"/>
                  </a:lnTo>
                  <a:lnTo>
                    <a:pt x="184912" y="78867"/>
                  </a:lnTo>
                  <a:lnTo>
                    <a:pt x="184023" y="75183"/>
                  </a:lnTo>
                  <a:lnTo>
                    <a:pt x="183133" y="71500"/>
                  </a:lnTo>
                  <a:lnTo>
                    <a:pt x="181990" y="68071"/>
                  </a:lnTo>
                  <a:lnTo>
                    <a:pt x="180593" y="64643"/>
                  </a:lnTo>
                  <a:lnTo>
                    <a:pt x="179069" y="61213"/>
                  </a:lnTo>
                  <a:lnTo>
                    <a:pt x="177545" y="57785"/>
                  </a:lnTo>
                  <a:lnTo>
                    <a:pt x="175640" y="54610"/>
                  </a:lnTo>
                  <a:lnTo>
                    <a:pt x="173608" y="51435"/>
                  </a:lnTo>
                  <a:lnTo>
                    <a:pt x="171577" y="48513"/>
                  </a:lnTo>
                  <a:lnTo>
                    <a:pt x="169290" y="45465"/>
                  </a:lnTo>
                  <a:lnTo>
                    <a:pt x="166878" y="42671"/>
                  </a:lnTo>
                  <a:lnTo>
                    <a:pt x="164338" y="39877"/>
                  </a:lnTo>
                  <a:lnTo>
                    <a:pt x="161670" y="37337"/>
                  </a:lnTo>
                  <a:lnTo>
                    <a:pt x="158750" y="34798"/>
                  </a:lnTo>
                  <a:lnTo>
                    <a:pt x="155828" y="32385"/>
                  </a:lnTo>
                  <a:lnTo>
                    <a:pt x="152780" y="30099"/>
                  </a:lnTo>
                  <a:lnTo>
                    <a:pt x="149605" y="27939"/>
                  </a:lnTo>
                  <a:lnTo>
                    <a:pt x="146430" y="26035"/>
                  </a:lnTo>
                  <a:lnTo>
                    <a:pt x="143002" y="24130"/>
                  </a:lnTo>
                  <a:lnTo>
                    <a:pt x="139573" y="22351"/>
                  </a:lnTo>
                  <a:lnTo>
                    <a:pt x="136016" y="20700"/>
                  </a:lnTo>
                  <a:lnTo>
                    <a:pt x="132333" y="19304"/>
                  </a:lnTo>
                  <a:lnTo>
                    <a:pt x="128651" y="18033"/>
                  </a:lnTo>
                  <a:lnTo>
                    <a:pt x="124840" y="16890"/>
                  </a:lnTo>
                  <a:lnTo>
                    <a:pt x="120903" y="16001"/>
                  </a:lnTo>
                  <a:lnTo>
                    <a:pt x="116966" y="15239"/>
                  </a:lnTo>
                  <a:lnTo>
                    <a:pt x="113029" y="14477"/>
                  </a:lnTo>
                  <a:lnTo>
                    <a:pt x="108839" y="14096"/>
                  </a:lnTo>
                  <a:lnTo>
                    <a:pt x="104775" y="13843"/>
                  </a:lnTo>
                  <a:lnTo>
                    <a:pt x="100583" y="13715"/>
                  </a:lnTo>
                  <a:close/>
                  <a:moveTo>
                    <a:pt x="-3119628" y="5081015"/>
                  </a:moveTo>
                  <a:moveTo>
                    <a:pt x="14858" y="93218"/>
                  </a:moveTo>
                  <a:lnTo>
                    <a:pt x="14858" y="93218"/>
                  </a:lnTo>
                  <a:lnTo>
                    <a:pt x="14858" y="95376"/>
                  </a:lnTo>
                  <a:lnTo>
                    <a:pt x="14986" y="97281"/>
                  </a:lnTo>
                  <a:lnTo>
                    <a:pt x="15366" y="101345"/>
                  </a:lnTo>
                  <a:lnTo>
                    <a:pt x="15875" y="105282"/>
                  </a:lnTo>
                  <a:lnTo>
                    <a:pt x="16637" y="109093"/>
                  </a:lnTo>
                  <a:lnTo>
                    <a:pt x="17653" y="113030"/>
                  </a:lnTo>
                  <a:lnTo>
                    <a:pt x="18795" y="116712"/>
                  </a:lnTo>
                  <a:lnTo>
                    <a:pt x="20192" y="120395"/>
                  </a:lnTo>
                  <a:lnTo>
                    <a:pt x="21590" y="123951"/>
                  </a:lnTo>
                  <a:lnTo>
                    <a:pt x="23367" y="127507"/>
                  </a:lnTo>
                  <a:lnTo>
                    <a:pt x="25273" y="130810"/>
                  </a:lnTo>
                  <a:lnTo>
                    <a:pt x="27431" y="134238"/>
                  </a:lnTo>
                  <a:lnTo>
                    <a:pt x="29590" y="137413"/>
                  </a:lnTo>
                  <a:lnTo>
                    <a:pt x="31877" y="140462"/>
                  </a:lnTo>
                  <a:lnTo>
                    <a:pt x="34543" y="143510"/>
                  </a:lnTo>
                  <a:lnTo>
                    <a:pt x="37211" y="146304"/>
                  </a:lnTo>
                  <a:lnTo>
                    <a:pt x="40004" y="148970"/>
                  </a:lnTo>
                  <a:lnTo>
                    <a:pt x="42926" y="151637"/>
                  </a:lnTo>
                  <a:lnTo>
                    <a:pt x="46101" y="154177"/>
                  </a:lnTo>
                  <a:lnTo>
                    <a:pt x="49403" y="156463"/>
                  </a:lnTo>
                  <a:lnTo>
                    <a:pt x="52704" y="158750"/>
                  </a:lnTo>
                  <a:lnTo>
                    <a:pt x="56133" y="160781"/>
                  </a:lnTo>
                  <a:lnTo>
                    <a:pt x="59816" y="162687"/>
                  </a:lnTo>
                  <a:lnTo>
                    <a:pt x="63500" y="164337"/>
                  </a:lnTo>
                  <a:lnTo>
                    <a:pt x="67310" y="165988"/>
                  </a:lnTo>
                  <a:lnTo>
                    <a:pt x="71119" y="167386"/>
                  </a:lnTo>
                  <a:lnTo>
                    <a:pt x="75056" y="168656"/>
                  </a:lnTo>
                  <a:lnTo>
                    <a:pt x="79248" y="169671"/>
                  </a:lnTo>
                  <a:lnTo>
                    <a:pt x="83312" y="170561"/>
                  </a:lnTo>
                  <a:lnTo>
                    <a:pt x="87503" y="171195"/>
                  </a:lnTo>
                  <a:lnTo>
                    <a:pt x="91820" y="171831"/>
                  </a:lnTo>
                  <a:lnTo>
                    <a:pt x="96139" y="172085"/>
                  </a:lnTo>
                  <a:lnTo>
                    <a:pt x="98298" y="172085"/>
                  </a:lnTo>
                  <a:lnTo>
                    <a:pt x="100583" y="172212"/>
                  </a:lnTo>
                  <a:lnTo>
                    <a:pt x="102742" y="172085"/>
                  </a:lnTo>
                  <a:lnTo>
                    <a:pt x="105028" y="172085"/>
                  </a:lnTo>
                  <a:lnTo>
                    <a:pt x="109219" y="171831"/>
                  </a:lnTo>
                  <a:lnTo>
                    <a:pt x="113665" y="171195"/>
                  </a:lnTo>
                  <a:lnTo>
                    <a:pt x="117855" y="170561"/>
                  </a:lnTo>
                  <a:lnTo>
                    <a:pt x="121919" y="169671"/>
                  </a:lnTo>
                  <a:lnTo>
                    <a:pt x="125983" y="168656"/>
                  </a:lnTo>
                  <a:lnTo>
                    <a:pt x="129920" y="167386"/>
                  </a:lnTo>
                  <a:lnTo>
                    <a:pt x="133857" y="165988"/>
                  </a:lnTo>
                  <a:lnTo>
                    <a:pt x="137667" y="164337"/>
                  </a:lnTo>
                  <a:lnTo>
                    <a:pt x="141351" y="162687"/>
                  </a:lnTo>
                  <a:lnTo>
                    <a:pt x="144906" y="160781"/>
                  </a:lnTo>
                  <a:lnTo>
                    <a:pt x="148336" y="158750"/>
                  </a:lnTo>
                  <a:lnTo>
                    <a:pt x="151765" y="156463"/>
                  </a:lnTo>
                  <a:lnTo>
                    <a:pt x="154940" y="154177"/>
                  </a:lnTo>
                  <a:lnTo>
                    <a:pt x="158115" y="151637"/>
                  </a:lnTo>
                  <a:lnTo>
                    <a:pt x="161036" y="148970"/>
                  </a:lnTo>
                  <a:lnTo>
                    <a:pt x="163956" y="146304"/>
                  </a:lnTo>
                  <a:lnTo>
                    <a:pt x="166624" y="143510"/>
                  </a:lnTo>
                  <a:lnTo>
                    <a:pt x="169164" y="140462"/>
                  </a:lnTo>
                  <a:lnTo>
                    <a:pt x="171577" y="137413"/>
                  </a:lnTo>
                  <a:lnTo>
                    <a:pt x="173736" y="134238"/>
                  </a:lnTo>
                  <a:lnTo>
                    <a:pt x="175767" y="130810"/>
                  </a:lnTo>
                  <a:lnTo>
                    <a:pt x="177800" y="127507"/>
                  </a:lnTo>
                  <a:lnTo>
                    <a:pt x="179451" y="123951"/>
                  </a:lnTo>
                  <a:lnTo>
                    <a:pt x="180975" y="120395"/>
                  </a:lnTo>
                  <a:lnTo>
                    <a:pt x="182372" y="116712"/>
                  </a:lnTo>
                  <a:lnTo>
                    <a:pt x="183515" y="113030"/>
                  </a:lnTo>
                  <a:lnTo>
                    <a:pt x="184403" y="109093"/>
                  </a:lnTo>
                  <a:lnTo>
                    <a:pt x="185292" y="105282"/>
                  </a:lnTo>
                  <a:lnTo>
                    <a:pt x="185801" y="101345"/>
                  </a:lnTo>
                  <a:lnTo>
                    <a:pt x="186181" y="97281"/>
                  </a:lnTo>
                  <a:lnTo>
                    <a:pt x="186181" y="95376"/>
                  </a:lnTo>
                  <a:lnTo>
                    <a:pt x="186308" y="93218"/>
                  </a:lnTo>
                  <a:lnTo>
                    <a:pt x="201167" y="93218"/>
                  </a:lnTo>
                  <a:lnTo>
                    <a:pt x="201040" y="95631"/>
                  </a:lnTo>
                  <a:lnTo>
                    <a:pt x="201040" y="98044"/>
                  </a:lnTo>
                  <a:lnTo>
                    <a:pt x="200787" y="100330"/>
                  </a:lnTo>
                  <a:lnTo>
                    <a:pt x="200660" y="102743"/>
                  </a:lnTo>
                  <a:lnTo>
                    <a:pt x="200278" y="105029"/>
                  </a:lnTo>
                  <a:lnTo>
                    <a:pt x="199898" y="107314"/>
                  </a:lnTo>
                  <a:lnTo>
                    <a:pt x="199516" y="109600"/>
                  </a:lnTo>
                  <a:lnTo>
                    <a:pt x="199008" y="112013"/>
                  </a:lnTo>
                  <a:lnTo>
                    <a:pt x="198501" y="114173"/>
                  </a:lnTo>
                  <a:lnTo>
                    <a:pt x="197865" y="116458"/>
                  </a:lnTo>
                  <a:lnTo>
                    <a:pt x="197230" y="118618"/>
                  </a:lnTo>
                  <a:lnTo>
                    <a:pt x="196468" y="120776"/>
                  </a:lnTo>
                  <a:lnTo>
                    <a:pt x="195833" y="122936"/>
                  </a:lnTo>
                  <a:lnTo>
                    <a:pt x="194944" y="125094"/>
                  </a:lnTo>
                  <a:lnTo>
                    <a:pt x="194055" y="127254"/>
                  </a:lnTo>
                  <a:lnTo>
                    <a:pt x="193166" y="129286"/>
                  </a:lnTo>
                  <a:lnTo>
                    <a:pt x="192151" y="131318"/>
                  </a:lnTo>
                  <a:lnTo>
                    <a:pt x="191135" y="133476"/>
                  </a:lnTo>
                  <a:lnTo>
                    <a:pt x="189991" y="135508"/>
                  </a:lnTo>
                  <a:lnTo>
                    <a:pt x="188976" y="137413"/>
                  </a:lnTo>
                  <a:lnTo>
                    <a:pt x="187705" y="139319"/>
                  </a:lnTo>
                  <a:lnTo>
                    <a:pt x="186563" y="141350"/>
                  </a:lnTo>
                  <a:lnTo>
                    <a:pt x="185165" y="143256"/>
                  </a:lnTo>
                  <a:lnTo>
                    <a:pt x="183768" y="145033"/>
                  </a:lnTo>
                  <a:lnTo>
                    <a:pt x="182499" y="146938"/>
                  </a:lnTo>
                  <a:lnTo>
                    <a:pt x="180975" y="148717"/>
                  </a:lnTo>
                  <a:lnTo>
                    <a:pt x="179578" y="150494"/>
                  </a:lnTo>
                  <a:lnTo>
                    <a:pt x="178053" y="152145"/>
                  </a:lnTo>
                  <a:lnTo>
                    <a:pt x="176529" y="153924"/>
                  </a:lnTo>
                  <a:lnTo>
                    <a:pt x="174878" y="155575"/>
                  </a:lnTo>
                  <a:lnTo>
                    <a:pt x="173228" y="157225"/>
                  </a:lnTo>
                  <a:lnTo>
                    <a:pt x="171577" y="158876"/>
                  </a:lnTo>
                  <a:lnTo>
                    <a:pt x="169926" y="160400"/>
                  </a:lnTo>
                  <a:lnTo>
                    <a:pt x="168148" y="161798"/>
                  </a:lnTo>
                  <a:lnTo>
                    <a:pt x="166242" y="163321"/>
                  </a:lnTo>
                  <a:lnTo>
                    <a:pt x="164465" y="164719"/>
                  </a:lnTo>
                  <a:lnTo>
                    <a:pt x="162560" y="166115"/>
                  </a:lnTo>
                  <a:lnTo>
                    <a:pt x="160654" y="167512"/>
                  </a:lnTo>
                  <a:lnTo>
                    <a:pt x="158623" y="168910"/>
                  </a:lnTo>
                  <a:lnTo>
                    <a:pt x="156717" y="170052"/>
                  </a:lnTo>
                  <a:lnTo>
                    <a:pt x="154686" y="171323"/>
                  </a:lnTo>
                  <a:lnTo>
                    <a:pt x="152653" y="172465"/>
                  </a:lnTo>
                  <a:lnTo>
                    <a:pt x="150622" y="173608"/>
                  </a:lnTo>
                  <a:lnTo>
                    <a:pt x="148463" y="174625"/>
                  </a:lnTo>
                  <a:lnTo>
                    <a:pt x="146303" y="175768"/>
                  </a:lnTo>
                  <a:lnTo>
                    <a:pt x="144017" y="176783"/>
                  </a:lnTo>
                  <a:lnTo>
                    <a:pt x="141858" y="177673"/>
                  </a:lnTo>
                  <a:lnTo>
                    <a:pt x="139573" y="178688"/>
                  </a:lnTo>
                  <a:lnTo>
                    <a:pt x="137414" y="179450"/>
                  </a:lnTo>
                  <a:lnTo>
                    <a:pt x="135128" y="180212"/>
                  </a:lnTo>
                  <a:lnTo>
                    <a:pt x="132715" y="180975"/>
                  </a:lnTo>
                  <a:lnTo>
                    <a:pt x="130428" y="181737"/>
                  </a:lnTo>
                  <a:lnTo>
                    <a:pt x="128015" y="182371"/>
                  </a:lnTo>
                  <a:lnTo>
                    <a:pt x="125603" y="183006"/>
                  </a:lnTo>
                  <a:lnTo>
                    <a:pt x="123190" y="183514"/>
                  </a:lnTo>
                  <a:lnTo>
                    <a:pt x="120777" y="184023"/>
                  </a:lnTo>
                  <a:lnTo>
                    <a:pt x="118364" y="184531"/>
                  </a:lnTo>
                  <a:lnTo>
                    <a:pt x="115824" y="184785"/>
                  </a:lnTo>
                  <a:lnTo>
                    <a:pt x="113411" y="185165"/>
                  </a:lnTo>
                  <a:lnTo>
                    <a:pt x="110870" y="185419"/>
                  </a:lnTo>
                  <a:lnTo>
                    <a:pt x="108203" y="185674"/>
                  </a:lnTo>
                  <a:lnTo>
                    <a:pt x="105790" y="185800"/>
                  </a:lnTo>
                  <a:lnTo>
                    <a:pt x="103124" y="185800"/>
                  </a:lnTo>
                  <a:lnTo>
                    <a:pt x="100583" y="185927"/>
                  </a:lnTo>
                  <a:lnTo>
                    <a:pt x="97916" y="185800"/>
                  </a:lnTo>
                  <a:lnTo>
                    <a:pt x="95377" y="185800"/>
                  </a:lnTo>
                  <a:lnTo>
                    <a:pt x="92837" y="185674"/>
                  </a:lnTo>
                  <a:lnTo>
                    <a:pt x="90297" y="185419"/>
                  </a:lnTo>
                  <a:lnTo>
                    <a:pt x="87756" y="185165"/>
                  </a:lnTo>
                  <a:lnTo>
                    <a:pt x="85343" y="184785"/>
                  </a:lnTo>
                  <a:lnTo>
                    <a:pt x="82803" y="184531"/>
                  </a:lnTo>
                  <a:lnTo>
                    <a:pt x="80264" y="184023"/>
                  </a:lnTo>
                  <a:lnTo>
                    <a:pt x="77851" y="183514"/>
                  </a:lnTo>
                  <a:lnTo>
                    <a:pt x="75438" y="183006"/>
                  </a:lnTo>
                  <a:lnTo>
                    <a:pt x="73025" y="182371"/>
                  </a:lnTo>
                  <a:lnTo>
                    <a:pt x="70739" y="181737"/>
                  </a:lnTo>
                  <a:lnTo>
                    <a:pt x="68326" y="180975"/>
                  </a:lnTo>
                  <a:lnTo>
                    <a:pt x="66040" y="180212"/>
                  </a:lnTo>
                  <a:lnTo>
                    <a:pt x="63753" y="179450"/>
                  </a:lnTo>
                  <a:lnTo>
                    <a:pt x="61467" y="178688"/>
                  </a:lnTo>
                  <a:lnTo>
                    <a:pt x="59181" y="177673"/>
                  </a:lnTo>
                  <a:lnTo>
                    <a:pt x="57023" y="176783"/>
                  </a:lnTo>
                  <a:lnTo>
                    <a:pt x="54864" y="175768"/>
                  </a:lnTo>
                  <a:lnTo>
                    <a:pt x="52704" y="174625"/>
                  </a:lnTo>
                  <a:lnTo>
                    <a:pt x="50545" y="173608"/>
                  </a:lnTo>
                  <a:lnTo>
                    <a:pt x="48514" y="172465"/>
                  </a:lnTo>
                  <a:lnTo>
                    <a:pt x="46354" y="171323"/>
                  </a:lnTo>
                  <a:lnTo>
                    <a:pt x="44450" y="170052"/>
                  </a:lnTo>
                  <a:lnTo>
                    <a:pt x="42417" y="168910"/>
                  </a:lnTo>
                  <a:lnTo>
                    <a:pt x="40513" y="167512"/>
                  </a:lnTo>
                  <a:lnTo>
                    <a:pt x="38480" y="166115"/>
                  </a:lnTo>
                  <a:lnTo>
                    <a:pt x="36703" y="164719"/>
                  </a:lnTo>
                  <a:lnTo>
                    <a:pt x="34798" y="163321"/>
                  </a:lnTo>
                  <a:lnTo>
                    <a:pt x="33019" y="161798"/>
                  </a:lnTo>
                  <a:lnTo>
                    <a:pt x="31241" y="160400"/>
                  </a:lnTo>
                  <a:lnTo>
                    <a:pt x="29464" y="158876"/>
                  </a:lnTo>
                  <a:lnTo>
                    <a:pt x="27813" y="157225"/>
                  </a:lnTo>
                  <a:lnTo>
                    <a:pt x="26162" y="155575"/>
                  </a:lnTo>
                  <a:lnTo>
                    <a:pt x="24638" y="153924"/>
                  </a:lnTo>
                  <a:lnTo>
                    <a:pt x="22987" y="152145"/>
                  </a:lnTo>
                  <a:lnTo>
                    <a:pt x="21590" y="150494"/>
                  </a:lnTo>
                  <a:lnTo>
                    <a:pt x="20065" y="148717"/>
                  </a:lnTo>
                  <a:lnTo>
                    <a:pt x="18668" y="146938"/>
                  </a:lnTo>
                  <a:lnTo>
                    <a:pt x="17272" y="145033"/>
                  </a:lnTo>
                  <a:lnTo>
                    <a:pt x="16002" y="143256"/>
                  </a:lnTo>
                  <a:lnTo>
                    <a:pt x="14604" y="141350"/>
                  </a:lnTo>
                  <a:lnTo>
                    <a:pt x="13335" y="139319"/>
                  </a:lnTo>
                  <a:lnTo>
                    <a:pt x="12191" y="137413"/>
                  </a:lnTo>
                  <a:lnTo>
                    <a:pt x="11049" y="135508"/>
                  </a:lnTo>
                  <a:lnTo>
                    <a:pt x="10032" y="133476"/>
                  </a:lnTo>
                  <a:lnTo>
                    <a:pt x="9016" y="131318"/>
                  </a:lnTo>
                  <a:lnTo>
                    <a:pt x="8001" y="129286"/>
                  </a:lnTo>
                  <a:lnTo>
                    <a:pt x="7112" y="127254"/>
                  </a:lnTo>
                  <a:lnTo>
                    <a:pt x="6095" y="125094"/>
                  </a:lnTo>
                  <a:lnTo>
                    <a:pt x="5333" y="122936"/>
                  </a:lnTo>
                  <a:lnTo>
                    <a:pt x="4572" y="120776"/>
                  </a:lnTo>
                  <a:lnTo>
                    <a:pt x="3937" y="118618"/>
                  </a:lnTo>
                  <a:lnTo>
                    <a:pt x="3302" y="116458"/>
                  </a:lnTo>
                  <a:lnTo>
                    <a:pt x="2540" y="114173"/>
                  </a:lnTo>
                  <a:lnTo>
                    <a:pt x="2031" y="112013"/>
                  </a:lnTo>
                  <a:lnTo>
                    <a:pt x="1524" y="109600"/>
                  </a:lnTo>
                  <a:lnTo>
                    <a:pt x="1142" y="107314"/>
                  </a:lnTo>
                  <a:lnTo>
                    <a:pt x="889" y="105029"/>
                  </a:lnTo>
                  <a:lnTo>
                    <a:pt x="507" y="102743"/>
                  </a:lnTo>
                  <a:lnTo>
                    <a:pt x="253" y="100330"/>
                  </a:lnTo>
                  <a:lnTo>
                    <a:pt x="127" y="98044"/>
                  </a:lnTo>
                  <a:lnTo>
                    <a:pt x="0" y="95631"/>
                  </a:lnTo>
                  <a:lnTo>
                    <a:pt x="0" y="93218"/>
                  </a:lnTo>
                  <a:lnTo>
                    <a:pt x="14858" y="93218"/>
                  </a:lnTo>
                  <a:close/>
                  <a:moveTo>
                    <a:pt x="-3199131" y="5081015"/>
                  </a:moveTo>
                  <a:moveTo>
                    <a:pt x="28828" y="120014"/>
                  </a:moveTo>
                  <a:lnTo>
                    <a:pt x="28828" y="120014"/>
                  </a:lnTo>
                  <a:lnTo>
                    <a:pt x="27431" y="116839"/>
                  </a:lnTo>
                  <a:lnTo>
                    <a:pt x="26289" y="113537"/>
                  </a:lnTo>
                  <a:lnTo>
                    <a:pt x="41910" y="107823"/>
                  </a:lnTo>
                  <a:lnTo>
                    <a:pt x="42417" y="109346"/>
                  </a:lnTo>
                  <a:lnTo>
                    <a:pt x="42926" y="110998"/>
                  </a:lnTo>
                  <a:lnTo>
                    <a:pt x="43688" y="112649"/>
                  </a:lnTo>
                  <a:lnTo>
                    <a:pt x="44323" y="114173"/>
                  </a:lnTo>
                  <a:lnTo>
                    <a:pt x="28828" y="120014"/>
                  </a:lnTo>
                  <a:close/>
                  <a:moveTo>
                    <a:pt x="-3225927" y="5081015"/>
                  </a:moveTo>
                  <a:moveTo>
                    <a:pt x="173736" y="116712"/>
                  </a:moveTo>
                  <a:lnTo>
                    <a:pt x="173736" y="116712"/>
                  </a:lnTo>
                  <a:lnTo>
                    <a:pt x="172339" y="119887"/>
                  </a:lnTo>
                  <a:lnTo>
                    <a:pt x="170941" y="123062"/>
                  </a:lnTo>
                  <a:lnTo>
                    <a:pt x="155448" y="117094"/>
                  </a:lnTo>
                  <a:lnTo>
                    <a:pt x="156210" y="115569"/>
                  </a:lnTo>
                  <a:lnTo>
                    <a:pt x="156844" y="114045"/>
                  </a:lnTo>
                  <a:lnTo>
                    <a:pt x="157606" y="112394"/>
                  </a:lnTo>
                  <a:lnTo>
                    <a:pt x="158241" y="110744"/>
                  </a:lnTo>
                  <a:lnTo>
                    <a:pt x="173736" y="116712"/>
                  </a:lnTo>
                  <a:close/>
                  <a:moveTo>
                    <a:pt x="-3222625" y="5081015"/>
                  </a:moveTo>
                  <a:moveTo>
                    <a:pt x="177927" y="87121"/>
                  </a:moveTo>
                  <a:lnTo>
                    <a:pt x="177927" y="87121"/>
                  </a:lnTo>
                  <a:lnTo>
                    <a:pt x="178053" y="90043"/>
                  </a:lnTo>
                  <a:lnTo>
                    <a:pt x="178053" y="92963"/>
                  </a:lnTo>
                  <a:lnTo>
                    <a:pt x="178053" y="93980"/>
                  </a:lnTo>
                  <a:lnTo>
                    <a:pt x="161290" y="93980"/>
                  </a:lnTo>
                  <a:lnTo>
                    <a:pt x="161290" y="92963"/>
                  </a:lnTo>
                  <a:lnTo>
                    <a:pt x="161290" y="90043"/>
                  </a:lnTo>
                  <a:lnTo>
                    <a:pt x="161036" y="87121"/>
                  </a:lnTo>
                  <a:lnTo>
                    <a:pt x="177927" y="87121"/>
                  </a:lnTo>
                  <a:close/>
                  <a:moveTo>
                    <a:pt x="-3193034" y="5081015"/>
                  </a:moveTo>
                  <a:moveTo>
                    <a:pt x="169544" y="60070"/>
                  </a:moveTo>
                  <a:lnTo>
                    <a:pt x="169544" y="60070"/>
                  </a:lnTo>
                  <a:lnTo>
                    <a:pt x="171068" y="63119"/>
                  </a:lnTo>
                  <a:lnTo>
                    <a:pt x="172592" y="66294"/>
                  </a:lnTo>
                  <a:lnTo>
                    <a:pt x="157099" y="72136"/>
                  </a:lnTo>
                  <a:lnTo>
                    <a:pt x="156337" y="70485"/>
                  </a:lnTo>
                  <a:lnTo>
                    <a:pt x="155575" y="68961"/>
                  </a:lnTo>
                  <a:lnTo>
                    <a:pt x="154813" y="67437"/>
                  </a:lnTo>
                  <a:lnTo>
                    <a:pt x="153797" y="65912"/>
                  </a:lnTo>
                  <a:lnTo>
                    <a:pt x="169544" y="60070"/>
                  </a:lnTo>
                  <a:close/>
                  <a:moveTo>
                    <a:pt x="-3165983" y="5081015"/>
                  </a:moveTo>
                  <a:moveTo>
                    <a:pt x="149860" y="37592"/>
                  </a:moveTo>
                  <a:lnTo>
                    <a:pt x="149860" y="37592"/>
                  </a:lnTo>
                  <a:lnTo>
                    <a:pt x="152653" y="39877"/>
                  </a:lnTo>
                  <a:lnTo>
                    <a:pt x="155448" y="42163"/>
                  </a:lnTo>
                  <a:lnTo>
                    <a:pt x="143510" y="53212"/>
                  </a:lnTo>
                  <a:lnTo>
                    <a:pt x="142240" y="51943"/>
                  </a:lnTo>
                  <a:lnTo>
                    <a:pt x="140842" y="50800"/>
                  </a:lnTo>
                  <a:lnTo>
                    <a:pt x="139318" y="49656"/>
                  </a:lnTo>
                  <a:lnTo>
                    <a:pt x="137922" y="48640"/>
                  </a:lnTo>
                  <a:lnTo>
                    <a:pt x="149860" y="37592"/>
                  </a:lnTo>
                  <a:close/>
                  <a:moveTo>
                    <a:pt x="-3143505" y="5081015"/>
                  </a:moveTo>
                  <a:moveTo>
                    <a:pt x="124078" y="24637"/>
                  </a:moveTo>
                  <a:lnTo>
                    <a:pt x="124078" y="24637"/>
                  </a:lnTo>
                  <a:lnTo>
                    <a:pt x="127635" y="25781"/>
                  </a:lnTo>
                  <a:lnTo>
                    <a:pt x="131064" y="27050"/>
                  </a:lnTo>
                  <a:lnTo>
                    <a:pt x="124460" y="41275"/>
                  </a:lnTo>
                  <a:lnTo>
                    <a:pt x="122808" y="40639"/>
                  </a:lnTo>
                  <a:lnTo>
                    <a:pt x="121030" y="40005"/>
                  </a:lnTo>
                  <a:lnTo>
                    <a:pt x="119253" y="39496"/>
                  </a:lnTo>
                  <a:lnTo>
                    <a:pt x="117475" y="38988"/>
                  </a:lnTo>
                  <a:lnTo>
                    <a:pt x="124078" y="24637"/>
                  </a:lnTo>
                  <a:close/>
                  <a:moveTo>
                    <a:pt x="-3130550" y="5081015"/>
                  </a:moveTo>
                  <a:moveTo>
                    <a:pt x="94106" y="21589"/>
                  </a:moveTo>
                  <a:lnTo>
                    <a:pt x="94106" y="21589"/>
                  </a:lnTo>
                  <a:lnTo>
                    <a:pt x="97281" y="21336"/>
                  </a:lnTo>
                  <a:lnTo>
                    <a:pt x="100583" y="21336"/>
                  </a:lnTo>
                  <a:lnTo>
                    <a:pt x="101600" y="21336"/>
                  </a:lnTo>
                  <a:lnTo>
                    <a:pt x="101600" y="36830"/>
                  </a:lnTo>
                  <a:lnTo>
                    <a:pt x="100583" y="36702"/>
                  </a:lnTo>
                  <a:lnTo>
                    <a:pt x="97281" y="36830"/>
                  </a:lnTo>
                  <a:lnTo>
                    <a:pt x="94106" y="37083"/>
                  </a:lnTo>
                  <a:lnTo>
                    <a:pt x="94106" y="21589"/>
                  </a:lnTo>
                  <a:close/>
                  <a:moveTo>
                    <a:pt x="-3127502" y="5081015"/>
                  </a:moveTo>
                  <a:moveTo>
                    <a:pt x="66675" y="28448"/>
                  </a:moveTo>
                  <a:lnTo>
                    <a:pt x="66675" y="28448"/>
                  </a:lnTo>
                  <a:lnTo>
                    <a:pt x="70103" y="27050"/>
                  </a:lnTo>
                  <a:lnTo>
                    <a:pt x="73532" y="25781"/>
                  </a:lnTo>
                  <a:lnTo>
                    <a:pt x="79882" y="40131"/>
                  </a:lnTo>
                  <a:lnTo>
                    <a:pt x="78104" y="40767"/>
                  </a:lnTo>
                  <a:lnTo>
                    <a:pt x="76327" y="41401"/>
                  </a:lnTo>
                  <a:lnTo>
                    <a:pt x="74676" y="42163"/>
                  </a:lnTo>
                  <a:lnTo>
                    <a:pt x="73025" y="42925"/>
                  </a:lnTo>
                  <a:lnTo>
                    <a:pt x="66675" y="28448"/>
                  </a:lnTo>
                  <a:close/>
                  <a:moveTo>
                    <a:pt x="-3134361" y="5081015"/>
                  </a:moveTo>
                  <a:moveTo>
                    <a:pt x="43053" y="44831"/>
                  </a:moveTo>
                  <a:lnTo>
                    <a:pt x="43053" y="44831"/>
                  </a:lnTo>
                  <a:lnTo>
                    <a:pt x="45719" y="42290"/>
                  </a:lnTo>
                  <a:lnTo>
                    <a:pt x="48387" y="40005"/>
                  </a:lnTo>
                  <a:lnTo>
                    <a:pt x="60198" y="50926"/>
                  </a:lnTo>
                  <a:lnTo>
                    <a:pt x="58801" y="52069"/>
                  </a:lnTo>
                  <a:lnTo>
                    <a:pt x="57403" y="53339"/>
                  </a:lnTo>
                  <a:lnTo>
                    <a:pt x="56261" y="54482"/>
                  </a:lnTo>
                  <a:lnTo>
                    <a:pt x="54990" y="55752"/>
                  </a:lnTo>
                  <a:lnTo>
                    <a:pt x="43053" y="44831"/>
                  </a:lnTo>
                  <a:close/>
                  <a:moveTo>
                    <a:pt x="-3150744" y="5081015"/>
                  </a:moveTo>
                  <a:moveTo>
                    <a:pt x="22987" y="92963"/>
                  </a:moveTo>
                  <a:lnTo>
                    <a:pt x="22987" y="92963"/>
                  </a:lnTo>
                  <a:lnTo>
                    <a:pt x="23114" y="90043"/>
                  </a:lnTo>
                  <a:lnTo>
                    <a:pt x="23240" y="87121"/>
                  </a:lnTo>
                  <a:lnTo>
                    <a:pt x="40131" y="87121"/>
                  </a:lnTo>
                  <a:lnTo>
                    <a:pt x="39878" y="90043"/>
                  </a:lnTo>
                  <a:lnTo>
                    <a:pt x="39751" y="92963"/>
                  </a:lnTo>
                  <a:lnTo>
                    <a:pt x="39878" y="93980"/>
                  </a:lnTo>
                  <a:lnTo>
                    <a:pt x="22987" y="93980"/>
                  </a:lnTo>
                  <a:lnTo>
                    <a:pt x="22987" y="92963"/>
                  </a:lnTo>
                  <a:close/>
                  <a:moveTo>
                    <a:pt x="-3198876" y="5081015"/>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528" name="Freeform 1528"/>
            <p:cNvSpPr/>
            <p:nvPr/>
          </p:nvSpPr>
          <p:spPr>
            <a:xfrm>
              <a:off x="7316089" y="1529563"/>
              <a:ext cx="1517114" cy="968759"/>
            </a:xfrm>
            <a:custGeom>
              <a:avLst/>
              <a:gdLst/>
              <a:ahLst/>
              <a:cxnLst/>
              <a:rect l="0" t="0" r="0" b="0"/>
              <a:pathLst>
                <a:path w="1517904" h="969264">
                  <a:moveTo>
                    <a:pt x="0" y="969264"/>
                  </a:moveTo>
                  <a:lnTo>
                    <a:pt x="1517904" y="969264"/>
                  </a:lnTo>
                  <a:lnTo>
                    <a:pt x="1517904" y="0"/>
                  </a:lnTo>
                  <a:lnTo>
                    <a:pt x="0" y="0"/>
                  </a:lnTo>
                  <a:lnTo>
                    <a:pt x="0" y="969264"/>
                  </a:lnTo>
                  <a:close/>
                </a:path>
              </a:pathLst>
            </a:custGeom>
            <a:noFill/>
            <a:ln w="9525" cap="flat" cmpd="sng">
              <a:solidFill>
                <a:srgbClr val="FFF599"/>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1550" name="Rectangle 1550"/>
            <p:cNvSpPr/>
            <p:nvPr/>
          </p:nvSpPr>
          <p:spPr>
            <a:xfrm>
              <a:off x="7570465" y="2121259"/>
              <a:ext cx="367024" cy="154786"/>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13" normalizeH="0" baseline="0" noProof="0" dirty="0">
                  <a:ln>
                    <a:noFill/>
                  </a:ln>
                  <a:solidFill>
                    <a:srgbClr val="FFFFFF"/>
                  </a:solidFill>
                  <a:effectLst/>
                  <a:uLnTx/>
                  <a:uFillTx/>
                  <a:latin typeface="EYInterstate-LightBold"/>
                  <a:ea typeface="+mn-ea"/>
                  <a:cs typeface="+mn-cs"/>
                </a:rPr>
                <a:t>T</a:t>
              </a: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anks</a:t>
              </a:r>
            </a:p>
          </p:txBody>
        </p:sp>
        <p:sp>
          <p:nvSpPr>
            <p:cNvPr id="1551" name="Rectangle 1551"/>
            <p:cNvSpPr/>
            <p:nvPr/>
          </p:nvSpPr>
          <p:spPr>
            <a:xfrm>
              <a:off x="7436678" y="1820300"/>
              <a:ext cx="496611" cy="156325"/>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tab pos="340528" algn="l"/>
                </a:tabLst>
                <a:defRPr/>
              </a:pPr>
              <a:r>
                <a:rPr kumimoji="0" lang="en-US" sz="1005" b="1" i="0" u="none" strike="noStrike" kern="1200" cap="none" spc="0" normalizeH="0" baseline="0" noProof="0" dirty="0">
                  <a:ln>
                    <a:noFill/>
                  </a:ln>
                  <a:solidFill>
                    <a:srgbClr val="97979C"/>
                  </a:solidFill>
                  <a:effectLst/>
                  <a:uLnTx/>
                  <a:uFillTx/>
                  <a:latin typeface="EYInterstate-LightBold"/>
                  <a:ea typeface="+mn-ea"/>
                  <a:cs typeface="+mn-cs"/>
                </a:rPr>
                <a:t>H</a:t>
              </a:r>
              <a:r>
                <a:rPr kumimoji="0" lang="en-US" sz="1014" b="1" i="0" u="none" strike="noStrike" kern="1200" cap="none" spc="0" normalizeH="0" baseline="-32142" noProof="0" dirty="0">
                  <a:ln>
                    <a:noFill/>
                  </a:ln>
                  <a:solidFill>
                    <a:srgbClr val="97979C"/>
                  </a:solidFill>
                  <a:effectLst/>
                  <a:uLnTx/>
                  <a:uFillTx/>
                  <a:latin typeface="EYInterstate-LightBold"/>
                  <a:ea typeface="+mn-ea"/>
                  <a:cs typeface="+mn-cs"/>
                </a:rPr>
                <a:t>2	</a:t>
              </a:r>
              <a:r>
                <a:rPr kumimoji="0" lang="en-US" sz="1523" b="1" i="0" u="none" strike="noStrike" kern="1200" cap="none" spc="0" normalizeH="0" baseline="-78571" noProof="0" dirty="0">
                  <a:ln>
                    <a:noFill/>
                  </a:ln>
                  <a:solidFill>
                    <a:srgbClr val="97979C"/>
                  </a:solidFill>
                  <a:effectLst/>
                  <a:uLnTx/>
                  <a:uFillTx/>
                  <a:latin typeface="EYInterstate-LightBold"/>
                  <a:ea typeface="+mn-ea"/>
                  <a:cs typeface="+mn-cs"/>
                </a:rPr>
                <a:t>H</a:t>
              </a:r>
              <a:r>
                <a:rPr kumimoji="0" lang="en-US" sz="1014" b="1" i="0" u="none" strike="noStrike" kern="1200" cap="none" spc="0" normalizeH="0" baseline="-149999" noProof="0" dirty="0">
                  <a:ln>
                    <a:noFill/>
                  </a:ln>
                  <a:solidFill>
                    <a:srgbClr val="97979C"/>
                  </a:solidFill>
                  <a:effectLst/>
                  <a:uLnTx/>
                  <a:uFillTx/>
                  <a:latin typeface="EYInterstate-LightBold"/>
                  <a:ea typeface="+mn-ea"/>
                  <a:cs typeface="+mn-cs"/>
                </a:rPr>
                <a:t>2</a:t>
              </a:r>
            </a:p>
          </p:txBody>
        </p:sp>
        <p:sp>
          <p:nvSpPr>
            <p:cNvPr id="1553" name="Rectangle 1553"/>
            <p:cNvSpPr/>
            <p:nvPr/>
          </p:nvSpPr>
          <p:spPr>
            <a:xfrm>
              <a:off x="8214530" y="2121259"/>
              <a:ext cx="500137" cy="154786"/>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Caverns</a:t>
              </a:r>
            </a:p>
          </p:txBody>
        </p:sp>
      </p:grpSp>
      <p:grpSp>
        <p:nvGrpSpPr>
          <p:cNvPr id="5" name="3. Refinement">
            <a:extLst>
              <a:ext uri="{FF2B5EF4-FFF2-40B4-BE49-F238E27FC236}">
                <a16:creationId xmlns:a16="http://schemas.microsoft.com/office/drawing/2014/main" id="{F40C4253-325A-4B4B-B3DA-918E49DDB278}"/>
              </a:ext>
            </a:extLst>
          </p:cNvPr>
          <p:cNvGrpSpPr/>
          <p:nvPr/>
        </p:nvGrpSpPr>
        <p:grpSpPr>
          <a:xfrm>
            <a:off x="4958630" y="3666496"/>
            <a:ext cx="2847639" cy="1877138"/>
            <a:chOff x="4961213" y="3666620"/>
            <a:chExt cx="2849122" cy="1878116"/>
          </a:xfrm>
        </p:grpSpPr>
        <p:sp>
          <p:nvSpPr>
            <p:cNvPr id="1268" name="Freeform 1268"/>
            <p:cNvSpPr/>
            <p:nvPr/>
          </p:nvSpPr>
          <p:spPr>
            <a:xfrm>
              <a:off x="4961213" y="3799140"/>
              <a:ext cx="2269578" cy="1745596"/>
            </a:xfrm>
            <a:custGeom>
              <a:avLst/>
              <a:gdLst/>
              <a:ahLst/>
              <a:cxnLst/>
              <a:rect l="0" t="0" r="0" b="0"/>
              <a:pathLst>
                <a:path w="2270760" h="1746505">
                  <a:moveTo>
                    <a:pt x="0" y="1746505"/>
                  </a:moveTo>
                  <a:lnTo>
                    <a:pt x="2270760" y="1746505"/>
                  </a:lnTo>
                  <a:lnTo>
                    <a:pt x="2270760" y="0"/>
                  </a:lnTo>
                  <a:lnTo>
                    <a:pt x="0" y="0"/>
                  </a:lnTo>
                  <a:lnTo>
                    <a:pt x="0" y="1746505"/>
                  </a:lnTo>
                  <a:close/>
                </a:path>
              </a:pathLst>
            </a:custGeom>
            <a:noFill/>
            <a:ln w="9525" cap="flat" cmpd="sng">
              <a:solidFill>
                <a:srgbClr val="FFF066"/>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1314" name="Freeform 1314"/>
            <p:cNvSpPr/>
            <p:nvPr/>
          </p:nvSpPr>
          <p:spPr>
            <a:xfrm>
              <a:off x="5776128" y="4205836"/>
              <a:ext cx="362523" cy="121858"/>
            </a:xfrm>
            <a:custGeom>
              <a:avLst/>
              <a:gdLst/>
              <a:ahLst/>
              <a:cxnLst/>
              <a:rect l="0" t="0" r="0" b="0"/>
              <a:pathLst>
                <a:path w="362712" h="121921">
                  <a:moveTo>
                    <a:pt x="24004" y="112777"/>
                  </a:moveTo>
                  <a:lnTo>
                    <a:pt x="113157" y="112777"/>
                  </a:lnTo>
                  <a:lnTo>
                    <a:pt x="111380" y="121921"/>
                  </a:lnTo>
                  <a:lnTo>
                    <a:pt x="0" y="121921"/>
                  </a:lnTo>
                  <a:lnTo>
                    <a:pt x="0" y="117475"/>
                  </a:lnTo>
                  <a:lnTo>
                    <a:pt x="0" y="113919"/>
                  </a:lnTo>
                  <a:lnTo>
                    <a:pt x="255" y="110237"/>
                  </a:lnTo>
                  <a:lnTo>
                    <a:pt x="636" y="106808"/>
                  </a:lnTo>
                  <a:lnTo>
                    <a:pt x="1017" y="103378"/>
                  </a:lnTo>
                  <a:lnTo>
                    <a:pt x="1651" y="100077"/>
                  </a:lnTo>
                  <a:lnTo>
                    <a:pt x="2160" y="96775"/>
                  </a:lnTo>
                  <a:lnTo>
                    <a:pt x="3049" y="93472"/>
                  </a:lnTo>
                  <a:lnTo>
                    <a:pt x="4064" y="90425"/>
                  </a:lnTo>
                  <a:lnTo>
                    <a:pt x="5081" y="87250"/>
                  </a:lnTo>
                  <a:lnTo>
                    <a:pt x="6224" y="84075"/>
                  </a:lnTo>
                  <a:lnTo>
                    <a:pt x="7620" y="81027"/>
                  </a:lnTo>
                  <a:lnTo>
                    <a:pt x="8891" y="78106"/>
                  </a:lnTo>
                  <a:lnTo>
                    <a:pt x="10414" y="75184"/>
                  </a:lnTo>
                  <a:lnTo>
                    <a:pt x="12066" y="72263"/>
                  </a:lnTo>
                  <a:lnTo>
                    <a:pt x="13717" y="69469"/>
                  </a:lnTo>
                  <a:lnTo>
                    <a:pt x="15494" y="66803"/>
                  </a:lnTo>
                  <a:lnTo>
                    <a:pt x="17400" y="64009"/>
                  </a:lnTo>
                  <a:lnTo>
                    <a:pt x="19558" y="61341"/>
                  </a:lnTo>
                  <a:lnTo>
                    <a:pt x="21591" y="58802"/>
                  </a:lnTo>
                  <a:lnTo>
                    <a:pt x="23750" y="56262"/>
                  </a:lnTo>
                  <a:lnTo>
                    <a:pt x="26036" y="53721"/>
                  </a:lnTo>
                  <a:lnTo>
                    <a:pt x="28449" y="51309"/>
                  </a:lnTo>
                  <a:lnTo>
                    <a:pt x="30862" y="49022"/>
                  </a:lnTo>
                  <a:lnTo>
                    <a:pt x="33401" y="46609"/>
                  </a:lnTo>
                  <a:lnTo>
                    <a:pt x="36069" y="44450"/>
                  </a:lnTo>
                  <a:lnTo>
                    <a:pt x="38736" y="42291"/>
                  </a:lnTo>
                  <a:lnTo>
                    <a:pt x="41656" y="40006"/>
                  </a:lnTo>
                  <a:lnTo>
                    <a:pt x="44450" y="37974"/>
                  </a:lnTo>
                  <a:lnTo>
                    <a:pt x="47371" y="35941"/>
                  </a:lnTo>
                  <a:lnTo>
                    <a:pt x="50419" y="33909"/>
                  </a:lnTo>
                  <a:lnTo>
                    <a:pt x="53594" y="32005"/>
                  </a:lnTo>
                  <a:lnTo>
                    <a:pt x="56643" y="30227"/>
                  </a:lnTo>
                  <a:lnTo>
                    <a:pt x="59818" y="28321"/>
                  </a:lnTo>
                  <a:lnTo>
                    <a:pt x="63119" y="26671"/>
                  </a:lnTo>
                  <a:lnTo>
                    <a:pt x="66549" y="24893"/>
                  </a:lnTo>
                  <a:lnTo>
                    <a:pt x="69977" y="23241"/>
                  </a:lnTo>
                  <a:lnTo>
                    <a:pt x="73280" y="21590"/>
                  </a:lnTo>
                  <a:lnTo>
                    <a:pt x="76962" y="20066"/>
                  </a:lnTo>
                  <a:lnTo>
                    <a:pt x="84075" y="17146"/>
                  </a:lnTo>
                  <a:lnTo>
                    <a:pt x="91441" y="14478"/>
                  </a:lnTo>
                  <a:lnTo>
                    <a:pt x="99061" y="12065"/>
                  </a:lnTo>
                  <a:lnTo>
                    <a:pt x="106807" y="9906"/>
                  </a:lnTo>
                  <a:lnTo>
                    <a:pt x="114681" y="7875"/>
                  </a:lnTo>
                  <a:lnTo>
                    <a:pt x="122810" y="6096"/>
                  </a:lnTo>
                  <a:lnTo>
                    <a:pt x="130937" y="4446"/>
                  </a:lnTo>
                  <a:lnTo>
                    <a:pt x="139193" y="3303"/>
                  </a:lnTo>
                  <a:lnTo>
                    <a:pt x="147448" y="2033"/>
                  </a:lnTo>
                  <a:lnTo>
                    <a:pt x="155830" y="1271"/>
                  </a:lnTo>
                  <a:lnTo>
                    <a:pt x="164338" y="635"/>
                  </a:lnTo>
                  <a:lnTo>
                    <a:pt x="172848" y="255"/>
                  </a:lnTo>
                  <a:lnTo>
                    <a:pt x="181356" y="0"/>
                  </a:lnTo>
                  <a:lnTo>
                    <a:pt x="189866" y="128"/>
                  </a:lnTo>
                  <a:lnTo>
                    <a:pt x="198375" y="381"/>
                  </a:lnTo>
                  <a:lnTo>
                    <a:pt x="206630" y="890"/>
                  </a:lnTo>
                  <a:lnTo>
                    <a:pt x="215266" y="1652"/>
                  </a:lnTo>
                  <a:lnTo>
                    <a:pt x="223394" y="2540"/>
                  </a:lnTo>
                  <a:lnTo>
                    <a:pt x="231775" y="3810"/>
                  </a:lnTo>
                  <a:lnTo>
                    <a:pt x="239776" y="5208"/>
                  </a:lnTo>
                  <a:lnTo>
                    <a:pt x="247905" y="6859"/>
                  </a:lnTo>
                  <a:lnTo>
                    <a:pt x="255779" y="8763"/>
                  </a:lnTo>
                  <a:lnTo>
                    <a:pt x="263525" y="10922"/>
                  </a:lnTo>
                  <a:lnTo>
                    <a:pt x="271145" y="13209"/>
                  </a:lnTo>
                  <a:lnTo>
                    <a:pt x="278638" y="15875"/>
                  </a:lnTo>
                  <a:lnTo>
                    <a:pt x="282194" y="17272"/>
                  </a:lnTo>
                  <a:lnTo>
                    <a:pt x="285750" y="18669"/>
                  </a:lnTo>
                  <a:lnTo>
                    <a:pt x="289306" y="20193"/>
                  </a:lnTo>
                  <a:lnTo>
                    <a:pt x="292736" y="21718"/>
                  </a:lnTo>
                  <a:lnTo>
                    <a:pt x="296164" y="23368"/>
                  </a:lnTo>
                  <a:lnTo>
                    <a:pt x="299467" y="25146"/>
                  </a:lnTo>
                  <a:lnTo>
                    <a:pt x="302769" y="26797"/>
                  </a:lnTo>
                  <a:lnTo>
                    <a:pt x="306070" y="28575"/>
                  </a:lnTo>
                  <a:lnTo>
                    <a:pt x="309119" y="30481"/>
                  </a:lnTo>
                  <a:lnTo>
                    <a:pt x="312294" y="32385"/>
                  </a:lnTo>
                  <a:lnTo>
                    <a:pt x="315342" y="34290"/>
                  </a:lnTo>
                  <a:lnTo>
                    <a:pt x="318262" y="36322"/>
                  </a:lnTo>
                  <a:lnTo>
                    <a:pt x="321056" y="38481"/>
                  </a:lnTo>
                  <a:lnTo>
                    <a:pt x="323724" y="40640"/>
                  </a:lnTo>
                  <a:lnTo>
                    <a:pt x="326644" y="42800"/>
                  </a:lnTo>
                  <a:lnTo>
                    <a:pt x="329185" y="45085"/>
                  </a:lnTo>
                  <a:lnTo>
                    <a:pt x="331725" y="47499"/>
                  </a:lnTo>
                  <a:lnTo>
                    <a:pt x="334264" y="49912"/>
                  </a:lnTo>
                  <a:lnTo>
                    <a:pt x="336677" y="52197"/>
                  </a:lnTo>
                  <a:lnTo>
                    <a:pt x="338837" y="54737"/>
                  </a:lnTo>
                  <a:lnTo>
                    <a:pt x="341123" y="57278"/>
                  </a:lnTo>
                  <a:lnTo>
                    <a:pt x="343155" y="59944"/>
                  </a:lnTo>
                  <a:lnTo>
                    <a:pt x="345187" y="62612"/>
                  </a:lnTo>
                  <a:lnTo>
                    <a:pt x="347092" y="65406"/>
                  </a:lnTo>
                  <a:lnTo>
                    <a:pt x="348869" y="68200"/>
                  </a:lnTo>
                  <a:lnTo>
                    <a:pt x="350648" y="70993"/>
                  </a:lnTo>
                  <a:lnTo>
                    <a:pt x="352299" y="73915"/>
                  </a:lnTo>
                  <a:lnTo>
                    <a:pt x="353823" y="76962"/>
                  </a:lnTo>
                  <a:lnTo>
                    <a:pt x="355093" y="80010"/>
                  </a:lnTo>
                  <a:lnTo>
                    <a:pt x="356489" y="83185"/>
                  </a:lnTo>
                  <a:lnTo>
                    <a:pt x="357506" y="86234"/>
                  </a:lnTo>
                  <a:lnTo>
                    <a:pt x="358521" y="89409"/>
                  </a:lnTo>
                  <a:lnTo>
                    <a:pt x="359664" y="92837"/>
                  </a:lnTo>
                  <a:lnTo>
                    <a:pt x="360300" y="96140"/>
                  </a:lnTo>
                  <a:lnTo>
                    <a:pt x="361062" y="99568"/>
                  </a:lnTo>
                  <a:lnTo>
                    <a:pt x="361696" y="102997"/>
                  </a:lnTo>
                  <a:lnTo>
                    <a:pt x="362077" y="106553"/>
                  </a:lnTo>
                  <a:lnTo>
                    <a:pt x="362458" y="110109"/>
                  </a:lnTo>
                  <a:lnTo>
                    <a:pt x="362586" y="113793"/>
                  </a:lnTo>
                  <a:lnTo>
                    <a:pt x="362712" y="117475"/>
                  </a:lnTo>
                  <a:lnTo>
                    <a:pt x="362712" y="121921"/>
                  </a:lnTo>
                  <a:lnTo>
                    <a:pt x="260350" y="121921"/>
                  </a:lnTo>
                  <a:lnTo>
                    <a:pt x="258573" y="112777"/>
                  </a:lnTo>
                  <a:lnTo>
                    <a:pt x="338710" y="112777"/>
                  </a:lnTo>
                  <a:lnTo>
                    <a:pt x="338456" y="109856"/>
                  </a:lnTo>
                  <a:lnTo>
                    <a:pt x="338075" y="106808"/>
                  </a:lnTo>
                  <a:lnTo>
                    <a:pt x="337694" y="104013"/>
                  </a:lnTo>
                  <a:lnTo>
                    <a:pt x="337186" y="101093"/>
                  </a:lnTo>
                  <a:lnTo>
                    <a:pt x="336677" y="98299"/>
                  </a:lnTo>
                  <a:lnTo>
                    <a:pt x="335916" y="95505"/>
                  </a:lnTo>
                  <a:lnTo>
                    <a:pt x="335026" y="92837"/>
                  </a:lnTo>
                  <a:lnTo>
                    <a:pt x="334137" y="90297"/>
                  </a:lnTo>
                  <a:lnTo>
                    <a:pt x="332994" y="87631"/>
                  </a:lnTo>
                  <a:lnTo>
                    <a:pt x="331979" y="85090"/>
                  </a:lnTo>
                  <a:lnTo>
                    <a:pt x="330708" y="82678"/>
                  </a:lnTo>
                  <a:lnTo>
                    <a:pt x="329438" y="80137"/>
                  </a:lnTo>
                  <a:lnTo>
                    <a:pt x="328169" y="77725"/>
                  </a:lnTo>
                  <a:lnTo>
                    <a:pt x="326644" y="75438"/>
                  </a:lnTo>
                  <a:lnTo>
                    <a:pt x="325120" y="73153"/>
                  </a:lnTo>
                  <a:lnTo>
                    <a:pt x="323469" y="70866"/>
                  </a:lnTo>
                  <a:lnTo>
                    <a:pt x="321692" y="68581"/>
                  </a:lnTo>
                  <a:lnTo>
                    <a:pt x="319913" y="66421"/>
                  </a:lnTo>
                  <a:lnTo>
                    <a:pt x="318136" y="64390"/>
                  </a:lnTo>
                  <a:lnTo>
                    <a:pt x="316231" y="62358"/>
                  </a:lnTo>
                  <a:lnTo>
                    <a:pt x="314071" y="60199"/>
                  </a:lnTo>
                  <a:lnTo>
                    <a:pt x="312039" y="58293"/>
                  </a:lnTo>
                  <a:lnTo>
                    <a:pt x="309881" y="56388"/>
                  </a:lnTo>
                  <a:lnTo>
                    <a:pt x="307594" y="54484"/>
                  </a:lnTo>
                  <a:lnTo>
                    <a:pt x="305436" y="52706"/>
                  </a:lnTo>
                  <a:lnTo>
                    <a:pt x="303150" y="50928"/>
                  </a:lnTo>
                  <a:lnTo>
                    <a:pt x="298196" y="47499"/>
                  </a:lnTo>
                  <a:lnTo>
                    <a:pt x="292989" y="44196"/>
                  </a:lnTo>
                  <a:lnTo>
                    <a:pt x="287529" y="41275"/>
                  </a:lnTo>
                  <a:lnTo>
                    <a:pt x="281941" y="38355"/>
                  </a:lnTo>
                  <a:lnTo>
                    <a:pt x="276225" y="35687"/>
                  </a:lnTo>
                  <a:lnTo>
                    <a:pt x="270256" y="33275"/>
                  </a:lnTo>
                  <a:lnTo>
                    <a:pt x="264033" y="30988"/>
                  </a:lnTo>
                  <a:lnTo>
                    <a:pt x="257683" y="28830"/>
                  </a:lnTo>
                  <a:lnTo>
                    <a:pt x="251333" y="26925"/>
                  </a:lnTo>
                  <a:lnTo>
                    <a:pt x="244730" y="25274"/>
                  </a:lnTo>
                  <a:lnTo>
                    <a:pt x="237871" y="23750"/>
                  </a:lnTo>
                  <a:lnTo>
                    <a:pt x="231141" y="22480"/>
                  </a:lnTo>
                  <a:lnTo>
                    <a:pt x="224156" y="21337"/>
                  </a:lnTo>
                  <a:lnTo>
                    <a:pt x="217170" y="20447"/>
                  </a:lnTo>
                  <a:lnTo>
                    <a:pt x="210058" y="19559"/>
                  </a:lnTo>
                  <a:lnTo>
                    <a:pt x="202946" y="19050"/>
                  </a:lnTo>
                  <a:lnTo>
                    <a:pt x="195835" y="18543"/>
                  </a:lnTo>
                  <a:lnTo>
                    <a:pt x="188723" y="18288"/>
                  </a:lnTo>
                  <a:lnTo>
                    <a:pt x="181483" y="18288"/>
                  </a:lnTo>
                  <a:lnTo>
                    <a:pt x="174244" y="18415"/>
                  </a:lnTo>
                  <a:lnTo>
                    <a:pt x="167006" y="18796"/>
                  </a:lnTo>
                  <a:lnTo>
                    <a:pt x="159894" y="19305"/>
                  </a:lnTo>
                  <a:lnTo>
                    <a:pt x="152655" y="20066"/>
                  </a:lnTo>
                  <a:lnTo>
                    <a:pt x="145669" y="20956"/>
                  </a:lnTo>
                  <a:lnTo>
                    <a:pt x="138685" y="21971"/>
                  </a:lnTo>
                  <a:lnTo>
                    <a:pt x="131700" y="23241"/>
                  </a:lnTo>
                  <a:lnTo>
                    <a:pt x="124842" y="24638"/>
                  </a:lnTo>
                  <a:lnTo>
                    <a:pt x="118111" y="26290"/>
                  </a:lnTo>
                  <a:lnTo>
                    <a:pt x="111633" y="28068"/>
                  </a:lnTo>
                  <a:lnTo>
                    <a:pt x="105156" y="30100"/>
                  </a:lnTo>
                  <a:lnTo>
                    <a:pt x="98680" y="32259"/>
                  </a:lnTo>
                  <a:lnTo>
                    <a:pt x="92583" y="34544"/>
                  </a:lnTo>
                  <a:lnTo>
                    <a:pt x="86614" y="37084"/>
                  </a:lnTo>
                  <a:lnTo>
                    <a:pt x="80773" y="39752"/>
                  </a:lnTo>
                  <a:lnTo>
                    <a:pt x="75185" y="42546"/>
                  </a:lnTo>
                  <a:lnTo>
                    <a:pt x="69724" y="45721"/>
                  </a:lnTo>
                  <a:lnTo>
                    <a:pt x="64770" y="48896"/>
                  </a:lnTo>
                  <a:lnTo>
                    <a:pt x="59818" y="52452"/>
                  </a:lnTo>
                  <a:lnTo>
                    <a:pt x="55119" y="56008"/>
                  </a:lnTo>
                  <a:lnTo>
                    <a:pt x="52832" y="57785"/>
                  </a:lnTo>
                  <a:lnTo>
                    <a:pt x="50674" y="59818"/>
                  </a:lnTo>
                  <a:lnTo>
                    <a:pt x="48642" y="61722"/>
                  </a:lnTo>
                  <a:lnTo>
                    <a:pt x="46610" y="63628"/>
                  </a:lnTo>
                  <a:lnTo>
                    <a:pt x="44577" y="65787"/>
                  </a:lnTo>
                  <a:lnTo>
                    <a:pt x="42800" y="67818"/>
                  </a:lnTo>
                  <a:lnTo>
                    <a:pt x="41021" y="69978"/>
                  </a:lnTo>
                  <a:lnTo>
                    <a:pt x="39244" y="72009"/>
                  </a:lnTo>
                  <a:lnTo>
                    <a:pt x="37593" y="74296"/>
                  </a:lnTo>
                  <a:lnTo>
                    <a:pt x="36069" y="76581"/>
                  </a:lnTo>
                  <a:lnTo>
                    <a:pt x="34544" y="78868"/>
                  </a:lnTo>
                  <a:lnTo>
                    <a:pt x="33275" y="81153"/>
                  </a:lnTo>
                  <a:lnTo>
                    <a:pt x="31877" y="83566"/>
                  </a:lnTo>
                  <a:lnTo>
                    <a:pt x="30735" y="85980"/>
                  </a:lnTo>
                  <a:lnTo>
                    <a:pt x="29719" y="88519"/>
                  </a:lnTo>
                  <a:lnTo>
                    <a:pt x="28575" y="91059"/>
                  </a:lnTo>
                  <a:lnTo>
                    <a:pt x="27687" y="93600"/>
                  </a:lnTo>
                  <a:lnTo>
                    <a:pt x="26798" y="96266"/>
                  </a:lnTo>
                  <a:lnTo>
                    <a:pt x="26036" y="98934"/>
                  </a:lnTo>
                  <a:lnTo>
                    <a:pt x="25527" y="101474"/>
                  </a:lnTo>
                  <a:lnTo>
                    <a:pt x="24893" y="104268"/>
                  </a:lnTo>
                  <a:lnTo>
                    <a:pt x="24512" y="107062"/>
                  </a:lnTo>
                  <a:lnTo>
                    <a:pt x="24131" y="109983"/>
                  </a:lnTo>
                  <a:lnTo>
                    <a:pt x="24004" y="112777"/>
                  </a:lnTo>
                  <a:close/>
                  <a:moveTo>
                    <a:pt x="-3236976" y="2651760"/>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15" name="Freeform 1315"/>
            <p:cNvSpPr/>
            <p:nvPr/>
          </p:nvSpPr>
          <p:spPr>
            <a:xfrm>
              <a:off x="5776128" y="4336831"/>
              <a:ext cx="24371" cy="130996"/>
            </a:xfrm>
            <a:custGeom>
              <a:avLst/>
              <a:gdLst/>
              <a:ahLst/>
              <a:cxnLst/>
              <a:rect l="0" t="0" r="0" b="0"/>
              <a:pathLst>
                <a:path w="24384" h="131064">
                  <a:moveTo>
                    <a:pt x="0" y="131064"/>
                  </a:moveTo>
                  <a:lnTo>
                    <a:pt x="24384" y="131064"/>
                  </a:lnTo>
                  <a:lnTo>
                    <a:pt x="24384" y="0"/>
                  </a:lnTo>
                  <a:lnTo>
                    <a:pt x="0" y="0"/>
                  </a:lnTo>
                  <a:lnTo>
                    <a:pt x="0" y="13106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16" name="Freeform 1316"/>
            <p:cNvSpPr/>
            <p:nvPr/>
          </p:nvSpPr>
          <p:spPr>
            <a:xfrm>
              <a:off x="6114281" y="4208883"/>
              <a:ext cx="185830" cy="258944"/>
            </a:xfrm>
            <a:custGeom>
              <a:avLst/>
              <a:gdLst/>
              <a:ahLst/>
              <a:cxnLst/>
              <a:rect l="0" t="0" r="0" b="0"/>
              <a:pathLst>
                <a:path w="185927" h="259079">
                  <a:moveTo>
                    <a:pt x="70103" y="0"/>
                  </a:moveTo>
                  <a:lnTo>
                    <a:pt x="70103" y="24510"/>
                  </a:lnTo>
                  <a:lnTo>
                    <a:pt x="41147" y="24510"/>
                  </a:lnTo>
                  <a:lnTo>
                    <a:pt x="41147" y="231394"/>
                  </a:lnTo>
                  <a:lnTo>
                    <a:pt x="24002" y="231394"/>
                  </a:lnTo>
                  <a:lnTo>
                    <a:pt x="24002" y="126238"/>
                  </a:lnTo>
                  <a:lnTo>
                    <a:pt x="0" y="126238"/>
                  </a:lnTo>
                  <a:lnTo>
                    <a:pt x="0" y="259079"/>
                  </a:lnTo>
                  <a:lnTo>
                    <a:pt x="24002" y="259079"/>
                  </a:lnTo>
                  <a:lnTo>
                    <a:pt x="24002" y="240538"/>
                  </a:lnTo>
                  <a:lnTo>
                    <a:pt x="53085" y="240538"/>
                  </a:lnTo>
                  <a:lnTo>
                    <a:pt x="53085" y="33654"/>
                  </a:lnTo>
                  <a:lnTo>
                    <a:pt x="70103" y="33654"/>
                  </a:lnTo>
                  <a:lnTo>
                    <a:pt x="70103" y="240538"/>
                  </a:lnTo>
                  <a:lnTo>
                    <a:pt x="95250" y="240538"/>
                  </a:lnTo>
                  <a:lnTo>
                    <a:pt x="95250" y="259079"/>
                  </a:lnTo>
                  <a:lnTo>
                    <a:pt x="107315" y="259079"/>
                  </a:lnTo>
                  <a:lnTo>
                    <a:pt x="107315" y="240538"/>
                  </a:lnTo>
                  <a:lnTo>
                    <a:pt x="111887" y="240538"/>
                  </a:lnTo>
                  <a:lnTo>
                    <a:pt x="111887" y="259079"/>
                  </a:lnTo>
                  <a:lnTo>
                    <a:pt x="123825" y="259079"/>
                  </a:lnTo>
                  <a:lnTo>
                    <a:pt x="123825" y="240538"/>
                  </a:lnTo>
                  <a:lnTo>
                    <a:pt x="136906" y="240538"/>
                  </a:lnTo>
                  <a:lnTo>
                    <a:pt x="136906" y="259079"/>
                  </a:lnTo>
                  <a:lnTo>
                    <a:pt x="148844" y="259079"/>
                  </a:lnTo>
                  <a:lnTo>
                    <a:pt x="148844" y="240538"/>
                  </a:lnTo>
                  <a:lnTo>
                    <a:pt x="153923" y="240538"/>
                  </a:lnTo>
                  <a:lnTo>
                    <a:pt x="153923" y="259079"/>
                  </a:lnTo>
                  <a:lnTo>
                    <a:pt x="165989" y="259079"/>
                  </a:lnTo>
                  <a:lnTo>
                    <a:pt x="165989" y="240538"/>
                  </a:lnTo>
                  <a:lnTo>
                    <a:pt x="185927" y="240538"/>
                  </a:lnTo>
                  <a:lnTo>
                    <a:pt x="185927" y="0"/>
                  </a:lnTo>
                  <a:lnTo>
                    <a:pt x="70103" y="0"/>
                  </a:lnTo>
                  <a:close/>
                  <a:moveTo>
                    <a:pt x="-3465577" y="2648711"/>
                  </a:moveTo>
                  <a:moveTo>
                    <a:pt x="173990" y="183134"/>
                  </a:moveTo>
                  <a:lnTo>
                    <a:pt x="81915" y="132334"/>
                  </a:lnTo>
                  <a:lnTo>
                    <a:pt x="81915" y="9144"/>
                  </a:lnTo>
                  <a:lnTo>
                    <a:pt x="173990" y="9144"/>
                  </a:lnTo>
                  <a:lnTo>
                    <a:pt x="173990" y="183134"/>
                  </a:lnTo>
                  <a:close/>
                  <a:moveTo>
                    <a:pt x="-3648711" y="2648711"/>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17" name="Freeform 1317"/>
            <p:cNvSpPr/>
            <p:nvPr/>
          </p:nvSpPr>
          <p:spPr>
            <a:xfrm>
              <a:off x="5739572" y="4476967"/>
              <a:ext cx="566633" cy="9139"/>
            </a:xfrm>
            <a:custGeom>
              <a:avLst/>
              <a:gdLst/>
              <a:ahLst/>
              <a:cxnLst/>
              <a:rect l="0" t="0" r="0" b="0"/>
              <a:pathLst>
                <a:path w="566928" h="9144">
                  <a:moveTo>
                    <a:pt x="0" y="9144"/>
                  </a:moveTo>
                  <a:lnTo>
                    <a:pt x="566928" y="9144"/>
                  </a:lnTo>
                  <a:lnTo>
                    <a:pt x="566928"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18" name="Freeform 1318"/>
            <p:cNvSpPr/>
            <p:nvPr/>
          </p:nvSpPr>
          <p:spPr>
            <a:xfrm>
              <a:off x="5910169" y="4306368"/>
              <a:ext cx="100532" cy="158414"/>
            </a:xfrm>
            <a:custGeom>
              <a:avLst/>
              <a:gdLst/>
              <a:ahLst/>
              <a:cxnLst/>
              <a:rect l="0" t="0" r="0" b="0"/>
              <a:pathLst>
                <a:path w="100584" h="158497">
                  <a:moveTo>
                    <a:pt x="56134" y="17272"/>
                  </a:moveTo>
                  <a:lnTo>
                    <a:pt x="56134" y="57150"/>
                  </a:lnTo>
                  <a:lnTo>
                    <a:pt x="71375" y="45340"/>
                  </a:lnTo>
                  <a:lnTo>
                    <a:pt x="71375" y="58294"/>
                  </a:lnTo>
                  <a:lnTo>
                    <a:pt x="56134" y="70104"/>
                  </a:lnTo>
                  <a:lnTo>
                    <a:pt x="56134" y="79375"/>
                  </a:lnTo>
                  <a:lnTo>
                    <a:pt x="76582" y="63754"/>
                  </a:lnTo>
                  <a:lnTo>
                    <a:pt x="77089" y="63754"/>
                  </a:lnTo>
                  <a:lnTo>
                    <a:pt x="77089" y="76328"/>
                  </a:lnTo>
                  <a:lnTo>
                    <a:pt x="56134" y="92203"/>
                  </a:lnTo>
                  <a:lnTo>
                    <a:pt x="56134" y="100331"/>
                  </a:lnTo>
                  <a:lnTo>
                    <a:pt x="80645" y="82550"/>
                  </a:lnTo>
                  <a:lnTo>
                    <a:pt x="80645" y="95250"/>
                  </a:lnTo>
                  <a:lnTo>
                    <a:pt x="56134" y="113031"/>
                  </a:lnTo>
                  <a:lnTo>
                    <a:pt x="56134" y="129794"/>
                  </a:lnTo>
                  <a:lnTo>
                    <a:pt x="56134" y="136272"/>
                  </a:lnTo>
                  <a:lnTo>
                    <a:pt x="56134" y="158497"/>
                  </a:lnTo>
                  <a:lnTo>
                    <a:pt x="44324" y="158497"/>
                  </a:lnTo>
                  <a:lnTo>
                    <a:pt x="44324" y="136272"/>
                  </a:lnTo>
                  <a:lnTo>
                    <a:pt x="42038" y="136018"/>
                  </a:lnTo>
                  <a:lnTo>
                    <a:pt x="39751" y="135637"/>
                  </a:lnTo>
                  <a:lnTo>
                    <a:pt x="37465" y="135256"/>
                  </a:lnTo>
                  <a:lnTo>
                    <a:pt x="35180" y="134875"/>
                  </a:lnTo>
                  <a:lnTo>
                    <a:pt x="33148" y="134366"/>
                  </a:lnTo>
                  <a:lnTo>
                    <a:pt x="30988" y="133731"/>
                  </a:lnTo>
                  <a:lnTo>
                    <a:pt x="28830" y="132969"/>
                  </a:lnTo>
                  <a:lnTo>
                    <a:pt x="26925" y="132207"/>
                  </a:lnTo>
                  <a:lnTo>
                    <a:pt x="24765" y="131319"/>
                  </a:lnTo>
                  <a:lnTo>
                    <a:pt x="22861" y="130429"/>
                  </a:lnTo>
                  <a:lnTo>
                    <a:pt x="20956" y="129287"/>
                  </a:lnTo>
                  <a:lnTo>
                    <a:pt x="19177" y="128144"/>
                  </a:lnTo>
                  <a:lnTo>
                    <a:pt x="17526" y="127128"/>
                  </a:lnTo>
                  <a:lnTo>
                    <a:pt x="15875" y="125731"/>
                  </a:lnTo>
                  <a:lnTo>
                    <a:pt x="14225" y="124460"/>
                  </a:lnTo>
                  <a:lnTo>
                    <a:pt x="12827" y="123063"/>
                  </a:lnTo>
                  <a:lnTo>
                    <a:pt x="11304" y="121540"/>
                  </a:lnTo>
                  <a:lnTo>
                    <a:pt x="9907" y="120016"/>
                  </a:lnTo>
                  <a:lnTo>
                    <a:pt x="8637" y="118365"/>
                  </a:lnTo>
                  <a:lnTo>
                    <a:pt x="7494" y="116587"/>
                  </a:lnTo>
                  <a:lnTo>
                    <a:pt x="6350" y="114809"/>
                  </a:lnTo>
                  <a:lnTo>
                    <a:pt x="5207" y="112903"/>
                  </a:lnTo>
                  <a:lnTo>
                    <a:pt x="4192" y="110872"/>
                  </a:lnTo>
                  <a:lnTo>
                    <a:pt x="3302" y="108840"/>
                  </a:lnTo>
                  <a:lnTo>
                    <a:pt x="2540" y="106681"/>
                  </a:lnTo>
                  <a:lnTo>
                    <a:pt x="2032" y="104394"/>
                  </a:lnTo>
                  <a:lnTo>
                    <a:pt x="1398" y="102109"/>
                  </a:lnTo>
                  <a:lnTo>
                    <a:pt x="889" y="99822"/>
                  </a:lnTo>
                  <a:lnTo>
                    <a:pt x="636" y="97282"/>
                  </a:lnTo>
                  <a:lnTo>
                    <a:pt x="255" y="94743"/>
                  </a:lnTo>
                  <a:lnTo>
                    <a:pt x="127" y="92075"/>
                  </a:lnTo>
                  <a:lnTo>
                    <a:pt x="0" y="89281"/>
                  </a:lnTo>
                  <a:lnTo>
                    <a:pt x="127" y="85599"/>
                  </a:lnTo>
                  <a:lnTo>
                    <a:pt x="636" y="81916"/>
                  </a:lnTo>
                  <a:lnTo>
                    <a:pt x="1144" y="78232"/>
                  </a:lnTo>
                  <a:lnTo>
                    <a:pt x="2032" y="74422"/>
                  </a:lnTo>
                  <a:lnTo>
                    <a:pt x="3175" y="70612"/>
                  </a:lnTo>
                  <a:lnTo>
                    <a:pt x="4445" y="66929"/>
                  </a:lnTo>
                  <a:lnTo>
                    <a:pt x="5843" y="63119"/>
                  </a:lnTo>
                  <a:lnTo>
                    <a:pt x="7494" y="59309"/>
                  </a:lnTo>
                  <a:lnTo>
                    <a:pt x="9144" y="55626"/>
                  </a:lnTo>
                  <a:lnTo>
                    <a:pt x="11050" y="51944"/>
                  </a:lnTo>
                  <a:lnTo>
                    <a:pt x="13082" y="48387"/>
                  </a:lnTo>
                  <a:lnTo>
                    <a:pt x="14987" y="44831"/>
                  </a:lnTo>
                  <a:lnTo>
                    <a:pt x="17145" y="41403"/>
                  </a:lnTo>
                  <a:lnTo>
                    <a:pt x="19177" y="38100"/>
                  </a:lnTo>
                  <a:lnTo>
                    <a:pt x="23623" y="31624"/>
                  </a:lnTo>
                  <a:lnTo>
                    <a:pt x="28194" y="25654"/>
                  </a:lnTo>
                  <a:lnTo>
                    <a:pt x="32767" y="19812"/>
                  </a:lnTo>
                  <a:lnTo>
                    <a:pt x="37212" y="14351"/>
                  </a:lnTo>
                  <a:lnTo>
                    <a:pt x="41275" y="9653"/>
                  </a:lnTo>
                  <a:lnTo>
                    <a:pt x="44958" y="5588"/>
                  </a:lnTo>
                  <a:lnTo>
                    <a:pt x="47752" y="2668"/>
                  </a:lnTo>
                  <a:lnTo>
                    <a:pt x="50293" y="0"/>
                  </a:lnTo>
                  <a:lnTo>
                    <a:pt x="52706" y="2668"/>
                  </a:lnTo>
                  <a:lnTo>
                    <a:pt x="55754" y="5588"/>
                  </a:lnTo>
                  <a:lnTo>
                    <a:pt x="59182" y="9653"/>
                  </a:lnTo>
                  <a:lnTo>
                    <a:pt x="63374" y="14351"/>
                  </a:lnTo>
                  <a:lnTo>
                    <a:pt x="67945" y="19812"/>
                  </a:lnTo>
                  <a:lnTo>
                    <a:pt x="72518" y="25654"/>
                  </a:lnTo>
                  <a:lnTo>
                    <a:pt x="77089" y="31624"/>
                  </a:lnTo>
                  <a:lnTo>
                    <a:pt x="81407" y="38100"/>
                  </a:lnTo>
                  <a:lnTo>
                    <a:pt x="83439" y="41403"/>
                  </a:lnTo>
                  <a:lnTo>
                    <a:pt x="85599" y="44831"/>
                  </a:lnTo>
                  <a:lnTo>
                    <a:pt x="87631" y="48387"/>
                  </a:lnTo>
                  <a:lnTo>
                    <a:pt x="89536" y="51944"/>
                  </a:lnTo>
                  <a:lnTo>
                    <a:pt x="91440" y="55626"/>
                  </a:lnTo>
                  <a:lnTo>
                    <a:pt x="93092" y="59309"/>
                  </a:lnTo>
                  <a:lnTo>
                    <a:pt x="94743" y="63119"/>
                  </a:lnTo>
                  <a:lnTo>
                    <a:pt x="96139" y="66929"/>
                  </a:lnTo>
                  <a:lnTo>
                    <a:pt x="97537" y="70612"/>
                  </a:lnTo>
                  <a:lnTo>
                    <a:pt x="98552" y="74422"/>
                  </a:lnTo>
                  <a:lnTo>
                    <a:pt x="99442" y="78232"/>
                  </a:lnTo>
                  <a:lnTo>
                    <a:pt x="99950" y="81916"/>
                  </a:lnTo>
                  <a:lnTo>
                    <a:pt x="100457" y="85599"/>
                  </a:lnTo>
                  <a:lnTo>
                    <a:pt x="100584" y="89281"/>
                  </a:lnTo>
                  <a:lnTo>
                    <a:pt x="100584" y="91694"/>
                  </a:lnTo>
                  <a:lnTo>
                    <a:pt x="100457" y="94107"/>
                  </a:lnTo>
                  <a:lnTo>
                    <a:pt x="100204" y="96266"/>
                  </a:lnTo>
                  <a:lnTo>
                    <a:pt x="99823" y="98425"/>
                  </a:lnTo>
                  <a:lnTo>
                    <a:pt x="99569" y="100584"/>
                  </a:lnTo>
                  <a:lnTo>
                    <a:pt x="99061" y="102616"/>
                  </a:lnTo>
                  <a:lnTo>
                    <a:pt x="98552" y="104649"/>
                  </a:lnTo>
                  <a:lnTo>
                    <a:pt x="97918" y="106553"/>
                  </a:lnTo>
                  <a:lnTo>
                    <a:pt x="97156" y="108459"/>
                  </a:lnTo>
                  <a:lnTo>
                    <a:pt x="96394" y="110363"/>
                  </a:lnTo>
                  <a:lnTo>
                    <a:pt x="95632" y="112015"/>
                  </a:lnTo>
                  <a:lnTo>
                    <a:pt x="94743" y="113793"/>
                  </a:lnTo>
                  <a:lnTo>
                    <a:pt x="93726" y="115444"/>
                  </a:lnTo>
                  <a:lnTo>
                    <a:pt x="92583" y="116968"/>
                  </a:lnTo>
                  <a:lnTo>
                    <a:pt x="91568" y="118491"/>
                  </a:lnTo>
                  <a:lnTo>
                    <a:pt x="90425" y="120016"/>
                  </a:lnTo>
                  <a:lnTo>
                    <a:pt x="89155" y="121285"/>
                  </a:lnTo>
                  <a:lnTo>
                    <a:pt x="87884" y="122682"/>
                  </a:lnTo>
                  <a:lnTo>
                    <a:pt x="86488" y="123953"/>
                  </a:lnTo>
                  <a:lnTo>
                    <a:pt x="85218" y="125222"/>
                  </a:lnTo>
                  <a:lnTo>
                    <a:pt x="83694" y="126366"/>
                  </a:lnTo>
                  <a:lnTo>
                    <a:pt x="82169" y="127509"/>
                  </a:lnTo>
                  <a:lnTo>
                    <a:pt x="80645" y="128525"/>
                  </a:lnTo>
                  <a:lnTo>
                    <a:pt x="78994" y="129413"/>
                  </a:lnTo>
                  <a:lnTo>
                    <a:pt x="77344" y="130429"/>
                  </a:lnTo>
                  <a:lnTo>
                    <a:pt x="75565" y="131319"/>
                  </a:lnTo>
                  <a:lnTo>
                    <a:pt x="73788" y="131953"/>
                  </a:lnTo>
                  <a:lnTo>
                    <a:pt x="72009" y="132716"/>
                  </a:lnTo>
                  <a:lnTo>
                    <a:pt x="70105" y="133350"/>
                  </a:lnTo>
                  <a:lnTo>
                    <a:pt x="68200" y="134112"/>
                  </a:lnTo>
                  <a:lnTo>
                    <a:pt x="66294" y="134494"/>
                  </a:lnTo>
                  <a:lnTo>
                    <a:pt x="64389" y="135001"/>
                  </a:lnTo>
                  <a:lnTo>
                    <a:pt x="64389" y="128271"/>
                  </a:lnTo>
                  <a:lnTo>
                    <a:pt x="67311" y="127381"/>
                  </a:lnTo>
                  <a:lnTo>
                    <a:pt x="70105" y="126238"/>
                  </a:lnTo>
                  <a:lnTo>
                    <a:pt x="72899" y="124969"/>
                  </a:lnTo>
                  <a:lnTo>
                    <a:pt x="75565" y="123572"/>
                  </a:lnTo>
                  <a:lnTo>
                    <a:pt x="78106" y="121794"/>
                  </a:lnTo>
                  <a:lnTo>
                    <a:pt x="80264" y="119888"/>
                  </a:lnTo>
                  <a:lnTo>
                    <a:pt x="82550" y="117729"/>
                  </a:lnTo>
                  <a:lnTo>
                    <a:pt x="84456" y="115444"/>
                  </a:lnTo>
                  <a:lnTo>
                    <a:pt x="86107" y="113031"/>
                  </a:lnTo>
                  <a:lnTo>
                    <a:pt x="87757" y="110237"/>
                  </a:lnTo>
                  <a:lnTo>
                    <a:pt x="89155" y="107188"/>
                  </a:lnTo>
                  <a:lnTo>
                    <a:pt x="90298" y="104141"/>
                  </a:lnTo>
                  <a:lnTo>
                    <a:pt x="91187" y="100712"/>
                  </a:lnTo>
                  <a:lnTo>
                    <a:pt x="91821" y="97156"/>
                  </a:lnTo>
                  <a:lnTo>
                    <a:pt x="92202" y="93346"/>
                  </a:lnTo>
                  <a:lnTo>
                    <a:pt x="92330" y="89281"/>
                  </a:lnTo>
                  <a:lnTo>
                    <a:pt x="92330" y="87250"/>
                  </a:lnTo>
                  <a:lnTo>
                    <a:pt x="92202" y="84963"/>
                  </a:lnTo>
                  <a:lnTo>
                    <a:pt x="91821" y="82804"/>
                  </a:lnTo>
                  <a:lnTo>
                    <a:pt x="91568" y="80519"/>
                  </a:lnTo>
                  <a:lnTo>
                    <a:pt x="90551" y="75947"/>
                  </a:lnTo>
                  <a:lnTo>
                    <a:pt x="89282" y="71247"/>
                  </a:lnTo>
                  <a:lnTo>
                    <a:pt x="87504" y="66549"/>
                  </a:lnTo>
                  <a:lnTo>
                    <a:pt x="85599" y="61850"/>
                  </a:lnTo>
                  <a:lnTo>
                    <a:pt x="83313" y="57150"/>
                  </a:lnTo>
                  <a:lnTo>
                    <a:pt x="80900" y="52451"/>
                  </a:lnTo>
                  <a:lnTo>
                    <a:pt x="78232" y="47753"/>
                  </a:lnTo>
                  <a:lnTo>
                    <a:pt x="75438" y="43053"/>
                  </a:lnTo>
                  <a:lnTo>
                    <a:pt x="72518" y="38481"/>
                  </a:lnTo>
                  <a:lnTo>
                    <a:pt x="69215" y="33909"/>
                  </a:lnTo>
                  <a:lnTo>
                    <a:pt x="66168" y="29591"/>
                  </a:lnTo>
                  <a:lnTo>
                    <a:pt x="62738" y="25400"/>
                  </a:lnTo>
                  <a:lnTo>
                    <a:pt x="59563" y="21209"/>
                  </a:lnTo>
                  <a:lnTo>
                    <a:pt x="56134" y="17272"/>
                  </a:lnTo>
                  <a:close/>
                  <a:moveTo>
                    <a:pt x="-3376167" y="2551176"/>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76" name="Freeform 1376"/>
            <p:cNvSpPr/>
            <p:nvPr/>
          </p:nvSpPr>
          <p:spPr>
            <a:xfrm>
              <a:off x="5133336" y="4172325"/>
              <a:ext cx="313781" cy="371662"/>
            </a:xfrm>
            <a:custGeom>
              <a:avLst/>
              <a:gdLst/>
              <a:ahLst/>
              <a:cxnLst/>
              <a:rect l="0" t="0" r="0" b="0"/>
              <a:pathLst>
                <a:path w="313944" h="371856">
                  <a:moveTo>
                    <a:pt x="237489" y="34671"/>
                  </a:moveTo>
                  <a:lnTo>
                    <a:pt x="237489" y="34671"/>
                  </a:lnTo>
                  <a:close/>
                  <a:moveTo>
                    <a:pt x="-2482215" y="2685288"/>
                  </a:moveTo>
                  <a:moveTo>
                    <a:pt x="268604" y="79756"/>
                  </a:moveTo>
                  <a:lnTo>
                    <a:pt x="268604" y="79756"/>
                  </a:lnTo>
                  <a:lnTo>
                    <a:pt x="268604" y="81281"/>
                  </a:lnTo>
                  <a:lnTo>
                    <a:pt x="268985" y="83059"/>
                  </a:lnTo>
                  <a:lnTo>
                    <a:pt x="269366" y="84456"/>
                  </a:lnTo>
                  <a:lnTo>
                    <a:pt x="270128" y="85853"/>
                  </a:lnTo>
                  <a:lnTo>
                    <a:pt x="270890" y="87377"/>
                  </a:lnTo>
                  <a:lnTo>
                    <a:pt x="271779" y="88646"/>
                  </a:lnTo>
                  <a:lnTo>
                    <a:pt x="272796" y="89916"/>
                  </a:lnTo>
                  <a:lnTo>
                    <a:pt x="273939" y="91059"/>
                  </a:lnTo>
                  <a:lnTo>
                    <a:pt x="275208" y="92203"/>
                  </a:lnTo>
                  <a:lnTo>
                    <a:pt x="276733" y="92965"/>
                  </a:lnTo>
                  <a:lnTo>
                    <a:pt x="278257" y="93727"/>
                  </a:lnTo>
                  <a:lnTo>
                    <a:pt x="280034" y="94488"/>
                  </a:lnTo>
                  <a:lnTo>
                    <a:pt x="281558" y="95124"/>
                  </a:lnTo>
                  <a:lnTo>
                    <a:pt x="283464" y="95505"/>
                  </a:lnTo>
                  <a:lnTo>
                    <a:pt x="285369" y="95759"/>
                  </a:lnTo>
                  <a:lnTo>
                    <a:pt x="287273" y="95759"/>
                  </a:lnTo>
                  <a:lnTo>
                    <a:pt x="297179" y="95759"/>
                  </a:lnTo>
                  <a:lnTo>
                    <a:pt x="297179" y="116078"/>
                  </a:lnTo>
                  <a:lnTo>
                    <a:pt x="312801" y="116078"/>
                  </a:lnTo>
                  <a:lnTo>
                    <a:pt x="312801" y="82550"/>
                  </a:lnTo>
                  <a:lnTo>
                    <a:pt x="312801" y="80646"/>
                  </a:lnTo>
                  <a:lnTo>
                    <a:pt x="312420" y="78868"/>
                  </a:lnTo>
                  <a:lnTo>
                    <a:pt x="312039" y="77090"/>
                  </a:lnTo>
                  <a:lnTo>
                    <a:pt x="311658" y="75312"/>
                  </a:lnTo>
                  <a:lnTo>
                    <a:pt x="310260" y="71628"/>
                  </a:lnTo>
                  <a:lnTo>
                    <a:pt x="308609" y="68199"/>
                  </a:lnTo>
                  <a:lnTo>
                    <a:pt x="306451" y="65024"/>
                  </a:lnTo>
                  <a:lnTo>
                    <a:pt x="304038" y="62103"/>
                  </a:lnTo>
                  <a:lnTo>
                    <a:pt x="302514" y="60706"/>
                  </a:lnTo>
                  <a:lnTo>
                    <a:pt x="301116" y="59183"/>
                  </a:lnTo>
                  <a:lnTo>
                    <a:pt x="299593" y="58166"/>
                  </a:lnTo>
                  <a:lnTo>
                    <a:pt x="297941" y="56896"/>
                  </a:lnTo>
                  <a:lnTo>
                    <a:pt x="247014" y="23749"/>
                  </a:lnTo>
                  <a:lnTo>
                    <a:pt x="237489" y="34671"/>
                  </a:lnTo>
                  <a:lnTo>
                    <a:pt x="268604" y="54611"/>
                  </a:lnTo>
                  <a:lnTo>
                    <a:pt x="268604" y="79756"/>
                  </a:lnTo>
                  <a:close/>
                  <a:moveTo>
                    <a:pt x="-2527300" y="2685288"/>
                  </a:moveTo>
                  <a:moveTo>
                    <a:pt x="276352" y="59690"/>
                  </a:moveTo>
                  <a:lnTo>
                    <a:pt x="288544" y="67565"/>
                  </a:lnTo>
                  <a:lnTo>
                    <a:pt x="290068" y="68708"/>
                  </a:lnTo>
                  <a:lnTo>
                    <a:pt x="291591" y="70231"/>
                  </a:lnTo>
                  <a:lnTo>
                    <a:pt x="293115" y="72137"/>
                  </a:lnTo>
                  <a:lnTo>
                    <a:pt x="294513" y="74296"/>
                  </a:lnTo>
                  <a:lnTo>
                    <a:pt x="295783" y="76581"/>
                  </a:lnTo>
                  <a:lnTo>
                    <a:pt x="296545" y="78740"/>
                  </a:lnTo>
                  <a:lnTo>
                    <a:pt x="297179" y="80646"/>
                  </a:lnTo>
                  <a:lnTo>
                    <a:pt x="297179" y="82550"/>
                  </a:lnTo>
                  <a:lnTo>
                    <a:pt x="297179" y="89028"/>
                  </a:lnTo>
                  <a:lnTo>
                    <a:pt x="287273" y="89028"/>
                  </a:lnTo>
                  <a:lnTo>
                    <a:pt x="284988" y="88900"/>
                  </a:lnTo>
                  <a:lnTo>
                    <a:pt x="283083" y="88393"/>
                  </a:lnTo>
                  <a:lnTo>
                    <a:pt x="281177" y="87377"/>
                  </a:lnTo>
                  <a:lnTo>
                    <a:pt x="279400" y="86361"/>
                  </a:lnTo>
                  <a:lnTo>
                    <a:pt x="278129" y="84963"/>
                  </a:lnTo>
                  <a:lnTo>
                    <a:pt x="277114" y="83312"/>
                  </a:lnTo>
                  <a:lnTo>
                    <a:pt x="276606" y="81662"/>
                  </a:lnTo>
                  <a:lnTo>
                    <a:pt x="276352" y="79756"/>
                  </a:lnTo>
                  <a:lnTo>
                    <a:pt x="276352" y="59690"/>
                  </a:lnTo>
                  <a:close/>
                  <a:moveTo>
                    <a:pt x="-2507234" y="2685288"/>
                  </a:moveTo>
                  <a:moveTo>
                    <a:pt x="0" y="371856"/>
                  </a:moveTo>
                  <a:lnTo>
                    <a:pt x="243077" y="371856"/>
                  </a:lnTo>
                  <a:lnTo>
                    <a:pt x="243077" y="358521"/>
                  </a:lnTo>
                  <a:lnTo>
                    <a:pt x="0" y="358521"/>
                  </a:lnTo>
                  <a:lnTo>
                    <a:pt x="0" y="371856"/>
                  </a:lnTo>
                  <a:close/>
                  <a:moveTo>
                    <a:pt x="-2819400" y="2685288"/>
                  </a:moveTo>
                  <a:moveTo>
                    <a:pt x="127253" y="155321"/>
                  </a:moveTo>
                  <a:lnTo>
                    <a:pt x="125476" y="159766"/>
                  </a:lnTo>
                  <a:lnTo>
                    <a:pt x="123571" y="163831"/>
                  </a:lnTo>
                  <a:lnTo>
                    <a:pt x="121665" y="167768"/>
                  </a:lnTo>
                  <a:lnTo>
                    <a:pt x="119760" y="171196"/>
                  </a:lnTo>
                  <a:lnTo>
                    <a:pt x="117856" y="174499"/>
                  </a:lnTo>
                  <a:lnTo>
                    <a:pt x="114681" y="178943"/>
                  </a:lnTo>
                  <a:lnTo>
                    <a:pt x="111252" y="182881"/>
                  </a:lnTo>
                  <a:lnTo>
                    <a:pt x="107822" y="186309"/>
                  </a:lnTo>
                  <a:lnTo>
                    <a:pt x="104394" y="189358"/>
                  </a:lnTo>
                  <a:lnTo>
                    <a:pt x="100964" y="192024"/>
                  </a:lnTo>
                  <a:lnTo>
                    <a:pt x="97535" y="194565"/>
                  </a:lnTo>
                  <a:lnTo>
                    <a:pt x="90804" y="199137"/>
                  </a:lnTo>
                  <a:lnTo>
                    <a:pt x="86614" y="201677"/>
                  </a:lnTo>
                  <a:lnTo>
                    <a:pt x="82422" y="204597"/>
                  </a:lnTo>
                  <a:lnTo>
                    <a:pt x="78485" y="207772"/>
                  </a:lnTo>
                  <a:lnTo>
                    <a:pt x="76581" y="209296"/>
                  </a:lnTo>
                  <a:lnTo>
                    <a:pt x="74802" y="211202"/>
                  </a:lnTo>
                  <a:lnTo>
                    <a:pt x="73152" y="212980"/>
                  </a:lnTo>
                  <a:lnTo>
                    <a:pt x="71627" y="215138"/>
                  </a:lnTo>
                  <a:lnTo>
                    <a:pt x="70231" y="217171"/>
                  </a:lnTo>
                  <a:lnTo>
                    <a:pt x="68960" y="219584"/>
                  </a:lnTo>
                  <a:lnTo>
                    <a:pt x="67818" y="222250"/>
                  </a:lnTo>
                  <a:lnTo>
                    <a:pt x="66802" y="224790"/>
                  </a:lnTo>
                  <a:lnTo>
                    <a:pt x="66039" y="227712"/>
                  </a:lnTo>
                  <a:lnTo>
                    <a:pt x="65532" y="231013"/>
                  </a:lnTo>
                  <a:lnTo>
                    <a:pt x="65277" y="232918"/>
                  </a:lnTo>
                  <a:lnTo>
                    <a:pt x="65277" y="235205"/>
                  </a:lnTo>
                  <a:lnTo>
                    <a:pt x="65277" y="237490"/>
                  </a:lnTo>
                  <a:lnTo>
                    <a:pt x="65658" y="240031"/>
                  </a:lnTo>
                  <a:lnTo>
                    <a:pt x="66294" y="242443"/>
                  </a:lnTo>
                  <a:lnTo>
                    <a:pt x="67183" y="244603"/>
                  </a:lnTo>
                  <a:lnTo>
                    <a:pt x="68198" y="247015"/>
                  </a:lnTo>
                  <a:lnTo>
                    <a:pt x="69469" y="249047"/>
                  </a:lnTo>
                  <a:lnTo>
                    <a:pt x="70993" y="251206"/>
                  </a:lnTo>
                  <a:lnTo>
                    <a:pt x="72771" y="253112"/>
                  </a:lnTo>
                  <a:lnTo>
                    <a:pt x="74676" y="255143"/>
                  </a:lnTo>
                  <a:lnTo>
                    <a:pt x="76708" y="256921"/>
                  </a:lnTo>
                  <a:lnTo>
                    <a:pt x="78866" y="258827"/>
                  </a:lnTo>
                  <a:lnTo>
                    <a:pt x="81279" y="260350"/>
                  </a:lnTo>
                  <a:lnTo>
                    <a:pt x="83946" y="262128"/>
                  </a:lnTo>
                  <a:lnTo>
                    <a:pt x="86868" y="263525"/>
                  </a:lnTo>
                  <a:lnTo>
                    <a:pt x="89662" y="264922"/>
                  </a:lnTo>
                  <a:lnTo>
                    <a:pt x="92709" y="266319"/>
                  </a:lnTo>
                  <a:lnTo>
                    <a:pt x="92202" y="263780"/>
                  </a:lnTo>
                  <a:lnTo>
                    <a:pt x="91821" y="260986"/>
                  </a:lnTo>
                  <a:lnTo>
                    <a:pt x="91439" y="258446"/>
                  </a:lnTo>
                  <a:lnTo>
                    <a:pt x="91185" y="256159"/>
                  </a:lnTo>
                  <a:lnTo>
                    <a:pt x="87376" y="254255"/>
                  </a:lnTo>
                  <a:lnTo>
                    <a:pt x="84201" y="252222"/>
                  </a:lnTo>
                  <a:lnTo>
                    <a:pt x="81533" y="250063"/>
                  </a:lnTo>
                  <a:lnTo>
                    <a:pt x="80137" y="248921"/>
                  </a:lnTo>
                  <a:lnTo>
                    <a:pt x="79247" y="247778"/>
                  </a:lnTo>
                  <a:lnTo>
                    <a:pt x="78232" y="246508"/>
                  </a:lnTo>
                  <a:lnTo>
                    <a:pt x="77343" y="245111"/>
                  </a:lnTo>
                  <a:lnTo>
                    <a:pt x="76581" y="243840"/>
                  </a:lnTo>
                  <a:lnTo>
                    <a:pt x="75946" y="242443"/>
                  </a:lnTo>
                  <a:lnTo>
                    <a:pt x="75564" y="240793"/>
                  </a:lnTo>
                  <a:lnTo>
                    <a:pt x="75183" y="239396"/>
                  </a:lnTo>
                  <a:lnTo>
                    <a:pt x="75057" y="237744"/>
                  </a:lnTo>
                  <a:lnTo>
                    <a:pt x="75057" y="235966"/>
                  </a:lnTo>
                  <a:lnTo>
                    <a:pt x="75183" y="232791"/>
                  </a:lnTo>
                  <a:lnTo>
                    <a:pt x="75564" y="230124"/>
                  </a:lnTo>
                  <a:lnTo>
                    <a:pt x="76327" y="227584"/>
                  </a:lnTo>
                  <a:lnTo>
                    <a:pt x="76962" y="225299"/>
                  </a:lnTo>
                  <a:lnTo>
                    <a:pt x="77851" y="223393"/>
                  </a:lnTo>
                  <a:lnTo>
                    <a:pt x="78613" y="221362"/>
                  </a:lnTo>
                  <a:lnTo>
                    <a:pt x="79756" y="219584"/>
                  </a:lnTo>
                  <a:lnTo>
                    <a:pt x="80898" y="217806"/>
                  </a:lnTo>
                  <a:lnTo>
                    <a:pt x="82041" y="216281"/>
                  </a:lnTo>
                  <a:lnTo>
                    <a:pt x="83439" y="214884"/>
                  </a:lnTo>
                  <a:lnTo>
                    <a:pt x="84963" y="213234"/>
                  </a:lnTo>
                  <a:lnTo>
                    <a:pt x="88138" y="210566"/>
                  </a:lnTo>
                  <a:lnTo>
                    <a:pt x="91947" y="207899"/>
                  </a:lnTo>
                  <a:lnTo>
                    <a:pt x="96139" y="204978"/>
                  </a:lnTo>
                  <a:lnTo>
                    <a:pt x="100583" y="202184"/>
                  </a:lnTo>
                  <a:lnTo>
                    <a:pt x="105156" y="199137"/>
                  </a:lnTo>
                  <a:lnTo>
                    <a:pt x="109854" y="195581"/>
                  </a:lnTo>
                  <a:lnTo>
                    <a:pt x="112140" y="193549"/>
                  </a:lnTo>
                  <a:lnTo>
                    <a:pt x="114681" y="191516"/>
                  </a:lnTo>
                  <a:lnTo>
                    <a:pt x="116966" y="189358"/>
                  </a:lnTo>
                  <a:lnTo>
                    <a:pt x="119252" y="187071"/>
                  </a:lnTo>
                  <a:lnTo>
                    <a:pt x="121284" y="184405"/>
                  </a:lnTo>
                  <a:lnTo>
                    <a:pt x="123444" y="181611"/>
                  </a:lnTo>
                  <a:lnTo>
                    <a:pt x="125476" y="178816"/>
                  </a:lnTo>
                  <a:lnTo>
                    <a:pt x="127381" y="175641"/>
                  </a:lnTo>
                  <a:lnTo>
                    <a:pt x="129285" y="172212"/>
                  </a:lnTo>
                  <a:lnTo>
                    <a:pt x="130809" y="168530"/>
                  </a:lnTo>
                  <a:lnTo>
                    <a:pt x="137287" y="176531"/>
                  </a:lnTo>
                  <a:lnTo>
                    <a:pt x="143637" y="183769"/>
                  </a:lnTo>
                  <a:lnTo>
                    <a:pt x="149097" y="190881"/>
                  </a:lnTo>
                  <a:lnTo>
                    <a:pt x="151764" y="194184"/>
                  </a:lnTo>
                  <a:lnTo>
                    <a:pt x="154051" y="197486"/>
                  </a:lnTo>
                  <a:lnTo>
                    <a:pt x="156337" y="200787"/>
                  </a:lnTo>
                  <a:lnTo>
                    <a:pt x="158496" y="204343"/>
                  </a:lnTo>
                  <a:lnTo>
                    <a:pt x="160146" y="207772"/>
                  </a:lnTo>
                  <a:lnTo>
                    <a:pt x="161671" y="211202"/>
                  </a:lnTo>
                  <a:lnTo>
                    <a:pt x="162814" y="215012"/>
                  </a:lnTo>
                  <a:lnTo>
                    <a:pt x="163829" y="218821"/>
                  </a:lnTo>
                  <a:lnTo>
                    <a:pt x="164210" y="222759"/>
                  </a:lnTo>
                  <a:lnTo>
                    <a:pt x="164338" y="226822"/>
                  </a:lnTo>
                  <a:lnTo>
                    <a:pt x="164338" y="230252"/>
                  </a:lnTo>
                  <a:lnTo>
                    <a:pt x="163957" y="233553"/>
                  </a:lnTo>
                  <a:lnTo>
                    <a:pt x="163195" y="237744"/>
                  </a:lnTo>
                  <a:lnTo>
                    <a:pt x="162052" y="241300"/>
                  </a:lnTo>
                  <a:lnTo>
                    <a:pt x="160527" y="244730"/>
                  </a:lnTo>
                  <a:lnTo>
                    <a:pt x="158877" y="247905"/>
                  </a:lnTo>
                  <a:lnTo>
                    <a:pt x="156337" y="250699"/>
                  </a:lnTo>
                  <a:lnTo>
                    <a:pt x="154051" y="253238"/>
                  </a:lnTo>
                  <a:lnTo>
                    <a:pt x="151257" y="255652"/>
                  </a:lnTo>
                  <a:lnTo>
                    <a:pt x="148335" y="257684"/>
                  </a:lnTo>
                  <a:lnTo>
                    <a:pt x="145160" y="259588"/>
                  </a:lnTo>
                  <a:lnTo>
                    <a:pt x="141858" y="260986"/>
                  </a:lnTo>
                  <a:lnTo>
                    <a:pt x="138302" y="262383"/>
                  </a:lnTo>
                  <a:lnTo>
                    <a:pt x="134620" y="263399"/>
                  </a:lnTo>
                  <a:lnTo>
                    <a:pt x="130809" y="264161"/>
                  </a:lnTo>
                  <a:lnTo>
                    <a:pt x="126872" y="264668"/>
                  </a:lnTo>
                  <a:lnTo>
                    <a:pt x="123063" y="265049"/>
                  </a:lnTo>
                  <a:lnTo>
                    <a:pt x="118871" y="265049"/>
                  </a:lnTo>
                  <a:lnTo>
                    <a:pt x="116204" y="265049"/>
                  </a:lnTo>
                  <a:lnTo>
                    <a:pt x="113538" y="264922"/>
                  </a:lnTo>
                  <a:lnTo>
                    <a:pt x="107950" y="264287"/>
                  </a:lnTo>
                  <a:lnTo>
                    <a:pt x="107441" y="262256"/>
                  </a:lnTo>
                  <a:lnTo>
                    <a:pt x="107060" y="260096"/>
                  </a:lnTo>
                  <a:lnTo>
                    <a:pt x="106679" y="257811"/>
                  </a:lnTo>
                  <a:lnTo>
                    <a:pt x="106679" y="256159"/>
                  </a:lnTo>
                  <a:lnTo>
                    <a:pt x="106679" y="254381"/>
                  </a:lnTo>
                  <a:lnTo>
                    <a:pt x="106807" y="252603"/>
                  </a:lnTo>
                  <a:lnTo>
                    <a:pt x="107188" y="251080"/>
                  </a:lnTo>
                  <a:lnTo>
                    <a:pt x="107569" y="249556"/>
                  </a:lnTo>
                  <a:lnTo>
                    <a:pt x="108712" y="246634"/>
                  </a:lnTo>
                  <a:lnTo>
                    <a:pt x="110235" y="243840"/>
                  </a:lnTo>
                  <a:lnTo>
                    <a:pt x="112140" y="241174"/>
                  </a:lnTo>
                  <a:lnTo>
                    <a:pt x="114046" y="238761"/>
                  </a:lnTo>
                  <a:lnTo>
                    <a:pt x="116332" y="236093"/>
                  </a:lnTo>
                  <a:lnTo>
                    <a:pt x="118618" y="233553"/>
                  </a:lnTo>
                  <a:lnTo>
                    <a:pt x="123444" y="228728"/>
                  </a:lnTo>
                  <a:lnTo>
                    <a:pt x="125729" y="226061"/>
                  </a:lnTo>
                  <a:lnTo>
                    <a:pt x="127634" y="223140"/>
                  </a:lnTo>
                  <a:lnTo>
                    <a:pt x="129285" y="220218"/>
                  </a:lnTo>
                  <a:lnTo>
                    <a:pt x="130047" y="218821"/>
                  </a:lnTo>
                  <a:lnTo>
                    <a:pt x="130809" y="217043"/>
                  </a:lnTo>
                  <a:lnTo>
                    <a:pt x="131190" y="215519"/>
                  </a:lnTo>
                  <a:lnTo>
                    <a:pt x="131571" y="213615"/>
                  </a:lnTo>
                  <a:lnTo>
                    <a:pt x="131826" y="211837"/>
                  </a:lnTo>
                  <a:lnTo>
                    <a:pt x="131952" y="209805"/>
                  </a:lnTo>
                  <a:lnTo>
                    <a:pt x="126872" y="209805"/>
                  </a:lnTo>
                  <a:lnTo>
                    <a:pt x="126619" y="211583"/>
                  </a:lnTo>
                  <a:lnTo>
                    <a:pt x="126491" y="212980"/>
                  </a:lnTo>
                  <a:lnTo>
                    <a:pt x="126238" y="214503"/>
                  </a:lnTo>
                  <a:lnTo>
                    <a:pt x="125729" y="215774"/>
                  </a:lnTo>
                  <a:lnTo>
                    <a:pt x="124587" y="218440"/>
                  </a:lnTo>
                  <a:lnTo>
                    <a:pt x="123189" y="220981"/>
                  </a:lnTo>
                  <a:lnTo>
                    <a:pt x="121284" y="223521"/>
                  </a:lnTo>
                  <a:lnTo>
                    <a:pt x="119252" y="226061"/>
                  </a:lnTo>
                  <a:lnTo>
                    <a:pt x="114681" y="230887"/>
                  </a:lnTo>
                  <a:lnTo>
                    <a:pt x="112395" y="233299"/>
                  </a:lnTo>
                  <a:lnTo>
                    <a:pt x="109854" y="235966"/>
                  </a:lnTo>
                  <a:lnTo>
                    <a:pt x="107822" y="238761"/>
                  </a:lnTo>
                  <a:lnTo>
                    <a:pt x="105664" y="241681"/>
                  </a:lnTo>
                  <a:lnTo>
                    <a:pt x="104013" y="244984"/>
                  </a:lnTo>
                  <a:lnTo>
                    <a:pt x="103251" y="246634"/>
                  </a:lnTo>
                  <a:lnTo>
                    <a:pt x="102615" y="248412"/>
                  </a:lnTo>
                  <a:lnTo>
                    <a:pt x="102108" y="250318"/>
                  </a:lnTo>
                  <a:lnTo>
                    <a:pt x="101727" y="251968"/>
                  </a:lnTo>
                  <a:lnTo>
                    <a:pt x="101472" y="254000"/>
                  </a:lnTo>
                  <a:lnTo>
                    <a:pt x="101472" y="256159"/>
                  </a:lnTo>
                  <a:lnTo>
                    <a:pt x="101472" y="258572"/>
                  </a:lnTo>
                  <a:lnTo>
                    <a:pt x="101853" y="261112"/>
                  </a:lnTo>
                  <a:lnTo>
                    <a:pt x="102489" y="264034"/>
                  </a:lnTo>
                  <a:lnTo>
                    <a:pt x="103377" y="266955"/>
                  </a:lnTo>
                  <a:lnTo>
                    <a:pt x="104521" y="270130"/>
                  </a:lnTo>
                  <a:lnTo>
                    <a:pt x="106045" y="273178"/>
                  </a:lnTo>
                  <a:lnTo>
                    <a:pt x="107822" y="276606"/>
                  </a:lnTo>
                  <a:lnTo>
                    <a:pt x="109854" y="280036"/>
                  </a:lnTo>
                  <a:lnTo>
                    <a:pt x="112395" y="283846"/>
                  </a:lnTo>
                  <a:lnTo>
                    <a:pt x="115189" y="287783"/>
                  </a:lnTo>
                  <a:lnTo>
                    <a:pt x="118237" y="291846"/>
                  </a:lnTo>
                  <a:lnTo>
                    <a:pt x="121920" y="296165"/>
                  </a:lnTo>
                  <a:lnTo>
                    <a:pt x="121920" y="295911"/>
                  </a:lnTo>
                  <a:lnTo>
                    <a:pt x="122808" y="296927"/>
                  </a:lnTo>
                  <a:lnTo>
                    <a:pt x="129921" y="292481"/>
                  </a:lnTo>
                  <a:lnTo>
                    <a:pt x="127000" y="289053"/>
                  </a:lnTo>
                  <a:lnTo>
                    <a:pt x="124333" y="286005"/>
                  </a:lnTo>
                  <a:lnTo>
                    <a:pt x="122046" y="282830"/>
                  </a:lnTo>
                  <a:lnTo>
                    <a:pt x="120014" y="279909"/>
                  </a:lnTo>
                  <a:lnTo>
                    <a:pt x="118237" y="277115"/>
                  </a:lnTo>
                  <a:lnTo>
                    <a:pt x="116585" y="274574"/>
                  </a:lnTo>
                  <a:lnTo>
                    <a:pt x="115189" y="271908"/>
                  </a:lnTo>
                  <a:lnTo>
                    <a:pt x="114046" y="269368"/>
                  </a:lnTo>
                  <a:lnTo>
                    <a:pt x="116585" y="269494"/>
                  </a:lnTo>
                  <a:lnTo>
                    <a:pt x="118871" y="269621"/>
                  </a:lnTo>
                  <a:lnTo>
                    <a:pt x="119379" y="269621"/>
                  </a:lnTo>
                  <a:lnTo>
                    <a:pt x="123571" y="269494"/>
                  </a:lnTo>
                  <a:lnTo>
                    <a:pt x="128015" y="269240"/>
                  </a:lnTo>
                  <a:lnTo>
                    <a:pt x="132207" y="268606"/>
                  </a:lnTo>
                  <a:lnTo>
                    <a:pt x="136397" y="267590"/>
                  </a:lnTo>
                  <a:lnTo>
                    <a:pt x="140334" y="266446"/>
                  </a:lnTo>
                  <a:lnTo>
                    <a:pt x="144398" y="264922"/>
                  </a:lnTo>
                  <a:lnTo>
                    <a:pt x="147954" y="263144"/>
                  </a:lnTo>
                  <a:lnTo>
                    <a:pt x="151638" y="261112"/>
                  </a:lnTo>
                  <a:lnTo>
                    <a:pt x="154813" y="258953"/>
                  </a:lnTo>
                  <a:lnTo>
                    <a:pt x="158114" y="256287"/>
                  </a:lnTo>
                  <a:lnTo>
                    <a:pt x="159639" y="254890"/>
                  </a:lnTo>
                  <a:lnTo>
                    <a:pt x="160908" y="253238"/>
                  </a:lnTo>
                  <a:lnTo>
                    <a:pt x="162052" y="251715"/>
                  </a:lnTo>
                  <a:lnTo>
                    <a:pt x="163195" y="250063"/>
                  </a:lnTo>
                  <a:lnTo>
                    <a:pt x="164338" y="248412"/>
                  </a:lnTo>
                  <a:lnTo>
                    <a:pt x="165353" y="246634"/>
                  </a:lnTo>
                  <a:lnTo>
                    <a:pt x="166243" y="244603"/>
                  </a:lnTo>
                  <a:lnTo>
                    <a:pt x="167004" y="242824"/>
                  </a:lnTo>
                  <a:lnTo>
                    <a:pt x="167766" y="240665"/>
                  </a:lnTo>
                  <a:lnTo>
                    <a:pt x="168402" y="238634"/>
                  </a:lnTo>
                  <a:lnTo>
                    <a:pt x="168783" y="236474"/>
                  </a:lnTo>
                  <a:lnTo>
                    <a:pt x="169164" y="234188"/>
                  </a:lnTo>
                  <a:lnTo>
                    <a:pt x="169545" y="230378"/>
                  </a:lnTo>
                  <a:lnTo>
                    <a:pt x="169545" y="226822"/>
                  </a:lnTo>
                  <a:lnTo>
                    <a:pt x="169545" y="224283"/>
                  </a:lnTo>
                  <a:lnTo>
                    <a:pt x="169290" y="221743"/>
                  </a:lnTo>
                  <a:lnTo>
                    <a:pt x="169164" y="219456"/>
                  </a:lnTo>
                  <a:lnTo>
                    <a:pt x="168528" y="217043"/>
                  </a:lnTo>
                  <a:lnTo>
                    <a:pt x="167639" y="212599"/>
                  </a:lnTo>
                  <a:lnTo>
                    <a:pt x="166115" y="208408"/>
                  </a:lnTo>
                  <a:lnTo>
                    <a:pt x="164210" y="204343"/>
                  </a:lnTo>
                  <a:lnTo>
                    <a:pt x="162052" y="200153"/>
                  </a:lnTo>
                  <a:lnTo>
                    <a:pt x="159639" y="196469"/>
                  </a:lnTo>
                  <a:lnTo>
                    <a:pt x="156718" y="192533"/>
                  </a:lnTo>
                  <a:lnTo>
                    <a:pt x="153670" y="188722"/>
                  </a:lnTo>
                  <a:lnTo>
                    <a:pt x="150621" y="184786"/>
                  </a:lnTo>
                  <a:lnTo>
                    <a:pt x="144018" y="176912"/>
                  </a:lnTo>
                  <a:lnTo>
                    <a:pt x="137159" y="168530"/>
                  </a:lnTo>
                  <a:lnTo>
                    <a:pt x="133477" y="163958"/>
                  </a:lnTo>
                  <a:lnTo>
                    <a:pt x="130047" y="159259"/>
                  </a:lnTo>
                  <a:lnTo>
                    <a:pt x="127253" y="155321"/>
                  </a:lnTo>
                  <a:close/>
                  <a:moveTo>
                    <a:pt x="-2602865" y="2685288"/>
                  </a:moveTo>
                  <a:moveTo>
                    <a:pt x="313944" y="129668"/>
                  </a:moveTo>
                  <a:lnTo>
                    <a:pt x="298322" y="129668"/>
                  </a:lnTo>
                  <a:lnTo>
                    <a:pt x="298322" y="335915"/>
                  </a:lnTo>
                  <a:lnTo>
                    <a:pt x="298069" y="337059"/>
                  </a:lnTo>
                  <a:lnTo>
                    <a:pt x="297688" y="338328"/>
                  </a:lnTo>
                  <a:lnTo>
                    <a:pt x="297179" y="339218"/>
                  </a:lnTo>
                  <a:lnTo>
                    <a:pt x="296164" y="340234"/>
                  </a:lnTo>
                  <a:lnTo>
                    <a:pt x="295275" y="340868"/>
                  </a:lnTo>
                  <a:lnTo>
                    <a:pt x="294132" y="341377"/>
                  </a:lnTo>
                  <a:lnTo>
                    <a:pt x="292734" y="341758"/>
                  </a:lnTo>
                  <a:lnTo>
                    <a:pt x="291464" y="341758"/>
                  </a:lnTo>
                  <a:lnTo>
                    <a:pt x="280923" y="341758"/>
                  </a:lnTo>
                  <a:lnTo>
                    <a:pt x="279653" y="341758"/>
                  </a:lnTo>
                  <a:lnTo>
                    <a:pt x="278257" y="341503"/>
                  </a:lnTo>
                  <a:lnTo>
                    <a:pt x="277114" y="340868"/>
                  </a:lnTo>
                  <a:lnTo>
                    <a:pt x="276225" y="340234"/>
                  </a:lnTo>
                  <a:lnTo>
                    <a:pt x="275208" y="339218"/>
                  </a:lnTo>
                  <a:lnTo>
                    <a:pt x="274701" y="338328"/>
                  </a:lnTo>
                  <a:lnTo>
                    <a:pt x="274320" y="337059"/>
                  </a:lnTo>
                  <a:lnTo>
                    <a:pt x="274065" y="335915"/>
                  </a:lnTo>
                  <a:lnTo>
                    <a:pt x="274065" y="168403"/>
                  </a:lnTo>
                  <a:lnTo>
                    <a:pt x="273939" y="166497"/>
                  </a:lnTo>
                  <a:lnTo>
                    <a:pt x="273684" y="164465"/>
                  </a:lnTo>
                  <a:lnTo>
                    <a:pt x="273177" y="162687"/>
                  </a:lnTo>
                  <a:lnTo>
                    <a:pt x="272414" y="160783"/>
                  </a:lnTo>
                  <a:lnTo>
                    <a:pt x="271398" y="159259"/>
                  </a:lnTo>
                  <a:lnTo>
                    <a:pt x="270256" y="157481"/>
                  </a:lnTo>
                  <a:lnTo>
                    <a:pt x="268985" y="156084"/>
                  </a:lnTo>
                  <a:lnTo>
                    <a:pt x="267462" y="154687"/>
                  </a:lnTo>
                  <a:lnTo>
                    <a:pt x="265938" y="153416"/>
                  </a:lnTo>
                  <a:lnTo>
                    <a:pt x="264159" y="152274"/>
                  </a:lnTo>
                  <a:lnTo>
                    <a:pt x="262254" y="151384"/>
                  </a:lnTo>
                  <a:lnTo>
                    <a:pt x="260350" y="150622"/>
                  </a:lnTo>
                  <a:lnTo>
                    <a:pt x="258318" y="149861"/>
                  </a:lnTo>
                  <a:lnTo>
                    <a:pt x="256158" y="149353"/>
                  </a:lnTo>
                  <a:lnTo>
                    <a:pt x="253872" y="148971"/>
                  </a:lnTo>
                  <a:lnTo>
                    <a:pt x="251587" y="148971"/>
                  </a:lnTo>
                  <a:lnTo>
                    <a:pt x="219456" y="148971"/>
                  </a:lnTo>
                  <a:lnTo>
                    <a:pt x="219456" y="19431"/>
                  </a:lnTo>
                  <a:lnTo>
                    <a:pt x="219456" y="17399"/>
                  </a:lnTo>
                  <a:lnTo>
                    <a:pt x="219075" y="15494"/>
                  </a:lnTo>
                  <a:lnTo>
                    <a:pt x="218439" y="13590"/>
                  </a:lnTo>
                  <a:lnTo>
                    <a:pt x="217677" y="11812"/>
                  </a:lnTo>
                  <a:lnTo>
                    <a:pt x="216789" y="10287"/>
                  </a:lnTo>
                  <a:lnTo>
                    <a:pt x="215646" y="8509"/>
                  </a:lnTo>
                  <a:lnTo>
                    <a:pt x="214248" y="7112"/>
                  </a:lnTo>
                  <a:lnTo>
                    <a:pt x="212978" y="5715"/>
                  </a:lnTo>
                  <a:lnTo>
                    <a:pt x="211201" y="4446"/>
                  </a:lnTo>
                  <a:lnTo>
                    <a:pt x="209550" y="3303"/>
                  </a:lnTo>
                  <a:lnTo>
                    <a:pt x="207645" y="2413"/>
                  </a:lnTo>
                  <a:lnTo>
                    <a:pt x="205739" y="1397"/>
                  </a:lnTo>
                  <a:lnTo>
                    <a:pt x="203581" y="762"/>
                  </a:lnTo>
                  <a:lnTo>
                    <a:pt x="201548" y="381"/>
                  </a:lnTo>
                  <a:lnTo>
                    <a:pt x="199263" y="128"/>
                  </a:lnTo>
                  <a:lnTo>
                    <a:pt x="196977" y="0"/>
                  </a:lnTo>
                  <a:lnTo>
                    <a:pt x="46227" y="0"/>
                  </a:lnTo>
                  <a:lnTo>
                    <a:pt x="43941" y="128"/>
                  </a:lnTo>
                  <a:lnTo>
                    <a:pt x="41656" y="381"/>
                  </a:lnTo>
                  <a:lnTo>
                    <a:pt x="39370" y="762"/>
                  </a:lnTo>
                  <a:lnTo>
                    <a:pt x="37464" y="1397"/>
                  </a:lnTo>
                  <a:lnTo>
                    <a:pt x="35433" y="2413"/>
                  </a:lnTo>
                  <a:lnTo>
                    <a:pt x="33654" y="3303"/>
                  </a:lnTo>
                  <a:lnTo>
                    <a:pt x="31750" y="4446"/>
                  </a:lnTo>
                  <a:lnTo>
                    <a:pt x="30226" y="5715"/>
                  </a:lnTo>
                  <a:lnTo>
                    <a:pt x="28702" y="7112"/>
                  </a:lnTo>
                  <a:lnTo>
                    <a:pt x="27558" y="8509"/>
                  </a:lnTo>
                  <a:lnTo>
                    <a:pt x="26415" y="10287"/>
                  </a:lnTo>
                  <a:lnTo>
                    <a:pt x="25527" y="11812"/>
                  </a:lnTo>
                  <a:lnTo>
                    <a:pt x="24764" y="13590"/>
                  </a:lnTo>
                  <a:lnTo>
                    <a:pt x="24129" y="15494"/>
                  </a:lnTo>
                  <a:lnTo>
                    <a:pt x="23748" y="17399"/>
                  </a:lnTo>
                  <a:lnTo>
                    <a:pt x="23621" y="19431"/>
                  </a:lnTo>
                  <a:lnTo>
                    <a:pt x="23621" y="351283"/>
                  </a:lnTo>
                  <a:lnTo>
                    <a:pt x="219456" y="351283"/>
                  </a:lnTo>
                  <a:lnTo>
                    <a:pt x="219456" y="162561"/>
                  </a:lnTo>
                  <a:lnTo>
                    <a:pt x="251587" y="162561"/>
                  </a:lnTo>
                  <a:lnTo>
                    <a:pt x="252983" y="162561"/>
                  </a:lnTo>
                  <a:lnTo>
                    <a:pt x="254253" y="163068"/>
                  </a:lnTo>
                  <a:lnTo>
                    <a:pt x="255396" y="163449"/>
                  </a:lnTo>
                  <a:lnTo>
                    <a:pt x="256413" y="164084"/>
                  </a:lnTo>
                  <a:lnTo>
                    <a:pt x="257302" y="165100"/>
                  </a:lnTo>
                  <a:lnTo>
                    <a:pt x="257937" y="166116"/>
                  </a:lnTo>
                  <a:lnTo>
                    <a:pt x="258318" y="167259"/>
                  </a:lnTo>
                  <a:lnTo>
                    <a:pt x="258445" y="168403"/>
                  </a:lnTo>
                  <a:lnTo>
                    <a:pt x="258445" y="335915"/>
                  </a:lnTo>
                  <a:lnTo>
                    <a:pt x="258698" y="337947"/>
                  </a:lnTo>
                  <a:lnTo>
                    <a:pt x="259079" y="339853"/>
                  </a:lnTo>
                  <a:lnTo>
                    <a:pt x="259588" y="341631"/>
                  </a:lnTo>
                  <a:lnTo>
                    <a:pt x="260350" y="343536"/>
                  </a:lnTo>
                  <a:lnTo>
                    <a:pt x="261365" y="345059"/>
                  </a:lnTo>
                  <a:lnTo>
                    <a:pt x="262254" y="346837"/>
                  </a:lnTo>
                  <a:lnTo>
                    <a:pt x="263652" y="348234"/>
                  </a:lnTo>
                  <a:lnTo>
                    <a:pt x="265176" y="349631"/>
                  </a:lnTo>
                  <a:lnTo>
                    <a:pt x="266700" y="350902"/>
                  </a:lnTo>
                  <a:lnTo>
                    <a:pt x="268351" y="352044"/>
                  </a:lnTo>
                  <a:lnTo>
                    <a:pt x="270256" y="352934"/>
                  </a:lnTo>
                  <a:lnTo>
                    <a:pt x="272160" y="353949"/>
                  </a:lnTo>
                  <a:lnTo>
                    <a:pt x="274320" y="354584"/>
                  </a:lnTo>
                  <a:lnTo>
                    <a:pt x="276606" y="354965"/>
                  </a:lnTo>
                  <a:lnTo>
                    <a:pt x="278638" y="355346"/>
                  </a:lnTo>
                  <a:lnTo>
                    <a:pt x="280923" y="355346"/>
                  </a:lnTo>
                  <a:lnTo>
                    <a:pt x="291464" y="355346"/>
                  </a:lnTo>
                  <a:lnTo>
                    <a:pt x="293751" y="355346"/>
                  </a:lnTo>
                  <a:lnTo>
                    <a:pt x="296037" y="354965"/>
                  </a:lnTo>
                  <a:lnTo>
                    <a:pt x="298069" y="354584"/>
                  </a:lnTo>
                  <a:lnTo>
                    <a:pt x="300227" y="353949"/>
                  </a:lnTo>
                  <a:lnTo>
                    <a:pt x="302133" y="352934"/>
                  </a:lnTo>
                  <a:lnTo>
                    <a:pt x="304038" y="352044"/>
                  </a:lnTo>
                  <a:lnTo>
                    <a:pt x="305689" y="350902"/>
                  </a:lnTo>
                  <a:lnTo>
                    <a:pt x="307213" y="349631"/>
                  </a:lnTo>
                  <a:lnTo>
                    <a:pt x="308737" y="348234"/>
                  </a:lnTo>
                  <a:lnTo>
                    <a:pt x="310133" y="346837"/>
                  </a:lnTo>
                  <a:lnTo>
                    <a:pt x="311277" y="345059"/>
                  </a:lnTo>
                  <a:lnTo>
                    <a:pt x="312165" y="343536"/>
                  </a:lnTo>
                  <a:lnTo>
                    <a:pt x="312927" y="341631"/>
                  </a:lnTo>
                  <a:lnTo>
                    <a:pt x="313563" y="339853"/>
                  </a:lnTo>
                  <a:lnTo>
                    <a:pt x="313689" y="337947"/>
                  </a:lnTo>
                  <a:lnTo>
                    <a:pt x="313944" y="335915"/>
                  </a:lnTo>
                  <a:lnTo>
                    <a:pt x="313944" y="129668"/>
                  </a:lnTo>
                  <a:close/>
                  <a:moveTo>
                    <a:pt x="-2577212" y="2685288"/>
                  </a:moveTo>
                  <a:moveTo>
                    <a:pt x="203962" y="337693"/>
                  </a:moveTo>
                  <a:lnTo>
                    <a:pt x="39243" y="337693"/>
                  </a:lnTo>
                  <a:lnTo>
                    <a:pt x="39243" y="19431"/>
                  </a:lnTo>
                  <a:lnTo>
                    <a:pt x="39370" y="18288"/>
                  </a:lnTo>
                  <a:lnTo>
                    <a:pt x="39751" y="17018"/>
                  </a:lnTo>
                  <a:lnTo>
                    <a:pt x="40385" y="16130"/>
                  </a:lnTo>
                  <a:lnTo>
                    <a:pt x="41275" y="15113"/>
                  </a:lnTo>
                  <a:lnTo>
                    <a:pt x="42290" y="14478"/>
                  </a:lnTo>
                  <a:lnTo>
                    <a:pt x="43433" y="13843"/>
                  </a:lnTo>
                  <a:lnTo>
                    <a:pt x="44703" y="13590"/>
                  </a:lnTo>
                  <a:lnTo>
                    <a:pt x="46227" y="13462"/>
                  </a:lnTo>
                  <a:lnTo>
                    <a:pt x="196977" y="13462"/>
                  </a:lnTo>
                  <a:lnTo>
                    <a:pt x="198501" y="13590"/>
                  </a:lnTo>
                  <a:lnTo>
                    <a:pt x="199644" y="13843"/>
                  </a:lnTo>
                  <a:lnTo>
                    <a:pt x="200914" y="14478"/>
                  </a:lnTo>
                  <a:lnTo>
                    <a:pt x="201929" y="15113"/>
                  </a:lnTo>
                  <a:lnTo>
                    <a:pt x="202691" y="16130"/>
                  </a:lnTo>
                  <a:lnTo>
                    <a:pt x="203453" y="17018"/>
                  </a:lnTo>
                  <a:lnTo>
                    <a:pt x="203834" y="18288"/>
                  </a:lnTo>
                  <a:lnTo>
                    <a:pt x="203962" y="19431"/>
                  </a:lnTo>
                  <a:lnTo>
                    <a:pt x="203962" y="337693"/>
                  </a:lnTo>
                  <a:close/>
                  <a:moveTo>
                    <a:pt x="-2785237" y="2685288"/>
                  </a:moveTo>
                  <a:moveTo>
                    <a:pt x="178053" y="123699"/>
                  </a:moveTo>
                  <a:lnTo>
                    <a:pt x="64896" y="123699"/>
                  </a:lnTo>
                  <a:lnTo>
                    <a:pt x="64896" y="45340"/>
                  </a:lnTo>
                  <a:lnTo>
                    <a:pt x="169671" y="45340"/>
                  </a:lnTo>
                  <a:lnTo>
                    <a:pt x="169671" y="38736"/>
                  </a:lnTo>
                  <a:lnTo>
                    <a:pt x="57277" y="38736"/>
                  </a:lnTo>
                  <a:lnTo>
                    <a:pt x="57277" y="130430"/>
                  </a:lnTo>
                  <a:lnTo>
                    <a:pt x="185927" y="130430"/>
                  </a:lnTo>
                  <a:lnTo>
                    <a:pt x="185927" y="38736"/>
                  </a:lnTo>
                  <a:lnTo>
                    <a:pt x="178053" y="38736"/>
                  </a:lnTo>
                  <a:lnTo>
                    <a:pt x="178053" y="123699"/>
                  </a:lnTo>
                  <a:close/>
                  <a:moveTo>
                    <a:pt x="-2571243" y="2685288"/>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pic>
          <p:nvPicPr>
            <p:cNvPr id="1396" name="Picture 1396"/>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5240975" y="4007057"/>
              <a:ext cx="788132" cy="130742"/>
            </a:xfrm>
            <a:prstGeom prst="rect">
              <a:avLst/>
            </a:prstGeom>
            <a:noFill/>
          </p:spPr>
        </p:pic>
        <p:pic>
          <p:nvPicPr>
            <p:cNvPr id="1397" name="Picture 1397"/>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5959929" y="3991826"/>
              <a:ext cx="101547" cy="147497"/>
            </a:xfrm>
            <a:prstGeom prst="rect">
              <a:avLst/>
            </a:prstGeom>
            <a:noFill/>
          </p:spPr>
        </p:pic>
        <p:sp>
          <p:nvSpPr>
            <p:cNvPr id="1400" name="Freeform 1400"/>
            <p:cNvSpPr/>
            <p:nvPr/>
          </p:nvSpPr>
          <p:spPr>
            <a:xfrm>
              <a:off x="5596391" y="5302546"/>
              <a:ext cx="24370" cy="27419"/>
            </a:xfrm>
            <a:custGeom>
              <a:avLst/>
              <a:gdLst/>
              <a:ahLst/>
              <a:cxnLst/>
              <a:rect l="0" t="0" r="0" b="0"/>
              <a:pathLst>
                <a:path w="24383" h="27433">
                  <a:moveTo>
                    <a:pt x="4318" y="19939"/>
                  </a:moveTo>
                  <a:lnTo>
                    <a:pt x="4318" y="19939"/>
                  </a:lnTo>
                  <a:lnTo>
                    <a:pt x="5714" y="17400"/>
                  </a:lnTo>
                  <a:lnTo>
                    <a:pt x="7112" y="16256"/>
                  </a:lnTo>
                  <a:lnTo>
                    <a:pt x="10032" y="16256"/>
                  </a:lnTo>
                  <a:lnTo>
                    <a:pt x="11430" y="16256"/>
                  </a:lnTo>
                  <a:lnTo>
                    <a:pt x="17272" y="14986"/>
                  </a:lnTo>
                  <a:lnTo>
                    <a:pt x="20066" y="13717"/>
                  </a:lnTo>
                  <a:lnTo>
                    <a:pt x="22987" y="11177"/>
                  </a:lnTo>
                  <a:lnTo>
                    <a:pt x="24383" y="7494"/>
                  </a:lnTo>
                  <a:lnTo>
                    <a:pt x="22987" y="3683"/>
                  </a:lnTo>
                  <a:lnTo>
                    <a:pt x="20066" y="1270"/>
                  </a:lnTo>
                  <a:lnTo>
                    <a:pt x="17272" y="0"/>
                  </a:lnTo>
                  <a:lnTo>
                    <a:pt x="12954" y="0"/>
                  </a:lnTo>
                  <a:lnTo>
                    <a:pt x="8636" y="0"/>
                  </a:lnTo>
                  <a:lnTo>
                    <a:pt x="4318" y="1270"/>
                  </a:lnTo>
                  <a:lnTo>
                    <a:pt x="1397" y="3683"/>
                  </a:lnTo>
                  <a:lnTo>
                    <a:pt x="0" y="7494"/>
                  </a:lnTo>
                  <a:lnTo>
                    <a:pt x="4318" y="7494"/>
                  </a:lnTo>
                  <a:lnTo>
                    <a:pt x="5714" y="4953"/>
                  </a:lnTo>
                  <a:lnTo>
                    <a:pt x="7112" y="3683"/>
                  </a:lnTo>
                  <a:lnTo>
                    <a:pt x="10032" y="3683"/>
                  </a:lnTo>
                  <a:lnTo>
                    <a:pt x="12954" y="3683"/>
                  </a:lnTo>
                  <a:lnTo>
                    <a:pt x="15748" y="3683"/>
                  </a:lnTo>
                  <a:lnTo>
                    <a:pt x="17272" y="3683"/>
                  </a:lnTo>
                  <a:lnTo>
                    <a:pt x="18668" y="6223"/>
                  </a:lnTo>
                  <a:lnTo>
                    <a:pt x="20066" y="7494"/>
                  </a:lnTo>
                  <a:lnTo>
                    <a:pt x="18668" y="10033"/>
                  </a:lnTo>
                  <a:lnTo>
                    <a:pt x="17272" y="11177"/>
                  </a:lnTo>
                  <a:lnTo>
                    <a:pt x="14350" y="12447"/>
                  </a:lnTo>
                  <a:lnTo>
                    <a:pt x="11430" y="12447"/>
                  </a:lnTo>
                  <a:lnTo>
                    <a:pt x="7112" y="12447"/>
                  </a:lnTo>
                  <a:lnTo>
                    <a:pt x="4318" y="13717"/>
                  </a:lnTo>
                  <a:lnTo>
                    <a:pt x="1397" y="16256"/>
                  </a:lnTo>
                  <a:lnTo>
                    <a:pt x="0" y="19939"/>
                  </a:lnTo>
                  <a:lnTo>
                    <a:pt x="0" y="27433"/>
                  </a:lnTo>
                  <a:lnTo>
                    <a:pt x="24383" y="27433"/>
                  </a:lnTo>
                  <a:lnTo>
                    <a:pt x="24383" y="22480"/>
                  </a:lnTo>
                  <a:lnTo>
                    <a:pt x="4318" y="22480"/>
                  </a:lnTo>
                  <a:lnTo>
                    <a:pt x="4318" y="19939"/>
                  </a:lnTo>
                  <a:close/>
                  <a:moveTo>
                    <a:pt x="-4061587" y="155448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01" name="Freeform 1401"/>
            <p:cNvSpPr/>
            <p:nvPr/>
          </p:nvSpPr>
          <p:spPr>
            <a:xfrm>
              <a:off x="5456256" y="5272081"/>
              <a:ext cx="60927" cy="57883"/>
            </a:xfrm>
            <a:custGeom>
              <a:avLst/>
              <a:gdLst/>
              <a:ahLst/>
              <a:cxnLst/>
              <a:rect l="0" t="0" r="0" b="0"/>
              <a:pathLst>
                <a:path w="60959" h="57913">
                  <a:moveTo>
                    <a:pt x="46101" y="47880"/>
                  </a:moveTo>
                  <a:lnTo>
                    <a:pt x="46101" y="47880"/>
                  </a:lnTo>
                  <a:lnTo>
                    <a:pt x="40132" y="49149"/>
                  </a:lnTo>
                  <a:lnTo>
                    <a:pt x="35687" y="50419"/>
                  </a:lnTo>
                  <a:lnTo>
                    <a:pt x="29718" y="49149"/>
                  </a:lnTo>
                  <a:lnTo>
                    <a:pt x="25272" y="47880"/>
                  </a:lnTo>
                  <a:lnTo>
                    <a:pt x="20827" y="46610"/>
                  </a:lnTo>
                  <a:lnTo>
                    <a:pt x="16383" y="44069"/>
                  </a:lnTo>
                  <a:lnTo>
                    <a:pt x="14858" y="40260"/>
                  </a:lnTo>
                  <a:lnTo>
                    <a:pt x="11938" y="36449"/>
                  </a:lnTo>
                  <a:lnTo>
                    <a:pt x="10414" y="28957"/>
                  </a:lnTo>
                  <a:lnTo>
                    <a:pt x="11938" y="21463"/>
                  </a:lnTo>
                  <a:lnTo>
                    <a:pt x="14858" y="17653"/>
                  </a:lnTo>
                  <a:lnTo>
                    <a:pt x="16383" y="15113"/>
                  </a:lnTo>
                  <a:lnTo>
                    <a:pt x="20827" y="12574"/>
                  </a:lnTo>
                  <a:lnTo>
                    <a:pt x="25272" y="10033"/>
                  </a:lnTo>
                  <a:lnTo>
                    <a:pt x="29718" y="8763"/>
                  </a:lnTo>
                  <a:lnTo>
                    <a:pt x="35687" y="7494"/>
                  </a:lnTo>
                  <a:lnTo>
                    <a:pt x="44576" y="10033"/>
                  </a:lnTo>
                  <a:lnTo>
                    <a:pt x="49021" y="11303"/>
                  </a:lnTo>
                  <a:lnTo>
                    <a:pt x="53466" y="13844"/>
                  </a:lnTo>
                  <a:lnTo>
                    <a:pt x="60959" y="7494"/>
                  </a:lnTo>
                  <a:lnTo>
                    <a:pt x="54990" y="3810"/>
                  </a:lnTo>
                  <a:lnTo>
                    <a:pt x="49021" y="1271"/>
                  </a:lnTo>
                  <a:lnTo>
                    <a:pt x="43180" y="0"/>
                  </a:lnTo>
                  <a:lnTo>
                    <a:pt x="35687" y="0"/>
                  </a:lnTo>
                  <a:lnTo>
                    <a:pt x="26796" y="0"/>
                  </a:lnTo>
                  <a:lnTo>
                    <a:pt x="20827" y="2541"/>
                  </a:lnTo>
                  <a:lnTo>
                    <a:pt x="13334" y="5080"/>
                  </a:lnTo>
                  <a:lnTo>
                    <a:pt x="8889" y="8763"/>
                  </a:lnTo>
                  <a:lnTo>
                    <a:pt x="5969" y="13844"/>
                  </a:lnTo>
                  <a:lnTo>
                    <a:pt x="2920" y="18924"/>
                  </a:lnTo>
                  <a:lnTo>
                    <a:pt x="1524" y="23877"/>
                  </a:lnTo>
                  <a:lnTo>
                    <a:pt x="0" y="28957"/>
                  </a:lnTo>
                  <a:lnTo>
                    <a:pt x="1524" y="35307"/>
                  </a:lnTo>
                  <a:lnTo>
                    <a:pt x="2920" y="40260"/>
                  </a:lnTo>
                  <a:lnTo>
                    <a:pt x="5969" y="45339"/>
                  </a:lnTo>
                  <a:lnTo>
                    <a:pt x="8889" y="49149"/>
                  </a:lnTo>
                  <a:lnTo>
                    <a:pt x="13334" y="52833"/>
                  </a:lnTo>
                  <a:lnTo>
                    <a:pt x="20827" y="56643"/>
                  </a:lnTo>
                  <a:lnTo>
                    <a:pt x="26796" y="57913"/>
                  </a:lnTo>
                  <a:lnTo>
                    <a:pt x="35687" y="57913"/>
                  </a:lnTo>
                  <a:lnTo>
                    <a:pt x="43180" y="57913"/>
                  </a:lnTo>
                  <a:lnTo>
                    <a:pt x="49021" y="56643"/>
                  </a:lnTo>
                  <a:lnTo>
                    <a:pt x="54990" y="54102"/>
                  </a:lnTo>
                  <a:lnTo>
                    <a:pt x="60959" y="50419"/>
                  </a:lnTo>
                  <a:lnTo>
                    <a:pt x="53466" y="44069"/>
                  </a:lnTo>
                  <a:lnTo>
                    <a:pt x="50545" y="46610"/>
                  </a:lnTo>
                  <a:lnTo>
                    <a:pt x="46101" y="47880"/>
                  </a:lnTo>
                  <a:close/>
                  <a:moveTo>
                    <a:pt x="-3918840" y="158496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02" name="Freeform 1402"/>
            <p:cNvSpPr/>
            <p:nvPr/>
          </p:nvSpPr>
          <p:spPr>
            <a:xfrm>
              <a:off x="5523277" y="5269035"/>
              <a:ext cx="67021" cy="60929"/>
            </a:xfrm>
            <a:custGeom>
              <a:avLst/>
              <a:gdLst/>
              <a:ahLst/>
              <a:cxnLst/>
              <a:rect l="0" t="0" r="0" b="0"/>
              <a:pathLst>
                <a:path w="67056" h="60961">
                  <a:moveTo>
                    <a:pt x="58546" y="10161"/>
                  </a:moveTo>
                  <a:lnTo>
                    <a:pt x="58546" y="10161"/>
                  </a:lnTo>
                  <a:lnTo>
                    <a:pt x="54228" y="6350"/>
                  </a:lnTo>
                  <a:lnTo>
                    <a:pt x="48514" y="2541"/>
                  </a:lnTo>
                  <a:lnTo>
                    <a:pt x="41402" y="1270"/>
                  </a:lnTo>
                  <a:lnTo>
                    <a:pt x="32765" y="0"/>
                  </a:lnTo>
                  <a:lnTo>
                    <a:pt x="27051" y="1270"/>
                  </a:lnTo>
                  <a:lnTo>
                    <a:pt x="19939" y="2541"/>
                  </a:lnTo>
                  <a:lnTo>
                    <a:pt x="14224" y="5081"/>
                  </a:lnTo>
                  <a:lnTo>
                    <a:pt x="10033" y="8891"/>
                  </a:lnTo>
                  <a:lnTo>
                    <a:pt x="5714" y="13970"/>
                  </a:lnTo>
                  <a:lnTo>
                    <a:pt x="2794" y="19050"/>
                  </a:lnTo>
                  <a:lnTo>
                    <a:pt x="1396" y="24131"/>
                  </a:lnTo>
                  <a:lnTo>
                    <a:pt x="0" y="30481"/>
                  </a:lnTo>
                  <a:lnTo>
                    <a:pt x="1396" y="36831"/>
                  </a:lnTo>
                  <a:lnTo>
                    <a:pt x="2794" y="41911"/>
                  </a:lnTo>
                  <a:lnTo>
                    <a:pt x="4318" y="46991"/>
                  </a:lnTo>
                  <a:lnTo>
                    <a:pt x="8508" y="50800"/>
                  </a:lnTo>
                  <a:lnTo>
                    <a:pt x="12827" y="54611"/>
                  </a:lnTo>
                  <a:lnTo>
                    <a:pt x="18541" y="58420"/>
                  </a:lnTo>
                  <a:lnTo>
                    <a:pt x="25653" y="59691"/>
                  </a:lnTo>
                  <a:lnTo>
                    <a:pt x="32765" y="60961"/>
                  </a:lnTo>
                  <a:lnTo>
                    <a:pt x="41402" y="59691"/>
                  </a:lnTo>
                  <a:lnTo>
                    <a:pt x="48514" y="58420"/>
                  </a:lnTo>
                  <a:lnTo>
                    <a:pt x="54228" y="54611"/>
                  </a:lnTo>
                  <a:lnTo>
                    <a:pt x="58546" y="50800"/>
                  </a:lnTo>
                  <a:lnTo>
                    <a:pt x="61340" y="46991"/>
                  </a:lnTo>
                  <a:lnTo>
                    <a:pt x="64262" y="41911"/>
                  </a:lnTo>
                  <a:lnTo>
                    <a:pt x="65658" y="36831"/>
                  </a:lnTo>
                  <a:lnTo>
                    <a:pt x="67056" y="30481"/>
                  </a:lnTo>
                  <a:lnTo>
                    <a:pt x="65658" y="25400"/>
                  </a:lnTo>
                  <a:lnTo>
                    <a:pt x="64262" y="19050"/>
                  </a:lnTo>
                  <a:lnTo>
                    <a:pt x="61340" y="13970"/>
                  </a:lnTo>
                  <a:lnTo>
                    <a:pt x="58546" y="10161"/>
                  </a:lnTo>
                  <a:close/>
                  <a:moveTo>
                    <a:pt x="-3945129" y="1588008"/>
                  </a:moveTo>
                  <a:moveTo>
                    <a:pt x="54228" y="39370"/>
                  </a:moveTo>
                  <a:lnTo>
                    <a:pt x="54228" y="39370"/>
                  </a:lnTo>
                  <a:lnTo>
                    <a:pt x="52832" y="41911"/>
                  </a:lnTo>
                  <a:lnTo>
                    <a:pt x="51308" y="45720"/>
                  </a:lnTo>
                  <a:lnTo>
                    <a:pt x="47116" y="48261"/>
                  </a:lnTo>
                  <a:lnTo>
                    <a:pt x="44195" y="49531"/>
                  </a:lnTo>
                  <a:lnTo>
                    <a:pt x="38481" y="52070"/>
                  </a:lnTo>
                  <a:lnTo>
                    <a:pt x="32765" y="52070"/>
                  </a:lnTo>
                  <a:lnTo>
                    <a:pt x="27051" y="52070"/>
                  </a:lnTo>
                  <a:lnTo>
                    <a:pt x="22859" y="49531"/>
                  </a:lnTo>
                  <a:lnTo>
                    <a:pt x="18541" y="48261"/>
                  </a:lnTo>
                  <a:lnTo>
                    <a:pt x="15747" y="45720"/>
                  </a:lnTo>
                  <a:lnTo>
                    <a:pt x="11429" y="38100"/>
                  </a:lnTo>
                  <a:lnTo>
                    <a:pt x="10033" y="30481"/>
                  </a:lnTo>
                  <a:lnTo>
                    <a:pt x="11429" y="21591"/>
                  </a:lnTo>
                  <a:lnTo>
                    <a:pt x="14224" y="17781"/>
                  </a:lnTo>
                  <a:lnTo>
                    <a:pt x="17145" y="15241"/>
                  </a:lnTo>
                  <a:lnTo>
                    <a:pt x="19939" y="12700"/>
                  </a:lnTo>
                  <a:lnTo>
                    <a:pt x="24257" y="10161"/>
                  </a:lnTo>
                  <a:lnTo>
                    <a:pt x="28575" y="8891"/>
                  </a:lnTo>
                  <a:lnTo>
                    <a:pt x="32765" y="8891"/>
                  </a:lnTo>
                  <a:lnTo>
                    <a:pt x="38481" y="10161"/>
                  </a:lnTo>
                  <a:lnTo>
                    <a:pt x="44195" y="11431"/>
                  </a:lnTo>
                  <a:lnTo>
                    <a:pt x="47116" y="12700"/>
                  </a:lnTo>
                  <a:lnTo>
                    <a:pt x="51308" y="16511"/>
                  </a:lnTo>
                  <a:lnTo>
                    <a:pt x="52832" y="19050"/>
                  </a:lnTo>
                  <a:lnTo>
                    <a:pt x="54228" y="22861"/>
                  </a:lnTo>
                  <a:lnTo>
                    <a:pt x="55626" y="30481"/>
                  </a:lnTo>
                  <a:lnTo>
                    <a:pt x="54228" y="39370"/>
                  </a:lnTo>
                  <a:close/>
                  <a:moveTo>
                    <a:pt x="-3974338" y="158800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03" name="Freeform 1403"/>
            <p:cNvSpPr/>
            <p:nvPr/>
          </p:nvSpPr>
          <p:spPr>
            <a:xfrm>
              <a:off x="5246054" y="4982671"/>
              <a:ext cx="587957" cy="322920"/>
            </a:xfrm>
            <a:custGeom>
              <a:avLst/>
              <a:gdLst/>
              <a:ahLst/>
              <a:cxnLst/>
              <a:rect l="0" t="0" r="0" b="0"/>
              <a:pathLst>
                <a:path w="588263" h="323088">
                  <a:moveTo>
                    <a:pt x="469772" y="323088"/>
                  </a:moveTo>
                  <a:lnTo>
                    <a:pt x="385952" y="323088"/>
                  </a:lnTo>
                  <a:lnTo>
                    <a:pt x="385952" y="311785"/>
                  </a:lnTo>
                  <a:lnTo>
                    <a:pt x="469772" y="311785"/>
                  </a:lnTo>
                  <a:lnTo>
                    <a:pt x="481330" y="310515"/>
                  </a:lnTo>
                  <a:lnTo>
                    <a:pt x="491363" y="309373"/>
                  </a:lnTo>
                  <a:lnTo>
                    <a:pt x="501522" y="306832"/>
                  </a:lnTo>
                  <a:lnTo>
                    <a:pt x="511682" y="304293"/>
                  </a:lnTo>
                  <a:lnTo>
                    <a:pt x="520319" y="300609"/>
                  </a:lnTo>
                  <a:lnTo>
                    <a:pt x="528955" y="295529"/>
                  </a:lnTo>
                  <a:lnTo>
                    <a:pt x="537718" y="290576"/>
                  </a:lnTo>
                  <a:lnTo>
                    <a:pt x="544957" y="284226"/>
                  </a:lnTo>
                  <a:lnTo>
                    <a:pt x="550671" y="278004"/>
                  </a:lnTo>
                  <a:lnTo>
                    <a:pt x="557911" y="270510"/>
                  </a:lnTo>
                  <a:lnTo>
                    <a:pt x="562228" y="263018"/>
                  </a:lnTo>
                  <a:lnTo>
                    <a:pt x="566546" y="255524"/>
                  </a:lnTo>
                  <a:lnTo>
                    <a:pt x="570864" y="246762"/>
                  </a:lnTo>
                  <a:lnTo>
                    <a:pt x="573786" y="237872"/>
                  </a:lnTo>
                  <a:lnTo>
                    <a:pt x="575309" y="229109"/>
                  </a:lnTo>
                  <a:lnTo>
                    <a:pt x="575309" y="220345"/>
                  </a:lnTo>
                  <a:lnTo>
                    <a:pt x="573786" y="205360"/>
                  </a:lnTo>
                  <a:lnTo>
                    <a:pt x="569468" y="190373"/>
                  </a:lnTo>
                  <a:lnTo>
                    <a:pt x="562228" y="176531"/>
                  </a:lnTo>
                  <a:lnTo>
                    <a:pt x="553593" y="165354"/>
                  </a:lnTo>
                  <a:lnTo>
                    <a:pt x="542036" y="154051"/>
                  </a:lnTo>
                  <a:lnTo>
                    <a:pt x="528955" y="144019"/>
                  </a:lnTo>
                  <a:lnTo>
                    <a:pt x="514603" y="137795"/>
                  </a:lnTo>
                  <a:lnTo>
                    <a:pt x="498601" y="131445"/>
                  </a:lnTo>
                  <a:lnTo>
                    <a:pt x="492887" y="130175"/>
                  </a:lnTo>
                  <a:lnTo>
                    <a:pt x="492887" y="126493"/>
                  </a:lnTo>
                  <a:lnTo>
                    <a:pt x="494283" y="116460"/>
                  </a:lnTo>
                  <a:lnTo>
                    <a:pt x="492887" y="105156"/>
                  </a:lnTo>
                  <a:lnTo>
                    <a:pt x="491363" y="95123"/>
                  </a:lnTo>
                  <a:lnTo>
                    <a:pt x="488569" y="85218"/>
                  </a:lnTo>
                  <a:lnTo>
                    <a:pt x="484251" y="75185"/>
                  </a:lnTo>
                  <a:lnTo>
                    <a:pt x="479806" y="66422"/>
                  </a:lnTo>
                  <a:lnTo>
                    <a:pt x="472694" y="57659"/>
                  </a:lnTo>
                  <a:lnTo>
                    <a:pt x="466851" y="48895"/>
                  </a:lnTo>
                  <a:lnTo>
                    <a:pt x="458215" y="41275"/>
                  </a:lnTo>
                  <a:lnTo>
                    <a:pt x="449452" y="35053"/>
                  </a:lnTo>
                  <a:lnTo>
                    <a:pt x="440817" y="28829"/>
                  </a:lnTo>
                  <a:lnTo>
                    <a:pt x="430657" y="23750"/>
                  </a:lnTo>
                  <a:lnTo>
                    <a:pt x="420624" y="20066"/>
                  </a:lnTo>
                  <a:lnTo>
                    <a:pt x="409067" y="16256"/>
                  </a:lnTo>
                  <a:lnTo>
                    <a:pt x="397509" y="13716"/>
                  </a:lnTo>
                  <a:lnTo>
                    <a:pt x="385952" y="11303"/>
                  </a:lnTo>
                  <a:lnTo>
                    <a:pt x="372871" y="11303"/>
                  </a:lnTo>
                  <a:lnTo>
                    <a:pt x="354076" y="12573"/>
                  </a:lnTo>
                  <a:lnTo>
                    <a:pt x="336803" y="16256"/>
                  </a:lnTo>
                  <a:lnTo>
                    <a:pt x="319405" y="22479"/>
                  </a:lnTo>
                  <a:lnTo>
                    <a:pt x="303530" y="30100"/>
                  </a:lnTo>
                  <a:lnTo>
                    <a:pt x="290576" y="40132"/>
                  </a:lnTo>
                  <a:lnTo>
                    <a:pt x="277495" y="52578"/>
                  </a:lnTo>
                  <a:lnTo>
                    <a:pt x="267334" y="65151"/>
                  </a:lnTo>
                  <a:lnTo>
                    <a:pt x="260222" y="80138"/>
                  </a:lnTo>
                  <a:lnTo>
                    <a:pt x="257301" y="86360"/>
                  </a:lnTo>
                  <a:lnTo>
                    <a:pt x="251459" y="83947"/>
                  </a:lnTo>
                  <a:lnTo>
                    <a:pt x="234188" y="80138"/>
                  </a:lnTo>
                  <a:lnTo>
                    <a:pt x="216788" y="77597"/>
                  </a:lnTo>
                  <a:lnTo>
                    <a:pt x="200913" y="78868"/>
                  </a:lnTo>
                  <a:lnTo>
                    <a:pt x="185038" y="82678"/>
                  </a:lnTo>
                  <a:lnTo>
                    <a:pt x="170561" y="88900"/>
                  </a:lnTo>
                  <a:lnTo>
                    <a:pt x="157607" y="96394"/>
                  </a:lnTo>
                  <a:lnTo>
                    <a:pt x="145922" y="105156"/>
                  </a:lnTo>
                  <a:lnTo>
                    <a:pt x="135889" y="116460"/>
                  </a:lnTo>
                  <a:lnTo>
                    <a:pt x="128651" y="129032"/>
                  </a:lnTo>
                  <a:lnTo>
                    <a:pt x="124332" y="142748"/>
                  </a:lnTo>
                  <a:lnTo>
                    <a:pt x="122808" y="147828"/>
                  </a:lnTo>
                  <a:lnTo>
                    <a:pt x="117094" y="146559"/>
                  </a:lnTo>
                  <a:lnTo>
                    <a:pt x="108457" y="146559"/>
                  </a:lnTo>
                  <a:lnTo>
                    <a:pt x="98297" y="146559"/>
                  </a:lnTo>
                  <a:lnTo>
                    <a:pt x="89662" y="147828"/>
                  </a:lnTo>
                  <a:lnTo>
                    <a:pt x="80899" y="150241"/>
                  </a:lnTo>
                  <a:lnTo>
                    <a:pt x="70865" y="152781"/>
                  </a:lnTo>
                  <a:lnTo>
                    <a:pt x="63626" y="156591"/>
                  </a:lnTo>
                  <a:lnTo>
                    <a:pt x="54863" y="160275"/>
                  </a:lnTo>
                  <a:lnTo>
                    <a:pt x="47751" y="165354"/>
                  </a:lnTo>
                  <a:lnTo>
                    <a:pt x="41909" y="170307"/>
                  </a:lnTo>
                  <a:lnTo>
                    <a:pt x="34670" y="176531"/>
                  </a:lnTo>
                  <a:lnTo>
                    <a:pt x="28956" y="182881"/>
                  </a:lnTo>
                  <a:lnTo>
                    <a:pt x="24511" y="189103"/>
                  </a:lnTo>
                  <a:lnTo>
                    <a:pt x="20193" y="196597"/>
                  </a:lnTo>
                  <a:lnTo>
                    <a:pt x="17399" y="204090"/>
                  </a:lnTo>
                  <a:lnTo>
                    <a:pt x="15875" y="211582"/>
                  </a:lnTo>
                  <a:lnTo>
                    <a:pt x="14477" y="220345"/>
                  </a:lnTo>
                  <a:lnTo>
                    <a:pt x="12953" y="229109"/>
                  </a:lnTo>
                  <a:lnTo>
                    <a:pt x="14477" y="236728"/>
                  </a:lnTo>
                  <a:lnTo>
                    <a:pt x="15875" y="245491"/>
                  </a:lnTo>
                  <a:lnTo>
                    <a:pt x="17399" y="252984"/>
                  </a:lnTo>
                  <a:lnTo>
                    <a:pt x="20193" y="260478"/>
                  </a:lnTo>
                  <a:lnTo>
                    <a:pt x="24511" y="267970"/>
                  </a:lnTo>
                  <a:lnTo>
                    <a:pt x="28956" y="274193"/>
                  </a:lnTo>
                  <a:lnTo>
                    <a:pt x="34670" y="281813"/>
                  </a:lnTo>
                  <a:lnTo>
                    <a:pt x="41909" y="286767"/>
                  </a:lnTo>
                  <a:lnTo>
                    <a:pt x="47751" y="291720"/>
                  </a:lnTo>
                  <a:lnTo>
                    <a:pt x="54863" y="296799"/>
                  </a:lnTo>
                  <a:lnTo>
                    <a:pt x="63626" y="301753"/>
                  </a:lnTo>
                  <a:lnTo>
                    <a:pt x="70865" y="304293"/>
                  </a:lnTo>
                  <a:lnTo>
                    <a:pt x="80899" y="308103"/>
                  </a:lnTo>
                  <a:lnTo>
                    <a:pt x="89662" y="309373"/>
                  </a:lnTo>
                  <a:lnTo>
                    <a:pt x="98297" y="310515"/>
                  </a:lnTo>
                  <a:lnTo>
                    <a:pt x="108457" y="311785"/>
                  </a:lnTo>
                  <a:lnTo>
                    <a:pt x="195071" y="311785"/>
                  </a:lnTo>
                  <a:lnTo>
                    <a:pt x="195071" y="323088"/>
                  </a:lnTo>
                  <a:lnTo>
                    <a:pt x="108457" y="323088"/>
                  </a:lnTo>
                  <a:lnTo>
                    <a:pt x="96901" y="321818"/>
                  </a:lnTo>
                  <a:lnTo>
                    <a:pt x="86740" y="320548"/>
                  </a:lnTo>
                  <a:lnTo>
                    <a:pt x="76581" y="318135"/>
                  </a:lnTo>
                  <a:lnTo>
                    <a:pt x="66547" y="315595"/>
                  </a:lnTo>
                  <a:lnTo>
                    <a:pt x="56388" y="310515"/>
                  </a:lnTo>
                  <a:lnTo>
                    <a:pt x="47751" y="306832"/>
                  </a:lnTo>
                  <a:lnTo>
                    <a:pt x="38988" y="300609"/>
                  </a:lnTo>
                  <a:lnTo>
                    <a:pt x="31750" y="295529"/>
                  </a:lnTo>
                  <a:lnTo>
                    <a:pt x="24511" y="288037"/>
                  </a:lnTo>
                  <a:lnTo>
                    <a:pt x="18795" y="280543"/>
                  </a:lnTo>
                  <a:lnTo>
                    <a:pt x="12953" y="273051"/>
                  </a:lnTo>
                  <a:lnTo>
                    <a:pt x="8636" y="265431"/>
                  </a:lnTo>
                  <a:lnTo>
                    <a:pt x="5842" y="256668"/>
                  </a:lnTo>
                  <a:lnTo>
                    <a:pt x="2920" y="247904"/>
                  </a:lnTo>
                  <a:lnTo>
                    <a:pt x="1396" y="237872"/>
                  </a:lnTo>
                  <a:lnTo>
                    <a:pt x="0" y="229109"/>
                  </a:lnTo>
                  <a:lnTo>
                    <a:pt x="1396" y="219203"/>
                  </a:lnTo>
                  <a:lnTo>
                    <a:pt x="2920" y="210440"/>
                  </a:lnTo>
                  <a:lnTo>
                    <a:pt x="5842" y="200406"/>
                  </a:lnTo>
                  <a:lnTo>
                    <a:pt x="8636" y="192913"/>
                  </a:lnTo>
                  <a:lnTo>
                    <a:pt x="12953" y="184023"/>
                  </a:lnTo>
                  <a:lnTo>
                    <a:pt x="18795" y="176531"/>
                  </a:lnTo>
                  <a:lnTo>
                    <a:pt x="24511" y="169038"/>
                  </a:lnTo>
                  <a:lnTo>
                    <a:pt x="31750" y="162815"/>
                  </a:lnTo>
                  <a:lnTo>
                    <a:pt x="38988" y="156591"/>
                  </a:lnTo>
                  <a:lnTo>
                    <a:pt x="47751" y="151512"/>
                  </a:lnTo>
                  <a:lnTo>
                    <a:pt x="56388" y="146559"/>
                  </a:lnTo>
                  <a:lnTo>
                    <a:pt x="66547" y="142748"/>
                  </a:lnTo>
                  <a:lnTo>
                    <a:pt x="76581" y="139066"/>
                  </a:lnTo>
                  <a:lnTo>
                    <a:pt x="86740" y="136525"/>
                  </a:lnTo>
                  <a:lnTo>
                    <a:pt x="96901" y="135256"/>
                  </a:lnTo>
                  <a:lnTo>
                    <a:pt x="108457" y="135256"/>
                  </a:lnTo>
                  <a:lnTo>
                    <a:pt x="112776" y="135256"/>
                  </a:lnTo>
                  <a:lnTo>
                    <a:pt x="118490" y="120269"/>
                  </a:lnTo>
                  <a:lnTo>
                    <a:pt x="127253" y="107697"/>
                  </a:lnTo>
                  <a:lnTo>
                    <a:pt x="138811" y="95123"/>
                  </a:lnTo>
                  <a:lnTo>
                    <a:pt x="151764" y="86360"/>
                  </a:lnTo>
                  <a:lnTo>
                    <a:pt x="166243" y="77597"/>
                  </a:lnTo>
                  <a:lnTo>
                    <a:pt x="182118" y="71375"/>
                  </a:lnTo>
                  <a:lnTo>
                    <a:pt x="199517" y="67565"/>
                  </a:lnTo>
                  <a:lnTo>
                    <a:pt x="216788" y="66422"/>
                  </a:lnTo>
                  <a:lnTo>
                    <a:pt x="234188" y="67565"/>
                  </a:lnTo>
                  <a:lnTo>
                    <a:pt x="250063" y="71375"/>
                  </a:lnTo>
                  <a:lnTo>
                    <a:pt x="258699" y="56388"/>
                  </a:lnTo>
                  <a:lnTo>
                    <a:pt x="270256" y="42545"/>
                  </a:lnTo>
                  <a:lnTo>
                    <a:pt x="283337" y="30100"/>
                  </a:lnTo>
                  <a:lnTo>
                    <a:pt x="299212" y="20066"/>
                  </a:lnTo>
                  <a:lnTo>
                    <a:pt x="316483" y="11303"/>
                  </a:lnTo>
                  <a:lnTo>
                    <a:pt x="333882" y="4953"/>
                  </a:lnTo>
                  <a:lnTo>
                    <a:pt x="352678" y="1270"/>
                  </a:lnTo>
                  <a:lnTo>
                    <a:pt x="372871" y="0"/>
                  </a:lnTo>
                  <a:lnTo>
                    <a:pt x="387350" y="0"/>
                  </a:lnTo>
                  <a:lnTo>
                    <a:pt x="400303" y="2541"/>
                  </a:lnTo>
                  <a:lnTo>
                    <a:pt x="413384" y="4953"/>
                  </a:lnTo>
                  <a:lnTo>
                    <a:pt x="424942" y="8763"/>
                  </a:lnTo>
                  <a:lnTo>
                    <a:pt x="436499" y="13716"/>
                  </a:lnTo>
                  <a:lnTo>
                    <a:pt x="448056" y="20066"/>
                  </a:lnTo>
                  <a:lnTo>
                    <a:pt x="458215" y="26290"/>
                  </a:lnTo>
                  <a:lnTo>
                    <a:pt x="468249" y="33782"/>
                  </a:lnTo>
                  <a:lnTo>
                    <a:pt x="477012" y="42545"/>
                  </a:lnTo>
                  <a:lnTo>
                    <a:pt x="484251" y="51309"/>
                  </a:lnTo>
                  <a:lnTo>
                    <a:pt x="491363" y="60072"/>
                  </a:lnTo>
                  <a:lnTo>
                    <a:pt x="495807" y="71375"/>
                  </a:lnTo>
                  <a:lnTo>
                    <a:pt x="501522" y="81407"/>
                  </a:lnTo>
                  <a:lnTo>
                    <a:pt x="504444" y="92710"/>
                  </a:lnTo>
                  <a:lnTo>
                    <a:pt x="505840" y="103887"/>
                  </a:lnTo>
                  <a:lnTo>
                    <a:pt x="507364" y="116460"/>
                  </a:lnTo>
                  <a:lnTo>
                    <a:pt x="507364" y="122682"/>
                  </a:lnTo>
                  <a:lnTo>
                    <a:pt x="524637" y="129032"/>
                  </a:lnTo>
                  <a:lnTo>
                    <a:pt x="540512" y="137795"/>
                  </a:lnTo>
                  <a:lnTo>
                    <a:pt x="553593" y="147828"/>
                  </a:lnTo>
                  <a:lnTo>
                    <a:pt x="565150" y="160275"/>
                  </a:lnTo>
                  <a:lnTo>
                    <a:pt x="575309" y="172847"/>
                  </a:lnTo>
                  <a:lnTo>
                    <a:pt x="582421" y="187834"/>
                  </a:lnTo>
                  <a:lnTo>
                    <a:pt x="586867" y="204090"/>
                  </a:lnTo>
                  <a:lnTo>
                    <a:pt x="588263" y="220345"/>
                  </a:lnTo>
                  <a:lnTo>
                    <a:pt x="588263" y="230378"/>
                  </a:lnTo>
                  <a:lnTo>
                    <a:pt x="585343" y="240412"/>
                  </a:lnTo>
                  <a:lnTo>
                    <a:pt x="582421" y="250445"/>
                  </a:lnTo>
                  <a:lnTo>
                    <a:pt x="579627" y="259207"/>
                  </a:lnTo>
                  <a:lnTo>
                    <a:pt x="573786" y="269240"/>
                  </a:lnTo>
                  <a:lnTo>
                    <a:pt x="568070" y="276734"/>
                  </a:lnTo>
                  <a:lnTo>
                    <a:pt x="560832" y="285496"/>
                  </a:lnTo>
                  <a:lnTo>
                    <a:pt x="553593" y="291720"/>
                  </a:lnTo>
                  <a:lnTo>
                    <a:pt x="544957" y="299340"/>
                  </a:lnTo>
                  <a:lnTo>
                    <a:pt x="536194" y="305562"/>
                  </a:lnTo>
                  <a:lnTo>
                    <a:pt x="526161" y="310515"/>
                  </a:lnTo>
                  <a:lnTo>
                    <a:pt x="516001" y="314326"/>
                  </a:lnTo>
                  <a:lnTo>
                    <a:pt x="505840" y="318135"/>
                  </a:lnTo>
                  <a:lnTo>
                    <a:pt x="494283" y="320548"/>
                  </a:lnTo>
                  <a:lnTo>
                    <a:pt x="482726" y="321818"/>
                  </a:lnTo>
                  <a:lnTo>
                    <a:pt x="469772" y="323088"/>
                  </a:lnTo>
                  <a:close/>
                  <a:moveTo>
                    <a:pt x="-3694176" y="187452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04" name="Freeform 1404"/>
            <p:cNvSpPr/>
            <p:nvPr/>
          </p:nvSpPr>
          <p:spPr>
            <a:xfrm>
              <a:off x="5523278" y="5019228"/>
              <a:ext cx="91391" cy="76160"/>
            </a:xfrm>
            <a:custGeom>
              <a:avLst/>
              <a:gdLst/>
              <a:ahLst/>
              <a:cxnLst/>
              <a:rect l="0" t="0" r="0" b="0"/>
              <a:pathLst>
                <a:path w="91439" h="76200">
                  <a:moveTo>
                    <a:pt x="13081" y="76200"/>
                  </a:moveTo>
                  <a:lnTo>
                    <a:pt x="0" y="76200"/>
                  </a:lnTo>
                  <a:lnTo>
                    <a:pt x="0" y="67692"/>
                  </a:lnTo>
                  <a:lnTo>
                    <a:pt x="1396" y="60452"/>
                  </a:lnTo>
                  <a:lnTo>
                    <a:pt x="4318" y="53214"/>
                  </a:lnTo>
                  <a:lnTo>
                    <a:pt x="7239" y="45974"/>
                  </a:lnTo>
                  <a:lnTo>
                    <a:pt x="16002" y="32640"/>
                  </a:lnTo>
                  <a:lnTo>
                    <a:pt x="26162" y="21718"/>
                  </a:lnTo>
                  <a:lnTo>
                    <a:pt x="40639" y="12065"/>
                  </a:lnTo>
                  <a:lnTo>
                    <a:pt x="55118" y="6096"/>
                  </a:lnTo>
                  <a:lnTo>
                    <a:pt x="63881" y="2414"/>
                  </a:lnTo>
                  <a:lnTo>
                    <a:pt x="72516" y="1271"/>
                  </a:lnTo>
                  <a:lnTo>
                    <a:pt x="81279" y="0"/>
                  </a:lnTo>
                  <a:lnTo>
                    <a:pt x="91439" y="0"/>
                  </a:lnTo>
                  <a:lnTo>
                    <a:pt x="91439" y="10922"/>
                  </a:lnTo>
                  <a:lnTo>
                    <a:pt x="75438" y="12065"/>
                  </a:lnTo>
                  <a:lnTo>
                    <a:pt x="60959" y="15749"/>
                  </a:lnTo>
                  <a:lnTo>
                    <a:pt x="47878" y="21718"/>
                  </a:lnTo>
                  <a:lnTo>
                    <a:pt x="36321" y="29084"/>
                  </a:lnTo>
                  <a:lnTo>
                    <a:pt x="26162" y="38736"/>
                  </a:lnTo>
                  <a:lnTo>
                    <a:pt x="18922" y="50800"/>
                  </a:lnTo>
                  <a:lnTo>
                    <a:pt x="14477" y="62865"/>
                  </a:lnTo>
                  <a:lnTo>
                    <a:pt x="13081" y="76200"/>
                  </a:lnTo>
                  <a:close/>
                  <a:moveTo>
                    <a:pt x="-3761232" y="1837944"/>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05" name="Freeform 1405"/>
            <p:cNvSpPr/>
            <p:nvPr/>
          </p:nvSpPr>
          <p:spPr>
            <a:xfrm>
              <a:off x="5273471" y="5144130"/>
              <a:ext cx="79207" cy="70068"/>
            </a:xfrm>
            <a:custGeom>
              <a:avLst/>
              <a:gdLst/>
              <a:ahLst/>
              <a:cxnLst/>
              <a:rect l="0" t="0" r="0" b="0"/>
              <a:pathLst>
                <a:path w="79248" h="70104">
                  <a:moveTo>
                    <a:pt x="13207" y="70104"/>
                  </a:moveTo>
                  <a:lnTo>
                    <a:pt x="0" y="70104"/>
                  </a:lnTo>
                  <a:lnTo>
                    <a:pt x="1524" y="55881"/>
                  </a:lnTo>
                  <a:lnTo>
                    <a:pt x="5842" y="42800"/>
                  </a:lnTo>
                  <a:lnTo>
                    <a:pt x="13207" y="31116"/>
                  </a:lnTo>
                  <a:lnTo>
                    <a:pt x="23494" y="20828"/>
                  </a:lnTo>
                  <a:lnTo>
                    <a:pt x="35179" y="11684"/>
                  </a:lnTo>
                  <a:lnTo>
                    <a:pt x="48387" y="6478"/>
                  </a:lnTo>
                  <a:lnTo>
                    <a:pt x="63119" y="1271"/>
                  </a:lnTo>
                  <a:lnTo>
                    <a:pt x="79248" y="0"/>
                  </a:lnTo>
                  <a:lnTo>
                    <a:pt x="79248" y="11684"/>
                  </a:lnTo>
                  <a:lnTo>
                    <a:pt x="66039" y="12954"/>
                  </a:lnTo>
                  <a:lnTo>
                    <a:pt x="54356" y="16891"/>
                  </a:lnTo>
                  <a:lnTo>
                    <a:pt x="42544" y="22099"/>
                  </a:lnTo>
                  <a:lnTo>
                    <a:pt x="32257" y="28575"/>
                  </a:lnTo>
                  <a:lnTo>
                    <a:pt x="24892" y="37593"/>
                  </a:lnTo>
                  <a:lnTo>
                    <a:pt x="19050" y="48006"/>
                  </a:lnTo>
                  <a:lnTo>
                    <a:pt x="14731" y="58421"/>
                  </a:lnTo>
                  <a:lnTo>
                    <a:pt x="13207" y="70104"/>
                  </a:lnTo>
                  <a:close/>
                  <a:moveTo>
                    <a:pt x="-3630168" y="1712976"/>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06" name="Freeform 1406"/>
            <p:cNvSpPr/>
            <p:nvPr/>
          </p:nvSpPr>
          <p:spPr>
            <a:xfrm>
              <a:off x="5718246" y="5144131"/>
              <a:ext cx="79208" cy="63976"/>
            </a:xfrm>
            <a:custGeom>
              <a:avLst/>
              <a:gdLst/>
              <a:ahLst/>
              <a:cxnLst/>
              <a:rect l="0" t="0" r="0" b="0"/>
              <a:pathLst>
                <a:path w="79249" h="64009">
                  <a:moveTo>
                    <a:pt x="79249" y="64009"/>
                  </a:moveTo>
                  <a:lnTo>
                    <a:pt x="65787" y="64009"/>
                  </a:lnTo>
                  <a:lnTo>
                    <a:pt x="64262" y="53087"/>
                  </a:lnTo>
                  <a:lnTo>
                    <a:pt x="59818" y="43434"/>
                  </a:lnTo>
                  <a:lnTo>
                    <a:pt x="53849" y="35053"/>
                  </a:lnTo>
                  <a:lnTo>
                    <a:pt x="46356" y="26544"/>
                  </a:lnTo>
                  <a:lnTo>
                    <a:pt x="35942" y="20575"/>
                  </a:lnTo>
                  <a:lnTo>
                    <a:pt x="25400" y="15749"/>
                  </a:lnTo>
                  <a:lnTo>
                    <a:pt x="13462" y="12066"/>
                  </a:lnTo>
                  <a:lnTo>
                    <a:pt x="0" y="10922"/>
                  </a:lnTo>
                  <a:lnTo>
                    <a:pt x="0" y="0"/>
                  </a:lnTo>
                  <a:lnTo>
                    <a:pt x="16511" y="1271"/>
                  </a:lnTo>
                  <a:lnTo>
                    <a:pt x="31369" y="4826"/>
                  </a:lnTo>
                  <a:lnTo>
                    <a:pt x="43307" y="10922"/>
                  </a:lnTo>
                  <a:lnTo>
                    <a:pt x="55373" y="19304"/>
                  </a:lnTo>
                  <a:lnTo>
                    <a:pt x="65787" y="28956"/>
                  </a:lnTo>
                  <a:lnTo>
                    <a:pt x="73280" y="39878"/>
                  </a:lnTo>
                  <a:lnTo>
                    <a:pt x="77724" y="50674"/>
                  </a:lnTo>
                  <a:lnTo>
                    <a:pt x="79249" y="64009"/>
                  </a:lnTo>
                  <a:close/>
                  <a:moveTo>
                    <a:pt x="-4069080" y="1712976"/>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07" name="Freeform 1407"/>
            <p:cNvSpPr/>
            <p:nvPr/>
          </p:nvSpPr>
          <p:spPr>
            <a:xfrm>
              <a:off x="5349630" y="5241617"/>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08" name="Freeform 1408"/>
            <p:cNvSpPr/>
            <p:nvPr/>
          </p:nvSpPr>
          <p:spPr>
            <a:xfrm>
              <a:off x="5389235" y="5241617"/>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09" name="Freeform 1409"/>
            <p:cNvSpPr/>
            <p:nvPr/>
          </p:nvSpPr>
          <p:spPr>
            <a:xfrm>
              <a:off x="5425791" y="5241617"/>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10" name="Freeform 1410"/>
            <p:cNvSpPr/>
            <p:nvPr/>
          </p:nvSpPr>
          <p:spPr>
            <a:xfrm>
              <a:off x="5629899" y="5241617"/>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11" name="Freeform 1411"/>
            <p:cNvSpPr/>
            <p:nvPr/>
          </p:nvSpPr>
          <p:spPr>
            <a:xfrm>
              <a:off x="5669503" y="5241617"/>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12" name="Freeform 1412"/>
            <p:cNvSpPr/>
            <p:nvPr/>
          </p:nvSpPr>
          <p:spPr>
            <a:xfrm>
              <a:off x="5709107" y="5241617"/>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pic>
          <p:nvPicPr>
            <p:cNvPr id="1413" name="Picture 1413"/>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5519467" y="4750636"/>
              <a:ext cx="543150" cy="211726"/>
            </a:xfrm>
            <a:prstGeom prst="rect">
              <a:avLst/>
            </a:prstGeom>
            <a:noFill/>
          </p:spPr>
        </p:pic>
        <p:pic>
          <p:nvPicPr>
            <p:cNvPr id="1414" name="Picture 1414"/>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5097793" y="4750636"/>
              <a:ext cx="459120" cy="211726"/>
            </a:xfrm>
            <a:prstGeom prst="rect">
              <a:avLst/>
            </a:prstGeom>
            <a:noFill/>
          </p:spPr>
        </p:pic>
        <p:sp>
          <p:nvSpPr>
            <p:cNvPr id="1430" name="Freeform 1430"/>
            <p:cNvSpPr/>
            <p:nvPr/>
          </p:nvSpPr>
          <p:spPr>
            <a:xfrm>
              <a:off x="7758545" y="4681028"/>
              <a:ext cx="51790" cy="42650"/>
            </a:xfrm>
            <a:custGeom>
              <a:avLst/>
              <a:gdLst/>
              <a:ahLst/>
              <a:cxnLst/>
              <a:rect l="0" t="0" r="0" b="0"/>
              <a:pathLst>
                <a:path w="51817" h="42672">
                  <a:moveTo>
                    <a:pt x="25908" y="42672"/>
                  </a:moveTo>
                  <a:lnTo>
                    <a:pt x="25908" y="42672"/>
                  </a:lnTo>
                  <a:lnTo>
                    <a:pt x="20194" y="41529"/>
                  </a:lnTo>
                  <a:lnTo>
                    <a:pt x="15875" y="40387"/>
                  </a:lnTo>
                  <a:lnTo>
                    <a:pt x="11558" y="39244"/>
                  </a:lnTo>
                  <a:lnTo>
                    <a:pt x="7240" y="35815"/>
                  </a:lnTo>
                  <a:lnTo>
                    <a:pt x="4319" y="33401"/>
                  </a:lnTo>
                  <a:lnTo>
                    <a:pt x="1397" y="29972"/>
                  </a:lnTo>
                  <a:lnTo>
                    <a:pt x="0" y="25400"/>
                  </a:lnTo>
                  <a:lnTo>
                    <a:pt x="0" y="20701"/>
                  </a:lnTo>
                  <a:lnTo>
                    <a:pt x="0" y="17272"/>
                  </a:lnTo>
                  <a:lnTo>
                    <a:pt x="1397" y="12700"/>
                  </a:lnTo>
                  <a:lnTo>
                    <a:pt x="4319" y="9272"/>
                  </a:lnTo>
                  <a:lnTo>
                    <a:pt x="7240" y="5716"/>
                  </a:lnTo>
                  <a:lnTo>
                    <a:pt x="11558" y="3429"/>
                  </a:lnTo>
                  <a:lnTo>
                    <a:pt x="15875" y="1144"/>
                  </a:lnTo>
                  <a:lnTo>
                    <a:pt x="20194" y="0"/>
                  </a:lnTo>
                  <a:lnTo>
                    <a:pt x="25908" y="0"/>
                  </a:lnTo>
                  <a:lnTo>
                    <a:pt x="31623" y="0"/>
                  </a:lnTo>
                  <a:lnTo>
                    <a:pt x="35942" y="1144"/>
                  </a:lnTo>
                  <a:lnTo>
                    <a:pt x="40259" y="3429"/>
                  </a:lnTo>
                  <a:lnTo>
                    <a:pt x="44578" y="5716"/>
                  </a:lnTo>
                  <a:lnTo>
                    <a:pt x="47498" y="9272"/>
                  </a:lnTo>
                  <a:lnTo>
                    <a:pt x="50420" y="12700"/>
                  </a:lnTo>
                  <a:lnTo>
                    <a:pt x="51817" y="17272"/>
                  </a:lnTo>
                  <a:lnTo>
                    <a:pt x="51817" y="20701"/>
                  </a:lnTo>
                  <a:lnTo>
                    <a:pt x="51817" y="25400"/>
                  </a:lnTo>
                  <a:lnTo>
                    <a:pt x="50420" y="29972"/>
                  </a:lnTo>
                  <a:lnTo>
                    <a:pt x="47498" y="33401"/>
                  </a:lnTo>
                  <a:lnTo>
                    <a:pt x="44578" y="35815"/>
                  </a:lnTo>
                  <a:lnTo>
                    <a:pt x="40259" y="39244"/>
                  </a:lnTo>
                  <a:lnTo>
                    <a:pt x="35942" y="40387"/>
                  </a:lnTo>
                  <a:lnTo>
                    <a:pt x="31623" y="41529"/>
                  </a:lnTo>
                  <a:lnTo>
                    <a:pt x="25908" y="42672"/>
                  </a:lnTo>
                  <a:close/>
                  <a:moveTo>
                    <a:pt x="-5276087" y="2331720"/>
                  </a:moveTo>
                  <a:moveTo>
                    <a:pt x="25908" y="10415"/>
                  </a:moveTo>
                  <a:lnTo>
                    <a:pt x="25908" y="10415"/>
                  </a:lnTo>
                  <a:lnTo>
                    <a:pt x="20194" y="11557"/>
                  </a:lnTo>
                  <a:lnTo>
                    <a:pt x="15875" y="13844"/>
                  </a:lnTo>
                  <a:lnTo>
                    <a:pt x="12955" y="17272"/>
                  </a:lnTo>
                  <a:lnTo>
                    <a:pt x="12955" y="20701"/>
                  </a:lnTo>
                  <a:lnTo>
                    <a:pt x="12955" y="25400"/>
                  </a:lnTo>
                  <a:lnTo>
                    <a:pt x="15875" y="28829"/>
                  </a:lnTo>
                  <a:lnTo>
                    <a:pt x="20194" y="31116"/>
                  </a:lnTo>
                  <a:lnTo>
                    <a:pt x="25908" y="32259"/>
                  </a:lnTo>
                  <a:lnTo>
                    <a:pt x="31623" y="31116"/>
                  </a:lnTo>
                  <a:lnTo>
                    <a:pt x="35942" y="28829"/>
                  </a:lnTo>
                  <a:lnTo>
                    <a:pt x="38862" y="25400"/>
                  </a:lnTo>
                  <a:lnTo>
                    <a:pt x="38862" y="20701"/>
                  </a:lnTo>
                  <a:lnTo>
                    <a:pt x="38862" y="17272"/>
                  </a:lnTo>
                  <a:lnTo>
                    <a:pt x="35942" y="13844"/>
                  </a:lnTo>
                  <a:lnTo>
                    <a:pt x="31623" y="11557"/>
                  </a:lnTo>
                  <a:lnTo>
                    <a:pt x="25908" y="10415"/>
                  </a:lnTo>
                  <a:close/>
                  <a:moveTo>
                    <a:pt x="-5243830" y="233172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pic>
          <p:nvPicPr>
            <p:cNvPr id="1432" name="Picture 1432"/>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6636866" y="5003362"/>
              <a:ext cx="457216" cy="338279"/>
            </a:xfrm>
            <a:prstGeom prst="rect">
              <a:avLst/>
            </a:prstGeom>
            <a:noFill/>
          </p:spPr>
        </p:pic>
        <p:pic>
          <p:nvPicPr>
            <p:cNvPr id="1433" name="Picture 1433"/>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5962974" y="3906780"/>
              <a:ext cx="893234" cy="239017"/>
            </a:xfrm>
            <a:prstGeom prst="rect">
              <a:avLst/>
            </a:prstGeom>
            <a:noFill/>
          </p:spPr>
        </p:pic>
        <p:sp>
          <p:nvSpPr>
            <p:cNvPr id="1434" name="Freeform 1434"/>
            <p:cNvSpPr/>
            <p:nvPr/>
          </p:nvSpPr>
          <p:spPr>
            <a:xfrm>
              <a:off x="6528593" y="4202790"/>
              <a:ext cx="359477" cy="121856"/>
            </a:xfrm>
            <a:custGeom>
              <a:avLst/>
              <a:gdLst/>
              <a:ahLst/>
              <a:cxnLst/>
              <a:rect l="0" t="0" r="0" b="0"/>
              <a:pathLst>
                <a:path w="359664" h="121919">
                  <a:moveTo>
                    <a:pt x="23749" y="112775"/>
                  </a:moveTo>
                  <a:lnTo>
                    <a:pt x="112267" y="112775"/>
                  </a:lnTo>
                  <a:lnTo>
                    <a:pt x="110490" y="121919"/>
                  </a:lnTo>
                  <a:lnTo>
                    <a:pt x="0" y="121919"/>
                  </a:lnTo>
                  <a:lnTo>
                    <a:pt x="0" y="117475"/>
                  </a:lnTo>
                  <a:lnTo>
                    <a:pt x="0" y="113918"/>
                  </a:lnTo>
                  <a:lnTo>
                    <a:pt x="253" y="110235"/>
                  </a:lnTo>
                  <a:lnTo>
                    <a:pt x="635" y="106806"/>
                  </a:lnTo>
                  <a:lnTo>
                    <a:pt x="1015" y="103378"/>
                  </a:lnTo>
                  <a:lnTo>
                    <a:pt x="1524" y="100075"/>
                  </a:lnTo>
                  <a:lnTo>
                    <a:pt x="2159" y="96774"/>
                  </a:lnTo>
                  <a:lnTo>
                    <a:pt x="3048" y="93472"/>
                  </a:lnTo>
                  <a:lnTo>
                    <a:pt x="4064" y="90424"/>
                  </a:lnTo>
                  <a:lnTo>
                    <a:pt x="4952" y="87249"/>
                  </a:lnTo>
                  <a:lnTo>
                    <a:pt x="6223" y="84074"/>
                  </a:lnTo>
                  <a:lnTo>
                    <a:pt x="7492" y="81025"/>
                  </a:lnTo>
                  <a:lnTo>
                    <a:pt x="8890" y="78105"/>
                  </a:lnTo>
                  <a:lnTo>
                    <a:pt x="10287" y="75184"/>
                  </a:lnTo>
                  <a:lnTo>
                    <a:pt x="11938" y="72262"/>
                  </a:lnTo>
                  <a:lnTo>
                    <a:pt x="13589" y="69468"/>
                  </a:lnTo>
                  <a:lnTo>
                    <a:pt x="15366" y="66802"/>
                  </a:lnTo>
                  <a:lnTo>
                    <a:pt x="17272" y="64007"/>
                  </a:lnTo>
                  <a:lnTo>
                    <a:pt x="19303" y="61340"/>
                  </a:lnTo>
                  <a:lnTo>
                    <a:pt x="21463" y="58800"/>
                  </a:lnTo>
                  <a:lnTo>
                    <a:pt x="23494" y="56260"/>
                  </a:lnTo>
                  <a:lnTo>
                    <a:pt x="25780" y="53721"/>
                  </a:lnTo>
                  <a:lnTo>
                    <a:pt x="28320" y="51307"/>
                  </a:lnTo>
                  <a:lnTo>
                    <a:pt x="30606" y="49022"/>
                  </a:lnTo>
                  <a:lnTo>
                    <a:pt x="33147" y="46609"/>
                  </a:lnTo>
                  <a:lnTo>
                    <a:pt x="35814" y="44450"/>
                  </a:lnTo>
                  <a:lnTo>
                    <a:pt x="38480" y="42290"/>
                  </a:lnTo>
                  <a:lnTo>
                    <a:pt x="41275" y="40005"/>
                  </a:lnTo>
                  <a:lnTo>
                    <a:pt x="44068" y="37972"/>
                  </a:lnTo>
                  <a:lnTo>
                    <a:pt x="46990" y="35940"/>
                  </a:lnTo>
                  <a:lnTo>
                    <a:pt x="49911" y="33909"/>
                  </a:lnTo>
                  <a:lnTo>
                    <a:pt x="53086" y="32003"/>
                  </a:lnTo>
                  <a:lnTo>
                    <a:pt x="56134" y="30225"/>
                  </a:lnTo>
                  <a:lnTo>
                    <a:pt x="59309" y="28321"/>
                  </a:lnTo>
                  <a:lnTo>
                    <a:pt x="62484" y="26669"/>
                  </a:lnTo>
                  <a:lnTo>
                    <a:pt x="65913" y="24891"/>
                  </a:lnTo>
                  <a:lnTo>
                    <a:pt x="69341" y="23240"/>
                  </a:lnTo>
                  <a:lnTo>
                    <a:pt x="72643" y="21590"/>
                  </a:lnTo>
                  <a:lnTo>
                    <a:pt x="76327" y="20065"/>
                  </a:lnTo>
                  <a:lnTo>
                    <a:pt x="83312" y="17144"/>
                  </a:lnTo>
                  <a:lnTo>
                    <a:pt x="90677" y="14478"/>
                  </a:lnTo>
                  <a:lnTo>
                    <a:pt x="98170" y="12065"/>
                  </a:lnTo>
                  <a:lnTo>
                    <a:pt x="105917" y="9906"/>
                  </a:lnTo>
                  <a:lnTo>
                    <a:pt x="113665" y="7874"/>
                  </a:lnTo>
                  <a:lnTo>
                    <a:pt x="121665" y="6096"/>
                  </a:lnTo>
                  <a:lnTo>
                    <a:pt x="129793" y="4444"/>
                  </a:lnTo>
                  <a:lnTo>
                    <a:pt x="137922" y="3302"/>
                  </a:lnTo>
                  <a:lnTo>
                    <a:pt x="146177" y="2031"/>
                  </a:lnTo>
                  <a:lnTo>
                    <a:pt x="154559" y="1269"/>
                  </a:lnTo>
                  <a:lnTo>
                    <a:pt x="162940" y="634"/>
                  </a:lnTo>
                  <a:lnTo>
                    <a:pt x="171450" y="253"/>
                  </a:lnTo>
                  <a:lnTo>
                    <a:pt x="179831" y="0"/>
                  </a:lnTo>
                  <a:lnTo>
                    <a:pt x="188214" y="127"/>
                  </a:lnTo>
                  <a:lnTo>
                    <a:pt x="196723" y="381"/>
                  </a:lnTo>
                  <a:lnTo>
                    <a:pt x="204977" y="888"/>
                  </a:lnTo>
                  <a:lnTo>
                    <a:pt x="213487" y="1650"/>
                  </a:lnTo>
                  <a:lnTo>
                    <a:pt x="221488" y="2540"/>
                  </a:lnTo>
                  <a:lnTo>
                    <a:pt x="229869" y="3809"/>
                  </a:lnTo>
                  <a:lnTo>
                    <a:pt x="237743" y="5206"/>
                  </a:lnTo>
                  <a:lnTo>
                    <a:pt x="245744" y="6857"/>
                  </a:lnTo>
                  <a:lnTo>
                    <a:pt x="253618" y="8762"/>
                  </a:lnTo>
                  <a:lnTo>
                    <a:pt x="261239" y="10922"/>
                  </a:lnTo>
                  <a:lnTo>
                    <a:pt x="268859" y="13207"/>
                  </a:lnTo>
                  <a:lnTo>
                    <a:pt x="276352" y="15875"/>
                  </a:lnTo>
                  <a:lnTo>
                    <a:pt x="279780" y="17272"/>
                  </a:lnTo>
                  <a:lnTo>
                    <a:pt x="283337" y="18668"/>
                  </a:lnTo>
                  <a:lnTo>
                    <a:pt x="286892" y="20193"/>
                  </a:lnTo>
                  <a:lnTo>
                    <a:pt x="290322" y="21716"/>
                  </a:lnTo>
                  <a:lnTo>
                    <a:pt x="293751" y="23368"/>
                  </a:lnTo>
                  <a:lnTo>
                    <a:pt x="296926" y="25146"/>
                  </a:lnTo>
                  <a:lnTo>
                    <a:pt x="300227" y="26797"/>
                  </a:lnTo>
                  <a:lnTo>
                    <a:pt x="303529" y="28575"/>
                  </a:lnTo>
                  <a:lnTo>
                    <a:pt x="306577" y="30480"/>
                  </a:lnTo>
                  <a:lnTo>
                    <a:pt x="309626" y="32384"/>
                  </a:lnTo>
                  <a:lnTo>
                    <a:pt x="312674" y="34290"/>
                  </a:lnTo>
                  <a:lnTo>
                    <a:pt x="315594" y="36322"/>
                  </a:lnTo>
                  <a:lnTo>
                    <a:pt x="318389" y="38481"/>
                  </a:lnTo>
                  <a:lnTo>
                    <a:pt x="321055" y="40640"/>
                  </a:lnTo>
                  <a:lnTo>
                    <a:pt x="323850" y="42799"/>
                  </a:lnTo>
                  <a:lnTo>
                    <a:pt x="326390" y="45084"/>
                  </a:lnTo>
                  <a:lnTo>
                    <a:pt x="328929" y="47497"/>
                  </a:lnTo>
                  <a:lnTo>
                    <a:pt x="331342" y="49910"/>
                  </a:lnTo>
                  <a:lnTo>
                    <a:pt x="333755" y="52324"/>
                  </a:lnTo>
                  <a:lnTo>
                    <a:pt x="336041" y="54737"/>
                  </a:lnTo>
                  <a:lnTo>
                    <a:pt x="338201" y="57277"/>
                  </a:lnTo>
                  <a:lnTo>
                    <a:pt x="340360" y="59943"/>
                  </a:lnTo>
                  <a:lnTo>
                    <a:pt x="342265" y="62610"/>
                  </a:lnTo>
                  <a:lnTo>
                    <a:pt x="344169" y="65405"/>
                  </a:lnTo>
                  <a:lnTo>
                    <a:pt x="345948" y="68199"/>
                  </a:lnTo>
                  <a:lnTo>
                    <a:pt x="347599" y="70993"/>
                  </a:lnTo>
                  <a:lnTo>
                    <a:pt x="349377" y="73913"/>
                  </a:lnTo>
                  <a:lnTo>
                    <a:pt x="350774" y="76962"/>
                  </a:lnTo>
                  <a:lnTo>
                    <a:pt x="352170" y="80009"/>
                  </a:lnTo>
                  <a:lnTo>
                    <a:pt x="353440" y="83184"/>
                  </a:lnTo>
                  <a:lnTo>
                    <a:pt x="354456" y="86232"/>
                  </a:lnTo>
                  <a:lnTo>
                    <a:pt x="355473" y="89407"/>
                  </a:lnTo>
                  <a:lnTo>
                    <a:pt x="356615" y="92837"/>
                  </a:lnTo>
                  <a:lnTo>
                    <a:pt x="357377" y="96138"/>
                  </a:lnTo>
                  <a:lnTo>
                    <a:pt x="358140" y="99568"/>
                  </a:lnTo>
                  <a:lnTo>
                    <a:pt x="358648" y="102997"/>
                  </a:lnTo>
                  <a:lnTo>
                    <a:pt x="359028" y="106553"/>
                  </a:lnTo>
                  <a:lnTo>
                    <a:pt x="359410" y="110109"/>
                  </a:lnTo>
                  <a:lnTo>
                    <a:pt x="359537" y="113791"/>
                  </a:lnTo>
                  <a:lnTo>
                    <a:pt x="359664" y="117475"/>
                  </a:lnTo>
                  <a:lnTo>
                    <a:pt x="359664" y="121919"/>
                  </a:lnTo>
                  <a:lnTo>
                    <a:pt x="258190" y="121919"/>
                  </a:lnTo>
                  <a:lnTo>
                    <a:pt x="256413" y="112775"/>
                  </a:lnTo>
                  <a:lnTo>
                    <a:pt x="335788" y="112775"/>
                  </a:lnTo>
                  <a:lnTo>
                    <a:pt x="335534" y="109855"/>
                  </a:lnTo>
                  <a:lnTo>
                    <a:pt x="335279" y="106806"/>
                  </a:lnTo>
                  <a:lnTo>
                    <a:pt x="334772" y="104012"/>
                  </a:lnTo>
                  <a:lnTo>
                    <a:pt x="334390" y="101091"/>
                  </a:lnTo>
                  <a:lnTo>
                    <a:pt x="333755" y="98297"/>
                  </a:lnTo>
                  <a:lnTo>
                    <a:pt x="333120" y="95503"/>
                  </a:lnTo>
                  <a:lnTo>
                    <a:pt x="332104" y="92837"/>
                  </a:lnTo>
                  <a:lnTo>
                    <a:pt x="331342" y="90297"/>
                  </a:lnTo>
                  <a:lnTo>
                    <a:pt x="330200" y="87630"/>
                  </a:lnTo>
                  <a:lnTo>
                    <a:pt x="329184" y="85090"/>
                  </a:lnTo>
                  <a:lnTo>
                    <a:pt x="328040" y="82677"/>
                  </a:lnTo>
                  <a:lnTo>
                    <a:pt x="326770" y="80137"/>
                  </a:lnTo>
                  <a:lnTo>
                    <a:pt x="325374" y="77724"/>
                  </a:lnTo>
                  <a:lnTo>
                    <a:pt x="323850" y="75437"/>
                  </a:lnTo>
                  <a:lnTo>
                    <a:pt x="322452" y="73152"/>
                  </a:lnTo>
                  <a:lnTo>
                    <a:pt x="320802" y="70865"/>
                  </a:lnTo>
                  <a:lnTo>
                    <a:pt x="319024" y="68580"/>
                  </a:lnTo>
                  <a:lnTo>
                    <a:pt x="317245" y="66421"/>
                  </a:lnTo>
                  <a:lnTo>
                    <a:pt x="315467" y="64388"/>
                  </a:lnTo>
                  <a:lnTo>
                    <a:pt x="313563" y="62356"/>
                  </a:lnTo>
                  <a:lnTo>
                    <a:pt x="311530" y="60197"/>
                  </a:lnTo>
                  <a:lnTo>
                    <a:pt x="309372" y="58293"/>
                  </a:lnTo>
                  <a:lnTo>
                    <a:pt x="307340" y="56387"/>
                  </a:lnTo>
                  <a:lnTo>
                    <a:pt x="305053" y="54482"/>
                  </a:lnTo>
                  <a:lnTo>
                    <a:pt x="302894" y="52705"/>
                  </a:lnTo>
                  <a:lnTo>
                    <a:pt x="300609" y="50927"/>
                  </a:lnTo>
                  <a:lnTo>
                    <a:pt x="295655" y="47497"/>
                  </a:lnTo>
                  <a:lnTo>
                    <a:pt x="290449" y="44196"/>
                  </a:lnTo>
                  <a:lnTo>
                    <a:pt x="285115" y="41275"/>
                  </a:lnTo>
                  <a:lnTo>
                    <a:pt x="279653" y="38353"/>
                  </a:lnTo>
                  <a:lnTo>
                    <a:pt x="273812" y="35687"/>
                  </a:lnTo>
                  <a:lnTo>
                    <a:pt x="267969" y="33274"/>
                  </a:lnTo>
                  <a:lnTo>
                    <a:pt x="261874" y="30987"/>
                  </a:lnTo>
                  <a:lnTo>
                    <a:pt x="255524" y="28828"/>
                  </a:lnTo>
                  <a:lnTo>
                    <a:pt x="249174" y="26924"/>
                  </a:lnTo>
                  <a:lnTo>
                    <a:pt x="242697" y="25272"/>
                  </a:lnTo>
                  <a:lnTo>
                    <a:pt x="235839" y="23749"/>
                  </a:lnTo>
                  <a:lnTo>
                    <a:pt x="229235" y="22478"/>
                  </a:lnTo>
                  <a:lnTo>
                    <a:pt x="222250" y="21335"/>
                  </a:lnTo>
                  <a:lnTo>
                    <a:pt x="215391" y="20447"/>
                  </a:lnTo>
                  <a:lnTo>
                    <a:pt x="208406" y="19557"/>
                  </a:lnTo>
                  <a:lnTo>
                    <a:pt x="201294" y="19050"/>
                  </a:lnTo>
                  <a:lnTo>
                    <a:pt x="194182" y="18541"/>
                  </a:lnTo>
                  <a:lnTo>
                    <a:pt x="187070" y="18287"/>
                  </a:lnTo>
                  <a:lnTo>
                    <a:pt x="179959" y="18287"/>
                  </a:lnTo>
                  <a:lnTo>
                    <a:pt x="172719" y="18415"/>
                  </a:lnTo>
                  <a:lnTo>
                    <a:pt x="165607" y="18796"/>
                  </a:lnTo>
                  <a:lnTo>
                    <a:pt x="158495" y="19303"/>
                  </a:lnTo>
                  <a:lnTo>
                    <a:pt x="151384" y="20065"/>
                  </a:lnTo>
                  <a:lnTo>
                    <a:pt x="144526" y="20955"/>
                  </a:lnTo>
                  <a:lnTo>
                    <a:pt x="137540" y="21971"/>
                  </a:lnTo>
                  <a:lnTo>
                    <a:pt x="130555" y="23240"/>
                  </a:lnTo>
                  <a:lnTo>
                    <a:pt x="123825" y="24637"/>
                  </a:lnTo>
                  <a:lnTo>
                    <a:pt x="117093" y="26288"/>
                  </a:lnTo>
                  <a:lnTo>
                    <a:pt x="110616" y="28066"/>
                  </a:lnTo>
                  <a:lnTo>
                    <a:pt x="104266" y="30099"/>
                  </a:lnTo>
                  <a:lnTo>
                    <a:pt x="97916" y="32257"/>
                  </a:lnTo>
                  <a:lnTo>
                    <a:pt x="91820" y="34543"/>
                  </a:lnTo>
                  <a:lnTo>
                    <a:pt x="85852" y="37084"/>
                  </a:lnTo>
                  <a:lnTo>
                    <a:pt x="80137" y="39750"/>
                  </a:lnTo>
                  <a:lnTo>
                    <a:pt x="74549" y="42544"/>
                  </a:lnTo>
                  <a:lnTo>
                    <a:pt x="69215" y="45719"/>
                  </a:lnTo>
                  <a:lnTo>
                    <a:pt x="64135" y="48894"/>
                  </a:lnTo>
                  <a:lnTo>
                    <a:pt x="59309" y="52450"/>
                  </a:lnTo>
                  <a:lnTo>
                    <a:pt x="54737" y="56006"/>
                  </a:lnTo>
                  <a:lnTo>
                    <a:pt x="52451" y="57784"/>
                  </a:lnTo>
                  <a:lnTo>
                    <a:pt x="50291" y="59816"/>
                  </a:lnTo>
                  <a:lnTo>
                    <a:pt x="48132" y="61722"/>
                  </a:lnTo>
                  <a:lnTo>
                    <a:pt x="46227" y="63627"/>
                  </a:lnTo>
                  <a:lnTo>
                    <a:pt x="44195" y="65785"/>
                  </a:lnTo>
                  <a:lnTo>
                    <a:pt x="42417" y="67818"/>
                  </a:lnTo>
                  <a:lnTo>
                    <a:pt x="40640" y="69977"/>
                  </a:lnTo>
                  <a:lnTo>
                    <a:pt x="38862" y="72009"/>
                  </a:lnTo>
                  <a:lnTo>
                    <a:pt x="37211" y="74294"/>
                  </a:lnTo>
                  <a:lnTo>
                    <a:pt x="35814" y="76581"/>
                  </a:lnTo>
                  <a:lnTo>
                    <a:pt x="34290" y="78866"/>
                  </a:lnTo>
                  <a:lnTo>
                    <a:pt x="32892" y="81153"/>
                  </a:lnTo>
                  <a:lnTo>
                    <a:pt x="31623" y="83565"/>
                  </a:lnTo>
                  <a:lnTo>
                    <a:pt x="30479" y="85978"/>
                  </a:lnTo>
                  <a:lnTo>
                    <a:pt x="29464" y="88518"/>
                  </a:lnTo>
                  <a:lnTo>
                    <a:pt x="28320" y="91059"/>
                  </a:lnTo>
                  <a:lnTo>
                    <a:pt x="27559" y="93599"/>
                  </a:lnTo>
                  <a:lnTo>
                    <a:pt x="26542" y="96265"/>
                  </a:lnTo>
                  <a:lnTo>
                    <a:pt x="25780" y="98932"/>
                  </a:lnTo>
                  <a:lnTo>
                    <a:pt x="25273" y="101472"/>
                  </a:lnTo>
                  <a:lnTo>
                    <a:pt x="24638" y="104266"/>
                  </a:lnTo>
                  <a:lnTo>
                    <a:pt x="24256" y="107060"/>
                  </a:lnTo>
                  <a:lnTo>
                    <a:pt x="23876" y="109981"/>
                  </a:lnTo>
                  <a:lnTo>
                    <a:pt x="23749" y="112775"/>
                  </a:lnTo>
                  <a:close/>
                  <a:moveTo>
                    <a:pt x="-3986784" y="265480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35" name="Freeform 1435"/>
            <p:cNvSpPr/>
            <p:nvPr/>
          </p:nvSpPr>
          <p:spPr>
            <a:xfrm>
              <a:off x="6528593" y="4333785"/>
              <a:ext cx="21325" cy="134042"/>
            </a:xfrm>
            <a:custGeom>
              <a:avLst/>
              <a:gdLst/>
              <a:ahLst/>
              <a:cxnLst/>
              <a:rect l="0" t="0" r="0" b="0"/>
              <a:pathLst>
                <a:path w="21336" h="134112">
                  <a:moveTo>
                    <a:pt x="0" y="134112"/>
                  </a:moveTo>
                  <a:lnTo>
                    <a:pt x="21336" y="134112"/>
                  </a:lnTo>
                  <a:lnTo>
                    <a:pt x="21336" y="0"/>
                  </a:lnTo>
                  <a:lnTo>
                    <a:pt x="0" y="0"/>
                  </a:lnTo>
                  <a:lnTo>
                    <a:pt x="0" y="134112"/>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36" name="Freeform 1436"/>
            <p:cNvSpPr/>
            <p:nvPr/>
          </p:nvSpPr>
          <p:spPr>
            <a:xfrm>
              <a:off x="6866744" y="4208883"/>
              <a:ext cx="182785" cy="258944"/>
            </a:xfrm>
            <a:custGeom>
              <a:avLst/>
              <a:gdLst/>
              <a:ahLst/>
              <a:cxnLst/>
              <a:rect l="0" t="0" r="0" b="0"/>
              <a:pathLst>
                <a:path w="182880" h="259079">
                  <a:moveTo>
                    <a:pt x="68962" y="0"/>
                  </a:moveTo>
                  <a:lnTo>
                    <a:pt x="68962" y="24510"/>
                  </a:lnTo>
                  <a:lnTo>
                    <a:pt x="40513" y="24510"/>
                  </a:lnTo>
                  <a:lnTo>
                    <a:pt x="40513" y="231394"/>
                  </a:lnTo>
                  <a:lnTo>
                    <a:pt x="23496" y="231394"/>
                  </a:lnTo>
                  <a:lnTo>
                    <a:pt x="23496" y="126238"/>
                  </a:lnTo>
                  <a:lnTo>
                    <a:pt x="0" y="126238"/>
                  </a:lnTo>
                  <a:lnTo>
                    <a:pt x="0" y="259079"/>
                  </a:lnTo>
                  <a:lnTo>
                    <a:pt x="23496" y="259079"/>
                  </a:lnTo>
                  <a:lnTo>
                    <a:pt x="23496" y="240538"/>
                  </a:lnTo>
                  <a:lnTo>
                    <a:pt x="52198" y="240538"/>
                  </a:lnTo>
                  <a:lnTo>
                    <a:pt x="52198" y="33654"/>
                  </a:lnTo>
                  <a:lnTo>
                    <a:pt x="68962" y="33654"/>
                  </a:lnTo>
                  <a:lnTo>
                    <a:pt x="68962" y="240538"/>
                  </a:lnTo>
                  <a:lnTo>
                    <a:pt x="93726" y="240538"/>
                  </a:lnTo>
                  <a:lnTo>
                    <a:pt x="93726" y="259079"/>
                  </a:lnTo>
                  <a:lnTo>
                    <a:pt x="105538" y="259079"/>
                  </a:lnTo>
                  <a:lnTo>
                    <a:pt x="105538" y="240538"/>
                  </a:lnTo>
                  <a:lnTo>
                    <a:pt x="110110" y="240538"/>
                  </a:lnTo>
                  <a:lnTo>
                    <a:pt x="110110" y="259079"/>
                  </a:lnTo>
                  <a:lnTo>
                    <a:pt x="121793" y="259079"/>
                  </a:lnTo>
                  <a:lnTo>
                    <a:pt x="121793" y="240538"/>
                  </a:lnTo>
                  <a:lnTo>
                    <a:pt x="134748" y="240538"/>
                  </a:lnTo>
                  <a:lnTo>
                    <a:pt x="134748" y="259079"/>
                  </a:lnTo>
                  <a:lnTo>
                    <a:pt x="146432" y="259079"/>
                  </a:lnTo>
                  <a:lnTo>
                    <a:pt x="146432" y="240538"/>
                  </a:lnTo>
                  <a:lnTo>
                    <a:pt x="151385" y="240538"/>
                  </a:lnTo>
                  <a:lnTo>
                    <a:pt x="151385" y="259079"/>
                  </a:lnTo>
                  <a:lnTo>
                    <a:pt x="163196" y="259079"/>
                  </a:lnTo>
                  <a:lnTo>
                    <a:pt x="163196" y="240538"/>
                  </a:lnTo>
                  <a:lnTo>
                    <a:pt x="182880" y="240538"/>
                  </a:lnTo>
                  <a:lnTo>
                    <a:pt x="182880" y="0"/>
                  </a:lnTo>
                  <a:lnTo>
                    <a:pt x="68962" y="0"/>
                  </a:lnTo>
                  <a:close/>
                  <a:moveTo>
                    <a:pt x="-4218432" y="2648711"/>
                  </a:moveTo>
                  <a:moveTo>
                    <a:pt x="171070" y="183134"/>
                  </a:moveTo>
                  <a:lnTo>
                    <a:pt x="80646" y="132334"/>
                  </a:lnTo>
                  <a:lnTo>
                    <a:pt x="80646" y="9144"/>
                  </a:lnTo>
                  <a:lnTo>
                    <a:pt x="171070" y="9144"/>
                  </a:lnTo>
                  <a:lnTo>
                    <a:pt x="171070" y="183134"/>
                  </a:lnTo>
                  <a:close/>
                  <a:moveTo>
                    <a:pt x="-4401566" y="2648711"/>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37" name="Freeform 1437"/>
            <p:cNvSpPr/>
            <p:nvPr/>
          </p:nvSpPr>
          <p:spPr>
            <a:xfrm>
              <a:off x="6492036" y="4473921"/>
              <a:ext cx="566633" cy="9139"/>
            </a:xfrm>
            <a:custGeom>
              <a:avLst/>
              <a:gdLst/>
              <a:ahLst/>
              <a:cxnLst/>
              <a:rect l="0" t="0" r="0" b="0"/>
              <a:pathLst>
                <a:path w="566928" h="9144">
                  <a:moveTo>
                    <a:pt x="0" y="9144"/>
                  </a:moveTo>
                  <a:lnTo>
                    <a:pt x="566928" y="9144"/>
                  </a:lnTo>
                  <a:lnTo>
                    <a:pt x="566928" y="0"/>
                  </a:lnTo>
                  <a:lnTo>
                    <a:pt x="0" y="0"/>
                  </a:lnTo>
                  <a:lnTo>
                    <a:pt x="0" y="9144"/>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38" name="Freeform 1438"/>
            <p:cNvSpPr/>
            <p:nvPr/>
          </p:nvSpPr>
          <p:spPr>
            <a:xfrm>
              <a:off x="6662636" y="4303323"/>
              <a:ext cx="100531" cy="158413"/>
            </a:xfrm>
            <a:custGeom>
              <a:avLst/>
              <a:gdLst/>
              <a:ahLst/>
              <a:cxnLst/>
              <a:rect l="0" t="0" r="0" b="0"/>
              <a:pathLst>
                <a:path w="100583" h="158496">
                  <a:moveTo>
                    <a:pt x="56133" y="17272"/>
                  </a:moveTo>
                  <a:lnTo>
                    <a:pt x="56133" y="57150"/>
                  </a:lnTo>
                  <a:lnTo>
                    <a:pt x="71374" y="45338"/>
                  </a:lnTo>
                  <a:lnTo>
                    <a:pt x="71374" y="58293"/>
                  </a:lnTo>
                  <a:lnTo>
                    <a:pt x="56133" y="70103"/>
                  </a:lnTo>
                  <a:lnTo>
                    <a:pt x="56133" y="79375"/>
                  </a:lnTo>
                  <a:lnTo>
                    <a:pt x="76580" y="63753"/>
                  </a:lnTo>
                  <a:lnTo>
                    <a:pt x="77089" y="63753"/>
                  </a:lnTo>
                  <a:lnTo>
                    <a:pt x="77089" y="76326"/>
                  </a:lnTo>
                  <a:lnTo>
                    <a:pt x="56133" y="92201"/>
                  </a:lnTo>
                  <a:lnTo>
                    <a:pt x="56133" y="100329"/>
                  </a:lnTo>
                  <a:lnTo>
                    <a:pt x="80644" y="82550"/>
                  </a:lnTo>
                  <a:lnTo>
                    <a:pt x="80644" y="95250"/>
                  </a:lnTo>
                  <a:lnTo>
                    <a:pt x="56133" y="113029"/>
                  </a:lnTo>
                  <a:lnTo>
                    <a:pt x="56133" y="129794"/>
                  </a:lnTo>
                  <a:lnTo>
                    <a:pt x="56133" y="136271"/>
                  </a:lnTo>
                  <a:lnTo>
                    <a:pt x="56133" y="158496"/>
                  </a:lnTo>
                  <a:lnTo>
                    <a:pt x="44323" y="158496"/>
                  </a:lnTo>
                  <a:lnTo>
                    <a:pt x="44323" y="136271"/>
                  </a:lnTo>
                  <a:lnTo>
                    <a:pt x="42037" y="136016"/>
                  </a:lnTo>
                  <a:lnTo>
                    <a:pt x="39751" y="135635"/>
                  </a:lnTo>
                  <a:lnTo>
                    <a:pt x="37465" y="135254"/>
                  </a:lnTo>
                  <a:lnTo>
                    <a:pt x="35178" y="134873"/>
                  </a:lnTo>
                  <a:lnTo>
                    <a:pt x="33147" y="134366"/>
                  </a:lnTo>
                  <a:lnTo>
                    <a:pt x="30988" y="133731"/>
                  </a:lnTo>
                  <a:lnTo>
                    <a:pt x="28828" y="132969"/>
                  </a:lnTo>
                  <a:lnTo>
                    <a:pt x="26924" y="132206"/>
                  </a:lnTo>
                  <a:lnTo>
                    <a:pt x="24765" y="131318"/>
                  </a:lnTo>
                  <a:lnTo>
                    <a:pt x="22860" y="130428"/>
                  </a:lnTo>
                  <a:lnTo>
                    <a:pt x="20954" y="129285"/>
                  </a:lnTo>
                  <a:lnTo>
                    <a:pt x="19177" y="128143"/>
                  </a:lnTo>
                  <a:lnTo>
                    <a:pt x="17526" y="127126"/>
                  </a:lnTo>
                  <a:lnTo>
                    <a:pt x="15875" y="125729"/>
                  </a:lnTo>
                  <a:lnTo>
                    <a:pt x="14224" y="124459"/>
                  </a:lnTo>
                  <a:lnTo>
                    <a:pt x="12827" y="123063"/>
                  </a:lnTo>
                  <a:lnTo>
                    <a:pt x="11303" y="121538"/>
                  </a:lnTo>
                  <a:lnTo>
                    <a:pt x="9905" y="120015"/>
                  </a:lnTo>
                  <a:lnTo>
                    <a:pt x="8636" y="118363"/>
                  </a:lnTo>
                  <a:lnTo>
                    <a:pt x="7492" y="116585"/>
                  </a:lnTo>
                  <a:lnTo>
                    <a:pt x="6350" y="114807"/>
                  </a:lnTo>
                  <a:lnTo>
                    <a:pt x="5206" y="112903"/>
                  </a:lnTo>
                  <a:lnTo>
                    <a:pt x="4190" y="110871"/>
                  </a:lnTo>
                  <a:lnTo>
                    <a:pt x="3302" y="108838"/>
                  </a:lnTo>
                  <a:lnTo>
                    <a:pt x="2540" y="106679"/>
                  </a:lnTo>
                  <a:lnTo>
                    <a:pt x="2031" y="104394"/>
                  </a:lnTo>
                  <a:lnTo>
                    <a:pt x="1397" y="102107"/>
                  </a:lnTo>
                  <a:lnTo>
                    <a:pt x="889" y="99822"/>
                  </a:lnTo>
                  <a:lnTo>
                    <a:pt x="635" y="97281"/>
                  </a:lnTo>
                  <a:lnTo>
                    <a:pt x="253" y="94741"/>
                  </a:lnTo>
                  <a:lnTo>
                    <a:pt x="127" y="92075"/>
                  </a:lnTo>
                  <a:lnTo>
                    <a:pt x="0" y="89281"/>
                  </a:lnTo>
                  <a:lnTo>
                    <a:pt x="127" y="85597"/>
                  </a:lnTo>
                  <a:lnTo>
                    <a:pt x="635" y="81915"/>
                  </a:lnTo>
                  <a:lnTo>
                    <a:pt x="1142" y="78231"/>
                  </a:lnTo>
                  <a:lnTo>
                    <a:pt x="2031" y="74422"/>
                  </a:lnTo>
                  <a:lnTo>
                    <a:pt x="3175" y="70612"/>
                  </a:lnTo>
                  <a:lnTo>
                    <a:pt x="4444" y="66928"/>
                  </a:lnTo>
                  <a:lnTo>
                    <a:pt x="5841" y="63119"/>
                  </a:lnTo>
                  <a:lnTo>
                    <a:pt x="7492" y="59309"/>
                  </a:lnTo>
                  <a:lnTo>
                    <a:pt x="9143" y="55625"/>
                  </a:lnTo>
                  <a:lnTo>
                    <a:pt x="11049" y="51943"/>
                  </a:lnTo>
                  <a:lnTo>
                    <a:pt x="13080" y="48387"/>
                  </a:lnTo>
                  <a:lnTo>
                    <a:pt x="14986" y="44831"/>
                  </a:lnTo>
                  <a:lnTo>
                    <a:pt x="17144" y="41401"/>
                  </a:lnTo>
                  <a:lnTo>
                    <a:pt x="19177" y="38100"/>
                  </a:lnTo>
                  <a:lnTo>
                    <a:pt x="23622" y="31622"/>
                  </a:lnTo>
                  <a:lnTo>
                    <a:pt x="28193" y="25653"/>
                  </a:lnTo>
                  <a:lnTo>
                    <a:pt x="32765" y="19812"/>
                  </a:lnTo>
                  <a:lnTo>
                    <a:pt x="37211" y="14350"/>
                  </a:lnTo>
                  <a:lnTo>
                    <a:pt x="41275" y="9651"/>
                  </a:lnTo>
                  <a:lnTo>
                    <a:pt x="44957" y="5588"/>
                  </a:lnTo>
                  <a:lnTo>
                    <a:pt x="47752" y="2666"/>
                  </a:lnTo>
                  <a:lnTo>
                    <a:pt x="50291" y="0"/>
                  </a:lnTo>
                  <a:lnTo>
                    <a:pt x="52704" y="2666"/>
                  </a:lnTo>
                  <a:lnTo>
                    <a:pt x="55753" y="5588"/>
                  </a:lnTo>
                  <a:lnTo>
                    <a:pt x="59181" y="9651"/>
                  </a:lnTo>
                  <a:lnTo>
                    <a:pt x="63373" y="14350"/>
                  </a:lnTo>
                  <a:lnTo>
                    <a:pt x="67944" y="19812"/>
                  </a:lnTo>
                  <a:lnTo>
                    <a:pt x="72516" y="25653"/>
                  </a:lnTo>
                  <a:lnTo>
                    <a:pt x="77089" y="31622"/>
                  </a:lnTo>
                  <a:lnTo>
                    <a:pt x="81406" y="38100"/>
                  </a:lnTo>
                  <a:lnTo>
                    <a:pt x="83439" y="41401"/>
                  </a:lnTo>
                  <a:lnTo>
                    <a:pt x="85598" y="44831"/>
                  </a:lnTo>
                  <a:lnTo>
                    <a:pt x="87629" y="48387"/>
                  </a:lnTo>
                  <a:lnTo>
                    <a:pt x="89535" y="51943"/>
                  </a:lnTo>
                  <a:lnTo>
                    <a:pt x="91440" y="55625"/>
                  </a:lnTo>
                  <a:lnTo>
                    <a:pt x="93090" y="59309"/>
                  </a:lnTo>
                  <a:lnTo>
                    <a:pt x="94741" y="63119"/>
                  </a:lnTo>
                  <a:lnTo>
                    <a:pt x="96139" y="66928"/>
                  </a:lnTo>
                  <a:lnTo>
                    <a:pt x="97536" y="70612"/>
                  </a:lnTo>
                  <a:lnTo>
                    <a:pt x="98552" y="74422"/>
                  </a:lnTo>
                  <a:lnTo>
                    <a:pt x="99440" y="78231"/>
                  </a:lnTo>
                  <a:lnTo>
                    <a:pt x="99949" y="81915"/>
                  </a:lnTo>
                  <a:lnTo>
                    <a:pt x="100456" y="85597"/>
                  </a:lnTo>
                  <a:lnTo>
                    <a:pt x="100583" y="89281"/>
                  </a:lnTo>
                  <a:lnTo>
                    <a:pt x="100583" y="91694"/>
                  </a:lnTo>
                  <a:lnTo>
                    <a:pt x="100456" y="94106"/>
                  </a:lnTo>
                  <a:lnTo>
                    <a:pt x="100203" y="96266"/>
                  </a:lnTo>
                  <a:lnTo>
                    <a:pt x="99822" y="98425"/>
                  </a:lnTo>
                  <a:lnTo>
                    <a:pt x="99567" y="100584"/>
                  </a:lnTo>
                  <a:lnTo>
                    <a:pt x="99060" y="102616"/>
                  </a:lnTo>
                  <a:lnTo>
                    <a:pt x="98552" y="104647"/>
                  </a:lnTo>
                  <a:lnTo>
                    <a:pt x="97916" y="106553"/>
                  </a:lnTo>
                  <a:lnTo>
                    <a:pt x="97154" y="108457"/>
                  </a:lnTo>
                  <a:lnTo>
                    <a:pt x="96392" y="110363"/>
                  </a:lnTo>
                  <a:lnTo>
                    <a:pt x="95630" y="112013"/>
                  </a:lnTo>
                  <a:lnTo>
                    <a:pt x="94741" y="113791"/>
                  </a:lnTo>
                  <a:lnTo>
                    <a:pt x="93726" y="115443"/>
                  </a:lnTo>
                  <a:lnTo>
                    <a:pt x="92582" y="116966"/>
                  </a:lnTo>
                  <a:lnTo>
                    <a:pt x="91566" y="118491"/>
                  </a:lnTo>
                  <a:lnTo>
                    <a:pt x="90424" y="120015"/>
                  </a:lnTo>
                  <a:lnTo>
                    <a:pt x="89153" y="121284"/>
                  </a:lnTo>
                  <a:lnTo>
                    <a:pt x="87883" y="122681"/>
                  </a:lnTo>
                  <a:lnTo>
                    <a:pt x="86487" y="123951"/>
                  </a:lnTo>
                  <a:lnTo>
                    <a:pt x="85216" y="125222"/>
                  </a:lnTo>
                  <a:lnTo>
                    <a:pt x="83692" y="126365"/>
                  </a:lnTo>
                  <a:lnTo>
                    <a:pt x="82168" y="127507"/>
                  </a:lnTo>
                  <a:lnTo>
                    <a:pt x="80644" y="128523"/>
                  </a:lnTo>
                  <a:lnTo>
                    <a:pt x="78993" y="129413"/>
                  </a:lnTo>
                  <a:lnTo>
                    <a:pt x="77342" y="130428"/>
                  </a:lnTo>
                  <a:lnTo>
                    <a:pt x="75565" y="131318"/>
                  </a:lnTo>
                  <a:lnTo>
                    <a:pt x="73787" y="131953"/>
                  </a:lnTo>
                  <a:lnTo>
                    <a:pt x="72008" y="132715"/>
                  </a:lnTo>
                  <a:lnTo>
                    <a:pt x="70103" y="133350"/>
                  </a:lnTo>
                  <a:lnTo>
                    <a:pt x="68199" y="134112"/>
                  </a:lnTo>
                  <a:lnTo>
                    <a:pt x="66293" y="134493"/>
                  </a:lnTo>
                  <a:lnTo>
                    <a:pt x="64389" y="135000"/>
                  </a:lnTo>
                  <a:lnTo>
                    <a:pt x="64389" y="128269"/>
                  </a:lnTo>
                  <a:lnTo>
                    <a:pt x="67310" y="127381"/>
                  </a:lnTo>
                  <a:lnTo>
                    <a:pt x="70103" y="126238"/>
                  </a:lnTo>
                  <a:lnTo>
                    <a:pt x="72898" y="124968"/>
                  </a:lnTo>
                  <a:lnTo>
                    <a:pt x="75565" y="123571"/>
                  </a:lnTo>
                  <a:lnTo>
                    <a:pt x="78104" y="121793"/>
                  </a:lnTo>
                  <a:lnTo>
                    <a:pt x="80264" y="119888"/>
                  </a:lnTo>
                  <a:lnTo>
                    <a:pt x="82550" y="117728"/>
                  </a:lnTo>
                  <a:lnTo>
                    <a:pt x="84454" y="115443"/>
                  </a:lnTo>
                  <a:lnTo>
                    <a:pt x="86105" y="113029"/>
                  </a:lnTo>
                  <a:lnTo>
                    <a:pt x="87756" y="110235"/>
                  </a:lnTo>
                  <a:lnTo>
                    <a:pt x="89153" y="107188"/>
                  </a:lnTo>
                  <a:lnTo>
                    <a:pt x="90297" y="104140"/>
                  </a:lnTo>
                  <a:lnTo>
                    <a:pt x="91186" y="100710"/>
                  </a:lnTo>
                  <a:lnTo>
                    <a:pt x="91820" y="97154"/>
                  </a:lnTo>
                  <a:lnTo>
                    <a:pt x="92202" y="93344"/>
                  </a:lnTo>
                  <a:lnTo>
                    <a:pt x="92328" y="89281"/>
                  </a:lnTo>
                  <a:lnTo>
                    <a:pt x="92328" y="87248"/>
                  </a:lnTo>
                  <a:lnTo>
                    <a:pt x="92202" y="84963"/>
                  </a:lnTo>
                  <a:lnTo>
                    <a:pt x="91820" y="82803"/>
                  </a:lnTo>
                  <a:lnTo>
                    <a:pt x="91566" y="80518"/>
                  </a:lnTo>
                  <a:lnTo>
                    <a:pt x="90551" y="75946"/>
                  </a:lnTo>
                  <a:lnTo>
                    <a:pt x="89280" y="71247"/>
                  </a:lnTo>
                  <a:lnTo>
                    <a:pt x="87503" y="66547"/>
                  </a:lnTo>
                  <a:lnTo>
                    <a:pt x="85598" y="61848"/>
                  </a:lnTo>
                  <a:lnTo>
                    <a:pt x="83312" y="57150"/>
                  </a:lnTo>
                  <a:lnTo>
                    <a:pt x="80899" y="52450"/>
                  </a:lnTo>
                  <a:lnTo>
                    <a:pt x="78231" y="47751"/>
                  </a:lnTo>
                  <a:lnTo>
                    <a:pt x="75438" y="43053"/>
                  </a:lnTo>
                  <a:lnTo>
                    <a:pt x="72516" y="38481"/>
                  </a:lnTo>
                  <a:lnTo>
                    <a:pt x="69215" y="33909"/>
                  </a:lnTo>
                  <a:lnTo>
                    <a:pt x="66166" y="29591"/>
                  </a:lnTo>
                  <a:lnTo>
                    <a:pt x="62738" y="25400"/>
                  </a:lnTo>
                  <a:lnTo>
                    <a:pt x="59563" y="21209"/>
                  </a:lnTo>
                  <a:lnTo>
                    <a:pt x="56133" y="17272"/>
                  </a:lnTo>
                  <a:close/>
                  <a:moveTo>
                    <a:pt x="-4125977" y="2554223"/>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pic>
          <p:nvPicPr>
            <p:cNvPr id="1439" name="Picture 1439"/>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6755042" y="4896863"/>
              <a:ext cx="101547" cy="211726"/>
            </a:xfrm>
            <a:prstGeom prst="rect">
              <a:avLst/>
            </a:prstGeom>
            <a:noFill/>
          </p:spPr>
        </p:pic>
        <p:sp>
          <p:nvSpPr>
            <p:cNvPr id="1525" name="Freeform 1525"/>
            <p:cNvSpPr/>
            <p:nvPr/>
          </p:nvSpPr>
          <p:spPr>
            <a:xfrm>
              <a:off x="5370955" y="3666620"/>
              <a:ext cx="1282540" cy="252852"/>
            </a:xfrm>
            <a:custGeom>
              <a:avLst/>
              <a:gdLst/>
              <a:ahLst/>
              <a:cxnLst/>
              <a:rect l="0" t="0" r="0" b="0"/>
              <a:pathLst>
                <a:path w="1283208" h="252984">
                  <a:moveTo>
                    <a:pt x="0" y="252984"/>
                  </a:moveTo>
                  <a:lnTo>
                    <a:pt x="1283208" y="252984"/>
                  </a:lnTo>
                  <a:lnTo>
                    <a:pt x="1283208" y="0"/>
                  </a:lnTo>
                  <a:lnTo>
                    <a:pt x="0" y="0"/>
                  </a:lnTo>
                  <a:lnTo>
                    <a:pt x="0" y="25298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552" name="Rectangle 1552"/>
            <p:cNvSpPr/>
            <p:nvPr/>
          </p:nvSpPr>
          <p:spPr>
            <a:xfrm>
              <a:off x="5640311" y="4537954"/>
              <a:ext cx="771045" cy="154786"/>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Methanation</a:t>
              </a:r>
            </a:p>
          </p:txBody>
        </p:sp>
        <p:sp>
          <p:nvSpPr>
            <p:cNvPr id="1562" name="Rectangle 1562"/>
            <p:cNvSpPr/>
            <p:nvPr/>
          </p:nvSpPr>
          <p:spPr>
            <a:xfrm>
              <a:off x="5008685" y="4537954"/>
              <a:ext cx="601190" cy="154786"/>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Syn </a:t>
              </a:r>
              <a:r>
                <a:rPr kumimoji="0" lang="en-US" sz="1005" b="1" i="0" u="none" strike="noStrike" kern="1200" cap="none" spc="-12" normalizeH="0" baseline="0" noProof="0" dirty="0">
                  <a:ln>
                    <a:noFill/>
                  </a:ln>
                  <a:solidFill>
                    <a:srgbClr val="FFFFFF"/>
                  </a:solidFill>
                  <a:effectLst/>
                  <a:uLnTx/>
                  <a:uFillTx/>
                  <a:latin typeface="EYInterstate-LightBold"/>
                  <a:ea typeface="+mn-ea"/>
                  <a:cs typeface="+mn-cs"/>
                </a:rPr>
                <a:t>F</a:t>
              </a: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uels</a:t>
              </a:r>
            </a:p>
          </p:txBody>
        </p:sp>
        <p:sp>
          <p:nvSpPr>
            <p:cNvPr id="1566" name="Rectangle 1566"/>
            <p:cNvSpPr/>
            <p:nvPr/>
          </p:nvSpPr>
          <p:spPr>
            <a:xfrm>
              <a:off x="5407512" y="5330021"/>
              <a:ext cx="267702" cy="154786"/>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CCU</a:t>
              </a:r>
            </a:p>
          </p:txBody>
        </p:sp>
        <p:sp>
          <p:nvSpPr>
            <p:cNvPr id="1573" name="Rectangle 1573"/>
            <p:cNvSpPr/>
            <p:nvPr/>
          </p:nvSpPr>
          <p:spPr>
            <a:xfrm>
              <a:off x="6554741" y="5306304"/>
              <a:ext cx="522772" cy="155299"/>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8" b="1" i="0" u="none" strike="noStrike" kern="1200" cap="none" spc="-11" normalizeH="0" baseline="0" noProof="0" dirty="0">
                  <a:ln>
                    <a:noFill/>
                  </a:ln>
                  <a:solidFill>
                    <a:srgbClr val="FFFFFF"/>
                  </a:solidFill>
                  <a:effectLst/>
                  <a:uLnTx/>
                  <a:uFillTx/>
                  <a:latin typeface="EYInterstate-LightBold"/>
                  <a:ea typeface="+mn-ea"/>
                  <a:cs typeface="+mn-cs"/>
                </a:rPr>
                <a:t>B</a:t>
              </a:r>
              <a:r>
                <a:rPr kumimoji="0" lang="en-US" sz="1008" b="1" i="0" u="none" strike="noStrike" kern="1200" cap="none" spc="0" normalizeH="0" baseline="0" noProof="0" dirty="0">
                  <a:ln>
                    <a:noFill/>
                  </a:ln>
                  <a:solidFill>
                    <a:srgbClr val="FFFFFF"/>
                  </a:solidFill>
                  <a:effectLst/>
                  <a:uLnTx/>
                  <a:uFillTx/>
                  <a:latin typeface="EYInterstate-LightBold"/>
                  <a:ea typeface="+mn-ea"/>
                  <a:cs typeface="+mn-cs"/>
                </a:rPr>
                <a:t>iomass</a:t>
              </a:r>
            </a:p>
          </p:txBody>
        </p:sp>
        <p:sp>
          <p:nvSpPr>
            <p:cNvPr id="1574" name="Rectangle 1574"/>
            <p:cNvSpPr/>
            <p:nvPr/>
          </p:nvSpPr>
          <p:spPr>
            <a:xfrm>
              <a:off x="6451162" y="4529450"/>
              <a:ext cx="759888" cy="308674"/>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12" normalizeH="0" baseline="0" noProof="0" dirty="0">
                  <a:ln>
                    <a:noFill/>
                  </a:ln>
                  <a:solidFill>
                    <a:srgbClr val="FFFFFF"/>
                  </a:solidFill>
                  <a:effectLst/>
                  <a:uLnTx/>
                  <a:uFillTx/>
                  <a:latin typeface="EYInterstate-LightBold"/>
                  <a:ea typeface="+mn-ea"/>
                  <a:cs typeface="+mn-cs"/>
                </a:rPr>
                <a:t>G</a:t>
              </a: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reen liquid </a:t>
              </a:r>
            </a:p>
            <a:p>
              <a:pPr marL="210101" marR="0" lvl="0" indent="0" algn="l" defTabSz="913943" rtl="0" eaLnBrk="1" fontAlgn="auto" latinLnBrk="0" hangingPunct="1">
                <a:lnSpc>
                  <a:spcPts val="12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fuels</a:t>
              </a:r>
            </a:p>
          </p:txBody>
        </p:sp>
      </p:grpSp>
      <p:sp>
        <p:nvSpPr>
          <p:cNvPr id="1448" name="Freeform 1448"/>
          <p:cNvSpPr/>
          <p:nvPr/>
        </p:nvSpPr>
        <p:spPr>
          <a:xfrm>
            <a:off x="4969288" y="1230636"/>
            <a:ext cx="2244038" cy="252720"/>
          </a:xfrm>
          <a:custGeom>
            <a:avLst/>
            <a:gdLst/>
            <a:ahLst/>
            <a:cxnLst/>
            <a:rect l="0" t="0" r="0" b="0"/>
            <a:pathLst>
              <a:path w="2246376" h="252984">
                <a:moveTo>
                  <a:pt x="0" y="0"/>
                </a:moveTo>
                <a:lnTo>
                  <a:pt x="2180717" y="0"/>
                </a:lnTo>
                <a:lnTo>
                  <a:pt x="2246376" y="126491"/>
                </a:lnTo>
                <a:lnTo>
                  <a:pt x="2180717" y="252984"/>
                </a:lnTo>
                <a:lnTo>
                  <a:pt x="0" y="252984"/>
                </a:lnTo>
                <a:lnTo>
                  <a:pt x="65658" y="126491"/>
                </a:lnTo>
                <a:close/>
                <a:moveTo>
                  <a:pt x="658367" y="5629655"/>
                </a:moveTo>
              </a:path>
            </a:pathLst>
          </a:custGeom>
          <a:solidFill>
            <a:srgbClr val="FFF066">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grpSp>
        <p:nvGrpSpPr>
          <p:cNvPr id="51" name="3. Conversion">
            <a:extLst>
              <a:ext uri="{FF2B5EF4-FFF2-40B4-BE49-F238E27FC236}">
                <a16:creationId xmlns:a16="http://schemas.microsoft.com/office/drawing/2014/main" id="{BEE205A1-A36E-41F5-BBE5-87AC58505328}"/>
              </a:ext>
            </a:extLst>
          </p:cNvPr>
          <p:cNvGrpSpPr/>
          <p:nvPr/>
        </p:nvGrpSpPr>
        <p:grpSpPr>
          <a:xfrm>
            <a:off x="4955584" y="1530552"/>
            <a:ext cx="2237948" cy="1794924"/>
            <a:chOff x="4958165" y="1529563"/>
            <a:chExt cx="2239114" cy="1795859"/>
          </a:xfrm>
        </p:grpSpPr>
        <p:sp>
          <p:nvSpPr>
            <p:cNvPr id="1325" name="Freeform 1325"/>
            <p:cNvSpPr/>
            <p:nvPr/>
          </p:nvSpPr>
          <p:spPr>
            <a:xfrm>
              <a:off x="5370957" y="1579828"/>
              <a:ext cx="194969" cy="371662"/>
            </a:xfrm>
            <a:custGeom>
              <a:avLst/>
              <a:gdLst/>
              <a:ahLst/>
              <a:cxnLst/>
              <a:rect l="0" t="0" r="0" b="0"/>
              <a:pathLst>
                <a:path w="195071" h="371856">
                  <a:moveTo>
                    <a:pt x="76072" y="145922"/>
                  </a:moveTo>
                  <a:lnTo>
                    <a:pt x="76072" y="251968"/>
                  </a:lnTo>
                  <a:lnTo>
                    <a:pt x="72389" y="253491"/>
                  </a:lnTo>
                  <a:lnTo>
                    <a:pt x="68833" y="255143"/>
                  </a:lnTo>
                  <a:lnTo>
                    <a:pt x="65404" y="256794"/>
                  </a:lnTo>
                  <a:lnTo>
                    <a:pt x="62102" y="258826"/>
                  </a:lnTo>
                  <a:lnTo>
                    <a:pt x="59054" y="260984"/>
                  </a:lnTo>
                  <a:lnTo>
                    <a:pt x="56260" y="263270"/>
                  </a:lnTo>
                  <a:lnTo>
                    <a:pt x="53594" y="265810"/>
                  </a:lnTo>
                  <a:lnTo>
                    <a:pt x="51181" y="268477"/>
                  </a:lnTo>
                  <a:lnTo>
                    <a:pt x="49149" y="271145"/>
                  </a:lnTo>
                  <a:lnTo>
                    <a:pt x="47116" y="274065"/>
                  </a:lnTo>
                  <a:lnTo>
                    <a:pt x="45593" y="277114"/>
                  </a:lnTo>
                  <a:lnTo>
                    <a:pt x="44069" y="280415"/>
                  </a:lnTo>
                  <a:lnTo>
                    <a:pt x="43052" y="283464"/>
                  </a:lnTo>
                  <a:lnTo>
                    <a:pt x="42290" y="287020"/>
                  </a:lnTo>
                  <a:lnTo>
                    <a:pt x="41909" y="290449"/>
                  </a:lnTo>
                  <a:lnTo>
                    <a:pt x="41656" y="293751"/>
                  </a:lnTo>
                  <a:lnTo>
                    <a:pt x="41656" y="296164"/>
                  </a:lnTo>
                  <a:lnTo>
                    <a:pt x="41909" y="298450"/>
                  </a:lnTo>
                  <a:lnTo>
                    <a:pt x="42290" y="300608"/>
                  </a:lnTo>
                  <a:lnTo>
                    <a:pt x="42671" y="303021"/>
                  </a:lnTo>
                  <a:lnTo>
                    <a:pt x="43560" y="305053"/>
                  </a:lnTo>
                  <a:lnTo>
                    <a:pt x="44069" y="307213"/>
                  </a:lnTo>
                  <a:lnTo>
                    <a:pt x="45084" y="309499"/>
                  </a:lnTo>
                  <a:lnTo>
                    <a:pt x="46101" y="311403"/>
                  </a:lnTo>
                  <a:lnTo>
                    <a:pt x="47116" y="313563"/>
                  </a:lnTo>
                  <a:lnTo>
                    <a:pt x="48387" y="315468"/>
                  </a:lnTo>
                  <a:lnTo>
                    <a:pt x="49783" y="317245"/>
                  </a:lnTo>
                  <a:lnTo>
                    <a:pt x="51181" y="319024"/>
                  </a:lnTo>
                  <a:lnTo>
                    <a:pt x="52832" y="320928"/>
                  </a:lnTo>
                  <a:lnTo>
                    <a:pt x="54483" y="322452"/>
                  </a:lnTo>
                  <a:lnTo>
                    <a:pt x="56260" y="324103"/>
                  </a:lnTo>
                  <a:lnTo>
                    <a:pt x="58039" y="325755"/>
                  </a:lnTo>
                  <a:lnTo>
                    <a:pt x="59944" y="327278"/>
                  </a:lnTo>
                  <a:lnTo>
                    <a:pt x="61976" y="328802"/>
                  </a:lnTo>
                  <a:lnTo>
                    <a:pt x="64134" y="330072"/>
                  </a:lnTo>
                  <a:lnTo>
                    <a:pt x="66166" y="331343"/>
                  </a:lnTo>
                  <a:lnTo>
                    <a:pt x="68579" y="332613"/>
                  </a:lnTo>
                  <a:lnTo>
                    <a:pt x="70865" y="333628"/>
                  </a:lnTo>
                  <a:lnTo>
                    <a:pt x="73278" y="334645"/>
                  </a:lnTo>
                  <a:lnTo>
                    <a:pt x="75691" y="335407"/>
                  </a:lnTo>
                  <a:lnTo>
                    <a:pt x="78358" y="336295"/>
                  </a:lnTo>
                  <a:lnTo>
                    <a:pt x="80899" y="336931"/>
                  </a:lnTo>
                  <a:lnTo>
                    <a:pt x="83565" y="337565"/>
                  </a:lnTo>
                  <a:lnTo>
                    <a:pt x="86233" y="338074"/>
                  </a:lnTo>
                  <a:lnTo>
                    <a:pt x="89027" y="338582"/>
                  </a:lnTo>
                  <a:lnTo>
                    <a:pt x="91694" y="338708"/>
                  </a:lnTo>
                  <a:lnTo>
                    <a:pt x="94488" y="338835"/>
                  </a:lnTo>
                  <a:lnTo>
                    <a:pt x="97789" y="338963"/>
                  </a:lnTo>
                  <a:lnTo>
                    <a:pt x="100583" y="338835"/>
                  </a:lnTo>
                  <a:lnTo>
                    <a:pt x="103377" y="338708"/>
                  </a:lnTo>
                  <a:lnTo>
                    <a:pt x="106299" y="338582"/>
                  </a:lnTo>
                  <a:lnTo>
                    <a:pt x="108839" y="338074"/>
                  </a:lnTo>
                  <a:lnTo>
                    <a:pt x="111759" y="337565"/>
                  </a:lnTo>
                  <a:lnTo>
                    <a:pt x="114300" y="336931"/>
                  </a:lnTo>
                  <a:lnTo>
                    <a:pt x="116713" y="336295"/>
                  </a:lnTo>
                  <a:lnTo>
                    <a:pt x="119379" y="335407"/>
                  </a:lnTo>
                  <a:lnTo>
                    <a:pt x="121793" y="334645"/>
                  </a:lnTo>
                  <a:lnTo>
                    <a:pt x="124206" y="333628"/>
                  </a:lnTo>
                  <a:lnTo>
                    <a:pt x="126619" y="332613"/>
                  </a:lnTo>
                  <a:lnTo>
                    <a:pt x="128904" y="331343"/>
                  </a:lnTo>
                  <a:lnTo>
                    <a:pt x="131064" y="330072"/>
                  </a:lnTo>
                  <a:lnTo>
                    <a:pt x="133095" y="328802"/>
                  </a:lnTo>
                  <a:lnTo>
                    <a:pt x="135127" y="327278"/>
                  </a:lnTo>
                  <a:lnTo>
                    <a:pt x="137159" y="325755"/>
                  </a:lnTo>
                  <a:lnTo>
                    <a:pt x="139064" y="324103"/>
                  </a:lnTo>
                  <a:lnTo>
                    <a:pt x="140589" y="322452"/>
                  </a:lnTo>
                  <a:lnTo>
                    <a:pt x="142494" y="320928"/>
                  </a:lnTo>
                  <a:lnTo>
                    <a:pt x="143890" y="319024"/>
                  </a:lnTo>
                  <a:lnTo>
                    <a:pt x="145288" y="317245"/>
                  </a:lnTo>
                  <a:lnTo>
                    <a:pt x="146684" y="315468"/>
                  </a:lnTo>
                  <a:lnTo>
                    <a:pt x="147954" y="313563"/>
                  </a:lnTo>
                  <a:lnTo>
                    <a:pt x="149097" y="311403"/>
                  </a:lnTo>
                  <a:lnTo>
                    <a:pt x="150114" y="309499"/>
                  </a:lnTo>
                  <a:lnTo>
                    <a:pt x="151002" y="307213"/>
                  </a:lnTo>
                  <a:lnTo>
                    <a:pt x="151764" y="305053"/>
                  </a:lnTo>
                  <a:lnTo>
                    <a:pt x="152400" y="303021"/>
                  </a:lnTo>
                  <a:lnTo>
                    <a:pt x="152781" y="300608"/>
                  </a:lnTo>
                  <a:lnTo>
                    <a:pt x="153162" y="298450"/>
                  </a:lnTo>
                  <a:lnTo>
                    <a:pt x="153415" y="296164"/>
                  </a:lnTo>
                  <a:lnTo>
                    <a:pt x="153415" y="293751"/>
                  </a:lnTo>
                  <a:lnTo>
                    <a:pt x="153162" y="290449"/>
                  </a:lnTo>
                  <a:lnTo>
                    <a:pt x="152781" y="287020"/>
                  </a:lnTo>
                  <a:lnTo>
                    <a:pt x="152019" y="283464"/>
                  </a:lnTo>
                  <a:lnTo>
                    <a:pt x="151002" y="280415"/>
                  </a:lnTo>
                  <a:lnTo>
                    <a:pt x="149478" y="277114"/>
                  </a:lnTo>
                  <a:lnTo>
                    <a:pt x="147954" y="274065"/>
                  </a:lnTo>
                  <a:lnTo>
                    <a:pt x="145922" y="271145"/>
                  </a:lnTo>
                  <a:lnTo>
                    <a:pt x="143890" y="268477"/>
                  </a:lnTo>
                  <a:lnTo>
                    <a:pt x="141477" y="265810"/>
                  </a:lnTo>
                  <a:lnTo>
                    <a:pt x="138810" y="263270"/>
                  </a:lnTo>
                  <a:lnTo>
                    <a:pt x="136016" y="260984"/>
                  </a:lnTo>
                  <a:lnTo>
                    <a:pt x="132969" y="258826"/>
                  </a:lnTo>
                  <a:lnTo>
                    <a:pt x="129666" y="256794"/>
                  </a:lnTo>
                  <a:lnTo>
                    <a:pt x="126238" y="255143"/>
                  </a:lnTo>
                  <a:lnTo>
                    <a:pt x="122808" y="253491"/>
                  </a:lnTo>
                  <a:lnTo>
                    <a:pt x="118999" y="251968"/>
                  </a:lnTo>
                  <a:lnTo>
                    <a:pt x="118999" y="145922"/>
                  </a:lnTo>
                  <a:lnTo>
                    <a:pt x="76072" y="145922"/>
                  </a:lnTo>
                  <a:close/>
                  <a:moveTo>
                    <a:pt x="-237363" y="5279135"/>
                  </a:moveTo>
                  <a:moveTo>
                    <a:pt x="76327" y="87249"/>
                  </a:moveTo>
                  <a:lnTo>
                    <a:pt x="115570" y="87249"/>
                  </a:lnTo>
                  <a:lnTo>
                    <a:pt x="115570" y="78994"/>
                  </a:lnTo>
                  <a:lnTo>
                    <a:pt x="76327" y="78994"/>
                  </a:lnTo>
                  <a:lnTo>
                    <a:pt x="76327" y="87249"/>
                  </a:lnTo>
                  <a:close/>
                  <a:moveTo>
                    <a:pt x="-178690" y="5279135"/>
                  </a:moveTo>
                  <a:moveTo>
                    <a:pt x="115570" y="40894"/>
                  </a:moveTo>
                  <a:lnTo>
                    <a:pt x="76327" y="40894"/>
                  </a:lnTo>
                  <a:lnTo>
                    <a:pt x="76327" y="49021"/>
                  </a:lnTo>
                  <a:lnTo>
                    <a:pt x="115570" y="49021"/>
                  </a:lnTo>
                  <a:lnTo>
                    <a:pt x="115570" y="40894"/>
                  </a:lnTo>
                  <a:close/>
                  <a:moveTo>
                    <a:pt x="-132335" y="5279135"/>
                  </a:moveTo>
                  <a:moveTo>
                    <a:pt x="76327" y="125602"/>
                  </a:moveTo>
                  <a:lnTo>
                    <a:pt x="115570" y="125602"/>
                  </a:lnTo>
                  <a:lnTo>
                    <a:pt x="115570" y="117347"/>
                  </a:lnTo>
                  <a:lnTo>
                    <a:pt x="76327" y="117347"/>
                  </a:lnTo>
                  <a:lnTo>
                    <a:pt x="76327" y="125602"/>
                  </a:lnTo>
                  <a:close/>
                  <a:moveTo>
                    <a:pt x="-217043" y="5279135"/>
                  </a:moveTo>
                  <a:moveTo>
                    <a:pt x="156971" y="230251"/>
                  </a:moveTo>
                  <a:lnTo>
                    <a:pt x="156971" y="34416"/>
                  </a:lnTo>
                  <a:lnTo>
                    <a:pt x="135001" y="34416"/>
                  </a:lnTo>
                  <a:lnTo>
                    <a:pt x="135001" y="239521"/>
                  </a:lnTo>
                  <a:lnTo>
                    <a:pt x="139827" y="242189"/>
                  </a:lnTo>
                  <a:lnTo>
                    <a:pt x="143509" y="244220"/>
                  </a:lnTo>
                  <a:lnTo>
                    <a:pt x="146939" y="246633"/>
                  </a:lnTo>
                  <a:lnTo>
                    <a:pt x="150368" y="249046"/>
                  </a:lnTo>
                  <a:lnTo>
                    <a:pt x="153415" y="251587"/>
                  </a:lnTo>
                  <a:lnTo>
                    <a:pt x="156464" y="254507"/>
                  </a:lnTo>
                  <a:lnTo>
                    <a:pt x="159003" y="257428"/>
                  </a:lnTo>
                  <a:lnTo>
                    <a:pt x="161670" y="260603"/>
                  </a:lnTo>
                  <a:lnTo>
                    <a:pt x="163957" y="263525"/>
                  </a:lnTo>
                  <a:lnTo>
                    <a:pt x="165989" y="266826"/>
                  </a:lnTo>
                  <a:lnTo>
                    <a:pt x="167766" y="270382"/>
                  </a:lnTo>
                  <a:lnTo>
                    <a:pt x="169418" y="273939"/>
                  </a:lnTo>
                  <a:lnTo>
                    <a:pt x="170560" y="277621"/>
                  </a:lnTo>
                  <a:lnTo>
                    <a:pt x="171577" y="281177"/>
                  </a:lnTo>
                  <a:lnTo>
                    <a:pt x="172465" y="284988"/>
                  </a:lnTo>
                  <a:lnTo>
                    <a:pt x="172846" y="288925"/>
                  </a:lnTo>
                  <a:lnTo>
                    <a:pt x="172974" y="292862"/>
                  </a:lnTo>
                  <a:lnTo>
                    <a:pt x="172846" y="295909"/>
                  </a:lnTo>
                  <a:lnTo>
                    <a:pt x="172593" y="299084"/>
                  </a:lnTo>
                  <a:lnTo>
                    <a:pt x="172212" y="302259"/>
                  </a:lnTo>
                  <a:lnTo>
                    <a:pt x="171450" y="305053"/>
                  </a:lnTo>
                  <a:lnTo>
                    <a:pt x="170560" y="308101"/>
                  </a:lnTo>
                  <a:lnTo>
                    <a:pt x="169545" y="311022"/>
                  </a:lnTo>
                  <a:lnTo>
                    <a:pt x="168402" y="313816"/>
                  </a:lnTo>
                  <a:lnTo>
                    <a:pt x="167132" y="316483"/>
                  </a:lnTo>
                  <a:lnTo>
                    <a:pt x="165481" y="319151"/>
                  </a:lnTo>
                  <a:lnTo>
                    <a:pt x="163957" y="321818"/>
                  </a:lnTo>
                  <a:lnTo>
                    <a:pt x="162052" y="324357"/>
                  </a:lnTo>
                  <a:lnTo>
                    <a:pt x="160020" y="326897"/>
                  </a:lnTo>
                  <a:lnTo>
                    <a:pt x="157988" y="329310"/>
                  </a:lnTo>
                  <a:lnTo>
                    <a:pt x="155828" y="331596"/>
                  </a:lnTo>
                  <a:lnTo>
                    <a:pt x="153415" y="333882"/>
                  </a:lnTo>
                  <a:lnTo>
                    <a:pt x="151002" y="336041"/>
                  </a:lnTo>
                  <a:lnTo>
                    <a:pt x="148335" y="337946"/>
                  </a:lnTo>
                  <a:lnTo>
                    <a:pt x="145541" y="339978"/>
                  </a:lnTo>
                  <a:lnTo>
                    <a:pt x="142620" y="341630"/>
                  </a:lnTo>
                  <a:lnTo>
                    <a:pt x="139827" y="343281"/>
                  </a:lnTo>
                  <a:lnTo>
                    <a:pt x="136778" y="344932"/>
                  </a:lnTo>
                  <a:lnTo>
                    <a:pt x="133603" y="346456"/>
                  </a:lnTo>
                  <a:lnTo>
                    <a:pt x="130302" y="347852"/>
                  </a:lnTo>
                  <a:lnTo>
                    <a:pt x="126872" y="349122"/>
                  </a:lnTo>
                  <a:lnTo>
                    <a:pt x="123697" y="350012"/>
                  </a:lnTo>
                  <a:lnTo>
                    <a:pt x="120014" y="351155"/>
                  </a:lnTo>
                  <a:lnTo>
                    <a:pt x="116585" y="351916"/>
                  </a:lnTo>
                  <a:lnTo>
                    <a:pt x="112902" y="352678"/>
                  </a:lnTo>
                  <a:lnTo>
                    <a:pt x="109093" y="353187"/>
                  </a:lnTo>
                  <a:lnTo>
                    <a:pt x="105409" y="353440"/>
                  </a:lnTo>
                  <a:lnTo>
                    <a:pt x="101600" y="353821"/>
                  </a:lnTo>
                  <a:lnTo>
                    <a:pt x="97789" y="353821"/>
                  </a:lnTo>
                  <a:lnTo>
                    <a:pt x="93471" y="353821"/>
                  </a:lnTo>
                  <a:lnTo>
                    <a:pt x="89662" y="353440"/>
                  </a:lnTo>
                  <a:lnTo>
                    <a:pt x="85978" y="353187"/>
                  </a:lnTo>
                  <a:lnTo>
                    <a:pt x="82169" y="352678"/>
                  </a:lnTo>
                  <a:lnTo>
                    <a:pt x="78485" y="351916"/>
                  </a:lnTo>
                  <a:lnTo>
                    <a:pt x="75057" y="351155"/>
                  </a:lnTo>
                  <a:lnTo>
                    <a:pt x="71627" y="350012"/>
                  </a:lnTo>
                  <a:lnTo>
                    <a:pt x="68199" y="349122"/>
                  </a:lnTo>
                  <a:lnTo>
                    <a:pt x="64770" y="347852"/>
                  </a:lnTo>
                  <a:lnTo>
                    <a:pt x="61468" y="346456"/>
                  </a:lnTo>
                  <a:lnTo>
                    <a:pt x="58420" y="344932"/>
                  </a:lnTo>
                  <a:lnTo>
                    <a:pt x="55245" y="343281"/>
                  </a:lnTo>
                  <a:lnTo>
                    <a:pt x="52451" y="341630"/>
                  </a:lnTo>
                  <a:lnTo>
                    <a:pt x="49529" y="339978"/>
                  </a:lnTo>
                  <a:lnTo>
                    <a:pt x="46735" y="337946"/>
                  </a:lnTo>
                  <a:lnTo>
                    <a:pt x="44069" y="336041"/>
                  </a:lnTo>
                  <a:lnTo>
                    <a:pt x="41656" y="333882"/>
                  </a:lnTo>
                  <a:lnTo>
                    <a:pt x="39243" y="331596"/>
                  </a:lnTo>
                  <a:lnTo>
                    <a:pt x="37083" y="329310"/>
                  </a:lnTo>
                  <a:lnTo>
                    <a:pt x="35052" y="326897"/>
                  </a:lnTo>
                  <a:lnTo>
                    <a:pt x="33020" y="324357"/>
                  </a:lnTo>
                  <a:lnTo>
                    <a:pt x="31114" y="321818"/>
                  </a:lnTo>
                  <a:lnTo>
                    <a:pt x="29590" y="319151"/>
                  </a:lnTo>
                  <a:lnTo>
                    <a:pt x="28066" y="316483"/>
                  </a:lnTo>
                  <a:lnTo>
                    <a:pt x="26670" y="313816"/>
                  </a:lnTo>
                  <a:lnTo>
                    <a:pt x="25527" y="311022"/>
                  </a:lnTo>
                  <a:lnTo>
                    <a:pt x="24510" y="308101"/>
                  </a:lnTo>
                  <a:lnTo>
                    <a:pt x="23621" y="305053"/>
                  </a:lnTo>
                  <a:lnTo>
                    <a:pt x="23114" y="302259"/>
                  </a:lnTo>
                  <a:lnTo>
                    <a:pt x="22478" y="299084"/>
                  </a:lnTo>
                  <a:lnTo>
                    <a:pt x="22225" y="295909"/>
                  </a:lnTo>
                  <a:lnTo>
                    <a:pt x="22097" y="292862"/>
                  </a:lnTo>
                  <a:lnTo>
                    <a:pt x="22225" y="288925"/>
                  </a:lnTo>
                  <a:lnTo>
                    <a:pt x="22606" y="284988"/>
                  </a:lnTo>
                  <a:lnTo>
                    <a:pt x="23495" y="281177"/>
                  </a:lnTo>
                  <a:lnTo>
                    <a:pt x="24510" y="277621"/>
                  </a:lnTo>
                  <a:lnTo>
                    <a:pt x="25653" y="273939"/>
                  </a:lnTo>
                  <a:lnTo>
                    <a:pt x="27304" y="270382"/>
                  </a:lnTo>
                  <a:lnTo>
                    <a:pt x="29083" y="266826"/>
                  </a:lnTo>
                  <a:lnTo>
                    <a:pt x="31114" y="263525"/>
                  </a:lnTo>
                  <a:lnTo>
                    <a:pt x="33401" y="260603"/>
                  </a:lnTo>
                  <a:lnTo>
                    <a:pt x="36068" y="257428"/>
                  </a:lnTo>
                  <a:lnTo>
                    <a:pt x="38608" y="254507"/>
                  </a:lnTo>
                  <a:lnTo>
                    <a:pt x="41656" y="251587"/>
                  </a:lnTo>
                  <a:lnTo>
                    <a:pt x="44703" y="249046"/>
                  </a:lnTo>
                  <a:lnTo>
                    <a:pt x="48133" y="246633"/>
                  </a:lnTo>
                  <a:lnTo>
                    <a:pt x="51562" y="244220"/>
                  </a:lnTo>
                  <a:lnTo>
                    <a:pt x="55245" y="242189"/>
                  </a:lnTo>
                  <a:lnTo>
                    <a:pt x="60325" y="239521"/>
                  </a:lnTo>
                  <a:lnTo>
                    <a:pt x="60325" y="18033"/>
                  </a:lnTo>
                  <a:lnTo>
                    <a:pt x="156971" y="18033"/>
                  </a:lnTo>
                  <a:lnTo>
                    <a:pt x="156971" y="16637"/>
                  </a:lnTo>
                  <a:lnTo>
                    <a:pt x="156971" y="14985"/>
                  </a:lnTo>
                  <a:lnTo>
                    <a:pt x="156590" y="13207"/>
                  </a:lnTo>
                  <a:lnTo>
                    <a:pt x="155956" y="11810"/>
                  </a:lnTo>
                  <a:lnTo>
                    <a:pt x="155447" y="10159"/>
                  </a:lnTo>
                  <a:lnTo>
                    <a:pt x="154558" y="8635"/>
                  </a:lnTo>
                  <a:lnTo>
                    <a:pt x="153543" y="7365"/>
                  </a:lnTo>
                  <a:lnTo>
                    <a:pt x="152400" y="6095"/>
                  </a:lnTo>
                  <a:lnTo>
                    <a:pt x="151002" y="4826"/>
                  </a:lnTo>
                  <a:lnTo>
                    <a:pt x="149478" y="3809"/>
                  </a:lnTo>
                  <a:lnTo>
                    <a:pt x="147954" y="2794"/>
                  </a:lnTo>
                  <a:lnTo>
                    <a:pt x="146303" y="2032"/>
                  </a:lnTo>
                  <a:lnTo>
                    <a:pt x="144526" y="1270"/>
                  </a:lnTo>
                  <a:lnTo>
                    <a:pt x="142620" y="762"/>
                  </a:lnTo>
                  <a:lnTo>
                    <a:pt x="140589" y="253"/>
                  </a:lnTo>
                  <a:lnTo>
                    <a:pt x="138557" y="126"/>
                  </a:lnTo>
                  <a:lnTo>
                    <a:pt x="136397" y="0"/>
                  </a:lnTo>
                  <a:lnTo>
                    <a:pt x="58674" y="0"/>
                  </a:lnTo>
                  <a:lnTo>
                    <a:pt x="56514" y="126"/>
                  </a:lnTo>
                  <a:lnTo>
                    <a:pt x="54483" y="253"/>
                  </a:lnTo>
                  <a:lnTo>
                    <a:pt x="52451" y="762"/>
                  </a:lnTo>
                  <a:lnTo>
                    <a:pt x="50545" y="1270"/>
                  </a:lnTo>
                  <a:lnTo>
                    <a:pt x="48768" y="2032"/>
                  </a:lnTo>
                  <a:lnTo>
                    <a:pt x="47116" y="2794"/>
                  </a:lnTo>
                  <a:lnTo>
                    <a:pt x="45593" y="3809"/>
                  </a:lnTo>
                  <a:lnTo>
                    <a:pt x="44069" y="4826"/>
                  </a:lnTo>
                  <a:lnTo>
                    <a:pt x="42671" y="6095"/>
                  </a:lnTo>
                  <a:lnTo>
                    <a:pt x="41528" y="7365"/>
                  </a:lnTo>
                  <a:lnTo>
                    <a:pt x="40513" y="8635"/>
                  </a:lnTo>
                  <a:lnTo>
                    <a:pt x="39624" y="10159"/>
                  </a:lnTo>
                  <a:lnTo>
                    <a:pt x="39115" y="11810"/>
                  </a:lnTo>
                  <a:lnTo>
                    <a:pt x="38481" y="13207"/>
                  </a:lnTo>
                  <a:lnTo>
                    <a:pt x="38100" y="14985"/>
                  </a:lnTo>
                  <a:lnTo>
                    <a:pt x="38100" y="16637"/>
                  </a:lnTo>
                  <a:lnTo>
                    <a:pt x="38100" y="230251"/>
                  </a:lnTo>
                  <a:lnTo>
                    <a:pt x="33782" y="232918"/>
                  </a:lnTo>
                  <a:lnTo>
                    <a:pt x="29718" y="235965"/>
                  </a:lnTo>
                  <a:lnTo>
                    <a:pt x="25908" y="239014"/>
                  </a:lnTo>
                  <a:lnTo>
                    <a:pt x="22225" y="242443"/>
                  </a:lnTo>
                  <a:lnTo>
                    <a:pt x="19050" y="245999"/>
                  </a:lnTo>
                  <a:lnTo>
                    <a:pt x="15747" y="249555"/>
                  </a:lnTo>
                  <a:lnTo>
                    <a:pt x="12953" y="253364"/>
                  </a:lnTo>
                  <a:lnTo>
                    <a:pt x="10287" y="257301"/>
                  </a:lnTo>
                  <a:lnTo>
                    <a:pt x="7874" y="261365"/>
                  </a:lnTo>
                  <a:lnTo>
                    <a:pt x="5841" y="265557"/>
                  </a:lnTo>
                  <a:lnTo>
                    <a:pt x="4064" y="269875"/>
                  </a:lnTo>
                  <a:lnTo>
                    <a:pt x="2666" y="274320"/>
                  </a:lnTo>
                  <a:lnTo>
                    <a:pt x="1396" y="278638"/>
                  </a:lnTo>
                  <a:lnTo>
                    <a:pt x="634" y="283337"/>
                  </a:lnTo>
                  <a:lnTo>
                    <a:pt x="0" y="288035"/>
                  </a:lnTo>
                  <a:lnTo>
                    <a:pt x="0" y="292862"/>
                  </a:lnTo>
                  <a:lnTo>
                    <a:pt x="0" y="296926"/>
                  </a:lnTo>
                  <a:lnTo>
                    <a:pt x="381" y="300863"/>
                  </a:lnTo>
                  <a:lnTo>
                    <a:pt x="1015" y="304800"/>
                  </a:lnTo>
                  <a:lnTo>
                    <a:pt x="1777" y="308737"/>
                  </a:lnTo>
                  <a:lnTo>
                    <a:pt x="3047" y="312420"/>
                  </a:lnTo>
                  <a:lnTo>
                    <a:pt x="4190" y="316230"/>
                  </a:lnTo>
                  <a:lnTo>
                    <a:pt x="5841" y="320039"/>
                  </a:lnTo>
                  <a:lnTo>
                    <a:pt x="7493" y="323469"/>
                  </a:lnTo>
                  <a:lnTo>
                    <a:pt x="9525" y="327025"/>
                  </a:lnTo>
                  <a:lnTo>
                    <a:pt x="11683" y="330581"/>
                  </a:lnTo>
                  <a:lnTo>
                    <a:pt x="13970" y="333882"/>
                  </a:lnTo>
                  <a:lnTo>
                    <a:pt x="16637" y="336931"/>
                  </a:lnTo>
                  <a:lnTo>
                    <a:pt x="19177" y="340106"/>
                  </a:lnTo>
                  <a:lnTo>
                    <a:pt x="22225" y="342900"/>
                  </a:lnTo>
                  <a:lnTo>
                    <a:pt x="25272" y="345947"/>
                  </a:lnTo>
                  <a:lnTo>
                    <a:pt x="28575" y="348741"/>
                  </a:lnTo>
                  <a:lnTo>
                    <a:pt x="32003" y="351408"/>
                  </a:lnTo>
                  <a:lnTo>
                    <a:pt x="35433" y="353821"/>
                  </a:lnTo>
                  <a:lnTo>
                    <a:pt x="39115" y="356107"/>
                  </a:lnTo>
                  <a:lnTo>
                    <a:pt x="42926" y="358139"/>
                  </a:lnTo>
                  <a:lnTo>
                    <a:pt x="46989" y="360426"/>
                  </a:lnTo>
                  <a:lnTo>
                    <a:pt x="51053" y="362457"/>
                  </a:lnTo>
                  <a:lnTo>
                    <a:pt x="55245" y="363982"/>
                  </a:lnTo>
                  <a:lnTo>
                    <a:pt x="59435" y="365632"/>
                  </a:lnTo>
                  <a:lnTo>
                    <a:pt x="64008" y="367030"/>
                  </a:lnTo>
                  <a:lnTo>
                    <a:pt x="68452" y="368300"/>
                  </a:lnTo>
                  <a:lnTo>
                    <a:pt x="73025" y="369315"/>
                  </a:lnTo>
                  <a:lnTo>
                    <a:pt x="77724" y="370332"/>
                  </a:lnTo>
                  <a:lnTo>
                    <a:pt x="82550" y="370966"/>
                  </a:lnTo>
                  <a:lnTo>
                    <a:pt x="87376" y="371347"/>
                  </a:lnTo>
                  <a:lnTo>
                    <a:pt x="92456" y="371728"/>
                  </a:lnTo>
                  <a:lnTo>
                    <a:pt x="97789" y="371856"/>
                  </a:lnTo>
                  <a:lnTo>
                    <a:pt x="102615" y="371728"/>
                  </a:lnTo>
                  <a:lnTo>
                    <a:pt x="107695" y="371347"/>
                  </a:lnTo>
                  <a:lnTo>
                    <a:pt x="112521" y="370966"/>
                  </a:lnTo>
                  <a:lnTo>
                    <a:pt x="117347" y="370332"/>
                  </a:lnTo>
                  <a:lnTo>
                    <a:pt x="122046" y="369315"/>
                  </a:lnTo>
                  <a:lnTo>
                    <a:pt x="126619" y="368300"/>
                  </a:lnTo>
                  <a:lnTo>
                    <a:pt x="131064" y="367030"/>
                  </a:lnTo>
                  <a:lnTo>
                    <a:pt x="135635" y="365632"/>
                  </a:lnTo>
                  <a:lnTo>
                    <a:pt x="139827" y="363982"/>
                  </a:lnTo>
                  <a:lnTo>
                    <a:pt x="144018" y="362457"/>
                  </a:lnTo>
                  <a:lnTo>
                    <a:pt x="148082" y="360426"/>
                  </a:lnTo>
                  <a:lnTo>
                    <a:pt x="152145" y="358139"/>
                  </a:lnTo>
                  <a:lnTo>
                    <a:pt x="155956" y="356107"/>
                  </a:lnTo>
                  <a:lnTo>
                    <a:pt x="159639" y="353821"/>
                  </a:lnTo>
                  <a:lnTo>
                    <a:pt x="163321" y="351408"/>
                  </a:lnTo>
                  <a:lnTo>
                    <a:pt x="166496" y="348741"/>
                  </a:lnTo>
                  <a:lnTo>
                    <a:pt x="169799" y="345947"/>
                  </a:lnTo>
                  <a:lnTo>
                    <a:pt x="172846" y="342900"/>
                  </a:lnTo>
                  <a:lnTo>
                    <a:pt x="175895" y="340106"/>
                  </a:lnTo>
                  <a:lnTo>
                    <a:pt x="178434" y="336931"/>
                  </a:lnTo>
                  <a:lnTo>
                    <a:pt x="181102" y="333882"/>
                  </a:lnTo>
                  <a:lnTo>
                    <a:pt x="183388" y="330581"/>
                  </a:lnTo>
                  <a:lnTo>
                    <a:pt x="185546" y="327025"/>
                  </a:lnTo>
                  <a:lnTo>
                    <a:pt x="187578" y="323469"/>
                  </a:lnTo>
                  <a:lnTo>
                    <a:pt x="189229" y="320039"/>
                  </a:lnTo>
                  <a:lnTo>
                    <a:pt x="190881" y="316230"/>
                  </a:lnTo>
                  <a:lnTo>
                    <a:pt x="192024" y="312420"/>
                  </a:lnTo>
                  <a:lnTo>
                    <a:pt x="193294" y="308737"/>
                  </a:lnTo>
                  <a:lnTo>
                    <a:pt x="194056" y="304800"/>
                  </a:lnTo>
                  <a:lnTo>
                    <a:pt x="194690" y="300863"/>
                  </a:lnTo>
                  <a:lnTo>
                    <a:pt x="195071" y="296926"/>
                  </a:lnTo>
                  <a:lnTo>
                    <a:pt x="195071" y="292862"/>
                  </a:lnTo>
                  <a:lnTo>
                    <a:pt x="195071" y="288035"/>
                  </a:lnTo>
                  <a:lnTo>
                    <a:pt x="194437" y="283337"/>
                  </a:lnTo>
                  <a:lnTo>
                    <a:pt x="193675" y="278638"/>
                  </a:lnTo>
                  <a:lnTo>
                    <a:pt x="192404" y="274320"/>
                  </a:lnTo>
                  <a:lnTo>
                    <a:pt x="191008" y="269875"/>
                  </a:lnTo>
                  <a:lnTo>
                    <a:pt x="189229" y="265557"/>
                  </a:lnTo>
                  <a:lnTo>
                    <a:pt x="187197" y="261365"/>
                  </a:lnTo>
                  <a:lnTo>
                    <a:pt x="184784" y="257301"/>
                  </a:lnTo>
                  <a:lnTo>
                    <a:pt x="182118" y="253364"/>
                  </a:lnTo>
                  <a:lnTo>
                    <a:pt x="179324" y="249555"/>
                  </a:lnTo>
                  <a:lnTo>
                    <a:pt x="176021" y="245999"/>
                  </a:lnTo>
                  <a:lnTo>
                    <a:pt x="172846" y="242443"/>
                  </a:lnTo>
                  <a:lnTo>
                    <a:pt x="169164" y="239014"/>
                  </a:lnTo>
                  <a:lnTo>
                    <a:pt x="165353" y="235965"/>
                  </a:lnTo>
                  <a:lnTo>
                    <a:pt x="161289" y="232918"/>
                  </a:lnTo>
                  <a:lnTo>
                    <a:pt x="156971" y="230251"/>
                  </a:lnTo>
                  <a:close/>
                  <a:moveTo>
                    <a:pt x="-321692" y="5279135"/>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26" name="Freeform 1326"/>
            <p:cNvSpPr/>
            <p:nvPr/>
          </p:nvSpPr>
          <p:spPr>
            <a:xfrm>
              <a:off x="6397597" y="1607246"/>
              <a:ext cx="335104" cy="322920"/>
            </a:xfrm>
            <a:custGeom>
              <a:avLst/>
              <a:gdLst/>
              <a:ahLst/>
              <a:cxnLst/>
              <a:rect l="0" t="0" r="0" b="0"/>
              <a:pathLst>
                <a:path w="335279" h="323088">
                  <a:moveTo>
                    <a:pt x="157606" y="155701"/>
                  </a:moveTo>
                  <a:lnTo>
                    <a:pt x="157606" y="155701"/>
                  </a:lnTo>
                  <a:lnTo>
                    <a:pt x="157099" y="156718"/>
                  </a:lnTo>
                  <a:lnTo>
                    <a:pt x="156591" y="157733"/>
                  </a:lnTo>
                  <a:lnTo>
                    <a:pt x="156209" y="158750"/>
                  </a:lnTo>
                  <a:lnTo>
                    <a:pt x="156082" y="160019"/>
                  </a:lnTo>
                  <a:lnTo>
                    <a:pt x="155955" y="161036"/>
                  </a:lnTo>
                  <a:lnTo>
                    <a:pt x="155955" y="162051"/>
                  </a:lnTo>
                  <a:lnTo>
                    <a:pt x="156082" y="163068"/>
                  </a:lnTo>
                  <a:lnTo>
                    <a:pt x="156209" y="164211"/>
                  </a:lnTo>
                  <a:lnTo>
                    <a:pt x="156591" y="165226"/>
                  </a:lnTo>
                  <a:lnTo>
                    <a:pt x="157099" y="166243"/>
                  </a:lnTo>
                  <a:lnTo>
                    <a:pt x="157479" y="167132"/>
                  </a:lnTo>
                  <a:lnTo>
                    <a:pt x="158115" y="168148"/>
                  </a:lnTo>
                  <a:lnTo>
                    <a:pt x="158877" y="168909"/>
                  </a:lnTo>
                  <a:lnTo>
                    <a:pt x="159639" y="169799"/>
                  </a:lnTo>
                  <a:lnTo>
                    <a:pt x="160654" y="170433"/>
                  </a:lnTo>
                  <a:lnTo>
                    <a:pt x="161543" y="171195"/>
                  </a:lnTo>
                  <a:lnTo>
                    <a:pt x="162559" y="171576"/>
                  </a:lnTo>
                  <a:lnTo>
                    <a:pt x="163703" y="172084"/>
                  </a:lnTo>
                  <a:lnTo>
                    <a:pt x="164718" y="172338"/>
                  </a:lnTo>
                  <a:lnTo>
                    <a:pt x="165989" y="172593"/>
                  </a:lnTo>
                  <a:lnTo>
                    <a:pt x="167131" y="172846"/>
                  </a:lnTo>
                  <a:lnTo>
                    <a:pt x="168148" y="172593"/>
                  </a:lnTo>
                  <a:lnTo>
                    <a:pt x="169291" y="172593"/>
                  </a:lnTo>
                  <a:lnTo>
                    <a:pt x="170306" y="172338"/>
                  </a:lnTo>
                  <a:lnTo>
                    <a:pt x="171450" y="172084"/>
                  </a:lnTo>
                  <a:lnTo>
                    <a:pt x="172466" y="171703"/>
                  </a:lnTo>
                  <a:lnTo>
                    <a:pt x="173608" y="171195"/>
                  </a:lnTo>
                  <a:lnTo>
                    <a:pt x="174498" y="170561"/>
                  </a:lnTo>
                  <a:lnTo>
                    <a:pt x="175259" y="169799"/>
                  </a:lnTo>
                  <a:lnTo>
                    <a:pt x="176276" y="169037"/>
                  </a:lnTo>
                  <a:lnTo>
                    <a:pt x="177038" y="168148"/>
                  </a:lnTo>
                  <a:lnTo>
                    <a:pt x="177673" y="167258"/>
                  </a:lnTo>
                  <a:lnTo>
                    <a:pt x="178054" y="166243"/>
                  </a:lnTo>
                  <a:lnTo>
                    <a:pt x="178562" y="165226"/>
                  </a:lnTo>
                  <a:lnTo>
                    <a:pt x="178816" y="164211"/>
                  </a:lnTo>
                  <a:lnTo>
                    <a:pt x="179196" y="163068"/>
                  </a:lnTo>
                  <a:lnTo>
                    <a:pt x="179324" y="162051"/>
                  </a:lnTo>
                  <a:lnTo>
                    <a:pt x="179324" y="160908"/>
                  </a:lnTo>
                  <a:lnTo>
                    <a:pt x="179196" y="159765"/>
                  </a:lnTo>
                  <a:lnTo>
                    <a:pt x="178816" y="158750"/>
                  </a:lnTo>
                  <a:lnTo>
                    <a:pt x="178562" y="157733"/>
                  </a:lnTo>
                  <a:lnTo>
                    <a:pt x="178180" y="156718"/>
                  </a:lnTo>
                  <a:lnTo>
                    <a:pt x="177673" y="155828"/>
                  </a:lnTo>
                  <a:lnTo>
                    <a:pt x="177038" y="154939"/>
                  </a:lnTo>
                  <a:lnTo>
                    <a:pt x="176403" y="154050"/>
                  </a:lnTo>
                  <a:lnTo>
                    <a:pt x="175514" y="153288"/>
                  </a:lnTo>
                  <a:lnTo>
                    <a:pt x="174498" y="152526"/>
                  </a:lnTo>
                  <a:lnTo>
                    <a:pt x="173608" y="151892"/>
                  </a:lnTo>
                  <a:lnTo>
                    <a:pt x="172466" y="151383"/>
                  </a:lnTo>
                  <a:lnTo>
                    <a:pt x="171450" y="150875"/>
                  </a:lnTo>
                  <a:lnTo>
                    <a:pt x="170306" y="150621"/>
                  </a:lnTo>
                  <a:lnTo>
                    <a:pt x="169291" y="150494"/>
                  </a:lnTo>
                  <a:lnTo>
                    <a:pt x="168148" y="150240"/>
                  </a:lnTo>
                  <a:lnTo>
                    <a:pt x="167004" y="150240"/>
                  </a:lnTo>
                  <a:lnTo>
                    <a:pt x="165862" y="150494"/>
                  </a:lnTo>
                  <a:lnTo>
                    <a:pt x="164718" y="150621"/>
                  </a:lnTo>
                  <a:lnTo>
                    <a:pt x="163703" y="150875"/>
                  </a:lnTo>
                  <a:lnTo>
                    <a:pt x="162559" y="151383"/>
                  </a:lnTo>
                  <a:lnTo>
                    <a:pt x="161670" y="151764"/>
                  </a:lnTo>
                  <a:lnTo>
                    <a:pt x="160781" y="152400"/>
                  </a:lnTo>
                  <a:lnTo>
                    <a:pt x="159766" y="153162"/>
                  </a:lnTo>
                  <a:lnTo>
                    <a:pt x="159004" y="153924"/>
                  </a:lnTo>
                  <a:lnTo>
                    <a:pt x="158241" y="154813"/>
                  </a:lnTo>
                  <a:lnTo>
                    <a:pt x="157606" y="155701"/>
                  </a:lnTo>
                  <a:close/>
                  <a:moveTo>
                    <a:pt x="-1301750" y="5251703"/>
                  </a:moveTo>
                  <a:moveTo>
                    <a:pt x="59689" y="114553"/>
                  </a:moveTo>
                  <a:lnTo>
                    <a:pt x="59689" y="114553"/>
                  </a:lnTo>
                  <a:lnTo>
                    <a:pt x="58801" y="113792"/>
                  </a:lnTo>
                  <a:lnTo>
                    <a:pt x="58546" y="113157"/>
                  </a:lnTo>
                  <a:lnTo>
                    <a:pt x="58293" y="112394"/>
                  </a:lnTo>
                  <a:lnTo>
                    <a:pt x="58546" y="111759"/>
                  </a:lnTo>
                  <a:lnTo>
                    <a:pt x="58801" y="111378"/>
                  </a:lnTo>
                  <a:lnTo>
                    <a:pt x="59563" y="111125"/>
                  </a:lnTo>
                  <a:lnTo>
                    <a:pt x="60325" y="111125"/>
                  </a:lnTo>
                  <a:lnTo>
                    <a:pt x="61468" y="111251"/>
                  </a:lnTo>
                  <a:lnTo>
                    <a:pt x="119761" y="125983"/>
                  </a:lnTo>
                  <a:lnTo>
                    <a:pt x="160654" y="136525"/>
                  </a:lnTo>
                  <a:lnTo>
                    <a:pt x="174370" y="140334"/>
                  </a:lnTo>
                  <a:lnTo>
                    <a:pt x="178562" y="141350"/>
                  </a:lnTo>
                  <a:lnTo>
                    <a:pt x="180213" y="142113"/>
                  </a:lnTo>
                  <a:lnTo>
                    <a:pt x="182244" y="143256"/>
                  </a:lnTo>
                  <a:lnTo>
                    <a:pt x="184150" y="144780"/>
                  </a:lnTo>
                  <a:lnTo>
                    <a:pt x="185674" y="146303"/>
                  </a:lnTo>
                  <a:lnTo>
                    <a:pt x="187070" y="147955"/>
                  </a:lnTo>
                  <a:lnTo>
                    <a:pt x="188341" y="149732"/>
                  </a:lnTo>
                  <a:lnTo>
                    <a:pt x="189356" y="151638"/>
                  </a:lnTo>
                  <a:lnTo>
                    <a:pt x="190118" y="153543"/>
                  </a:lnTo>
                  <a:lnTo>
                    <a:pt x="190754" y="155701"/>
                  </a:lnTo>
                  <a:lnTo>
                    <a:pt x="191262" y="157733"/>
                  </a:lnTo>
                  <a:lnTo>
                    <a:pt x="191389" y="159765"/>
                  </a:lnTo>
                  <a:lnTo>
                    <a:pt x="191389" y="162051"/>
                  </a:lnTo>
                  <a:lnTo>
                    <a:pt x="191262" y="164211"/>
                  </a:lnTo>
                  <a:lnTo>
                    <a:pt x="190754" y="166243"/>
                  </a:lnTo>
                  <a:lnTo>
                    <a:pt x="190118" y="168275"/>
                  </a:lnTo>
                  <a:lnTo>
                    <a:pt x="189229" y="170433"/>
                  </a:lnTo>
                  <a:lnTo>
                    <a:pt x="188087" y="172465"/>
                  </a:lnTo>
                  <a:lnTo>
                    <a:pt x="186943" y="174244"/>
                  </a:lnTo>
                  <a:lnTo>
                    <a:pt x="185292" y="176021"/>
                  </a:lnTo>
                  <a:lnTo>
                    <a:pt x="183768" y="177545"/>
                  </a:lnTo>
                  <a:lnTo>
                    <a:pt x="181991" y="178943"/>
                  </a:lnTo>
                  <a:lnTo>
                    <a:pt x="180086" y="180086"/>
                  </a:lnTo>
                  <a:lnTo>
                    <a:pt x="178180" y="181101"/>
                  </a:lnTo>
                  <a:lnTo>
                    <a:pt x="176021" y="181863"/>
                  </a:lnTo>
                  <a:lnTo>
                    <a:pt x="174116" y="182499"/>
                  </a:lnTo>
                  <a:lnTo>
                    <a:pt x="171830" y="182880"/>
                  </a:lnTo>
                  <a:lnTo>
                    <a:pt x="169671" y="183133"/>
                  </a:lnTo>
                  <a:lnTo>
                    <a:pt x="167386" y="183261"/>
                  </a:lnTo>
                  <a:lnTo>
                    <a:pt x="165227" y="182880"/>
                  </a:lnTo>
                  <a:lnTo>
                    <a:pt x="163067" y="182499"/>
                  </a:lnTo>
                  <a:lnTo>
                    <a:pt x="160908" y="181863"/>
                  </a:lnTo>
                  <a:lnTo>
                    <a:pt x="158750" y="181101"/>
                  </a:lnTo>
                  <a:lnTo>
                    <a:pt x="156591" y="179958"/>
                  </a:lnTo>
                  <a:lnTo>
                    <a:pt x="140462" y="169163"/>
                  </a:lnTo>
                  <a:lnTo>
                    <a:pt x="107315" y="146684"/>
                  </a:lnTo>
                  <a:lnTo>
                    <a:pt x="59689" y="114553"/>
                  </a:lnTo>
                  <a:close/>
                  <a:moveTo>
                    <a:pt x="-1260602" y="5251703"/>
                  </a:moveTo>
                  <a:moveTo>
                    <a:pt x="126745" y="252094"/>
                  </a:moveTo>
                  <a:lnTo>
                    <a:pt x="212090" y="252094"/>
                  </a:lnTo>
                  <a:lnTo>
                    <a:pt x="212090" y="226187"/>
                  </a:lnTo>
                  <a:lnTo>
                    <a:pt x="115442" y="226187"/>
                  </a:lnTo>
                  <a:lnTo>
                    <a:pt x="115442" y="215264"/>
                  </a:lnTo>
                  <a:lnTo>
                    <a:pt x="223519" y="215264"/>
                  </a:lnTo>
                  <a:lnTo>
                    <a:pt x="223519" y="263017"/>
                  </a:lnTo>
                  <a:lnTo>
                    <a:pt x="115442" y="263017"/>
                  </a:lnTo>
                  <a:lnTo>
                    <a:pt x="115442" y="238506"/>
                  </a:lnTo>
                  <a:lnTo>
                    <a:pt x="126745" y="238506"/>
                  </a:lnTo>
                  <a:lnTo>
                    <a:pt x="126745" y="252094"/>
                  </a:lnTo>
                  <a:close/>
                  <a:moveTo>
                    <a:pt x="-1398143" y="5251703"/>
                  </a:moveTo>
                  <a:moveTo>
                    <a:pt x="167513" y="23875"/>
                  </a:moveTo>
                  <a:lnTo>
                    <a:pt x="167513" y="23875"/>
                  </a:lnTo>
                  <a:lnTo>
                    <a:pt x="160654" y="24002"/>
                  </a:lnTo>
                  <a:lnTo>
                    <a:pt x="153796" y="24511"/>
                  </a:lnTo>
                  <a:lnTo>
                    <a:pt x="146939" y="25145"/>
                  </a:lnTo>
                  <a:lnTo>
                    <a:pt x="140207" y="26415"/>
                  </a:lnTo>
                  <a:lnTo>
                    <a:pt x="133730" y="27686"/>
                  </a:lnTo>
                  <a:lnTo>
                    <a:pt x="127127" y="29337"/>
                  </a:lnTo>
                  <a:lnTo>
                    <a:pt x="120777" y="31369"/>
                  </a:lnTo>
                  <a:lnTo>
                    <a:pt x="114680" y="33527"/>
                  </a:lnTo>
                  <a:lnTo>
                    <a:pt x="108457" y="36068"/>
                  </a:lnTo>
                  <a:lnTo>
                    <a:pt x="102615" y="38862"/>
                  </a:lnTo>
                  <a:lnTo>
                    <a:pt x="96901" y="41909"/>
                  </a:lnTo>
                  <a:lnTo>
                    <a:pt x="91186" y="45212"/>
                  </a:lnTo>
                  <a:lnTo>
                    <a:pt x="85725" y="48640"/>
                  </a:lnTo>
                  <a:lnTo>
                    <a:pt x="80518" y="52324"/>
                  </a:lnTo>
                  <a:lnTo>
                    <a:pt x="75564" y="56388"/>
                  </a:lnTo>
                  <a:lnTo>
                    <a:pt x="70612" y="60325"/>
                  </a:lnTo>
                  <a:lnTo>
                    <a:pt x="65913" y="64896"/>
                  </a:lnTo>
                  <a:lnTo>
                    <a:pt x="61468" y="69342"/>
                  </a:lnTo>
                  <a:lnTo>
                    <a:pt x="57150" y="74040"/>
                  </a:lnTo>
                  <a:lnTo>
                    <a:pt x="53086" y="78994"/>
                  </a:lnTo>
                  <a:lnTo>
                    <a:pt x="49402" y="84200"/>
                  </a:lnTo>
                  <a:lnTo>
                    <a:pt x="45846" y="89407"/>
                  </a:lnTo>
                  <a:lnTo>
                    <a:pt x="42544" y="94995"/>
                  </a:lnTo>
                  <a:lnTo>
                    <a:pt x="39496" y="100457"/>
                  </a:lnTo>
                  <a:lnTo>
                    <a:pt x="36702" y="106299"/>
                  </a:lnTo>
                  <a:lnTo>
                    <a:pt x="34163" y="112268"/>
                  </a:lnTo>
                  <a:lnTo>
                    <a:pt x="31876" y="118237"/>
                  </a:lnTo>
                  <a:lnTo>
                    <a:pt x="29971" y="124332"/>
                  </a:lnTo>
                  <a:lnTo>
                    <a:pt x="28320" y="130556"/>
                  </a:lnTo>
                  <a:lnTo>
                    <a:pt x="26924" y="137032"/>
                  </a:lnTo>
                  <a:lnTo>
                    <a:pt x="26034" y="143637"/>
                  </a:lnTo>
                  <a:lnTo>
                    <a:pt x="25273" y="150113"/>
                  </a:lnTo>
                  <a:lnTo>
                    <a:pt x="253" y="150113"/>
                  </a:lnTo>
                  <a:lnTo>
                    <a:pt x="762" y="146303"/>
                  </a:lnTo>
                  <a:lnTo>
                    <a:pt x="1143" y="142239"/>
                  </a:lnTo>
                  <a:lnTo>
                    <a:pt x="1651" y="138557"/>
                  </a:lnTo>
                  <a:lnTo>
                    <a:pt x="2286" y="134619"/>
                  </a:lnTo>
                  <a:lnTo>
                    <a:pt x="2920" y="130809"/>
                  </a:lnTo>
                  <a:lnTo>
                    <a:pt x="3809" y="127000"/>
                  </a:lnTo>
                  <a:lnTo>
                    <a:pt x="4699" y="123317"/>
                  </a:lnTo>
                  <a:lnTo>
                    <a:pt x="5714" y="119633"/>
                  </a:lnTo>
                  <a:lnTo>
                    <a:pt x="6857" y="115824"/>
                  </a:lnTo>
                  <a:lnTo>
                    <a:pt x="7874" y="112268"/>
                  </a:lnTo>
                  <a:lnTo>
                    <a:pt x="9144" y="108712"/>
                  </a:lnTo>
                  <a:lnTo>
                    <a:pt x="10540" y="105156"/>
                  </a:lnTo>
                  <a:lnTo>
                    <a:pt x="13334" y="98044"/>
                  </a:lnTo>
                  <a:lnTo>
                    <a:pt x="16509" y="91186"/>
                  </a:lnTo>
                  <a:lnTo>
                    <a:pt x="20065" y="84582"/>
                  </a:lnTo>
                  <a:lnTo>
                    <a:pt x="24002" y="78105"/>
                  </a:lnTo>
                  <a:lnTo>
                    <a:pt x="28194" y="71882"/>
                  </a:lnTo>
                  <a:lnTo>
                    <a:pt x="32638" y="65786"/>
                  </a:lnTo>
                  <a:lnTo>
                    <a:pt x="37338" y="59817"/>
                  </a:lnTo>
                  <a:lnTo>
                    <a:pt x="42290" y="54228"/>
                  </a:lnTo>
                  <a:lnTo>
                    <a:pt x="47498" y="48768"/>
                  </a:lnTo>
                  <a:lnTo>
                    <a:pt x="53086" y="43561"/>
                  </a:lnTo>
                  <a:lnTo>
                    <a:pt x="58801" y="38607"/>
                  </a:lnTo>
                  <a:lnTo>
                    <a:pt x="64643" y="34036"/>
                  </a:lnTo>
                  <a:lnTo>
                    <a:pt x="70865" y="29463"/>
                  </a:lnTo>
                  <a:lnTo>
                    <a:pt x="77343" y="25400"/>
                  </a:lnTo>
                  <a:lnTo>
                    <a:pt x="84074" y="21463"/>
                  </a:lnTo>
                  <a:lnTo>
                    <a:pt x="90805" y="17907"/>
                  </a:lnTo>
                  <a:lnTo>
                    <a:pt x="97789" y="14605"/>
                  </a:lnTo>
                  <a:lnTo>
                    <a:pt x="104902" y="11683"/>
                  </a:lnTo>
                  <a:lnTo>
                    <a:pt x="112267" y="8889"/>
                  </a:lnTo>
                  <a:lnTo>
                    <a:pt x="116078" y="7746"/>
                  </a:lnTo>
                  <a:lnTo>
                    <a:pt x="119761" y="6603"/>
                  </a:lnTo>
                  <a:lnTo>
                    <a:pt x="123570" y="5461"/>
                  </a:lnTo>
                  <a:lnTo>
                    <a:pt x="127507" y="4571"/>
                  </a:lnTo>
                  <a:lnTo>
                    <a:pt x="131317" y="3682"/>
                  </a:lnTo>
                  <a:lnTo>
                    <a:pt x="135254" y="2920"/>
                  </a:lnTo>
                  <a:lnTo>
                    <a:pt x="139065" y="2286"/>
                  </a:lnTo>
                  <a:lnTo>
                    <a:pt x="143129" y="1650"/>
                  </a:lnTo>
                  <a:lnTo>
                    <a:pt x="147192" y="1143"/>
                  </a:lnTo>
                  <a:lnTo>
                    <a:pt x="151129" y="762"/>
                  </a:lnTo>
                  <a:lnTo>
                    <a:pt x="155193" y="507"/>
                  </a:lnTo>
                  <a:lnTo>
                    <a:pt x="159384" y="126"/>
                  </a:lnTo>
                  <a:lnTo>
                    <a:pt x="163321" y="0"/>
                  </a:lnTo>
                  <a:lnTo>
                    <a:pt x="167513" y="0"/>
                  </a:lnTo>
                  <a:lnTo>
                    <a:pt x="171704" y="0"/>
                  </a:lnTo>
                  <a:lnTo>
                    <a:pt x="175894" y="126"/>
                  </a:lnTo>
                  <a:lnTo>
                    <a:pt x="179958" y="507"/>
                  </a:lnTo>
                  <a:lnTo>
                    <a:pt x="184023" y="762"/>
                  </a:lnTo>
                  <a:lnTo>
                    <a:pt x="187959" y="1143"/>
                  </a:lnTo>
                  <a:lnTo>
                    <a:pt x="192024" y="1650"/>
                  </a:lnTo>
                  <a:lnTo>
                    <a:pt x="196088" y="2286"/>
                  </a:lnTo>
                  <a:lnTo>
                    <a:pt x="199898" y="2920"/>
                  </a:lnTo>
                  <a:lnTo>
                    <a:pt x="203962" y="3682"/>
                  </a:lnTo>
                  <a:lnTo>
                    <a:pt x="207771" y="4571"/>
                  </a:lnTo>
                  <a:lnTo>
                    <a:pt x="211708" y="5461"/>
                  </a:lnTo>
                  <a:lnTo>
                    <a:pt x="215391" y="6603"/>
                  </a:lnTo>
                  <a:lnTo>
                    <a:pt x="219202" y="7746"/>
                  </a:lnTo>
                  <a:lnTo>
                    <a:pt x="223012" y="8889"/>
                  </a:lnTo>
                  <a:lnTo>
                    <a:pt x="230251" y="11683"/>
                  </a:lnTo>
                  <a:lnTo>
                    <a:pt x="237490" y="14605"/>
                  </a:lnTo>
                  <a:lnTo>
                    <a:pt x="244475" y="17907"/>
                  </a:lnTo>
                  <a:lnTo>
                    <a:pt x="251205" y="21463"/>
                  </a:lnTo>
                  <a:lnTo>
                    <a:pt x="257937" y="25400"/>
                  </a:lnTo>
                  <a:lnTo>
                    <a:pt x="264287" y="29463"/>
                  </a:lnTo>
                  <a:lnTo>
                    <a:pt x="270509" y="34036"/>
                  </a:lnTo>
                  <a:lnTo>
                    <a:pt x="276479" y="38607"/>
                  </a:lnTo>
                  <a:lnTo>
                    <a:pt x="282193" y="43561"/>
                  </a:lnTo>
                  <a:lnTo>
                    <a:pt x="287654" y="48768"/>
                  </a:lnTo>
                  <a:lnTo>
                    <a:pt x="292862" y="54228"/>
                  </a:lnTo>
                  <a:lnTo>
                    <a:pt x="297815" y="59817"/>
                  </a:lnTo>
                  <a:lnTo>
                    <a:pt x="302641" y="65786"/>
                  </a:lnTo>
                  <a:lnTo>
                    <a:pt x="307086" y="71882"/>
                  </a:lnTo>
                  <a:lnTo>
                    <a:pt x="311150" y="78105"/>
                  </a:lnTo>
                  <a:lnTo>
                    <a:pt x="314959" y="84582"/>
                  </a:lnTo>
                  <a:lnTo>
                    <a:pt x="318516" y="91186"/>
                  </a:lnTo>
                  <a:lnTo>
                    <a:pt x="321817" y="98044"/>
                  </a:lnTo>
                  <a:lnTo>
                    <a:pt x="324739" y="105156"/>
                  </a:lnTo>
                  <a:lnTo>
                    <a:pt x="326008" y="108712"/>
                  </a:lnTo>
                  <a:lnTo>
                    <a:pt x="327279" y="112268"/>
                  </a:lnTo>
                  <a:lnTo>
                    <a:pt x="328421" y="115824"/>
                  </a:lnTo>
                  <a:lnTo>
                    <a:pt x="329565" y="119633"/>
                  </a:lnTo>
                  <a:lnTo>
                    <a:pt x="330454" y="123317"/>
                  </a:lnTo>
                  <a:lnTo>
                    <a:pt x="331469" y="127000"/>
                  </a:lnTo>
                  <a:lnTo>
                    <a:pt x="332231" y="130809"/>
                  </a:lnTo>
                  <a:lnTo>
                    <a:pt x="332993" y="134619"/>
                  </a:lnTo>
                  <a:lnTo>
                    <a:pt x="333629" y="138557"/>
                  </a:lnTo>
                  <a:lnTo>
                    <a:pt x="334009" y="142239"/>
                  </a:lnTo>
                  <a:lnTo>
                    <a:pt x="334517" y="146303"/>
                  </a:lnTo>
                  <a:lnTo>
                    <a:pt x="334771" y="150113"/>
                  </a:lnTo>
                  <a:lnTo>
                    <a:pt x="310006" y="150113"/>
                  </a:lnTo>
                  <a:lnTo>
                    <a:pt x="309244" y="143637"/>
                  </a:lnTo>
                  <a:lnTo>
                    <a:pt x="308229" y="137032"/>
                  </a:lnTo>
                  <a:lnTo>
                    <a:pt x="306831" y="130556"/>
                  </a:lnTo>
                  <a:lnTo>
                    <a:pt x="305307" y="124332"/>
                  </a:lnTo>
                  <a:lnTo>
                    <a:pt x="303276" y="118237"/>
                  </a:lnTo>
                  <a:lnTo>
                    <a:pt x="301116" y="112268"/>
                  </a:lnTo>
                  <a:lnTo>
                    <a:pt x="298450" y="106299"/>
                  </a:lnTo>
                  <a:lnTo>
                    <a:pt x="295782" y="100457"/>
                  </a:lnTo>
                  <a:lnTo>
                    <a:pt x="292734" y="94995"/>
                  </a:lnTo>
                  <a:lnTo>
                    <a:pt x="289305" y="89407"/>
                  </a:lnTo>
                  <a:lnTo>
                    <a:pt x="285877" y="84200"/>
                  </a:lnTo>
                  <a:lnTo>
                    <a:pt x="282066" y="78994"/>
                  </a:lnTo>
                  <a:lnTo>
                    <a:pt x="278003" y="74040"/>
                  </a:lnTo>
                  <a:lnTo>
                    <a:pt x="273812" y="69342"/>
                  </a:lnTo>
                  <a:lnTo>
                    <a:pt x="269366" y="64896"/>
                  </a:lnTo>
                  <a:lnTo>
                    <a:pt x="264541" y="60325"/>
                  </a:lnTo>
                  <a:lnTo>
                    <a:pt x="259715" y="56388"/>
                  </a:lnTo>
                  <a:lnTo>
                    <a:pt x="254634" y="52324"/>
                  </a:lnTo>
                  <a:lnTo>
                    <a:pt x="249428" y="48640"/>
                  </a:lnTo>
                  <a:lnTo>
                    <a:pt x="243966" y="45212"/>
                  </a:lnTo>
                  <a:lnTo>
                    <a:pt x="238379" y="41909"/>
                  </a:lnTo>
                  <a:lnTo>
                    <a:pt x="232537" y="38862"/>
                  </a:lnTo>
                  <a:lnTo>
                    <a:pt x="226694" y="36068"/>
                  </a:lnTo>
                  <a:lnTo>
                    <a:pt x="220599" y="33527"/>
                  </a:lnTo>
                  <a:lnTo>
                    <a:pt x="214503" y="31369"/>
                  </a:lnTo>
                  <a:lnTo>
                    <a:pt x="208153" y="29337"/>
                  </a:lnTo>
                  <a:lnTo>
                    <a:pt x="201549" y="27686"/>
                  </a:lnTo>
                  <a:lnTo>
                    <a:pt x="194944" y="26415"/>
                  </a:lnTo>
                  <a:lnTo>
                    <a:pt x="188341" y="25145"/>
                  </a:lnTo>
                  <a:lnTo>
                    <a:pt x="181482" y="24511"/>
                  </a:lnTo>
                  <a:lnTo>
                    <a:pt x="174498" y="24002"/>
                  </a:lnTo>
                  <a:lnTo>
                    <a:pt x="167513" y="23875"/>
                  </a:lnTo>
                  <a:close/>
                  <a:moveTo>
                    <a:pt x="-1169924" y="5251703"/>
                  </a:moveTo>
                  <a:moveTo>
                    <a:pt x="24764" y="162051"/>
                  </a:moveTo>
                  <a:lnTo>
                    <a:pt x="24764" y="162051"/>
                  </a:lnTo>
                  <a:lnTo>
                    <a:pt x="24764" y="165607"/>
                  </a:lnTo>
                  <a:lnTo>
                    <a:pt x="24892" y="169037"/>
                  </a:lnTo>
                  <a:lnTo>
                    <a:pt x="25526" y="176021"/>
                  </a:lnTo>
                  <a:lnTo>
                    <a:pt x="26415" y="182880"/>
                  </a:lnTo>
                  <a:lnTo>
                    <a:pt x="27686" y="189611"/>
                  </a:lnTo>
                  <a:lnTo>
                    <a:pt x="29337" y="196342"/>
                  </a:lnTo>
                  <a:lnTo>
                    <a:pt x="31242" y="202945"/>
                  </a:lnTo>
                  <a:lnTo>
                    <a:pt x="33527" y="209169"/>
                  </a:lnTo>
                  <a:lnTo>
                    <a:pt x="36068" y="215392"/>
                  </a:lnTo>
                  <a:lnTo>
                    <a:pt x="38988" y="221614"/>
                  </a:lnTo>
                  <a:lnTo>
                    <a:pt x="42037" y="227330"/>
                  </a:lnTo>
                  <a:lnTo>
                    <a:pt x="45593" y="233171"/>
                  </a:lnTo>
                  <a:lnTo>
                    <a:pt x="49402" y="238759"/>
                  </a:lnTo>
                  <a:lnTo>
                    <a:pt x="53213" y="244094"/>
                  </a:lnTo>
                  <a:lnTo>
                    <a:pt x="57531" y="249300"/>
                  </a:lnTo>
                  <a:lnTo>
                    <a:pt x="62102" y="254253"/>
                  </a:lnTo>
                  <a:lnTo>
                    <a:pt x="66675" y="258952"/>
                  </a:lnTo>
                  <a:lnTo>
                    <a:pt x="71627" y="263651"/>
                  </a:lnTo>
                  <a:lnTo>
                    <a:pt x="76834" y="267969"/>
                  </a:lnTo>
                  <a:lnTo>
                    <a:pt x="82295" y="271907"/>
                  </a:lnTo>
                  <a:lnTo>
                    <a:pt x="87883" y="275844"/>
                  </a:lnTo>
                  <a:lnTo>
                    <a:pt x="93599" y="279400"/>
                  </a:lnTo>
                  <a:lnTo>
                    <a:pt x="99694" y="282701"/>
                  </a:lnTo>
                  <a:lnTo>
                    <a:pt x="105791" y="285623"/>
                  </a:lnTo>
                  <a:lnTo>
                    <a:pt x="112141" y="288289"/>
                  </a:lnTo>
                  <a:lnTo>
                    <a:pt x="118491" y="290830"/>
                  </a:lnTo>
                  <a:lnTo>
                    <a:pt x="125221" y="292988"/>
                  </a:lnTo>
                  <a:lnTo>
                    <a:pt x="131953" y="294894"/>
                  </a:lnTo>
                  <a:lnTo>
                    <a:pt x="138938" y="296418"/>
                  </a:lnTo>
                  <a:lnTo>
                    <a:pt x="145923" y="297561"/>
                  </a:lnTo>
                  <a:lnTo>
                    <a:pt x="153034" y="298450"/>
                  </a:lnTo>
                  <a:lnTo>
                    <a:pt x="160274" y="298957"/>
                  </a:lnTo>
                  <a:lnTo>
                    <a:pt x="163829" y="299084"/>
                  </a:lnTo>
                  <a:lnTo>
                    <a:pt x="167513" y="299212"/>
                  </a:lnTo>
                  <a:lnTo>
                    <a:pt x="171323" y="299084"/>
                  </a:lnTo>
                  <a:lnTo>
                    <a:pt x="175005" y="298957"/>
                  </a:lnTo>
                  <a:lnTo>
                    <a:pt x="182117" y="298450"/>
                  </a:lnTo>
                  <a:lnTo>
                    <a:pt x="189356" y="297561"/>
                  </a:lnTo>
                  <a:lnTo>
                    <a:pt x="196341" y="296418"/>
                  </a:lnTo>
                  <a:lnTo>
                    <a:pt x="203200" y="294894"/>
                  </a:lnTo>
                  <a:lnTo>
                    <a:pt x="209930" y="292988"/>
                  </a:lnTo>
                  <a:lnTo>
                    <a:pt x="216662" y="290830"/>
                  </a:lnTo>
                  <a:lnTo>
                    <a:pt x="223139" y="288289"/>
                  </a:lnTo>
                  <a:lnTo>
                    <a:pt x="229489" y="285623"/>
                  </a:lnTo>
                  <a:lnTo>
                    <a:pt x="235457" y="282701"/>
                  </a:lnTo>
                  <a:lnTo>
                    <a:pt x="241554" y="279400"/>
                  </a:lnTo>
                  <a:lnTo>
                    <a:pt x="247268" y="275844"/>
                  </a:lnTo>
                  <a:lnTo>
                    <a:pt x="252983" y="271907"/>
                  </a:lnTo>
                  <a:lnTo>
                    <a:pt x="258191" y="267969"/>
                  </a:lnTo>
                  <a:lnTo>
                    <a:pt x="263525" y="263651"/>
                  </a:lnTo>
                  <a:lnTo>
                    <a:pt x="268478" y="258952"/>
                  </a:lnTo>
                  <a:lnTo>
                    <a:pt x="273177" y="254253"/>
                  </a:lnTo>
                  <a:lnTo>
                    <a:pt x="277749" y="249300"/>
                  </a:lnTo>
                  <a:lnTo>
                    <a:pt x="281940" y="244094"/>
                  </a:lnTo>
                  <a:lnTo>
                    <a:pt x="285877" y="238759"/>
                  </a:lnTo>
                  <a:lnTo>
                    <a:pt x="289687" y="233171"/>
                  </a:lnTo>
                  <a:lnTo>
                    <a:pt x="292989" y="227330"/>
                  </a:lnTo>
                  <a:lnTo>
                    <a:pt x="296291" y="221614"/>
                  </a:lnTo>
                  <a:lnTo>
                    <a:pt x="299084" y="215392"/>
                  </a:lnTo>
                  <a:lnTo>
                    <a:pt x="301752" y="209169"/>
                  </a:lnTo>
                  <a:lnTo>
                    <a:pt x="303911" y="202945"/>
                  </a:lnTo>
                  <a:lnTo>
                    <a:pt x="305942" y="196342"/>
                  </a:lnTo>
                  <a:lnTo>
                    <a:pt x="307466" y="189611"/>
                  </a:lnTo>
                  <a:lnTo>
                    <a:pt x="308864" y="182880"/>
                  </a:lnTo>
                  <a:lnTo>
                    <a:pt x="309753" y="176021"/>
                  </a:lnTo>
                  <a:lnTo>
                    <a:pt x="310261" y="169037"/>
                  </a:lnTo>
                  <a:lnTo>
                    <a:pt x="310388" y="165607"/>
                  </a:lnTo>
                  <a:lnTo>
                    <a:pt x="310515" y="162051"/>
                  </a:lnTo>
                  <a:lnTo>
                    <a:pt x="335279" y="162051"/>
                  </a:lnTo>
                  <a:lnTo>
                    <a:pt x="335153" y="166243"/>
                  </a:lnTo>
                  <a:lnTo>
                    <a:pt x="335026" y="170307"/>
                  </a:lnTo>
                  <a:lnTo>
                    <a:pt x="334644" y="174498"/>
                  </a:lnTo>
                  <a:lnTo>
                    <a:pt x="334391" y="178434"/>
                  </a:lnTo>
                  <a:lnTo>
                    <a:pt x="333882" y="182499"/>
                  </a:lnTo>
                  <a:lnTo>
                    <a:pt x="333248" y="186563"/>
                  </a:lnTo>
                  <a:lnTo>
                    <a:pt x="332486" y="190500"/>
                  </a:lnTo>
                  <a:lnTo>
                    <a:pt x="331724" y="194563"/>
                  </a:lnTo>
                  <a:lnTo>
                    <a:pt x="330834" y="198500"/>
                  </a:lnTo>
                  <a:lnTo>
                    <a:pt x="329818" y="202311"/>
                  </a:lnTo>
                  <a:lnTo>
                    <a:pt x="328803" y="206248"/>
                  </a:lnTo>
                  <a:lnTo>
                    <a:pt x="327532" y="209931"/>
                  </a:lnTo>
                  <a:lnTo>
                    <a:pt x="326263" y="213613"/>
                  </a:lnTo>
                  <a:lnTo>
                    <a:pt x="324866" y="217424"/>
                  </a:lnTo>
                  <a:lnTo>
                    <a:pt x="323468" y="221107"/>
                  </a:lnTo>
                  <a:lnTo>
                    <a:pt x="321944" y="224663"/>
                  </a:lnTo>
                  <a:lnTo>
                    <a:pt x="320293" y="228219"/>
                  </a:lnTo>
                  <a:lnTo>
                    <a:pt x="318516" y="231901"/>
                  </a:lnTo>
                  <a:lnTo>
                    <a:pt x="316738" y="235457"/>
                  </a:lnTo>
                  <a:lnTo>
                    <a:pt x="314832" y="238887"/>
                  </a:lnTo>
                  <a:lnTo>
                    <a:pt x="312801" y="242188"/>
                  </a:lnTo>
                  <a:lnTo>
                    <a:pt x="310895" y="245618"/>
                  </a:lnTo>
                  <a:lnTo>
                    <a:pt x="308609" y="248793"/>
                  </a:lnTo>
                  <a:lnTo>
                    <a:pt x="306324" y="252094"/>
                  </a:lnTo>
                  <a:lnTo>
                    <a:pt x="304165" y="255269"/>
                  </a:lnTo>
                  <a:lnTo>
                    <a:pt x="301752" y="258318"/>
                  </a:lnTo>
                  <a:lnTo>
                    <a:pt x="299212" y="261493"/>
                  </a:lnTo>
                  <a:lnTo>
                    <a:pt x="296799" y="264540"/>
                  </a:lnTo>
                  <a:lnTo>
                    <a:pt x="294131" y="267462"/>
                  </a:lnTo>
                  <a:lnTo>
                    <a:pt x="291465" y="270256"/>
                  </a:lnTo>
                  <a:lnTo>
                    <a:pt x="288670" y="273176"/>
                  </a:lnTo>
                  <a:lnTo>
                    <a:pt x="285877" y="275970"/>
                  </a:lnTo>
                  <a:lnTo>
                    <a:pt x="283082" y="278638"/>
                  </a:lnTo>
                  <a:lnTo>
                    <a:pt x="280162" y="281177"/>
                  </a:lnTo>
                  <a:lnTo>
                    <a:pt x="277114" y="283718"/>
                  </a:lnTo>
                  <a:lnTo>
                    <a:pt x="274066" y="286257"/>
                  </a:lnTo>
                  <a:lnTo>
                    <a:pt x="270891" y="288670"/>
                  </a:lnTo>
                  <a:lnTo>
                    <a:pt x="267716" y="291083"/>
                  </a:lnTo>
                  <a:lnTo>
                    <a:pt x="264414" y="293369"/>
                  </a:lnTo>
                  <a:lnTo>
                    <a:pt x="261112" y="295528"/>
                  </a:lnTo>
                  <a:lnTo>
                    <a:pt x="257809" y="297688"/>
                  </a:lnTo>
                  <a:lnTo>
                    <a:pt x="254380" y="299719"/>
                  </a:lnTo>
                  <a:lnTo>
                    <a:pt x="250952" y="301751"/>
                  </a:lnTo>
                  <a:lnTo>
                    <a:pt x="247395" y="303530"/>
                  </a:lnTo>
                  <a:lnTo>
                    <a:pt x="243840" y="305434"/>
                  </a:lnTo>
                  <a:lnTo>
                    <a:pt x="240156" y="307086"/>
                  </a:lnTo>
                  <a:lnTo>
                    <a:pt x="236474" y="308737"/>
                  </a:lnTo>
                  <a:lnTo>
                    <a:pt x="232664" y="310388"/>
                  </a:lnTo>
                  <a:lnTo>
                    <a:pt x="228980" y="311912"/>
                  </a:lnTo>
                  <a:lnTo>
                    <a:pt x="225170" y="313308"/>
                  </a:lnTo>
                  <a:lnTo>
                    <a:pt x="221233" y="314578"/>
                  </a:lnTo>
                  <a:lnTo>
                    <a:pt x="217424" y="315721"/>
                  </a:lnTo>
                  <a:lnTo>
                    <a:pt x="213359" y="316992"/>
                  </a:lnTo>
                  <a:lnTo>
                    <a:pt x="209295" y="318007"/>
                  </a:lnTo>
                  <a:lnTo>
                    <a:pt x="205358" y="318896"/>
                  </a:lnTo>
                  <a:lnTo>
                    <a:pt x="201294" y="319786"/>
                  </a:lnTo>
                  <a:lnTo>
                    <a:pt x="197230" y="320548"/>
                  </a:lnTo>
                  <a:lnTo>
                    <a:pt x="193040" y="321182"/>
                  </a:lnTo>
                  <a:lnTo>
                    <a:pt x="188976" y="321690"/>
                  </a:lnTo>
                  <a:lnTo>
                    <a:pt x="184784" y="322199"/>
                  </a:lnTo>
                  <a:lnTo>
                    <a:pt x="180466" y="322580"/>
                  </a:lnTo>
                  <a:lnTo>
                    <a:pt x="176276" y="322833"/>
                  </a:lnTo>
                  <a:lnTo>
                    <a:pt x="171830" y="322961"/>
                  </a:lnTo>
                  <a:lnTo>
                    <a:pt x="167513" y="323088"/>
                  </a:lnTo>
                  <a:lnTo>
                    <a:pt x="163194" y="322961"/>
                  </a:lnTo>
                  <a:lnTo>
                    <a:pt x="159004" y="322833"/>
                  </a:lnTo>
                  <a:lnTo>
                    <a:pt x="154686" y="322580"/>
                  </a:lnTo>
                  <a:lnTo>
                    <a:pt x="150494" y="322199"/>
                  </a:lnTo>
                  <a:lnTo>
                    <a:pt x="146304" y="321690"/>
                  </a:lnTo>
                  <a:lnTo>
                    <a:pt x="142240" y="321182"/>
                  </a:lnTo>
                  <a:lnTo>
                    <a:pt x="138049" y="320548"/>
                  </a:lnTo>
                  <a:lnTo>
                    <a:pt x="133857" y="319786"/>
                  </a:lnTo>
                  <a:lnTo>
                    <a:pt x="129793" y="318896"/>
                  </a:lnTo>
                  <a:lnTo>
                    <a:pt x="125729" y="318007"/>
                  </a:lnTo>
                  <a:lnTo>
                    <a:pt x="121792" y="316992"/>
                  </a:lnTo>
                  <a:lnTo>
                    <a:pt x="117855" y="315721"/>
                  </a:lnTo>
                  <a:lnTo>
                    <a:pt x="113918" y="314578"/>
                  </a:lnTo>
                  <a:lnTo>
                    <a:pt x="109981" y="313308"/>
                  </a:lnTo>
                  <a:lnTo>
                    <a:pt x="106299" y="311912"/>
                  </a:lnTo>
                  <a:lnTo>
                    <a:pt x="102362" y="310388"/>
                  </a:lnTo>
                  <a:lnTo>
                    <a:pt x="98678" y="308737"/>
                  </a:lnTo>
                  <a:lnTo>
                    <a:pt x="94995" y="307086"/>
                  </a:lnTo>
                  <a:lnTo>
                    <a:pt x="91439" y="305434"/>
                  </a:lnTo>
                  <a:lnTo>
                    <a:pt x="87883" y="303530"/>
                  </a:lnTo>
                  <a:lnTo>
                    <a:pt x="84327" y="301751"/>
                  </a:lnTo>
                  <a:lnTo>
                    <a:pt x="80771" y="299719"/>
                  </a:lnTo>
                  <a:lnTo>
                    <a:pt x="77343" y="297688"/>
                  </a:lnTo>
                  <a:lnTo>
                    <a:pt x="74168" y="295528"/>
                  </a:lnTo>
                  <a:lnTo>
                    <a:pt x="70738" y="293369"/>
                  </a:lnTo>
                  <a:lnTo>
                    <a:pt x="67437" y="291083"/>
                  </a:lnTo>
                  <a:lnTo>
                    <a:pt x="64262" y="288670"/>
                  </a:lnTo>
                  <a:lnTo>
                    <a:pt x="61087" y="286257"/>
                  </a:lnTo>
                  <a:lnTo>
                    <a:pt x="58038" y="283718"/>
                  </a:lnTo>
                  <a:lnTo>
                    <a:pt x="55118" y="281177"/>
                  </a:lnTo>
                  <a:lnTo>
                    <a:pt x="52196" y="278638"/>
                  </a:lnTo>
                  <a:lnTo>
                    <a:pt x="49149" y="275970"/>
                  </a:lnTo>
                  <a:lnTo>
                    <a:pt x="46355" y="273176"/>
                  </a:lnTo>
                  <a:lnTo>
                    <a:pt x="43688" y="270256"/>
                  </a:lnTo>
                  <a:lnTo>
                    <a:pt x="41020" y="267462"/>
                  </a:lnTo>
                  <a:lnTo>
                    <a:pt x="38353" y="264540"/>
                  </a:lnTo>
                  <a:lnTo>
                    <a:pt x="35940" y="261493"/>
                  </a:lnTo>
                  <a:lnTo>
                    <a:pt x="33401" y="258318"/>
                  </a:lnTo>
                  <a:lnTo>
                    <a:pt x="31114" y="255269"/>
                  </a:lnTo>
                  <a:lnTo>
                    <a:pt x="28828" y="252094"/>
                  </a:lnTo>
                  <a:lnTo>
                    <a:pt x="26669" y="248793"/>
                  </a:lnTo>
                  <a:lnTo>
                    <a:pt x="24383" y="245618"/>
                  </a:lnTo>
                  <a:lnTo>
                    <a:pt x="22225" y="242188"/>
                  </a:lnTo>
                  <a:lnTo>
                    <a:pt x="20446" y="238887"/>
                  </a:lnTo>
                  <a:lnTo>
                    <a:pt x="18414" y="235457"/>
                  </a:lnTo>
                  <a:lnTo>
                    <a:pt x="16763" y="231901"/>
                  </a:lnTo>
                  <a:lnTo>
                    <a:pt x="14986" y="228219"/>
                  </a:lnTo>
                  <a:lnTo>
                    <a:pt x="13334" y="224663"/>
                  </a:lnTo>
                  <a:lnTo>
                    <a:pt x="11811" y="221107"/>
                  </a:lnTo>
                  <a:lnTo>
                    <a:pt x="10159" y="217424"/>
                  </a:lnTo>
                  <a:lnTo>
                    <a:pt x="9017" y="213613"/>
                  </a:lnTo>
                  <a:lnTo>
                    <a:pt x="7619" y="209931"/>
                  </a:lnTo>
                  <a:lnTo>
                    <a:pt x="6476" y="206248"/>
                  </a:lnTo>
                  <a:lnTo>
                    <a:pt x="5461" y="202311"/>
                  </a:lnTo>
                  <a:lnTo>
                    <a:pt x="4318" y="198500"/>
                  </a:lnTo>
                  <a:lnTo>
                    <a:pt x="3428" y="194563"/>
                  </a:lnTo>
                  <a:lnTo>
                    <a:pt x="2667" y="190500"/>
                  </a:lnTo>
                  <a:lnTo>
                    <a:pt x="2032" y="186563"/>
                  </a:lnTo>
                  <a:lnTo>
                    <a:pt x="1396" y="182499"/>
                  </a:lnTo>
                  <a:lnTo>
                    <a:pt x="888" y="178434"/>
                  </a:lnTo>
                  <a:lnTo>
                    <a:pt x="507" y="174498"/>
                  </a:lnTo>
                  <a:lnTo>
                    <a:pt x="126" y="170307"/>
                  </a:lnTo>
                  <a:lnTo>
                    <a:pt x="0" y="166243"/>
                  </a:lnTo>
                  <a:lnTo>
                    <a:pt x="0" y="162051"/>
                  </a:lnTo>
                  <a:lnTo>
                    <a:pt x="24764" y="162051"/>
                  </a:lnTo>
                  <a:close/>
                  <a:moveTo>
                    <a:pt x="-1308100" y="5251703"/>
                  </a:moveTo>
                  <a:moveTo>
                    <a:pt x="48006" y="208533"/>
                  </a:moveTo>
                  <a:lnTo>
                    <a:pt x="48006" y="208533"/>
                  </a:lnTo>
                  <a:lnTo>
                    <a:pt x="45846" y="203073"/>
                  </a:lnTo>
                  <a:lnTo>
                    <a:pt x="43814" y="197357"/>
                  </a:lnTo>
                  <a:lnTo>
                    <a:pt x="69723" y="187325"/>
                  </a:lnTo>
                  <a:lnTo>
                    <a:pt x="70738" y="190119"/>
                  </a:lnTo>
                  <a:lnTo>
                    <a:pt x="71627" y="192913"/>
                  </a:lnTo>
                  <a:lnTo>
                    <a:pt x="72770" y="195707"/>
                  </a:lnTo>
                  <a:lnTo>
                    <a:pt x="73787" y="198500"/>
                  </a:lnTo>
                  <a:lnTo>
                    <a:pt x="48006" y="208533"/>
                  </a:lnTo>
                  <a:close/>
                  <a:moveTo>
                    <a:pt x="-1354582" y="5251703"/>
                  </a:moveTo>
                  <a:moveTo>
                    <a:pt x="289687" y="202819"/>
                  </a:moveTo>
                  <a:lnTo>
                    <a:pt x="289687" y="202819"/>
                  </a:lnTo>
                  <a:lnTo>
                    <a:pt x="287274" y="208280"/>
                  </a:lnTo>
                  <a:lnTo>
                    <a:pt x="284861" y="213740"/>
                  </a:lnTo>
                  <a:lnTo>
                    <a:pt x="258953" y="203453"/>
                  </a:lnTo>
                  <a:lnTo>
                    <a:pt x="260350" y="200787"/>
                  </a:lnTo>
                  <a:lnTo>
                    <a:pt x="261492" y="198119"/>
                  </a:lnTo>
                  <a:lnTo>
                    <a:pt x="262763" y="195325"/>
                  </a:lnTo>
                  <a:lnTo>
                    <a:pt x="263652" y="192532"/>
                  </a:lnTo>
                  <a:lnTo>
                    <a:pt x="289687" y="202819"/>
                  </a:lnTo>
                  <a:close/>
                  <a:moveTo>
                    <a:pt x="-1348868" y="5251703"/>
                  </a:moveTo>
                  <a:moveTo>
                    <a:pt x="296417" y="151383"/>
                  </a:moveTo>
                  <a:lnTo>
                    <a:pt x="296417" y="151383"/>
                  </a:lnTo>
                  <a:lnTo>
                    <a:pt x="296799" y="156337"/>
                  </a:lnTo>
                  <a:lnTo>
                    <a:pt x="296799" y="161417"/>
                  </a:lnTo>
                  <a:lnTo>
                    <a:pt x="296799" y="163321"/>
                  </a:lnTo>
                  <a:lnTo>
                    <a:pt x="268858" y="163321"/>
                  </a:lnTo>
                  <a:lnTo>
                    <a:pt x="268858" y="161417"/>
                  </a:lnTo>
                  <a:lnTo>
                    <a:pt x="268731" y="156337"/>
                  </a:lnTo>
                  <a:lnTo>
                    <a:pt x="268478" y="151383"/>
                  </a:lnTo>
                  <a:lnTo>
                    <a:pt x="296417" y="151383"/>
                  </a:lnTo>
                  <a:close/>
                  <a:moveTo>
                    <a:pt x="-1297432" y="5251703"/>
                  </a:moveTo>
                  <a:moveTo>
                    <a:pt x="282575" y="104394"/>
                  </a:moveTo>
                  <a:lnTo>
                    <a:pt x="282575" y="104394"/>
                  </a:lnTo>
                  <a:lnTo>
                    <a:pt x="285115" y="109727"/>
                  </a:lnTo>
                  <a:lnTo>
                    <a:pt x="287654" y="115188"/>
                  </a:lnTo>
                  <a:lnTo>
                    <a:pt x="261746" y="125349"/>
                  </a:lnTo>
                  <a:lnTo>
                    <a:pt x="260604" y="122555"/>
                  </a:lnTo>
                  <a:lnTo>
                    <a:pt x="259333" y="119888"/>
                  </a:lnTo>
                  <a:lnTo>
                    <a:pt x="257937" y="117220"/>
                  </a:lnTo>
                  <a:lnTo>
                    <a:pt x="256413" y="114553"/>
                  </a:lnTo>
                  <a:lnTo>
                    <a:pt x="282575" y="104394"/>
                  </a:lnTo>
                  <a:close/>
                  <a:moveTo>
                    <a:pt x="-1250443" y="5251703"/>
                  </a:moveTo>
                  <a:moveTo>
                    <a:pt x="249681" y="65277"/>
                  </a:moveTo>
                  <a:lnTo>
                    <a:pt x="249681" y="65277"/>
                  </a:lnTo>
                  <a:lnTo>
                    <a:pt x="254507" y="69342"/>
                  </a:lnTo>
                  <a:lnTo>
                    <a:pt x="258953" y="73406"/>
                  </a:lnTo>
                  <a:lnTo>
                    <a:pt x="239141" y="92456"/>
                  </a:lnTo>
                  <a:lnTo>
                    <a:pt x="236981" y="90296"/>
                  </a:lnTo>
                  <a:lnTo>
                    <a:pt x="234695" y="88264"/>
                  </a:lnTo>
                  <a:lnTo>
                    <a:pt x="232282" y="86359"/>
                  </a:lnTo>
                  <a:lnTo>
                    <a:pt x="229869" y="84582"/>
                  </a:lnTo>
                  <a:lnTo>
                    <a:pt x="249681" y="65277"/>
                  </a:lnTo>
                  <a:close/>
                  <a:moveTo>
                    <a:pt x="-1211326" y="5251703"/>
                  </a:moveTo>
                  <a:moveTo>
                    <a:pt x="206882" y="42799"/>
                  </a:moveTo>
                  <a:lnTo>
                    <a:pt x="206882" y="42799"/>
                  </a:lnTo>
                  <a:lnTo>
                    <a:pt x="212725" y="44703"/>
                  </a:lnTo>
                  <a:lnTo>
                    <a:pt x="218440" y="46989"/>
                  </a:lnTo>
                  <a:lnTo>
                    <a:pt x="207517" y="71755"/>
                  </a:lnTo>
                  <a:lnTo>
                    <a:pt x="204724" y="70612"/>
                  </a:lnTo>
                  <a:lnTo>
                    <a:pt x="201803" y="69595"/>
                  </a:lnTo>
                  <a:lnTo>
                    <a:pt x="198754" y="68580"/>
                  </a:lnTo>
                  <a:lnTo>
                    <a:pt x="195833" y="67690"/>
                  </a:lnTo>
                  <a:lnTo>
                    <a:pt x="206882" y="42799"/>
                  </a:lnTo>
                  <a:close/>
                  <a:moveTo>
                    <a:pt x="-1188848" y="5251703"/>
                  </a:moveTo>
                  <a:moveTo>
                    <a:pt x="156844" y="37464"/>
                  </a:moveTo>
                  <a:lnTo>
                    <a:pt x="156844" y="37464"/>
                  </a:lnTo>
                  <a:lnTo>
                    <a:pt x="162179" y="37083"/>
                  </a:lnTo>
                  <a:lnTo>
                    <a:pt x="167513" y="36957"/>
                  </a:lnTo>
                  <a:lnTo>
                    <a:pt x="169291" y="36957"/>
                  </a:lnTo>
                  <a:lnTo>
                    <a:pt x="169291" y="64007"/>
                  </a:lnTo>
                  <a:lnTo>
                    <a:pt x="167513" y="63753"/>
                  </a:lnTo>
                  <a:lnTo>
                    <a:pt x="162179" y="64007"/>
                  </a:lnTo>
                  <a:lnTo>
                    <a:pt x="156844" y="64388"/>
                  </a:lnTo>
                  <a:lnTo>
                    <a:pt x="156844" y="37464"/>
                  </a:lnTo>
                  <a:close/>
                  <a:moveTo>
                    <a:pt x="-1183513" y="5251703"/>
                  </a:moveTo>
                  <a:moveTo>
                    <a:pt x="111125" y="49530"/>
                  </a:moveTo>
                  <a:lnTo>
                    <a:pt x="111125" y="49530"/>
                  </a:lnTo>
                  <a:lnTo>
                    <a:pt x="116840" y="46989"/>
                  </a:lnTo>
                  <a:lnTo>
                    <a:pt x="122554" y="44703"/>
                  </a:lnTo>
                  <a:lnTo>
                    <a:pt x="133095" y="69723"/>
                  </a:lnTo>
                  <a:lnTo>
                    <a:pt x="130175" y="70865"/>
                  </a:lnTo>
                  <a:lnTo>
                    <a:pt x="127127" y="72008"/>
                  </a:lnTo>
                  <a:lnTo>
                    <a:pt x="124332" y="73151"/>
                  </a:lnTo>
                  <a:lnTo>
                    <a:pt x="121666" y="74549"/>
                  </a:lnTo>
                  <a:lnTo>
                    <a:pt x="111125" y="49530"/>
                  </a:lnTo>
                  <a:close/>
                  <a:moveTo>
                    <a:pt x="-1195579" y="5251703"/>
                  </a:moveTo>
                  <a:moveTo>
                    <a:pt x="71755" y="77850"/>
                  </a:moveTo>
                  <a:lnTo>
                    <a:pt x="71755" y="77850"/>
                  </a:lnTo>
                  <a:lnTo>
                    <a:pt x="76073" y="73532"/>
                  </a:lnTo>
                  <a:lnTo>
                    <a:pt x="80644" y="69469"/>
                  </a:lnTo>
                  <a:lnTo>
                    <a:pt x="100457" y="88519"/>
                  </a:lnTo>
                  <a:lnTo>
                    <a:pt x="98044" y="90550"/>
                  </a:lnTo>
                  <a:lnTo>
                    <a:pt x="95757" y="92582"/>
                  </a:lnTo>
                  <a:lnTo>
                    <a:pt x="93726" y="94614"/>
                  </a:lnTo>
                  <a:lnTo>
                    <a:pt x="91567" y="96900"/>
                  </a:lnTo>
                  <a:lnTo>
                    <a:pt x="71755" y="77850"/>
                  </a:lnTo>
                  <a:close/>
                  <a:moveTo>
                    <a:pt x="-1223899" y="5251703"/>
                  </a:moveTo>
                  <a:moveTo>
                    <a:pt x="38353" y="161417"/>
                  </a:moveTo>
                  <a:lnTo>
                    <a:pt x="38353" y="161417"/>
                  </a:lnTo>
                  <a:lnTo>
                    <a:pt x="38481" y="156337"/>
                  </a:lnTo>
                  <a:lnTo>
                    <a:pt x="38862" y="151383"/>
                  </a:lnTo>
                  <a:lnTo>
                    <a:pt x="66801" y="151383"/>
                  </a:lnTo>
                  <a:lnTo>
                    <a:pt x="66420" y="156337"/>
                  </a:lnTo>
                  <a:lnTo>
                    <a:pt x="66167" y="161417"/>
                  </a:lnTo>
                  <a:lnTo>
                    <a:pt x="66420" y="163321"/>
                  </a:lnTo>
                  <a:lnTo>
                    <a:pt x="38353" y="163321"/>
                  </a:lnTo>
                  <a:lnTo>
                    <a:pt x="38353" y="161417"/>
                  </a:lnTo>
                  <a:close/>
                  <a:moveTo>
                    <a:pt x="-1307466" y="5251703"/>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65" name="Freeform 1365"/>
            <p:cNvSpPr/>
            <p:nvPr/>
          </p:nvSpPr>
          <p:spPr>
            <a:xfrm>
              <a:off x="5404466" y="2399314"/>
              <a:ext cx="152321" cy="127948"/>
            </a:xfrm>
            <a:custGeom>
              <a:avLst/>
              <a:gdLst/>
              <a:ahLst/>
              <a:cxnLst/>
              <a:rect l="0" t="0" r="0" b="0"/>
              <a:pathLst>
                <a:path w="152400" h="128015">
                  <a:moveTo>
                    <a:pt x="76200" y="128015"/>
                  </a:moveTo>
                  <a:lnTo>
                    <a:pt x="76200" y="128015"/>
                  </a:lnTo>
                  <a:lnTo>
                    <a:pt x="67818" y="127127"/>
                  </a:lnTo>
                  <a:lnTo>
                    <a:pt x="60580" y="126238"/>
                  </a:lnTo>
                  <a:lnTo>
                    <a:pt x="53213" y="124459"/>
                  </a:lnTo>
                  <a:lnTo>
                    <a:pt x="45975" y="122808"/>
                  </a:lnTo>
                  <a:lnTo>
                    <a:pt x="39625" y="120141"/>
                  </a:lnTo>
                  <a:lnTo>
                    <a:pt x="33401" y="116585"/>
                  </a:lnTo>
                  <a:lnTo>
                    <a:pt x="27179" y="113157"/>
                  </a:lnTo>
                  <a:lnTo>
                    <a:pt x="21972" y="108712"/>
                  </a:lnTo>
                  <a:lnTo>
                    <a:pt x="17781" y="104394"/>
                  </a:lnTo>
                  <a:lnTo>
                    <a:pt x="12574" y="99948"/>
                  </a:lnTo>
                  <a:lnTo>
                    <a:pt x="9399" y="94741"/>
                  </a:lnTo>
                  <a:lnTo>
                    <a:pt x="6224" y="88519"/>
                  </a:lnTo>
                  <a:lnTo>
                    <a:pt x="3175" y="83312"/>
                  </a:lnTo>
                  <a:lnTo>
                    <a:pt x="1017" y="77215"/>
                  </a:lnTo>
                  <a:lnTo>
                    <a:pt x="0" y="70103"/>
                  </a:lnTo>
                  <a:lnTo>
                    <a:pt x="0" y="64008"/>
                  </a:lnTo>
                  <a:lnTo>
                    <a:pt x="0" y="57022"/>
                  </a:lnTo>
                  <a:lnTo>
                    <a:pt x="1017" y="50800"/>
                  </a:lnTo>
                  <a:lnTo>
                    <a:pt x="3175" y="44703"/>
                  </a:lnTo>
                  <a:lnTo>
                    <a:pt x="6224" y="39496"/>
                  </a:lnTo>
                  <a:lnTo>
                    <a:pt x="9399" y="33273"/>
                  </a:lnTo>
                  <a:lnTo>
                    <a:pt x="12574" y="28066"/>
                  </a:lnTo>
                  <a:lnTo>
                    <a:pt x="17781" y="23621"/>
                  </a:lnTo>
                  <a:lnTo>
                    <a:pt x="21972" y="18414"/>
                  </a:lnTo>
                  <a:lnTo>
                    <a:pt x="27179" y="14858"/>
                  </a:lnTo>
                  <a:lnTo>
                    <a:pt x="33401" y="11429"/>
                  </a:lnTo>
                  <a:lnTo>
                    <a:pt x="39625" y="7873"/>
                  </a:lnTo>
                  <a:lnTo>
                    <a:pt x="45975" y="5207"/>
                  </a:lnTo>
                  <a:lnTo>
                    <a:pt x="53213" y="2666"/>
                  </a:lnTo>
                  <a:lnTo>
                    <a:pt x="60580" y="1777"/>
                  </a:lnTo>
                  <a:lnTo>
                    <a:pt x="67818" y="0"/>
                  </a:lnTo>
                  <a:lnTo>
                    <a:pt x="76200" y="0"/>
                  </a:lnTo>
                  <a:lnTo>
                    <a:pt x="83567" y="0"/>
                  </a:lnTo>
                  <a:lnTo>
                    <a:pt x="90806" y="1777"/>
                  </a:lnTo>
                  <a:lnTo>
                    <a:pt x="98172" y="2666"/>
                  </a:lnTo>
                  <a:lnTo>
                    <a:pt x="105411" y="5207"/>
                  </a:lnTo>
                  <a:lnTo>
                    <a:pt x="111633" y="7873"/>
                  </a:lnTo>
                  <a:lnTo>
                    <a:pt x="117983" y="11429"/>
                  </a:lnTo>
                  <a:lnTo>
                    <a:pt x="124206" y="14858"/>
                  </a:lnTo>
                  <a:lnTo>
                    <a:pt x="129413" y="18414"/>
                  </a:lnTo>
                  <a:lnTo>
                    <a:pt x="134620" y="23621"/>
                  </a:lnTo>
                  <a:lnTo>
                    <a:pt x="138812" y="28066"/>
                  </a:lnTo>
                  <a:lnTo>
                    <a:pt x="143002" y="33273"/>
                  </a:lnTo>
                  <a:lnTo>
                    <a:pt x="146177" y="39496"/>
                  </a:lnTo>
                  <a:lnTo>
                    <a:pt x="148210" y="44703"/>
                  </a:lnTo>
                  <a:lnTo>
                    <a:pt x="150368" y="50800"/>
                  </a:lnTo>
                  <a:lnTo>
                    <a:pt x="151385" y="57022"/>
                  </a:lnTo>
                  <a:lnTo>
                    <a:pt x="152400" y="64008"/>
                  </a:lnTo>
                  <a:lnTo>
                    <a:pt x="151385" y="70103"/>
                  </a:lnTo>
                  <a:lnTo>
                    <a:pt x="150368" y="77215"/>
                  </a:lnTo>
                  <a:lnTo>
                    <a:pt x="148210" y="83312"/>
                  </a:lnTo>
                  <a:lnTo>
                    <a:pt x="146177" y="88519"/>
                  </a:lnTo>
                  <a:lnTo>
                    <a:pt x="143002" y="94741"/>
                  </a:lnTo>
                  <a:lnTo>
                    <a:pt x="138812" y="99948"/>
                  </a:lnTo>
                  <a:lnTo>
                    <a:pt x="134620" y="104394"/>
                  </a:lnTo>
                  <a:lnTo>
                    <a:pt x="129413" y="108712"/>
                  </a:lnTo>
                  <a:lnTo>
                    <a:pt x="124206" y="113157"/>
                  </a:lnTo>
                  <a:lnTo>
                    <a:pt x="117983" y="116585"/>
                  </a:lnTo>
                  <a:lnTo>
                    <a:pt x="111633" y="120141"/>
                  </a:lnTo>
                  <a:lnTo>
                    <a:pt x="105411" y="122808"/>
                  </a:lnTo>
                  <a:lnTo>
                    <a:pt x="98172" y="124459"/>
                  </a:lnTo>
                  <a:lnTo>
                    <a:pt x="90806" y="126238"/>
                  </a:lnTo>
                  <a:lnTo>
                    <a:pt x="83567" y="127127"/>
                  </a:lnTo>
                  <a:lnTo>
                    <a:pt x="76200" y="128015"/>
                  </a:lnTo>
                  <a:close/>
                  <a:moveTo>
                    <a:pt x="-1072895" y="4459223"/>
                  </a:moveTo>
                  <a:moveTo>
                    <a:pt x="76200" y="7873"/>
                  </a:moveTo>
                  <a:lnTo>
                    <a:pt x="76200" y="7873"/>
                  </a:lnTo>
                  <a:lnTo>
                    <a:pt x="68835" y="7873"/>
                  </a:lnTo>
                  <a:lnTo>
                    <a:pt x="62612" y="8763"/>
                  </a:lnTo>
                  <a:lnTo>
                    <a:pt x="56388" y="10540"/>
                  </a:lnTo>
                  <a:lnTo>
                    <a:pt x="50166" y="12319"/>
                  </a:lnTo>
                  <a:lnTo>
                    <a:pt x="43816" y="14858"/>
                  </a:lnTo>
                  <a:lnTo>
                    <a:pt x="38608" y="17526"/>
                  </a:lnTo>
                  <a:lnTo>
                    <a:pt x="29211" y="24510"/>
                  </a:lnTo>
                  <a:lnTo>
                    <a:pt x="20829" y="32384"/>
                  </a:lnTo>
                  <a:lnTo>
                    <a:pt x="17781" y="37719"/>
                  </a:lnTo>
                  <a:lnTo>
                    <a:pt x="14606" y="42037"/>
                  </a:lnTo>
                  <a:lnTo>
                    <a:pt x="12574" y="47370"/>
                  </a:lnTo>
                  <a:lnTo>
                    <a:pt x="10414" y="52577"/>
                  </a:lnTo>
                  <a:lnTo>
                    <a:pt x="9399" y="57912"/>
                  </a:lnTo>
                  <a:lnTo>
                    <a:pt x="9399" y="64008"/>
                  </a:lnTo>
                  <a:lnTo>
                    <a:pt x="9399" y="69214"/>
                  </a:lnTo>
                  <a:lnTo>
                    <a:pt x="10414" y="75438"/>
                  </a:lnTo>
                  <a:lnTo>
                    <a:pt x="12574" y="80645"/>
                  </a:lnTo>
                  <a:lnTo>
                    <a:pt x="14606" y="85978"/>
                  </a:lnTo>
                  <a:lnTo>
                    <a:pt x="17781" y="90296"/>
                  </a:lnTo>
                  <a:lnTo>
                    <a:pt x="20829" y="95631"/>
                  </a:lnTo>
                  <a:lnTo>
                    <a:pt x="29211" y="103504"/>
                  </a:lnTo>
                  <a:lnTo>
                    <a:pt x="38608" y="110489"/>
                  </a:lnTo>
                  <a:lnTo>
                    <a:pt x="43816" y="113157"/>
                  </a:lnTo>
                  <a:lnTo>
                    <a:pt x="50166" y="115696"/>
                  </a:lnTo>
                  <a:lnTo>
                    <a:pt x="56388" y="117475"/>
                  </a:lnTo>
                  <a:lnTo>
                    <a:pt x="62612" y="118364"/>
                  </a:lnTo>
                  <a:lnTo>
                    <a:pt x="68835" y="119252"/>
                  </a:lnTo>
                  <a:lnTo>
                    <a:pt x="76200" y="120141"/>
                  </a:lnTo>
                  <a:lnTo>
                    <a:pt x="82424" y="119252"/>
                  </a:lnTo>
                  <a:lnTo>
                    <a:pt x="89789" y="118364"/>
                  </a:lnTo>
                  <a:lnTo>
                    <a:pt x="96012" y="117475"/>
                  </a:lnTo>
                  <a:lnTo>
                    <a:pt x="102236" y="115696"/>
                  </a:lnTo>
                  <a:lnTo>
                    <a:pt x="107569" y="113157"/>
                  </a:lnTo>
                  <a:lnTo>
                    <a:pt x="112776" y="110489"/>
                  </a:lnTo>
                  <a:lnTo>
                    <a:pt x="123191" y="103504"/>
                  </a:lnTo>
                  <a:lnTo>
                    <a:pt x="131573" y="95631"/>
                  </a:lnTo>
                  <a:lnTo>
                    <a:pt x="134620" y="90296"/>
                  </a:lnTo>
                  <a:lnTo>
                    <a:pt x="137795" y="85978"/>
                  </a:lnTo>
                  <a:lnTo>
                    <a:pt x="139827" y="80645"/>
                  </a:lnTo>
                  <a:lnTo>
                    <a:pt x="140970" y="75438"/>
                  </a:lnTo>
                  <a:lnTo>
                    <a:pt x="141987" y="69214"/>
                  </a:lnTo>
                  <a:lnTo>
                    <a:pt x="143002" y="64008"/>
                  </a:lnTo>
                  <a:lnTo>
                    <a:pt x="141987" y="57912"/>
                  </a:lnTo>
                  <a:lnTo>
                    <a:pt x="140970" y="52577"/>
                  </a:lnTo>
                  <a:lnTo>
                    <a:pt x="139827" y="47370"/>
                  </a:lnTo>
                  <a:lnTo>
                    <a:pt x="137795" y="42037"/>
                  </a:lnTo>
                  <a:lnTo>
                    <a:pt x="134620" y="37719"/>
                  </a:lnTo>
                  <a:lnTo>
                    <a:pt x="131573" y="32384"/>
                  </a:lnTo>
                  <a:lnTo>
                    <a:pt x="123191" y="24510"/>
                  </a:lnTo>
                  <a:lnTo>
                    <a:pt x="112776" y="17526"/>
                  </a:lnTo>
                  <a:lnTo>
                    <a:pt x="107569" y="14858"/>
                  </a:lnTo>
                  <a:lnTo>
                    <a:pt x="102236" y="12319"/>
                  </a:lnTo>
                  <a:lnTo>
                    <a:pt x="96012" y="10540"/>
                  </a:lnTo>
                  <a:lnTo>
                    <a:pt x="89789" y="8763"/>
                  </a:lnTo>
                  <a:lnTo>
                    <a:pt x="82424" y="7873"/>
                  </a:lnTo>
                  <a:lnTo>
                    <a:pt x="76200" y="7873"/>
                  </a:lnTo>
                  <a:close/>
                  <a:moveTo>
                    <a:pt x="-952753" y="4459223"/>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66" name="Freeform 1366"/>
            <p:cNvSpPr/>
            <p:nvPr/>
          </p:nvSpPr>
          <p:spPr>
            <a:xfrm>
              <a:off x="5617716" y="2420637"/>
              <a:ext cx="97485" cy="85300"/>
            </a:xfrm>
            <a:custGeom>
              <a:avLst/>
              <a:gdLst/>
              <a:ahLst/>
              <a:cxnLst/>
              <a:rect l="0" t="0" r="0" b="0"/>
              <a:pathLst>
                <a:path w="97536" h="85344">
                  <a:moveTo>
                    <a:pt x="48768" y="85344"/>
                  </a:moveTo>
                  <a:lnTo>
                    <a:pt x="48768" y="85344"/>
                  </a:lnTo>
                  <a:lnTo>
                    <a:pt x="38607" y="84455"/>
                  </a:lnTo>
                  <a:lnTo>
                    <a:pt x="29464" y="81788"/>
                  </a:lnTo>
                  <a:lnTo>
                    <a:pt x="21336" y="78233"/>
                  </a:lnTo>
                  <a:lnTo>
                    <a:pt x="14224" y="72898"/>
                  </a:lnTo>
                  <a:lnTo>
                    <a:pt x="8127" y="66675"/>
                  </a:lnTo>
                  <a:lnTo>
                    <a:pt x="4064" y="59563"/>
                  </a:lnTo>
                  <a:lnTo>
                    <a:pt x="1015" y="51562"/>
                  </a:lnTo>
                  <a:lnTo>
                    <a:pt x="0" y="42673"/>
                  </a:lnTo>
                  <a:lnTo>
                    <a:pt x="1015" y="33783"/>
                  </a:lnTo>
                  <a:lnTo>
                    <a:pt x="4064" y="25781"/>
                  </a:lnTo>
                  <a:lnTo>
                    <a:pt x="8127" y="18669"/>
                  </a:lnTo>
                  <a:lnTo>
                    <a:pt x="14224" y="12447"/>
                  </a:lnTo>
                  <a:lnTo>
                    <a:pt x="21336" y="7112"/>
                  </a:lnTo>
                  <a:lnTo>
                    <a:pt x="29464" y="3556"/>
                  </a:lnTo>
                  <a:lnTo>
                    <a:pt x="38607" y="890"/>
                  </a:lnTo>
                  <a:lnTo>
                    <a:pt x="48768" y="0"/>
                  </a:lnTo>
                  <a:lnTo>
                    <a:pt x="58927" y="890"/>
                  </a:lnTo>
                  <a:lnTo>
                    <a:pt x="68071" y="3556"/>
                  </a:lnTo>
                  <a:lnTo>
                    <a:pt x="76200" y="7112"/>
                  </a:lnTo>
                  <a:lnTo>
                    <a:pt x="83312" y="12447"/>
                  </a:lnTo>
                  <a:lnTo>
                    <a:pt x="89407" y="18669"/>
                  </a:lnTo>
                  <a:lnTo>
                    <a:pt x="93471" y="25781"/>
                  </a:lnTo>
                  <a:lnTo>
                    <a:pt x="96520" y="33783"/>
                  </a:lnTo>
                  <a:lnTo>
                    <a:pt x="97536" y="42673"/>
                  </a:lnTo>
                  <a:lnTo>
                    <a:pt x="96520" y="51562"/>
                  </a:lnTo>
                  <a:lnTo>
                    <a:pt x="93471" y="59563"/>
                  </a:lnTo>
                  <a:lnTo>
                    <a:pt x="89407" y="66675"/>
                  </a:lnTo>
                  <a:lnTo>
                    <a:pt x="83312" y="72898"/>
                  </a:lnTo>
                  <a:lnTo>
                    <a:pt x="76200" y="78233"/>
                  </a:lnTo>
                  <a:lnTo>
                    <a:pt x="68071" y="81788"/>
                  </a:lnTo>
                  <a:lnTo>
                    <a:pt x="58927" y="84455"/>
                  </a:lnTo>
                  <a:lnTo>
                    <a:pt x="48768" y="85344"/>
                  </a:lnTo>
                  <a:close/>
                  <a:moveTo>
                    <a:pt x="-1264920" y="4437888"/>
                  </a:moveTo>
                  <a:moveTo>
                    <a:pt x="48768" y="8002"/>
                  </a:moveTo>
                  <a:lnTo>
                    <a:pt x="48768" y="8002"/>
                  </a:lnTo>
                  <a:lnTo>
                    <a:pt x="40639" y="8891"/>
                  </a:lnTo>
                  <a:lnTo>
                    <a:pt x="33527" y="10668"/>
                  </a:lnTo>
                  <a:lnTo>
                    <a:pt x="26415" y="14224"/>
                  </a:lnTo>
                  <a:lnTo>
                    <a:pt x="21336" y="17780"/>
                  </a:lnTo>
                  <a:lnTo>
                    <a:pt x="16256" y="23115"/>
                  </a:lnTo>
                  <a:lnTo>
                    <a:pt x="12191" y="29337"/>
                  </a:lnTo>
                  <a:lnTo>
                    <a:pt x="10159" y="35560"/>
                  </a:lnTo>
                  <a:lnTo>
                    <a:pt x="9144" y="42673"/>
                  </a:lnTo>
                  <a:lnTo>
                    <a:pt x="10159" y="49785"/>
                  </a:lnTo>
                  <a:lnTo>
                    <a:pt x="12191" y="56008"/>
                  </a:lnTo>
                  <a:lnTo>
                    <a:pt x="16256" y="62230"/>
                  </a:lnTo>
                  <a:lnTo>
                    <a:pt x="21336" y="66675"/>
                  </a:lnTo>
                  <a:lnTo>
                    <a:pt x="26415" y="71121"/>
                  </a:lnTo>
                  <a:lnTo>
                    <a:pt x="33527" y="74677"/>
                  </a:lnTo>
                  <a:lnTo>
                    <a:pt x="40639" y="76454"/>
                  </a:lnTo>
                  <a:lnTo>
                    <a:pt x="48768" y="77343"/>
                  </a:lnTo>
                  <a:lnTo>
                    <a:pt x="56895" y="76454"/>
                  </a:lnTo>
                  <a:lnTo>
                    <a:pt x="64007" y="74677"/>
                  </a:lnTo>
                  <a:lnTo>
                    <a:pt x="71120" y="71121"/>
                  </a:lnTo>
                  <a:lnTo>
                    <a:pt x="77215" y="66675"/>
                  </a:lnTo>
                  <a:lnTo>
                    <a:pt x="81280" y="62230"/>
                  </a:lnTo>
                  <a:lnTo>
                    <a:pt x="85344" y="56008"/>
                  </a:lnTo>
                  <a:lnTo>
                    <a:pt x="87376" y="49785"/>
                  </a:lnTo>
                  <a:lnTo>
                    <a:pt x="88391" y="42673"/>
                  </a:lnTo>
                  <a:lnTo>
                    <a:pt x="87376" y="35560"/>
                  </a:lnTo>
                  <a:lnTo>
                    <a:pt x="85344" y="29337"/>
                  </a:lnTo>
                  <a:lnTo>
                    <a:pt x="81280" y="23115"/>
                  </a:lnTo>
                  <a:lnTo>
                    <a:pt x="77215" y="17780"/>
                  </a:lnTo>
                  <a:lnTo>
                    <a:pt x="71120" y="14224"/>
                  </a:lnTo>
                  <a:lnTo>
                    <a:pt x="64007" y="10668"/>
                  </a:lnTo>
                  <a:lnTo>
                    <a:pt x="56895" y="8891"/>
                  </a:lnTo>
                  <a:lnTo>
                    <a:pt x="48768" y="8002"/>
                  </a:lnTo>
                  <a:close/>
                  <a:moveTo>
                    <a:pt x="-1187578" y="4437888"/>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67" name="Freeform 1367"/>
            <p:cNvSpPr/>
            <p:nvPr/>
          </p:nvSpPr>
          <p:spPr>
            <a:xfrm>
              <a:off x="5547648" y="2274412"/>
              <a:ext cx="70069" cy="60927"/>
            </a:xfrm>
            <a:custGeom>
              <a:avLst/>
              <a:gdLst/>
              <a:ahLst/>
              <a:cxnLst/>
              <a:rect l="0" t="0" r="0" b="0"/>
              <a:pathLst>
                <a:path w="70105" h="60959">
                  <a:moveTo>
                    <a:pt x="35052" y="60959"/>
                  </a:moveTo>
                  <a:lnTo>
                    <a:pt x="35052" y="60959"/>
                  </a:lnTo>
                  <a:lnTo>
                    <a:pt x="28068" y="60070"/>
                  </a:lnTo>
                  <a:lnTo>
                    <a:pt x="21971" y="58293"/>
                  </a:lnTo>
                  <a:lnTo>
                    <a:pt x="16002" y="55752"/>
                  </a:lnTo>
                  <a:lnTo>
                    <a:pt x="11050" y="52196"/>
                  </a:lnTo>
                  <a:lnTo>
                    <a:pt x="5969" y="46989"/>
                  </a:lnTo>
                  <a:lnTo>
                    <a:pt x="3049" y="41782"/>
                  </a:lnTo>
                  <a:lnTo>
                    <a:pt x="1017" y="36576"/>
                  </a:lnTo>
                  <a:lnTo>
                    <a:pt x="0" y="30480"/>
                  </a:lnTo>
                  <a:lnTo>
                    <a:pt x="1017" y="24383"/>
                  </a:lnTo>
                  <a:lnTo>
                    <a:pt x="3049" y="18288"/>
                  </a:lnTo>
                  <a:lnTo>
                    <a:pt x="5969" y="13081"/>
                  </a:lnTo>
                  <a:lnTo>
                    <a:pt x="11050" y="8763"/>
                  </a:lnTo>
                  <a:lnTo>
                    <a:pt x="16002" y="5207"/>
                  </a:lnTo>
                  <a:lnTo>
                    <a:pt x="21971" y="1777"/>
                  </a:lnTo>
                  <a:lnTo>
                    <a:pt x="28068" y="0"/>
                  </a:lnTo>
                  <a:lnTo>
                    <a:pt x="35052" y="0"/>
                  </a:lnTo>
                  <a:lnTo>
                    <a:pt x="42037" y="0"/>
                  </a:lnTo>
                  <a:lnTo>
                    <a:pt x="49023" y="1777"/>
                  </a:lnTo>
                  <a:lnTo>
                    <a:pt x="55119" y="5207"/>
                  </a:lnTo>
                  <a:lnTo>
                    <a:pt x="60071" y="8763"/>
                  </a:lnTo>
                  <a:lnTo>
                    <a:pt x="64136" y="13081"/>
                  </a:lnTo>
                  <a:lnTo>
                    <a:pt x="68073" y="18288"/>
                  </a:lnTo>
                  <a:lnTo>
                    <a:pt x="70105" y="24383"/>
                  </a:lnTo>
                  <a:lnTo>
                    <a:pt x="70105" y="30480"/>
                  </a:lnTo>
                  <a:lnTo>
                    <a:pt x="70105" y="36576"/>
                  </a:lnTo>
                  <a:lnTo>
                    <a:pt x="68073" y="41782"/>
                  </a:lnTo>
                  <a:lnTo>
                    <a:pt x="64136" y="46989"/>
                  </a:lnTo>
                  <a:lnTo>
                    <a:pt x="60071" y="52196"/>
                  </a:lnTo>
                  <a:lnTo>
                    <a:pt x="55119" y="55752"/>
                  </a:lnTo>
                  <a:lnTo>
                    <a:pt x="49023" y="58293"/>
                  </a:lnTo>
                  <a:lnTo>
                    <a:pt x="42037" y="60070"/>
                  </a:lnTo>
                  <a:lnTo>
                    <a:pt x="35052" y="60959"/>
                  </a:lnTo>
                  <a:close/>
                  <a:moveTo>
                    <a:pt x="-1024127" y="4584191"/>
                  </a:moveTo>
                  <a:moveTo>
                    <a:pt x="35052" y="7874"/>
                  </a:moveTo>
                  <a:lnTo>
                    <a:pt x="35052" y="7874"/>
                  </a:lnTo>
                  <a:lnTo>
                    <a:pt x="30100" y="7874"/>
                  </a:lnTo>
                  <a:lnTo>
                    <a:pt x="25019" y="9525"/>
                  </a:lnTo>
                  <a:lnTo>
                    <a:pt x="21082" y="11302"/>
                  </a:lnTo>
                  <a:lnTo>
                    <a:pt x="17019" y="13970"/>
                  </a:lnTo>
                  <a:lnTo>
                    <a:pt x="13970" y="17399"/>
                  </a:lnTo>
                  <a:lnTo>
                    <a:pt x="11050" y="21716"/>
                  </a:lnTo>
                  <a:lnTo>
                    <a:pt x="10033" y="26162"/>
                  </a:lnTo>
                  <a:lnTo>
                    <a:pt x="9018" y="30480"/>
                  </a:lnTo>
                  <a:lnTo>
                    <a:pt x="10033" y="34797"/>
                  </a:lnTo>
                  <a:lnTo>
                    <a:pt x="11050" y="39243"/>
                  </a:lnTo>
                  <a:lnTo>
                    <a:pt x="13970" y="42671"/>
                  </a:lnTo>
                  <a:lnTo>
                    <a:pt x="17019" y="46101"/>
                  </a:lnTo>
                  <a:lnTo>
                    <a:pt x="21082" y="48768"/>
                  </a:lnTo>
                  <a:lnTo>
                    <a:pt x="25019" y="51434"/>
                  </a:lnTo>
                  <a:lnTo>
                    <a:pt x="30100" y="52196"/>
                  </a:lnTo>
                  <a:lnTo>
                    <a:pt x="35052" y="53086"/>
                  </a:lnTo>
                  <a:lnTo>
                    <a:pt x="41021" y="52196"/>
                  </a:lnTo>
                  <a:lnTo>
                    <a:pt x="45086" y="51434"/>
                  </a:lnTo>
                  <a:lnTo>
                    <a:pt x="50038" y="48768"/>
                  </a:lnTo>
                  <a:lnTo>
                    <a:pt x="54102" y="46101"/>
                  </a:lnTo>
                  <a:lnTo>
                    <a:pt x="57024" y="42671"/>
                  </a:lnTo>
                  <a:lnTo>
                    <a:pt x="59056" y="39243"/>
                  </a:lnTo>
                  <a:lnTo>
                    <a:pt x="61087" y="34797"/>
                  </a:lnTo>
                  <a:lnTo>
                    <a:pt x="61087" y="30480"/>
                  </a:lnTo>
                  <a:lnTo>
                    <a:pt x="61087" y="26162"/>
                  </a:lnTo>
                  <a:lnTo>
                    <a:pt x="59056" y="21716"/>
                  </a:lnTo>
                  <a:lnTo>
                    <a:pt x="57024" y="17399"/>
                  </a:lnTo>
                  <a:lnTo>
                    <a:pt x="54102" y="13970"/>
                  </a:lnTo>
                  <a:lnTo>
                    <a:pt x="50038" y="11302"/>
                  </a:lnTo>
                  <a:lnTo>
                    <a:pt x="45086" y="9525"/>
                  </a:lnTo>
                  <a:lnTo>
                    <a:pt x="41021" y="7874"/>
                  </a:lnTo>
                  <a:lnTo>
                    <a:pt x="35052" y="7874"/>
                  </a:lnTo>
                  <a:close/>
                  <a:moveTo>
                    <a:pt x="-971042" y="4584191"/>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68" name="Freeform 1368"/>
            <p:cNvSpPr/>
            <p:nvPr/>
          </p:nvSpPr>
          <p:spPr>
            <a:xfrm>
              <a:off x="5313075" y="2557726"/>
              <a:ext cx="91391" cy="79208"/>
            </a:xfrm>
            <a:custGeom>
              <a:avLst/>
              <a:gdLst/>
              <a:ahLst/>
              <a:cxnLst/>
              <a:rect l="0" t="0" r="0" b="0"/>
              <a:pathLst>
                <a:path w="91439" h="79249">
                  <a:moveTo>
                    <a:pt x="45720" y="79249"/>
                  </a:moveTo>
                  <a:lnTo>
                    <a:pt x="45720" y="79249"/>
                  </a:lnTo>
                  <a:lnTo>
                    <a:pt x="36321" y="78359"/>
                  </a:lnTo>
                  <a:lnTo>
                    <a:pt x="28066" y="75565"/>
                  </a:lnTo>
                  <a:lnTo>
                    <a:pt x="19684" y="72009"/>
                  </a:lnTo>
                  <a:lnTo>
                    <a:pt x="13462" y="67438"/>
                  </a:lnTo>
                  <a:lnTo>
                    <a:pt x="8255" y="61976"/>
                  </a:lnTo>
                  <a:lnTo>
                    <a:pt x="4190" y="54611"/>
                  </a:lnTo>
                  <a:lnTo>
                    <a:pt x="1015" y="47371"/>
                  </a:lnTo>
                  <a:lnTo>
                    <a:pt x="0" y="39117"/>
                  </a:lnTo>
                  <a:lnTo>
                    <a:pt x="1015" y="30988"/>
                  </a:lnTo>
                  <a:lnTo>
                    <a:pt x="4190" y="23623"/>
                  </a:lnTo>
                  <a:lnTo>
                    <a:pt x="8255" y="17273"/>
                  </a:lnTo>
                  <a:lnTo>
                    <a:pt x="13462" y="10923"/>
                  </a:lnTo>
                  <a:lnTo>
                    <a:pt x="19684" y="6350"/>
                  </a:lnTo>
                  <a:lnTo>
                    <a:pt x="28066" y="2794"/>
                  </a:lnTo>
                  <a:lnTo>
                    <a:pt x="36321" y="0"/>
                  </a:lnTo>
                  <a:lnTo>
                    <a:pt x="45720" y="0"/>
                  </a:lnTo>
                  <a:lnTo>
                    <a:pt x="55118" y="0"/>
                  </a:lnTo>
                  <a:lnTo>
                    <a:pt x="63372" y="2794"/>
                  </a:lnTo>
                  <a:lnTo>
                    <a:pt x="70612" y="6350"/>
                  </a:lnTo>
                  <a:lnTo>
                    <a:pt x="77977" y="10923"/>
                  </a:lnTo>
                  <a:lnTo>
                    <a:pt x="83184" y="17273"/>
                  </a:lnTo>
                  <a:lnTo>
                    <a:pt x="87249" y="23623"/>
                  </a:lnTo>
                  <a:lnTo>
                    <a:pt x="90424" y="30988"/>
                  </a:lnTo>
                  <a:lnTo>
                    <a:pt x="91439" y="39117"/>
                  </a:lnTo>
                  <a:lnTo>
                    <a:pt x="90424" y="47371"/>
                  </a:lnTo>
                  <a:lnTo>
                    <a:pt x="87249" y="54611"/>
                  </a:lnTo>
                  <a:lnTo>
                    <a:pt x="83184" y="61976"/>
                  </a:lnTo>
                  <a:lnTo>
                    <a:pt x="77977" y="67438"/>
                  </a:lnTo>
                  <a:lnTo>
                    <a:pt x="70612" y="72009"/>
                  </a:lnTo>
                  <a:lnTo>
                    <a:pt x="63372" y="75565"/>
                  </a:lnTo>
                  <a:lnTo>
                    <a:pt x="55118" y="78359"/>
                  </a:lnTo>
                  <a:lnTo>
                    <a:pt x="45720" y="79249"/>
                  </a:lnTo>
                  <a:close/>
                  <a:moveTo>
                    <a:pt x="-1091185" y="4300728"/>
                  </a:moveTo>
                  <a:moveTo>
                    <a:pt x="45720" y="8256"/>
                  </a:moveTo>
                  <a:lnTo>
                    <a:pt x="45720" y="8256"/>
                  </a:lnTo>
                  <a:lnTo>
                    <a:pt x="38481" y="8256"/>
                  </a:lnTo>
                  <a:lnTo>
                    <a:pt x="31114" y="10033"/>
                  </a:lnTo>
                  <a:lnTo>
                    <a:pt x="26034" y="12700"/>
                  </a:lnTo>
                  <a:lnTo>
                    <a:pt x="19684" y="17273"/>
                  </a:lnTo>
                  <a:lnTo>
                    <a:pt x="15620" y="21844"/>
                  </a:lnTo>
                  <a:lnTo>
                    <a:pt x="12445" y="27306"/>
                  </a:lnTo>
                  <a:lnTo>
                    <a:pt x="10414" y="32767"/>
                  </a:lnTo>
                  <a:lnTo>
                    <a:pt x="9397" y="39117"/>
                  </a:lnTo>
                  <a:lnTo>
                    <a:pt x="10414" y="45594"/>
                  </a:lnTo>
                  <a:lnTo>
                    <a:pt x="12445" y="51944"/>
                  </a:lnTo>
                  <a:lnTo>
                    <a:pt x="15620" y="57405"/>
                  </a:lnTo>
                  <a:lnTo>
                    <a:pt x="19684" y="61976"/>
                  </a:lnTo>
                  <a:lnTo>
                    <a:pt x="26034" y="65532"/>
                  </a:lnTo>
                  <a:lnTo>
                    <a:pt x="31114" y="68326"/>
                  </a:lnTo>
                  <a:lnTo>
                    <a:pt x="38481" y="70105"/>
                  </a:lnTo>
                  <a:lnTo>
                    <a:pt x="45720" y="70994"/>
                  </a:lnTo>
                  <a:lnTo>
                    <a:pt x="52958" y="70105"/>
                  </a:lnTo>
                  <a:lnTo>
                    <a:pt x="59182" y="68326"/>
                  </a:lnTo>
                  <a:lnTo>
                    <a:pt x="65405" y="65532"/>
                  </a:lnTo>
                  <a:lnTo>
                    <a:pt x="70612" y="61976"/>
                  </a:lnTo>
                  <a:lnTo>
                    <a:pt x="75819" y="57405"/>
                  </a:lnTo>
                  <a:lnTo>
                    <a:pt x="78994" y="51944"/>
                  </a:lnTo>
                  <a:lnTo>
                    <a:pt x="81026" y="45594"/>
                  </a:lnTo>
                  <a:lnTo>
                    <a:pt x="82041" y="39117"/>
                  </a:lnTo>
                  <a:lnTo>
                    <a:pt x="81026" y="32767"/>
                  </a:lnTo>
                  <a:lnTo>
                    <a:pt x="78994" y="27306"/>
                  </a:lnTo>
                  <a:lnTo>
                    <a:pt x="75819" y="21844"/>
                  </a:lnTo>
                  <a:lnTo>
                    <a:pt x="70612" y="17273"/>
                  </a:lnTo>
                  <a:lnTo>
                    <a:pt x="65405" y="12700"/>
                  </a:lnTo>
                  <a:lnTo>
                    <a:pt x="59182" y="10033"/>
                  </a:lnTo>
                  <a:lnTo>
                    <a:pt x="52958" y="8256"/>
                  </a:lnTo>
                  <a:lnTo>
                    <a:pt x="45720" y="8256"/>
                  </a:lnTo>
                  <a:close/>
                  <a:moveTo>
                    <a:pt x="-1020192" y="4300728"/>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69" name="Freeform 1369"/>
            <p:cNvSpPr/>
            <p:nvPr/>
          </p:nvSpPr>
          <p:spPr>
            <a:xfrm>
              <a:off x="5279563" y="2347524"/>
              <a:ext cx="73115" cy="63975"/>
            </a:xfrm>
            <a:custGeom>
              <a:avLst/>
              <a:gdLst/>
              <a:ahLst/>
              <a:cxnLst/>
              <a:rect l="0" t="0" r="0" b="0"/>
              <a:pathLst>
                <a:path w="73153" h="64008">
                  <a:moveTo>
                    <a:pt x="36576" y="64008"/>
                  </a:moveTo>
                  <a:lnTo>
                    <a:pt x="36576" y="64008"/>
                  </a:lnTo>
                  <a:lnTo>
                    <a:pt x="29211" y="63119"/>
                  </a:lnTo>
                  <a:lnTo>
                    <a:pt x="21972" y="61214"/>
                  </a:lnTo>
                  <a:lnTo>
                    <a:pt x="15622" y="58548"/>
                  </a:lnTo>
                  <a:lnTo>
                    <a:pt x="10415" y="53975"/>
                  </a:lnTo>
                  <a:lnTo>
                    <a:pt x="6224" y="49404"/>
                  </a:lnTo>
                  <a:lnTo>
                    <a:pt x="2032" y="43943"/>
                  </a:lnTo>
                  <a:lnTo>
                    <a:pt x="0" y="38355"/>
                  </a:lnTo>
                  <a:lnTo>
                    <a:pt x="0" y="32005"/>
                  </a:lnTo>
                  <a:lnTo>
                    <a:pt x="0" y="25655"/>
                  </a:lnTo>
                  <a:lnTo>
                    <a:pt x="2032" y="19177"/>
                  </a:lnTo>
                  <a:lnTo>
                    <a:pt x="6224" y="13717"/>
                  </a:lnTo>
                  <a:lnTo>
                    <a:pt x="10415" y="9144"/>
                  </a:lnTo>
                  <a:lnTo>
                    <a:pt x="15622" y="5462"/>
                  </a:lnTo>
                  <a:lnTo>
                    <a:pt x="21972" y="1779"/>
                  </a:lnTo>
                  <a:lnTo>
                    <a:pt x="29211" y="0"/>
                  </a:lnTo>
                  <a:lnTo>
                    <a:pt x="36576" y="0"/>
                  </a:lnTo>
                  <a:lnTo>
                    <a:pt x="43943" y="0"/>
                  </a:lnTo>
                  <a:lnTo>
                    <a:pt x="50166" y="1779"/>
                  </a:lnTo>
                  <a:lnTo>
                    <a:pt x="56388" y="5462"/>
                  </a:lnTo>
                  <a:lnTo>
                    <a:pt x="62738" y="9144"/>
                  </a:lnTo>
                  <a:lnTo>
                    <a:pt x="66930" y="13717"/>
                  </a:lnTo>
                  <a:lnTo>
                    <a:pt x="69978" y="19177"/>
                  </a:lnTo>
                  <a:lnTo>
                    <a:pt x="72136" y="25655"/>
                  </a:lnTo>
                  <a:lnTo>
                    <a:pt x="73153" y="32005"/>
                  </a:lnTo>
                  <a:lnTo>
                    <a:pt x="72136" y="38355"/>
                  </a:lnTo>
                  <a:lnTo>
                    <a:pt x="69978" y="43943"/>
                  </a:lnTo>
                  <a:lnTo>
                    <a:pt x="66930" y="49404"/>
                  </a:lnTo>
                  <a:lnTo>
                    <a:pt x="62738" y="53975"/>
                  </a:lnTo>
                  <a:lnTo>
                    <a:pt x="56388" y="58548"/>
                  </a:lnTo>
                  <a:lnTo>
                    <a:pt x="50166" y="61214"/>
                  </a:lnTo>
                  <a:lnTo>
                    <a:pt x="43943" y="63119"/>
                  </a:lnTo>
                  <a:lnTo>
                    <a:pt x="36576" y="64008"/>
                  </a:lnTo>
                  <a:close/>
                  <a:moveTo>
                    <a:pt x="-832103" y="4511040"/>
                  </a:moveTo>
                  <a:moveTo>
                    <a:pt x="36576" y="8256"/>
                  </a:moveTo>
                  <a:lnTo>
                    <a:pt x="36576" y="8256"/>
                  </a:lnTo>
                  <a:lnTo>
                    <a:pt x="31369" y="8256"/>
                  </a:lnTo>
                  <a:lnTo>
                    <a:pt x="26162" y="10033"/>
                  </a:lnTo>
                  <a:lnTo>
                    <a:pt x="20955" y="11938"/>
                  </a:lnTo>
                  <a:lnTo>
                    <a:pt x="16765" y="14606"/>
                  </a:lnTo>
                  <a:lnTo>
                    <a:pt x="13590" y="18288"/>
                  </a:lnTo>
                  <a:lnTo>
                    <a:pt x="11557" y="21971"/>
                  </a:lnTo>
                  <a:lnTo>
                    <a:pt x="9399" y="26544"/>
                  </a:lnTo>
                  <a:lnTo>
                    <a:pt x="9399" y="32005"/>
                  </a:lnTo>
                  <a:lnTo>
                    <a:pt x="9399" y="36576"/>
                  </a:lnTo>
                  <a:lnTo>
                    <a:pt x="11557" y="41149"/>
                  </a:lnTo>
                  <a:lnTo>
                    <a:pt x="13590" y="44831"/>
                  </a:lnTo>
                  <a:lnTo>
                    <a:pt x="16765" y="48514"/>
                  </a:lnTo>
                  <a:lnTo>
                    <a:pt x="20955" y="51181"/>
                  </a:lnTo>
                  <a:lnTo>
                    <a:pt x="26162" y="53975"/>
                  </a:lnTo>
                  <a:lnTo>
                    <a:pt x="31369" y="54864"/>
                  </a:lnTo>
                  <a:lnTo>
                    <a:pt x="36576" y="55754"/>
                  </a:lnTo>
                  <a:lnTo>
                    <a:pt x="41784" y="54864"/>
                  </a:lnTo>
                  <a:lnTo>
                    <a:pt x="46991" y="53975"/>
                  </a:lnTo>
                  <a:lnTo>
                    <a:pt x="51181" y="51181"/>
                  </a:lnTo>
                  <a:lnTo>
                    <a:pt x="55373" y="48514"/>
                  </a:lnTo>
                  <a:lnTo>
                    <a:pt x="58548" y="44831"/>
                  </a:lnTo>
                  <a:lnTo>
                    <a:pt x="61595" y="41149"/>
                  </a:lnTo>
                  <a:lnTo>
                    <a:pt x="62738" y="36576"/>
                  </a:lnTo>
                  <a:lnTo>
                    <a:pt x="63755" y="32005"/>
                  </a:lnTo>
                  <a:lnTo>
                    <a:pt x="62738" y="26544"/>
                  </a:lnTo>
                  <a:lnTo>
                    <a:pt x="61595" y="21971"/>
                  </a:lnTo>
                  <a:lnTo>
                    <a:pt x="58548" y="18288"/>
                  </a:lnTo>
                  <a:lnTo>
                    <a:pt x="55373" y="14606"/>
                  </a:lnTo>
                  <a:lnTo>
                    <a:pt x="51181" y="11938"/>
                  </a:lnTo>
                  <a:lnTo>
                    <a:pt x="46991" y="10033"/>
                  </a:lnTo>
                  <a:lnTo>
                    <a:pt x="41784" y="8256"/>
                  </a:lnTo>
                  <a:lnTo>
                    <a:pt x="36576" y="8256"/>
                  </a:lnTo>
                  <a:close/>
                  <a:moveTo>
                    <a:pt x="-776351" y="4511040"/>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70" name="Freeform 1370"/>
            <p:cNvSpPr/>
            <p:nvPr/>
          </p:nvSpPr>
          <p:spPr>
            <a:xfrm>
              <a:off x="5547647" y="2457196"/>
              <a:ext cx="79207" cy="9139"/>
            </a:xfrm>
            <a:custGeom>
              <a:avLst/>
              <a:gdLst/>
              <a:ahLst/>
              <a:cxnLst/>
              <a:rect l="0" t="0" r="0" b="0"/>
              <a:pathLst>
                <a:path w="79248" h="9144">
                  <a:moveTo>
                    <a:pt x="0" y="9144"/>
                  </a:moveTo>
                  <a:lnTo>
                    <a:pt x="79248" y="9144"/>
                  </a:lnTo>
                  <a:lnTo>
                    <a:pt x="79248" y="0"/>
                  </a:lnTo>
                  <a:lnTo>
                    <a:pt x="0" y="0"/>
                  </a:lnTo>
                  <a:lnTo>
                    <a:pt x="0" y="9144"/>
                  </a:lnTo>
                  <a:close/>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71" name="Freeform 1371"/>
            <p:cNvSpPr/>
            <p:nvPr/>
          </p:nvSpPr>
          <p:spPr>
            <a:xfrm>
              <a:off x="5504999" y="2326198"/>
              <a:ext cx="70067" cy="85300"/>
            </a:xfrm>
            <a:custGeom>
              <a:avLst/>
              <a:gdLst/>
              <a:ahLst/>
              <a:cxnLst/>
              <a:rect l="0" t="0" r="0" b="0"/>
              <a:pathLst>
                <a:path w="70103" h="85344">
                  <a:moveTo>
                    <a:pt x="7365" y="85344"/>
                  </a:moveTo>
                  <a:lnTo>
                    <a:pt x="0" y="80899"/>
                  </a:lnTo>
                  <a:lnTo>
                    <a:pt x="61721" y="0"/>
                  </a:lnTo>
                  <a:lnTo>
                    <a:pt x="70103" y="3556"/>
                  </a:lnTo>
                  <a:lnTo>
                    <a:pt x="7365" y="85344"/>
                  </a:lnTo>
                  <a:close/>
                  <a:moveTo>
                    <a:pt x="-1057656" y="4532376"/>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72" name="Freeform 1372"/>
            <p:cNvSpPr/>
            <p:nvPr/>
          </p:nvSpPr>
          <p:spPr>
            <a:xfrm>
              <a:off x="5340491" y="2390174"/>
              <a:ext cx="85300" cy="48742"/>
            </a:xfrm>
            <a:custGeom>
              <a:avLst/>
              <a:gdLst/>
              <a:ahLst/>
              <a:cxnLst/>
              <a:rect l="0" t="0" r="0" b="0"/>
              <a:pathLst>
                <a:path w="85344" h="48767">
                  <a:moveTo>
                    <a:pt x="80263" y="48767"/>
                  </a:moveTo>
                  <a:lnTo>
                    <a:pt x="0" y="6350"/>
                  </a:lnTo>
                  <a:lnTo>
                    <a:pt x="5080" y="0"/>
                  </a:lnTo>
                  <a:lnTo>
                    <a:pt x="85344" y="41528"/>
                  </a:lnTo>
                  <a:lnTo>
                    <a:pt x="80263" y="48767"/>
                  </a:lnTo>
                  <a:close/>
                  <a:moveTo>
                    <a:pt x="-920496" y="4468367"/>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73" name="Freeform 1373"/>
            <p:cNvSpPr/>
            <p:nvPr/>
          </p:nvSpPr>
          <p:spPr>
            <a:xfrm>
              <a:off x="5374002" y="2505938"/>
              <a:ext cx="67021" cy="67021"/>
            </a:xfrm>
            <a:custGeom>
              <a:avLst/>
              <a:gdLst/>
              <a:ahLst/>
              <a:cxnLst/>
              <a:rect l="0" t="0" r="0" b="0"/>
              <a:pathLst>
                <a:path w="67056" h="67056">
                  <a:moveTo>
                    <a:pt x="7493" y="67056"/>
                  </a:moveTo>
                  <a:lnTo>
                    <a:pt x="0" y="61723"/>
                  </a:lnTo>
                  <a:lnTo>
                    <a:pt x="59563" y="0"/>
                  </a:lnTo>
                  <a:lnTo>
                    <a:pt x="67056" y="5335"/>
                  </a:lnTo>
                  <a:lnTo>
                    <a:pt x="7493" y="67056"/>
                  </a:lnTo>
                  <a:close/>
                  <a:moveTo>
                    <a:pt x="-1088135" y="4352544"/>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74" name="Freeform 1374"/>
            <p:cNvSpPr/>
            <p:nvPr/>
          </p:nvSpPr>
          <p:spPr>
            <a:xfrm>
              <a:off x="5532416" y="2572959"/>
              <a:ext cx="63975" cy="54836"/>
            </a:xfrm>
            <a:custGeom>
              <a:avLst/>
              <a:gdLst/>
              <a:ahLst/>
              <a:cxnLst/>
              <a:rect l="0" t="0" r="0" b="0"/>
              <a:pathLst>
                <a:path w="64008" h="54865">
                  <a:moveTo>
                    <a:pt x="32003" y="54865"/>
                  </a:moveTo>
                  <a:lnTo>
                    <a:pt x="32003" y="54865"/>
                  </a:lnTo>
                  <a:lnTo>
                    <a:pt x="25781" y="53975"/>
                  </a:lnTo>
                  <a:lnTo>
                    <a:pt x="19558" y="53086"/>
                  </a:lnTo>
                  <a:lnTo>
                    <a:pt x="13462" y="50547"/>
                  </a:lnTo>
                  <a:lnTo>
                    <a:pt x="9270" y="46991"/>
                  </a:lnTo>
                  <a:lnTo>
                    <a:pt x="5207" y="42673"/>
                  </a:lnTo>
                  <a:lnTo>
                    <a:pt x="2032" y="38354"/>
                  </a:lnTo>
                  <a:lnTo>
                    <a:pt x="0" y="33148"/>
                  </a:lnTo>
                  <a:lnTo>
                    <a:pt x="0" y="27813"/>
                  </a:lnTo>
                  <a:lnTo>
                    <a:pt x="0" y="21717"/>
                  </a:lnTo>
                  <a:lnTo>
                    <a:pt x="2032" y="17399"/>
                  </a:lnTo>
                  <a:lnTo>
                    <a:pt x="5207" y="12192"/>
                  </a:lnTo>
                  <a:lnTo>
                    <a:pt x="9270" y="8763"/>
                  </a:lnTo>
                  <a:lnTo>
                    <a:pt x="13462" y="5208"/>
                  </a:lnTo>
                  <a:lnTo>
                    <a:pt x="19558" y="2667"/>
                  </a:lnTo>
                  <a:lnTo>
                    <a:pt x="25781" y="890"/>
                  </a:lnTo>
                  <a:lnTo>
                    <a:pt x="32003" y="0"/>
                  </a:lnTo>
                  <a:lnTo>
                    <a:pt x="38226" y="890"/>
                  </a:lnTo>
                  <a:lnTo>
                    <a:pt x="44450" y="2667"/>
                  </a:lnTo>
                  <a:lnTo>
                    <a:pt x="49530" y="5208"/>
                  </a:lnTo>
                  <a:lnTo>
                    <a:pt x="54737" y="8763"/>
                  </a:lnTo>
                  <a:lnTo>
                    <a:pt x="58801" y="12192"/>
                  </a:lnTo>
                  <a:lnTo>
                    <a:pt x="61976" y="17399"/>
                  </a:lnTo>
                  <a:lnTo>
                    <a:pt x="62991" y="21717"/>
                  </a:lnTo>
                  <a:lnTo>
                    <a:pt x="64008" y="27813"/>
                  </a:lnTo>
                  <a:lnTo>
                    <a:pt x="62991" y="33148"/>
                  </a:lnTo>
                  <a:lnTo>
                    <a:pt x="61976" y="38354"/>
                  </a:lnTo>
                  <a:lnTo>
                    <a:pt x="58801" y="42673"/>
                  </a:lnTo>
                  <a:lnTo>
                    <a:pt x="54737" y="46991"/>
                  </a:lnTo>
                  <a:lnTo>
                    <a:pt x="49530" y="50547"/>
                  </a:lnTo>
                  <a:lnTo>
                    <a:pt x="44450" y="53086"/>
                  </a:lnTo>
                  <a:lnTo>
                    <a:pt x="38226" y="53975"/>
                  </a:lnTo>
                  <a:lnTo>
                    <a:pt x="32003" y="54865"/>
                  </a:lnTo>
                  <a:close/>
                  <a:moveTo>
                    <a:pt x="-1301497" y="4285488"/>
                  </a:moveTo>
                  <a:moveTo>
                    <a:pt x="32003" y="7874"/>
                  </a:moveTo>
                  <a:lnTo>
                    <a:pt x="32003" y="7874"/>
                  </a:lnTo>
                  <a:lnTo>
                    <a:pt x="26796" y="8763"/>
                  </a:lnTo>
                  <a:lnTo>
                    <a:pt x="22733" y="9525"/>
                  </a:lnTo>
                  <a:lnTo>
                    <a:pt x="18541" y="11304"/>
                  </a:lnTo>
                  <a:lnTo>
                    <a:pt x="15494" y="13971"/>
                  </a:lnTo>
                  <a:lnTo>
                    <a:pt x="12445" y="16510"/>
                  </a:lnTo>
                  <a:lnTo>
                    <a:pt x="10287" y="20067"/>
                  </a:lnTo>
                  <a:lnTo>
                    <a:pt x="9270" y="23496"/>
                  </a:lnTo>
                  <a:lnTo>
                    <a:pt x="9270" y="27813"/>
                  </a:lnTo>
                  <a:lnTo>
                    <a:pt x="9270" y="31369"/>
                  </a:lnTo>
                  <a:lnTo>
                    <a:pt x="10287" y="34798"/>
                  </a:lnTo>
                  <a:lnTo>
                    <a:pt x="12445" y="38354"/>
                  </a:lnTo>
                  <a:lnTo>
                    <a:pt x="15494" y="41784"/>
                  </a:lnTo>
                  <a:lnTo>
                    <a:pt x="18541" y="43561"/>
                  </a:lnTo>
                  <a:lnTo>
                    <a:pt x="22733" y="45340"/>
                  </a:lnTo>
                  <a:lnTo>
                    <a:pt x="26796" y="46991"/>
                  </a:lnTo>
                  <a:lnTo>
                    <a:pt x="32003" y="46991"/>
                  </a:lnTo>
                  <a:lnTo>
                    <a:pt x="36195" y="46991"/>
                  </a:lnTo>
                  <a:lnTo>
                    <a:pt x="41275" y="45340"/>
                  </a:lnTo>
                  <a:lnTo>
                    <a:pt x="44450" y="43561"/>
                  </a:lnTo>
                  <a:lnTo>
                    <a:pt x="48514" y="41784"/>
                  </a:lnTo>
                  <a:lnTo>
                    <a:pt x="50545" y="38354"/>
                  </a:lnTo>
                  <a:lnTo>
                    <a:pt x="52705" y="34798"/>
                  </a:lnTo>
                  <a:lnTo>
                    <a:pt x="54737" y="31369"/>
                  </a:lnTo>
                  <a:lnTo>
                    <a:pt x="54737" y="27813"/>
                  </a:lnTo>
                  <a:lnTo>
                    <a:pt x="54737" y="23496"/>
                  </a:lnTo>
                  <a:lnTo>
                    <a:pt x="52705" y="20067"/>
                  </a:lnTo>
                  <a:lnTo>
                    <a:pt x="50545" y="16510"/>
                  </a:lnTo>
                  <a:lnTo>
                    <a:pt x="48514" y="13971"/>
                  </a:lnTo>
                  <a:lnTo>
                    <a:pt x="44450" y="11304"/>
                  </a:lnTo>
                  <a:lnTo>
                    <a:pt x="41275" y="9525"/>
                  </a:lnTo>
                  <a:lnTo>
                    <a:pt x="36195" y="8763"/>
                  </a:lnTo>
                  <a:lnTo>
                    <a:pt x="32003" y="7874"/>
                  </a:lnTo>
                  <a:close/>
                  <a:moveTo>
                    <a:pt x="-1254506" y="4285488"/>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75" name="Freeform 1375"/>
            <p:cNvSpPr/>
            <p:nvPr/>
          </p:nvSpPr>
          <p:spPr>
            <a:xfrm>
              <a:off x="5508044" y="2512032"/>
              <a:ext cx="48743" cy="73113"/>
            </a:xfrm>
            <a:custGeom>
              <a:avLst/>
              <a:gdLst/>
              <a:ahLst/>
              <a:cxnLst/>
              <a:rect l="0" t="0" r="0" b="0"/>
              <a:pathLst>
                <a:path w="48768" h="73151">
                  <a:moveTo>
                    <a:pt x="40768" y="73151"/>
                  </a:moveTo>
                  <a:lnTo>
                    <a:pt x="0" y="3556"/>
                  </a:lnTo>
                  <a:lnTo>
                    <a:pt x="8001" y="0"/>
                  </a:lnTo>
                  <a:lnTo>
                    <a:pt x="48768" y="69595"/>
                  </a:lnTo>
                  <a:lnTo>
                    <a:pt x="40768" y="73151"/>
                  </a:lnTo>
                  <a:close/>
                  <a:moveTo>
                    <a:pt x="-1234439" y="4346447"/>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pic>
          <p:nvPicPr>
            <p:cNvPr id="1394" name="Picture 1394"/>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5775621" y="2476489"/>
              <a:ext cx="290170" cy="570187"/>
            </a:xfrm>
            <a:prstGeom prst="rect">
              <a:avLst/>
            </a:prstGeom>
            <a:noFill/>
          </p:spPr>
        </p:pic>
        <p:pic>
          <p:nvPicPr>
            <p:cNvPr id="1395" name="Picture 1395"/>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a:xfrm>
              <a:off x="5962974" y="1781906"/>
              <a:ext cx="186466" cy="1263372"/>
            </a:xfrm>
            <a:prstGeom prst="rect">
              <a:avLst/>
            </a:prstGeom>
            <a:noFill/>
          </p:spPr>
        </p:pic>
        <p:pic>
          <p:nvPicPr>
            <p:cNvPr id="1442" name="Picture 1442"/>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a:xfrm>
              <a:off x="5873106" y="1781906"/>
              <a:ext cx="190654" cy="1263372"/>
            </a:xfrm>
            <a:prstGeom prst="rect">
              <a:avLst/>
            </a:prstGeom>
            <a:noFill/>
          </p:spPr>
        </p:pic>
        <p:pic>
          <p:nvPicPr>
            <p:cNvPr id="1443" name="Picture 1443"/>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a:xfrm>
              <a:off x="5962974" y="2476489"/>
              <a:ext cx="301722" cy="570187"/>
            </a:xfrm>
            <a:prstGeom prst="rect">
              <a:avLst/>
            </a:prstGeom>
            <a:noFill/>
          </p:spPr>
        </p:pic>
        <p:sp>
          <p:nvSpPr>
            <p:cNvPr id="1444" name="Freeform 1444"/>
            <p:cNvSpPr/>
            <p:nvPr/>
          </p:nvSpPr>
          <p:spPr>
            <a:xfrm>
              <a:off x="6388458" y="2268318"/>
              <a:ext cx="316827" cy="228481"/>
            </a:xfrm>
            <a:custGeom>
              <a:avLst/>
              <a:gdLst/>
              <a:ahLst/>
              <a:cxnLst/>
              <a:rect l="0" t="0" r="0" b="0"/>
              <a:pathLst>
                <a:path w="316992" h="228600">
                  <a:moveTo>
                    <a:pt x="316992" y="228473"/>
                  </a:moveTo>
                  <a:cubicBezTo>
                    <a:pt x="237109" y="228600"/>
                    <a:pt x="237109" y="228600"/>
                    <a:pt x="237109" y="228600"/>
                  </a:cubicBezTo>
                  <a:cubicBezTo>
                    <a:pt x="224282" y="206629"/>
                    <a:pt x="205485" y="196723"/>
                    <a:pt x="180594" y="196850"/>
                  </a:cubicBezTo>
                  <a:cubicBezTo>
                    <a:pt x="166497" y="196850"/>
                    <a:pt x="152273" y="196342"/>
                    <a:pt x="138175" y="196978"/>
                  </a:cubicBezTo>
                  <a:cubicBezTo>
                    <a:pt x="125730" y="197485"/>
                    <a:pt x="114299" y="195708"/>
                    <a:pt x="103251" y="189611"/>
                  </a:cubicBezTo>
                  <a:cubicBezTo>
                    <a:pt x="98170" y="186691"/>
                    <a:pt x="92328" y="185674"/>
                    <a:pt x="86740" y="184404"/>
                  </a:cubicBezTo>
                  <a:cubicBezTo>
                    <a:pt x="73025" y="181356"/>
                    <a:pt x="59563" y="177166"/>
                    <a:pt x="45846" y="173610"/>
                  </a:cubicBezTo>
                  <a:cubicBezTo>
                    <a:pt x="26415" y="168910"/>
                    <a:pt x="21844" y="166117"/>
                    <a:pt x="7620" y="160529"/>
                  </a:cubicBezTo>
                  <a:cubicBezTo>
                    <a:pt x="5207" y="159512"/>
                    <a:pt x="2413" y="160402"/>
                    <a:pt x="1270" y="157480"/>
                  </a:cubicBezTo>
                  <a:cubicBezTo>
                    <a:pt x="126" y="154686"/>
                    <a:pt x="0" y="151766"/>
                    <a:pt x="2032" y="149353"/>
                  </a:cubicBezTo>
                  <a:cubicBezTo>
                    <a:pt x="5461" y="145288"/>
                    <a:pt x="9017" y="143256"/>
                    <a:pt x="15239" y="143510"/>
                  </a:cubicBezTo>
                  <a:cubicBezTo>
                    <a:pt x="15620" y="143765"/>
                    <a:pt x="16256" y="143765"/>
                    <a:pt x="16637" y="143384"/>
                  </a:cubicBezTo>
                  <a:cubicBezTo>
                    <a:pt x="27686" y="137160"/>
                    <a:pt x="27686" y="141479"/>
                    <a:pt x="38988" y="142367"/>
                  </a:cubicBezTo>
                  <a:cubicBezTo>
                    <a:pt x="70865" y="146431"/>
                    <a:pt x="70865" y="146431"/>
                    <a:pt x="70865" y="146431"/>
                  </a:cubicBezTo>
                  <a:cubicBezTo>
                    <a:pt x="76581" y="146050"/>
                    <a:pt x="118872" y="156337"/>
                    <a:pt x="121158" y="151511"/>
                  </a:cubicBezTo>
                  <a:cubicBezTo>
                    <a:pt x="108203" y="151511"/>
                    <a:pt x="92963" y="141224"/>
                    <a:pt x="94869" y="138685"/>
                  </a:cubicBezTo>
                  <a:cubicBezTo>
                    <a:pt x="98044" y="134367"/>
                    <a:pt x="102743" y="132335"/>
                    <a:pt x="108331" y="132461"/>
                  </a:cubicBezTo>
                  <a:cubicBezTo>
                    <a:pt x="121411" y="132461"/>
                    <a:pt x="134238" y="132842"/>
                    <a:pt x="146938" y="136779"/>
                  </a:cubicBezTo>
                  <a:cubicBezTo>
                    <a:pt x="153543" y="138685"/>
                    <a:pt x="160400" y="138938"/>
                    <a:pt x="167259" y="137796"/>
                  </a:cubicBezTo>
                  <a:cubicBezTo>
                    <a:pt x="166877" y="135002"/>
                    <a:pt x="166370" y="132080"/>
                    <a:pt x="165735" y="129160"/>
                  </a:cubicBezTo>
                  <a:cubicBezTo>
                    <a:pt x="164719" y="123953"/>
                    <a:pt x="163195" y="118873"/>
                    <a:pt x="161671" y="113411"/>
                  </a:cubicBezTo>
                  <a:cubicBezTo>
                    <a:pt x="159765" y="108331"/>
                    <a:pt x="157987" y="103124"/>
                    <a:pt x="155574" y="97917"/>
                  </a:cubicBezTo>
                  <a:cubicBezTo>
                    <a:pt x="154432" y="95378"/>
                    <a:pt x="153161" y="92965"/>
                    <a:pt x="151764" y="90424"/>
                  </a:cubicBezTo>
                  <a:cubicBezTo>
                    <a:pt x="150368" y="88138"/>
                    <a:pt x="148971" y="85725"/>
                    <a:pt x="147447" y="83312"/>
                  </a:cubicBezTo>
                  <a:cubicBezTo>
                    <a:pt x="146049" y="81027"/>
                    <a:pt x="144272" y="78867"/>
                    <a:pt x="142748" y="76709"/>
                  </a:cubicBezTo>
                  <a:cubicBezTo>
                    <a:pt x="141097" y="74549"/>
                    <a:pt x="139319" y="72517"/>
                    <a:pt x="137668" y="70485"/>
                  </a:cubicBezTo>
                  <a:cubicBezTo>
                    <a:pt x="135889" y="68708"/>
                    <a:pt x="134238" y="66675"/>
                    <a:pt x="132207" y="64898"/>
                  </a:cubicBezTo>
                  <a:cubicBezTo>
                    <a:pt x="130428" y="63247"/>
                    <a:pt x="128650" y="61468"/>
                    <a:pt x="126746" y="59944"/>
                  </a:cubicBezTo>
                  <a:cubicBezTo>
                    <a:pt x="123062" y="56897"/>
                    <a:pt x="119380" y="54103"/>
                    <a:pt x="115823" y="51817"/>
                  </a:cubicBezTo>
                  <a:cubicBezTo>
                    <a:pt x="113919" y="50800"/>
                    <a:pt x="112268" y="49658"/>
                    <a:pt x="110617" y="48642"/>
                  </a:cubicBezTo>
                  <a:cubicBezTo>
                    <a:pt x="108838" y="47753"/>
                    <a:pt x="107314" y="46863"/>
                    <a:pt x="105790" y="46102"/>
                  </a:cubicBezTo>
                  <a:cubicBezTo>
                    <a:pt x="102615" y="44578"/>
                    <a:pt x="99821" y="43435"/>
                    <a:pt x="97663" y="42292"/>
                  </a:cubicBezTo>
                  <a:cubicBezTo>
                    <a:pt x="92963" y="40513"/>
                    <a:pt x="90296" y="39498"/>
                    <a:pt x="90296" y="39498"/>
                  </a:cubicBezTo>
                  <a:cubicBezTo>
                    <a:pt x="90296" y="39498"/>
                    <a:pt x="93090" y="40386"/>
                    <a:pt x="97789" y="41910"/>
                  </a:cubicBezTo>
                  <a:cubicBezTo>
                    <a:pt x="99949" y="42799"/>
                    <a:pt x="102870" y="43816"/>
                    <a:pt x="106045" y="45340"/>
                  </a:cubicBezTo>
                  <a:cubicBezTo>
                    <a:pt x="107569" y="46102"/>
                    <a:pt x="109346" y="46863"/>
                    <a:pt x="111125" y="47753"/>
                  </a:cubicBezTo>
                  <a:cubicBezTo>
                    <a:pt x="112902" y="48642"/>
                    <a:pt x="114681" y="49658"/>
                    <a:pt x="116459" y="50673"/>
                  </a:cubicBezTo>
                  <a:cubicBezTo>
                    <a:pt x="120142" y="52833"/>
                    <a:pt x="124078" y="55373"/>
                    <a:pt x="128143" y="58421"/>
                  </a:cubicBezTo>
                  <a:cubicBezTo>
                    <a:pt x="130048" y="59817"/>
                    <a:pt x="131952" y="61468"/>
                    <a:pt x="133858" y="63119"/>
                  </a:cubicBezTo>
                  <a:cubicBezTo>
                    <a:pt x="135889" y="64771"/>
                    <a:pt x="137795" y="66675"/>
                    <a:pt x="139699" y="68580"/>
                  </a:cubicBezTo>
                  <a:cubicBezTo>
                    <a:pt x="141477" y="70612"/>
                    <a:pt x="143510" y="72517"/>
                    <a:pt x="145287" y="74677"/>
                  </a:cubicBezTo>
                  <a:cubicBezTo>
                    <a:pt x="146938" y="76835"/>
                    <a:pt x="148844" y="78867"/>
                    <a:pt x="150368" y="81280"/>
                  </a:cubicBezTo>
                  <a:cubicBezTo>
                    <a:pt x="152019" y="83693"/>
                    <a:pt x="153670" y="85979"/>
                    <a:pt x="155194" y="88519"/>
                  </a:cubicBezTo>
                  <a:cubicBezTo>
                    <a:pt x="156718" y="90805"/>
                    <a:pt x="158114" y="93473"/>
                    <a:pt x="159511" y="96012"/>
                  </a:cubicBezTo>
                  <a:cubicBezTo>
                    <a:pt x="162306" y="101092"/>
                    <a:pt x="164464" y="106427"/>
                    <a:pt x="166623" y="111760"/>
                  </a:cubicBezTo>
                  <a:cubicBezTo>
                    <a:pt x="168401" y="117094"/>
                    <a:pt x="170180" y="122429"/>
                    <a:pt x="171576" y="127762"/>
                  </a:cubicBezTo>
                  <a:cubicBezTo>
                    <a:pt x="172465" y="130684"/>
                    <a:pt x="172847" y="133350"/>
                    <a:pt x="173355" y="136272"/>
                  </a:cubicBezTo>
                  <a:cubicBezTo>
                    <a:pt x="174371" y="135763"/>
                    <a:pt x="175260" y="135636"/>
                    <a:pt x="176402" y="135255"/>
                  </a:cubicBezTo>
                  <a:cubicBezTo>
                    <a:pt x="192659" y="128779"/>
                    <a:pt x="210058" y="126492"/>
                    <a:pt x="225424" y="136525"/>
                  </a:cubicBezTo>
                  <a:cubicBezTo>
                    <a:pt x="244348" y="148844"/>
                    <a:pt x="262255" y="162687"/>
                    <a:pt x="275844" y="181356"/>
                  </a:cubicBezTo>
                  <a:cubicBezTo>
                    <a:pt x="291973" y="203073"/>
                    <a:pt x="299593" y="207899"/>
                    <a:pt x="316992" y="228473"/>
                  </a:cubicBezTo>
                  <a:close/>
                  <a:moveTo>
                    <a:pt x="-2026793" y="4590288"/>
                  </a:moveTo>
                  <a:moveTo>
                    <a:pt x="163195" y="91441"/>
                  </a:moveTo>
                  <a:cubicBezTo>
                    <a:pt x="162686" y="88647"/>
                    <a:pt x="162560" y="85344"/>
                    <a:pt x="162813" y="81788"/>
                  </a:cubicBezTo>
                  <a:cubicBezTo>
                    <a:pt x="163195" y="78486"/>
                    <a:pt x="163702" y="74930"/>
                    <a:pt x="164464" y="71374"/>
                  </a:cubicBezTo>
                  <a:cubicBezTo>
                    <a:pt x="166497" y="64517"/>
                    <a:pt x="169798" y="58040"/>
                    <a:pt x="173227" y="53213"/>
                  </a:cubicBezTo>
                  <a:cubicBezTo>
                    <a:pt x="175006" y="51054"/>
                    <a:pt x="176784" y="49149"/>
                    <a:pt x="178181" y="47879"/>
                  </a:cubicBezTo>
                  <a:cubicBezTo>
                    <a:pt x="178943" y="47244"/>
                    <a:pt x="179450" y="46736"/>
                    <a:pt x="179832" y="46483"/>
                  </a:cubicBezTo>
                  <a:cubicBezTo>
                    <a:pt x="180339" y="46229"/>
                    <a:pt x="180594" y="46102"/>
                    <a:pt x="180594" y="46102"/>
                  </a:cubicBezTo>
                  <a:cubicBezTo>
                    <a:pt x="180594" y="46102"/>
                    <a:pt x="180721" y="46229"/>
                    <a:pt x="180848" y="46736"/>
                  </a:cubicBezTo>
                  <a:cubicBezTo>
                    <a:pt x="180974" y="47117"/>
                    <a:pt x="181356" y="48006"/>
                    <a:pt x="181736" y="48768"/>
                  </a:cubicBezTo>
                  <a:cubicBezTo>
                    <a:pt x="182245" y="50673"/>
                    <a:pt x="182752" y="53086"/>
                    <a:pt x="183260" y="56008"/>
                  </a:cubicBezTo>
                  <a:cubicBezTo>
                    <a:pt x="183896" y="61723"/>
                    <a:pt x="183642" y="69088"/>
                    <a:pt x="181736" y="76073"/>
                  </a:cubicBezTo>
                  <a:cubicBezTo>
                    <a:pt x="180721" y="79503"/>
                    <a:pt x="179450" y="82804"/>
                    <a:pt x="177926" y="85979"/>
                  </a:cubicBezTo>
                  <a:cubicBezTo>
                    <a:pt x="176402" y="89028"/>
                    <a:pt x="174624" y="91822"/>
                    <a:pt x="172973" y="94235"/>
                  </a:cubicBezTo>
                  <a:cubicBezTo>
                    <a:pt x="171196" y="96393"/>
                    <a:pt x="169418" y="98298"/>
                    <a:pt x="168021" y="99568"/>
                  </a:cubicBezTo>
                  <a:cubicBezTo>
                    <a:pt x="167385" y="100204"/>
                    <a:pt x="166750" y="100711"/>
                    <a:pt x="166370" y="100966"/>
                  </a:cubicBezTo>
                  <a:cubicBezTo>
                    <a:pt x="165861" y="101219"/>
                    <a:pt x="165608" y="101600"/>
                    <a:pt x="165608" y="101600"/>
                  </a:cubicBezTo>
                  <a:cubicBezTo>
                    <a:pt x="165608" y="101600"/>
                    <a:pt x="165481" y="101219"/>
                    <a:pt x="165353" y="100711"/>
                  </a:cubicBezTo>
                  <a:cubicBezTo>
                    <a:pt x="165226" y="100330"/>
                    <a:pt x="164846" y="99442"/>
                    <a:pt x="164719" y="98679"/>
                  </a:cubicBezTo>
                  <a:cubicBezTo>
                    <a:pt x="164084" y="96774"/>
                    <a:pt x="163448" y="94361"/>
                    <a:pt x="163195" y="91441"/>
                  </a:cubicBezTo>
                  <a:close/>
                  <a:moveTo>
                    <a:pt x="-1889761" y="4590288"/>
                  </a:moveTo>
                  <a:moveTo>
                    <a:pt x="132969" y="52579"/>
                  </a:moveTo>
                  <a:cubicBezTo>
                    <a:pt x="133223" y="53594"/>
                    <a:pt x="133476" y="54229"/>
                    <a:pt x="133603" y="54610"/>
                  </a:cubicBezTo>
                  <a:cubicBezTo>
                    <a:pt x="133858" y="55246"/>
                    <a:pt x="134111" y="55499"/>
                    <a:pt x="134111" y="55499"/>
                  </a:cubicBezTo>
                  <a:cubicBezTo>
                    <a:pt x="134111" y="55499"/>
                    <a:pt x="134238" y="55373"/>
                    <a:pt x="134620" y="54992"/>
                  </a:cubicBezTo>
                  <a:cubicBezTo>
                    <a:pt x="135000" y="54610"/>
                    <a:pt x="135762" y="54229"/>
                    <a:pt x="136271" y="53594"/>
                  </a:cubicBezTo>
                  <a:cubicBezTo>
                    <a:pt x="137668" y="52324"/>
                    <a:pt x="139446" y="50547"/>
                    <a:pt x="141223" y="48134"/>
                  </a:cubicBezTo>
                  <a:cubicBezTo>
                    <a:pt x="143001" y="45721"/>
                    <a:pt x="144780" y="43054"/>
                    <a:pt x="146176" y="40005"/>
                  </a:cubicBezTo>
                  <a:cubicBezTo>
                    <a:pt x="147700" y="36958"/>
                    <a:pt x="148971" y="33402"/>
                    <a:pt x="149986" y="29973"/>
                  </a:cubicBezTo>
                  <a:cubicBezTo>
                    <a:pt x="151892" y="22987"/>
                    <a:pt x="152273" y="15875"/>
                    <a:pt x="151510" y="10034"/>
                  </a:cubicBezTo>
                  <a:cubicBezTo>
                    <a:pt x="151130" y="7112"/>
                    <a:pt x="150495" y="4573"/>
                    <a:pt x="149986" y="2794"/>
                  </a:cubicBezTo>
                  <a:cubicBezTo>
                    <a:pt x="149733" y="1905"/>
                    <a:pt x="149478" y="1271"/>
                    <a:pt x="149224" y="635"/>
                  </a:cubicBezTo>
                  <a:cubicBezTo>
                    <a:pt x="148971" y="254"/>
                    <a:pt x="148844" y="0"/>
                    <a:pt x="148844" y="0"/>
                  </a:cubicBezTo>
                  <a:cubicBezTo>
                    <a:pt x="148844" y="0"/>
                    <a:pt x="148717" y="128"/>
                    <a:pt x="148209" y="381"/>
                  </a:cubicBezTo>
                  <a:cubicBezTo>
                    <a:pt x="147955" y="890"/>
                    <a:pt x="147193" y="1271"/>
                    <a:pt x="146558" y="1905"/>
                  </a:cubicBezTo>
                  <a:cubicBezTo>
                    <a:pt x="145160" y="3175"/>
                    <a:pt x="143383" y="4954"/>
                    <a:pt x="141732" y="7367"/>
                  </a:cubicBezTo>
                  <a:cubicBezTo>
                    <a:pt x="138048" y="11938"/>
                    <a:pt x="134747" y="18416"/>
                    <a:pt x="132969" y="25400"/>
                  </a:cubicBezTo>
                  <a:cubicBezTo>
                    <a:pt x="131952" y="28829"/>
                    <a:pt x="131445" y="32512"/>
                    <a:pt x="131190" y="35942"/>
                  </a:cubicBezTo>
                  <a:cubicBezTo>
                    <a:pt x="130810" y="39243"/>
                    <a:pt x="131063" y="42546"/>
                    <a:pt x="131445" y="45467"/>
                  </a:cubicBezTo>
                  <a:cubicBezTo>
                    <a:pt x="131698" y="48387"/>
                    <a:pt x="132334" y="50928"/>
                    <a:pt x="132969" y="52579"/>
                  </a:cubicBezTo>
                  <a:close/>
                  <a:moveTo>
                    <a:pt x="-1850899" y="4590288"/>
                  </a:moveTo>
                  <a:moveTo>
                    <a:pt x="99440" y="104013"/>
                  </a:moveTo>
                  <a:cubicBezTo>
                    <a:pt x="98551" y="104394"/>
                    <a:pt x="98044" y="105029"/>
                    <a:pt x="97663" y="105284"/>
                  </a:cubicBezTo>
                  <a:cubicBezTo>
                    <a:pt x="97155" y="105665"/>
                    <a:pt x="96901" y="105792"/>
                    <a:pt x="96901" y="105792"/>
                  </a:cubicBezTo>
                  <a:cubicBezTo>
                    <a:pt x="96901" y="105792"/>
                    <a:pt x="97155" y="105918"/>
                    <a:pt x="97663" y="106299"/>
                  </a:cubicBezTo>
                  <a:cubicBezTo>
                    <a:pt x="98044" y="106554"/>
                    <a:pt x="98551" y="107061"/>
                    <a:pt x="99440" y="107442"/>
                  </a:cubicBezTo>
                  <a:cubicBezTo>
                    <a:pt x="100964" y="108585"/>
                    <a:pt x="103124" y="109855"/>
                    <a:pt x="105918" y="110998"/>
                  </a:cubicBezTo>
                  <a:cubicBezTo>
                    <a:pt x="111378" y="113158"/>
                    <a:pt x="118363" y="114681"/>
                    <a:pt x="125602" y="114554"/>
                  </a:cubicBezTo>
                  <a:cubicBezTo>
                    <a:pt x="129159" y="114554"/>
                    <a:pt x="132842" y="114173"/>
                    <a:pt x="136144" y="113411"/>
                  </a:cubicBezTo>
                  <a:cubicBezTo>
                    <a:pt x="139573" y="112904"/>
                    <a:pt x="142621" y="111887"/>
                    <a:pt x="145414" y="110872"/>
                  </a:cubicBezTo>
                  <a:cubicBezTo>
                    <a:pt x="148082" y="109729"/>
                    <a:pt x="150240" y="108459"/>
                    <a:pt x="151764" y="107316"/>
                  </a:cubicBezTo>
                  <a:cubicBezTo>
                    <a:pt x="152653" y="106935"/>
                    <a:pt x="153288" y="106427"/>
                    <a:pt x="153670" y="106173"/>
                  </a:cubicBezTo>
                  <a:cubicBezTo>
                    <a:pt x="154177" y="105792"/>
                    <a:pt x="154305" y="105665"/>
                    <a:pt x="154305" y="105665"/>
                  </a:cubicBezTo>
                  <a:cubicBezTo>
                    <a:pt x="154305" y="105665"/>
                    <a:pt x="154177" y="105410"/>
                    <a:pt x="153670" y="105156"/>
                  </a:cubicBezTo>
                  <a:cubicBezTo>
                    <a:pt x="153288" y="104903"/>
                    <a:pt x="152653" y="104267"/>
                    <a:pt x="151764" y="103886"/>
                  </a:cubicBezTo>
                  <a:cubicBezTo>
                    <a:pt x="150240" y="102871"/>
                    <a:pt x="148082" y="101728"/>
                    <a:pt x="145287" y="100585"/>
                  </a:cubicBezTo>
                  <a:cubicBezTo>
                    <a:pt x="142621" y="99442"/>
                    <a:pt x="139446" y="98425"/>
                    <a:pt x="136144" y="97791"/>
                  </a:cubicBezTo>
                  <a:cubicBezTo>
                    <a:pt x="132842" y="97283"/>
                    <a:pt x="129159" y="96774"/>
                    <a:pt x="125602" y="96774"/>
                  </a:cubicBezTo>
                  <a:cubicBezTo>
                    <a:pt x="118363" y="96774"/>
                    <a:pt x="111251" y="98298"/>
                    <a:pt x="105918" y="100711"/>
                  </a:cubicBezTo>
                  <a:cubicBezTo>
                    <a:pt x="103124" y="101854"/>
                    <a:pt x="100964" y="103124"/>
                    <a:pt x="99440" y="104013"/>
                  </a:cubicBezTo>
                  <a:close/>
                  <a:moveTo>
                    <a:pt x="-1902333" y="4590288"/>
                  </a:moveTo>
                  <a:moveTo>
                    <a:pt x="69342" y="70104"/>
                  </a:moveTo>
                  <a:cubicBezTo>
                    <a:pt x="70993" y="70867"/>
                    <a:pt x="73406" y="72010"/>
                    <a:pt x="76200" y="72772"/>
                  </a:cubicBezTo>
                  <a:cubicBezTo>
                    <a:pt x="81661" y="74677"/>
                    <a:pt x="89026" y="75438"/>
                    <a:pt x="96138" y="74804"/>
                  </a:cubicBezTo>
                  <a:cubicBezTo>
                    <a:pt x="99695" y="74549"/>
                    <a:pt x="103251" y="73787"/>
                    <a:pt x="106552" y="72772"/>
                  </a:cubicBezTo>
                  <a:cubicBezTo>
                    <a:pt x="109855" y="71883"/>
                    <a:pt x="112902" y="70612"/>
                    <a:pt x="115443" y="69342"/>
                  </a:cubicBezTo>
                  <a:cubicBezTo>
                    <a:pt x="118110" y="67946"/>
                    <a:pt x="120142" y="66548"/>
                    <a:pt x="121538" y="65533"/>
                  </a:cubicBezTo>
                  <a:cubicBezTo>
                    <a:pt x="122427" y="64898"/>
                    <a:pt x="122935" y="64390"/>
                    <a:pt x="123444" y="64009"/>
                  </a:cubicBezTo>
                  <a:cubicBezTo>
                    <a:pt x="123824" y="63628"/>
                    <a:pt x="123951" y="63373"/>
                    <a:pt x="123951" y="63373"/>
                  </a:cubicBezTo>
                  <a:cubicBezTo>
                    <a:pt x="123951" y="63373"/>
                    <a:pt x="123698" y="63247"/>
                    <a:pt x="123189" y="62992"/>
                  </a:cubicBezTo>
                  <a:cubicBezTo>
                    <a:pt x="122809" y="62738"/>
                    <a:pt x="122173" y="62230"/>
                    <a:pt x="121285" y="61849"/>
                  </a:cubicBezTo>
                  <a:cubicBezTo>
                    <a:pt x="119634" y="61087"/>
                    <a:pt x="117348" y="60072"/>
                    <a:pt x="114553" y="59055"/>
                  </a:cubicBezTo>
                  <a:cubicBezTo>
                    <a:pt x="111759" y="58293"/>
                    <a:pt x="108584" y="57531"/>
                    <a:pt x="105282" y="57278"/>
                  </a:cubicBezTo>
                  <a:cubicBezTo>
                    <a:pt x="101726" y="56897"/>
                    <a:pt x="98170" y="56897"/>
                    <a:pt x="94614" y="57150"/>
                  </a:cubicBezTo>
                  <a:cubicBezTo>
                    <a:pt x="87502" y="57659"/>
                    <a:pt x="80518" y="59944"/>
                    <a:pt x="75311" y="62611"/>
                  </a:cubicBezTo>
                  <a:cubicBezTo>
                    <a:pt x="72644" y="64009"/>
                    <a:pt x="70612" y="65279"/>
                    <a:pt x="69088" y="66422"/>
                  </a:cubicBezTo>
                  <a:cubicBezTo>
                    <a:pt x="68452" y="67056"/>
                    <a:pt x="67818" y="67565"/>
                    <a:pt x="67437" y="67818"/>
                  </a:cubicBezTo>
                  <a:cubicBezTo>
                    <a:pt x="67056" y="68199"/>
                    <a:pt x="66801" y="68580"/>
                    <a:pt x="66801" y="68580"/>
                  </a:cubicBezTo>
                  <a:cubicBezTo>
                    <a:pt x="66801" y="68580"/>
                    <a:pt x="67056" y="68708"/>
                    <a:pt x="67437" y="68961"/>
                  </a:cubicBezTo>
                  <a:cubicBezTo>
                    <a:pt x="67945" y="69216"/>
                    <a:pt x="68580" y="69597"/>
                    <a:pt x="69342" y="70104"/>
                  </a:cubicBezTo>
                  <a:close/>
                  <a:moveTo>
                    <a:pt x="-1868424" y="4590288"/>
                  </a:moveTo>
                </a:path>
              </a:pathLst>
            </a:custGeom>
            <a:solidFill>
              <a:srgbClr val="97979C">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45" name="Freeform 1445"/>
            <p:cNvSpPr/>
            <p:nvPr/>
          </p:nvSpPr>
          <p:spPr>
            <a:xfrm>
              <a:off x="6309251" y="2460241"/>
              <a:ext cx="478287" cy="213250"/>
            </a:xfrm>
            <a:custGeom>
              <a:avLst/>
              <a:gdLst/>
              <a:ahLst/>
              <a:cxnLst/>
              <a:rect l="0" t="0" r="0" b="0"/>
              <a:pathLst>
                <a:path w="478536" h="213361">
                  <a:moveTo>
                    <a:pt x="434468" y="181864"/>
                  </a:moveTo>
                  <a:lnTo>
                    <a:pt x="443993" y="157480"/>
                  </a:lnTo>
                  <a:lnTo>
                    <a:pt x="426212" y="159131"/>
                  </a:lnTo>
                  <a:lnTo>
                    <a:pt x="31877" y="159131"/>
                  </a:lnTo>
                  <a:lnTo>
                    <a:pt x="31750" y="178943"/>
                  </a:lnTo>
                  <a:lnTo>
                    <a:pt x="22225" y="175768"/>
                  </a:lnTo>
                  <a:lnTo>
                    <a:pt x="17526" y="174499"/>
                  </a:lnTo>
                  <a:lnTo>
                    <a:pt x="12827" y="173482"/>
                  </a:lnTo>
                  <a:lnTo>
                    <a:pt x="13336" y="138811"/>
                  </a:lnTo>
                  <a:lnTo>
                    <a:pt x="425705" y="138811"/>
                  </a:lnTo>
                  <a:lnTo>
                    <a:pt x="473202" y="134748"/>
                  </a:lnTo>
                  <a:lnTo>
                    <a:pt x="457582" y="175134"/>
                  </a:lnTo>
                  <a:lnTo>
                    <a:pt x="452374" y="176530"/>
                  </a:lnTo>
                  <a:lnTo>
                    <a:pt x="446913" y="178055"/>
                  </a:lnTo>
                  <a:lnTo>
                    <a:pt x="440818" y="179832"/>
                  </a:lnTo>
                  <a:lnTo>
                    <a:pt x="434468" y="181864"/>
                  </a:lnTo>
                  <a:close/>
                  <a:moveTo>
                    <a:pt x="-2092959" y="4398264"/>
                  </a:moveTo>
                  <a:moveTo>
                    <a:pt x="0" y="187072"/>
                  </a:moveTo>
                  <a:lnTo>
                    <a:pt x="0" y="187072"/>
                  </a:lnTo>
                  <a:lnTo>
                    <a:pt x="5207" y="187325"/>
                  </a:lnTo>
                  <a:lnTo>
                    <a:pt x="10161" y="188087"/>
                  </a:lnTo>
                  <a:lnTo>
                    <a:pt x="14860" y="189104"/>
                  </a:lnTo>
                  <a:lnTo>
                    <a:pt x="19812" y="190247"/>
                  </a:lnTo>
                  <a:lnTo>
                    <a:pt x="24638" y="191517"/>
                  </a:lnTo>
                  <a:lnTo>
                    <a:pt x="29337" y="192913"/>
                  </a:lnTo>
                  <a:lnTo>
                    <a:pt x="39370" y="195961"/>
                  </a:lnTo>
                  <a:lnTo>
                    <a:pt x="44958" y="198120"/>
                  </a:lnTo>
                  <a:lnTo>
                    <a:pt x="50419" y="199644"/>
                  </a:lnTo>
                  <a:lnTo>
                    <a:pt x="55754" y="200914"/>
                  </a:lnTo>
                  <a:lnTo>
                    <a:pt x="60706" y="201676"/>
                  </a:lnTo>
                  <a:lnTo>
                    <a:pt x="65660" y="202311"/>
                  </a:lnTo>
                  <a:lnTo>
                    <a:pt x="70486" y="202566"/>
                  </a:lnTo>
                  <a:lnTo>
                    <a:pt x="75057" y="202693"/>
                  </a:lnTo>
                  <a:lnTo>
                    <a:pt x="79883" y="202566"/>
                  </a:lnTo>
                  <a:lnTo>
                    <a:pt x="84456" y="202311"/>
                  </a:lnTo>
                  <a:lnTo>
                    <a:pt x="88774" y="201676"/>
                  </a:lnTo>
                  <a:lnTo>
                    <a:pt x="93092" y="201042"/>
                  </a:lnTo>
                  <a:lnTo>
                    <a:pt x="97282" y="200153"/>
                  </a:lnTo>
                  <a:lnTo>
                    <a:pt x="101600" y="199136"/>
                  </a:lnTo>
                  <a:lnTo>
                    <a:pt x="105664" y="198120"/>
                  </a:lnTo>
                  <a:lnTo>
                    <a:pt x="113919" y="195835"/>
                  </a:lnTo>
                  <a:lnTo>
                    <a:pt x="122048" y="193675"/>
                  </a:lnTo>
                  <a:lnTo>
                    <a:pt x="130302" y="191389"/>
                  </a:lnTo>
                  <a:lnTo>
                    <a:pt x="134494" y="190374"/>
                  </a:lnTo>
                  <a:lnTo>
                    <a:pt x="138431" y="189230"/>
                  </a:lnTo>
                  <a:lnTo>
                    <a:pt x="142621" y="188595"/>
                  </a:lnTo>
                  <a:lnTo>
                    <a:pt x="146812" y="187961"/>
                  </a:lnTo>
                  <a:lnTo>
                    <a:pt x="151131" y="187325"/>
                  </a:lnTo>
                  <a:lnTo>
                    <a:pt x="155575" y="187072"/>
                  </a:lnTo>
                  <a:lnTo>
                    <a:pt x="159894" y="187072"/>
                  </a:lnTo>
                  <a:lnTo>
                    <a:pt x="164466" y="187072"/>
                  </a:lnTo>
                  <a:lnTo>
                    <a:pt x="169037" y="187706"/>
                  </a:lnTo>
                  <a:lnTo>
                    <a:pt x="173863" y="188214"/>
                  </a:lnTo>
                  <a:lnTo>
                    <a:pt x="178817" y="189104"/>
                  </a:lnTo>
                  <a:lnTo>
                    <a:pt x="183516" y="190500"/>
                  </a:lnTo>
                  <a:lnTo>
                    <a:pt x="192025" y="193168"/>
                  </a:lnTo>
                  <a:lnTo>
                    <a:pt x="201042" y="195961"/>
                  </a:lnTo>
                  <a:lnTo>
                    <a:pt x="206630" y="198120"/>
                  </a:lnTo>
                  <a:lnTo>
                    <a:pt x="211963" y="199644"/>
                  </a:lnTo>
                  <a:lnTo>
                    <a:pt x="217171" y="200914"/>
                  </a:lnTo>
                  <a:lnTo>
                    <a:pt x="222377" y="201676"/>
                  </a:lnTo>
                  <a:lnTo>
                    <a:pt x="227331" y="202311"/>
                  </a:lnTo>
                  <a:lnTo>
                    <a:pt x="232157" y="202566"/>
                  </a:lnTo>
                  <a:lnTo>
                    <a:pt x="236856" y="202693"/>
                  </a:lnTo>
                  <a:lnTo>
                    <a:pt x="241427" y="202566"/>
                  </a:lnTo>
                  <a:lnTo>
                    <a:pt x="245872" y="202311"/>
                  </a:lnTo>
                  <a:lnTo>
                    <a:pt x="250191" y="201676"/>
                  </a:lnTo>
                  <a:lnTo>
                    <a:pt x="254762" y="201042"/>
                  </a:lnTo>
                  <a:lnTo>
                    <a:pt x="258954" y="200153"/>
                  </a:lnTo>
                  <a:lnTo>
                    <a:pt x="263145" y="199136"/>
                  </a:lnTo>
                  <a:lnTo>
                    <a:pt x="267462" y="198120"/>
                  </a:lnTo>
                  <a:lnTo>
                    <a:pt x="275591" y="195835"/>
                  </a:lnTo>
                  <a:lnTo>
                    <a:pt x="283719" y="193675"/>
                  </a:lnTo>
                  <a:lnTo>
                    <a:pt x="291847" y="191389"/>
                  </a:lnTo>
                  <a:lnTo>
                    <a:pt x="295910" y="190374"/>
                  </a:lnTo>
                  <a:lnTo>
                    <a:pt x="300229" y="189230"/>
                  </a:lnTo>
                  <a:lnTo>
                    <a:pt x="304293" y="188595"/>
                  </a:lnTo>
                  <a:lnTo>
                    <a:pt x="308484" y="187961"/>
                  </a:lnTo>
                  <a:lnTo>
                    <a:pt x="312801" y="187325"/>
                  </a:lnTo>
                  <a:lnTo>
                    <a:pt x="317247" y="187072"/>
                  </a:lnTo>
                  <a:lnTo>
                    <a:pt x="321564" y="187072"/>
                  </a:lnTo>
                  <a:lnTo>
                    <a:pt x="326009" y="187072"/>
                  </a:lnTo>
                  <a:lnTo>
                    <a:pt x="330709" y="187706"/>
                  </a:lnTo>
                  <a:lnTo>
                    <a:pt x="335281" y="188214"/>
                  </a:lnTo>
                  <a:lnTo>
                    <a:pt x="340234" y="189104"/>
                  </a:lnTo>
                  <a:lnTo>
                    <a:pt x="345313" y="190500"/>
                  </a:lnTo>
                  <a:lnTo>
                    <a:pt x="353822" y="193168"/>
                  </a:lnTo>
                  <a:lnTo>
                    <a:pt x="362585" y="195961"/>
                  </a:lnTo>
                  <a:lnTo>
                    <a:pt x="367538" y="197867"/>
                  </a:lnTo>
                  <a:lnTo>
                    <a:pt x="372237" y="199263"/>
                  </a:lnTo>
                  <a:lnTo>
                    <a:pt x="376683" y="200534"/>
                  </a:lnTo>
                  <a:lnTo>
                    <a:pt x="381255" y="201423"/>
                  </a:lnTo>
                  <a:lnTo>
                    <a:pt x="385446" y="202311"/>
                  </a:lnTo>
                  <a:lnTo>
                    <a:pt x="389383" y="202693"/>
                  </a:lnTo>
                  <a:lnTo>
                    <a:pt x="393320" y="202947"/>
                  </a:lnTo>
                  <a:lnTo>
                    <a:pt x="397257" y="203200"/>
                  </a:lnTo>
                  <a:lnTo>
                    <a:pt x="400939" y="203200"/>
                  </a:lnTo>
                  <a:lnTo>
                    <a:pt x="404496" y="202693"/>
                  </a:lnTo>
                  <a:lnTo>
                    <a:pt x="408051" y="202438"/>
                  </a:lnTo>
                  <a:lnTo>
                    <a:pt x="411481" y="202185"/>
                  </a:lnTo>
                  <a:lnTo>
                    <a:pt x="414656" y="201423"/>
                  </a:lnTo>
                  <a:lnTo>
                    <a:pt x="418211" y="200661"/>
                  </a:lnTo>
                  <a:lnTo>
                    <a:pt x="424561" y="199010"/>
                  </a:lnTo>
                  <a:lnTo>
                    <a:pt x="430911" y="197105"/>
                  </a:lnTo>
                  <a:lnTo>
                    <a:pt x="437134" y="195073"/>
                  </a:lnTo>
                  <a:lnTo>
                    <a:pt x="443484" y="193168"/>
                  </a:lnTo>
                  <a:lnTo>
                    <a:pt x="449961" y="191262"/>
                  </a:lnTo>
                  <a:lnTo>
                    <a:pt x="456566" y="189485"/>
                  </a:lnTo>
                  <a:lnTo>
                    <a:pt x="459995" y="188849"/>
                  </a:lnTo>
                  <a:lnTo>
                    <a:pt x="463423" y="188087"/>
                  </a:lnTo>
                  <a:lnTo>
                    <a:pt x="466980" y="187706"/>
                  </a:lnTo>
                  <a:lnTo>
                    <a:pt x="470789" y="187199"/>
                  </a:lnTo>
                  <a:lnTo>
                    <a:pt x="474599" y="187072"/>
                  </a:lnTo>
                  <a:lnTo>
                    <a:pt x="478536" y="186944"/>
                  </a:lnTo>
                  <a:lnTo>
                    <a:pt x="478536" y="197105"/>
                  </a:lnTo>
                  <a:lnTo>
                    <a:pt x="474599" y="197105"/>
                  </a:lnTo>
                  <a:lnTo>
                    <a:pt x="470917" y="197231"/>
                  </a:lnTo>
                  <a:lnTo>
                    <a:pt x="467234" y="197867"/>
                  </a:lnTo>
                  <a:lnTo>
                    <a:pt x="463805" y="198248"/>
                  </a:lnTo>
                  <a:lnTo>
                    <a:pt x="460248" y="198882"/>
                  </a:lnTo>
                  <a:lnTo>
                    <a:pt x="457073" y="199644"/>
                  </a:lnTo>
                  <a:lnTo>
                    <a:pt x="450216" y="201423"/>
                  </a:lnTo>
                  <a:lnTo>
                    <a:pt x="443993" y="203328"/>
                  </a:lnTo>
                  <a:lnTo>
                    <a:pt x="437643" y="205486"/>
                  </a:lnTo>
                  <a:lnTo>
                    <a:pt x="431293" y="207518"/>
                  </a:lnTo>
                  <a:lnTo>
                    <a:pt x="424816" y="209297"/>
                  </a:lnTo>
                  <a:lnTo>
                    <a:pt x="418211" y="211074"/>
                  </a:lnTo>
                  <a:lnTo>
                    <a:pt x="414656" y="211710"/>
                  </a:lnTo>
                  <a:lnTo>
                    <a:pt x="411354" y="212472"/>
                  </a:lnTo>
                  <a:lnTo>
                    <a:pt x="407797" y="212725"/>
                  </a:lnTo>
                  <a:lnTo>
                    <a:pt x="403987" y="213234"/>
                  </a:lnTo>
                  <a:lnTo>
                    <a:pt x="400305" y="213361"/>
                  </a:lnTo>
                  <a:lnTo>
                    <a:pt x="396368" y="213361"/>
                  </a:lnTo>
                  <a:lnTo>
                    <a:pt x="392304" y="213234"/>
                  </a:lnTo>
                  <a:lnTo>
                    <a:pt x="388239" y="212725"/>
                  </a:lnTo>
                  <a:lnTo>
                    <a:pt x="383922" y="212344"/>
                  </a:lnTo>
                  <a:lnTo>
                    <a:pt x="379476" y="211455"/>
                  </a:lnTo>
                  <a:lnTo>
                    <a:pt x="374905" y="210312"/>
                  </a:lnTo>
                  <a:lnTo>
                    <a:pt x="369951" y="209169"/>
                  </a:lnTo>
                  <a:lnTo>
                    <a:pt x="364872" y="207645"/>
                  </a:lnTo>
                  <a:lnTo>
                    <a:pt x="359664" y="205741"/>
                  </a:lnTo>
                  <a:lnTo>
                    <a:pt x="347599" y="202057"/>
                  </a:lnTo>
                  <a:lnTo>
                    <a:pt x="342266" y="200534"/>
                  </a:lnTo>
                  <a:lnTo>
                    <a:pt x="337185" y="199136"/>
                  </a:lnTo>
                  <a:lnTo>
                    <a:pt x="332359" y="198248"/>
                  </a:lnTo>
                  <a:lnTo>
                    <a:pt x="327914" y="197359"/>
                  </a:lnTo>
                  <a:lnTo>
                    <a:pt x="323470" y="197105"/>
                  </a:lnTo>
                  <a:lnTo>
                    <a:pt x="319279" y="196850"/>
                  </a:lnTo>
                  <a:lnTo>
                    <a:pt x="314834" y="196850"/>
                  </a:lnTo>
                  <a:lnTo>
                    <a:pt x="310134" y="197359"/>
                  </a:lnTo>
                  <a:lnTo>
                    <a:pt x="305562" y="198120"/>
                  </a:lnTo>
                  <a:lnTo>
                    <a:pt x="300483" y="199136"/>
                  </a:lnTo>
                  <a:lnTo>
                    <a:pt x="295022" y="200534"/>
                  </a:lnTo>
                  <a:lnTo>
                    <a:pt x="288925" y="202185"/>
                  </a:lnTo>
                  <a:lnTo>
                    <a:pt x="282448" y="204217"/>
                  </a:lnTo>
                  <a:lnTo>
                    <a:pt x="275336" y="206630"/>
                  </a:lnTo>
                  <a:lnTo>
                    <a:pt x="269113" y="208407"/>
                  </a:lnTo>
                  <a:lnTo>
                    <a:pt x="263145" y="210059"/>
                  </a:lnTo>
                  <a:lnTo>
                    <a:pt x="257302" y="211329"/>
                  </a:lnTo>
                  <a:lnTo>
                    <a:pt x="251587" y="212218"/>
                  </a:lnTo>
                  <a:lnTo>
                    <a:pt x="246254" y="212725"/>
                  </a:lnTo>
                  <a:lnTo>
                    <a:pt x="241047" y="213106"/>
                  </a:lnTo>
                  <a:lnTo>
                    <a:pt x="235839" y="213234"/>
                  </a:lnTo>
                  <a:lnTo>
                    <a:pt x="231013" y="213106"/>
                  </a:lnTo>
                  <a:lnTo>
                    <a:pt x="226314" y="212599"/>
                  </a:lnTo>
                  <a:lnTo>
                    <a:pt x="221743" y="211963"/>
                  </a:lnTo>
                  <a:lnTo>
                    <a:pt x="217297" y="211329"/>
                  </a:lnTo>
                  <a:lnTo>
                    <a:pt x="213107" y="210312"/>
                  </a:lnTo>
                  <a:lnTo>
                    <a:pt x="209297" y="209297"/>
                  </a:lnTo>
                  <a:lnTo>
                    <a:pt x="205359" y="208154"/>
                  </a:lnTo>
                  <a:lnTo>
                    <a:pt x="201549" y="206884"/>
                  </a:lnTo>
                  <a:lnTo>
                    <a:pt x="197994" y="205741"/>
                  </a:lnTo>
                  <a:lnTo>
                    <a:pt x="185801" y="202057"/>
                  </a:lnTo>
                  <a:lnTo>
                    <a:pt x="180468" y="200534"/>
                  </a:lnTo>
                  <a:lnTo>
                    <a:pt x="175642" y="199136"/>
                  </a:lnTo>
                  <a:lnTo>
                    <a:pt x="170943" y="198248"/>
                  </a:lnTo>
                  <a:lnTo>
                    <a:pt x="166370" y="197359"/>
                  </a:lnTo>
                  <a:lnTo>
                    <a:pt x="162052" y="197105"/>
                  </a:lnTo>
                  <a:lnTo>
                    <a:pt x="157735" y="196850"/>
                  </a:lnTo>
                  <a:lnTo>
                    <a:pt x="153162" y="196850"/>
                  </a:lnTo>
                  <a:lnTo>
                    <a:pt x="148718" y="197359"/>
                  </a:lnTo>
                  <a:lnTo>
                    <a:pt x="143764" y="198120"/>
                  </a:lnTo>
                  <a:lnTo>
                    <a:pt x="138812" y="199136"/>
                  </a:lnTo>
                  <a:lnTo>
                    <a:pt x="133224" y="200534"/>
                  </a:lnTo>
                  <a:lnTo>
                    <a:pt x="127381" y="202185"/>
                  </a:lnTo>
                  <a:lnTo>
                    <a:pt x="120777" y="204217"/>
                  </a:lnTo>
                  <a:lnTo>
                    <a:pt x="113666" y="206630"/>
                  </a:lnTo>
                  <a:lnTo>
                    <a:pt x="107443" y="208407"/>
                  </a:lnTo>
                  <a:lnTo>
                    <a:pt x="101474" y="210059"/>
                  </a:lnTo>
                  <a:lnTo>
                    <a:pt x="95631" y="211329"/>
                  </a:lnTo>
                  <a:lnTo>
                    <a:pt x="90044" y="212218"/>
                  </a:lnTo>
                  <a:lnTo>
                    <a:pt x="84582" y="212725"/>
                  </a:lnTo>
                  <a:lnTo>
                    <a:pt x="79375" y="213106"/>
                  </a:lnTo>
                  <a:lnTo>
                    <a:pt x="74423" y="213234"/>
                  </a:lnTo>
                  <a:lnTo>
                    <a:pt x="69469" y="213106"/>
                  </a:lnTo>
                  <a:lnTo>
                    <a:pt x="64644" y="212599"/>
                  </a:lnTo>
                  <a:lnTo>
                    <a:pt x="60199" y="211963"/>
                  </a:lnTo>
                  <a:lnTo>
                    <a:pt x="55881" y="211329"/>
                  </a:lnTo>
                  <a:lnTo>
                    <a:pt x="51562" y="210312"/>
                  </a:lnTo>
                  <a:lnTo>
                    <a:pt x="47499" y="209297"/>
                  </a:lnTo>
                  <a:lnTo>
                    <a:pt x="43562" y="208154"/>
                  </a:lnTo>
                  <a:lnTo>
                    <a:pt x="40006" y="206884"/>
                  </a:lnTo>
                  <a:lnTo>
                    <a:pt x="36576" y="205741"/>
                  </a:lnTo>
                  <a:lnTo>
                    <a:pt x="27306" y="202693"/>
                  </a:lnTo>
                  <a:lnTo>
                    <a:pt x="22733" y="201423"/>
                  </a:lnTo>
                  <a:lnTo>
                    <a:pt x="18288" y="200153"/>
                  </a:lnTo>
                  <a:lnTo>
                    <a:pt x="13844" y="199136"/>
                  </a:lnTo>
                  <a:lnTo>
                    <a:pt x="9271" y="198248"/>
                  </a:lnTo>
                  <a:lnTo>
                    <a:pt x="4700" y="197612"/>
                  </a:lnTo>
                  <a:lnTo>
                    <a:pt x="0" y="197105"/>
                  </a:lnTo>
                  <a:lnTo>
                    <a:pt x="0" y="187072"/>
                  </a:lnTo>
                  <a:close/>
                  <a:moveTo>
                    <a:pt x="-2098167" y="4398264"/>
                  </a:moveTo>
                  <a:moveTo>
                    <a:pt x="21844" y="41530"/>
                  </a:moveTo>
                  <a:lnTo>
                    <a:pt x="18035" y="31369"/>
                  </a:lnTo>
                  <a:lnTo>
                    <a:pt x="29592" y="31369"/>
                  </a:lnTo>
                  <a:lnTo>
                    <a:pt x="29592" y="10161"/>
                  </a:lnTo>
                  <a:lnTo>
                    <a:pt x="50546" y="0"/>
                  </a:lnTo>
                  <a:lnTo>
                    <a:pt x="50546" y="31369"/>
                  </a:lnTo>
                  <a:lnTo>
                    <a:pt x="56007" y="31369"/>
                  </a:lnTo>
                  <a:lnTo>
                    <a:pt x="56007" y="12066"/>
                  </a:lnTo>
                  <a:lnTo>
                    <a:pt x="65532" y="12066"/>
                  </a:lnTo>
                  <a:lnTo>
                    <a:pt x="65532" y="31369"/>
                  </a:lnTo>
                  <a:lnTo>
                    <a:pt x="103379" y="31369"/>
                  </a:lnTo>
                  <a:lnTo>
                    <a:pt x="103125" y="41530"/>
                  </a:lnTo>
                  <a:lnTo>
                    <a:pt x="21844" y="41530"/>
                  </a:lnTo>
                  <a:close/>
                  <a:moveTo>
                    <a:pt x="-1952625" y="4398264"/>
                  </a:moveTo>
                  <a:moveTo>
                    <a:pt x="21844" y="129668"/>
                  </a:moveTo>
                  <a:lnTo>
                    <a:pt x="21844" y="122174"/>
                  </a:lnTo>
                  <a:lnTo>
                    <a:pt x="32386" y="119761"/>
                  </a:lnTo>
                  <a:lnTo>
                    <a:pt x="31624" y="68326"/>
                  </a:lnTo>
                  <a:lnTo>
                    <a:pt x="25400" y="51562"/>
                  </a:lnTo>
                  <a:lnTo>
                    <a:pt x="36323" y="51562"/>
                  </a:lnTo>
                  <a:lnTo>
                    <a:pt x="41275" y="66041"/>
                  </a:lnTo>
                  <a:lnTo>
                    <a:pt x="41783" y="117730"/>
                  </a:lnTo>
                  <a:lnTo>
                    <a:pt x="85091" y="108459"/>
                  </a:lnTo>
                  <a:lnTo>
                    <a:pt x="84710" y="65024"/>
                  </a:lnTo>
                  <a:lnTo>
                    <a:pt x="88138" y="61723"/>
                  </a:lnTo>
                  <a:lnTo>
                    <a:pt x="47880" y="61723"/>
                  </a:lnTo>
                  <a:lnTo>
                    <a:pt x="47880" y="51562"/>
                  </a:lnTo>
                  <a:lnTo>
                    <a:pt x="93092" y="51562"/>
                  </a:lnTo>
                  <a:lnTo>
                    <a:pt x="102744" y="51562"/>
                  </a:lnTo>
                  <a:lnTo>
                    <a:pt x="102362" y="61849"/>
                  </a:lnTo>
                  <a:lnTo>
                    <a:pt x="94235" y="69469"/>
                  </a:lnTo>
                  <a:lnTo>
                    <a:pt x="94869" y="129668"/>
                  </a:lnTo>
                  <a:lnTo>
                    <a:pt x="21844" y="129668"/>
                  </a:lnTo>
                  <a:close/>
                  <a:moveTo>
                    <a:pt x="-2040763" y="4398264"/>
                  </a:moveTo>
                </a:path>
              </a:pathLst>
            </a:custGeom>
            <a:solidFill>
              <a:srgbClr val="97979C">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26" name="Freeform 1526"/>
            <p:cNvSpPr/>
            <p:nvPr/>
          </p:nvSpPr>
          <p:spPr>
            <a:xfrm>
              <a:off x="4958165" y="1529563"/>
              <a:ext cx="2239114" cy="1669435"/>
            </a:xfrm>
            <a:custGeom>
              <a:avLst/>
              <a:gdLst/>
              <a:ahLst/>
              <a:cxnLst/>
              <a:rect l="0" t="0" r="0" b="0"/>
              <a:pathLst>
                <a:path w="2240280" h="1670304">
                  <a:moveTo>
                    <a:pt x="0" y="1670304"/>
                  </a:moveTo>
                  <a:lnTo>
                    <a:pt x="2240280" y="1670304"/>
                  </a:lnTo>
                  <a:lnTo>
                    <a:pt x="2240280" y="0"/>
                  </a:lnTo>
                  <a:lnTo>
                    <a:pt x="0" y="0"/>
                  </a:lnTo>
                  <a:lnTo>
                    <a:pt x="0" y="1670304"/>
                  </a:lnTo>
                  <a:close/>
                </a:path>
              </a:pathLst>
            </a:custGeom>
            <a:noFill/>
            <a:ln w="9525" cap="flat" cmpd="sng">
              <a:solidFill>
                <a:srgbClr val="FFF066"/>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1527" name="Freeform 1527"/>
            <p:cNvSpPr/>
            <p:nvPr/>
          </p:nvSpPr>
          <p:spPr>
            <a:xfrm>
              <a:off x="5370955" y="3032966"/>
              <a:ext cx="1282540" cy="292456"/>
            </a:xfrm>
            <a:custGeom>
              <a:avLst/>
              <a:gdLst/>
              <a:ahLst/>
              <a:cxnLst/>
              <a:rect l="0" t="0" r="0" b="0"/>
              <a:pathLst>
                <a:path w="1283208" h="292608">
                  <a:moveTo>
                    <a:pt x="0" y="292608"/>
                  </a:moveTo>
                  <a:lnTo>
                    <a:pt x="1283208" y="292608"/>
                  </a:lnTo>
                  <a:lnTo>
                    <a:pt x="1283208" y="0"/>
                  </a:lnTo>
                  <a:lnTo>
                    <a:pt x="0" y="0"/>
                  </a:lnTo>
                  <a:lnTo>
                    <a:pt x="0" y="292608"/>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554" name="Rectangle 1554"/>
            <p:cNvSpPr/>
            <p:nvPr/>
          </p:nvSpPr>
          <p:spPr>
            <a:xfrm>
              <a:off x="5099824" y="1946981"/>
              <a:ext cx="1854670" cy="154705"/>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tab pos="1065734" algn="l"/>
                </a:tabLst>
                <a:defRPr/>
              </a:pP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Liquefaction	Compression</a:t>
              </a:r>
            </a:p>
          </p:txBody>
        </p:sp>
        <p:sp>
          <p:nvSpPr>
            <p:cNvPr id="1561" name="Rectangle 1561"/>
            <p:cNvSpPr/>
            <p:nvPr/>
          </p:nvSpPr>
          <p:spPr>
            <a:xfrm>
              <a:off x="5295684" y="2640673"/>
              <a:ext cx="424796" cy="154786"/>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LOHCs</a:t>
              </a:r>
            </a:p>
          </p:txBody>
        </p:sp>
        <p:sp>
          <p:nvSpPr>
            <p:cNvPr id="1577" name="Rectangle 1577"/>
            <p:cNvSpPr/>
            <p:nvPr/>
          </p:nvSpPr>
          <p:spPr>
            <a:xfrm>
              <a:off x="6262920" y="2640673"/>
              <a:ext cx="580287" cy="154786"/>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Ammonia</a:t>
              </a:r>
            </a:p>
          </p:txBody>
        </p:sp>
        <p:sp>
          <p:nvSpPr>
            <p:cNvPr id="1578" name="Rectangle 1578"/>
            <p:cNvSpPr/>
            <p:nvPr/>
          </p:nvSpPr>
          <p:spPr>
            <a:xfrm>
              <a:off x="6488355" y="2383921"/>
              <a:ext cx="110550" cy="213922"/>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390" b="0" i="0" u="none" strike="noStrike" kern="1200" cap="none" spc="0" normalizeH="0" baseline="0" noProof="0" dirty="0">
                  <a:ln>
                    <a:noFill/>
                  </a:ln>
                  <a:solidFill>
                    <a:srgbClr val="97979C"/>
                  </a:solidFill>
                  <a:effectLst/>
                  <a:uLnTx/>
                  <a:uFillTx/>
                  <a:latin typeface="EYInterstate-Light"/>
                  <a:ea typeface="+mn-ea"/>
                  <a:cs typeface="+mn-cs"/>
                </a:rPr>
                <a:t>+</a:t>
              </a:r>
            </a:p>
          </p:txBody>
        </p:sp>
      </p:grpSp>
      <p:sp>
        <p:nvSpPr>
          <p:cNvPr id="1579" name="Rectangle 1579"/>
          <p:cNvSpPr/>
          <p:nvPr/>
        </p:nvSpPr>
        <p:spPr>
          <a:xfrm>
            <a:off x="1200706" y="1231853"/>
            <a:ext cx="9640546" cy="184346"/>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tab pos="2207565" algn="l"/>
                <a:tab pos="4497369" algn="l"/>
                <a:tab pos="6671466" algn="l"/>
                <a:tab pos="8986009" algn="l"/>
              </a:tabLst>
              <a:defRPr/>
            </a:pPr>
            <a:r>
              <a:rPr kumimoji="0" lang="en-US" sz="1198" b="1" i="0" u="none" strike="noStrike" kern="1200" cap="none" spc="0" normalizeH="0" baseline="0" noProof="0" dirty="0">
                <a:ln>
                  <a:noFill/>
                </a:ln>
                <a:solidFill>
                  <a:srgbClr val="2E2E38"/>
                </a:solidFill>
                <a:effectLst/>
                <a:uLnTx/>
                <a:uFillTx/>
                <a:latin typeface="EYInterstate-LightBold"/>
                <a:ea typeface="+mn-ea"/>
                <a:cs typeface="+mn-cs"/>
              </a:rPr>
              <a:t>E</a:t>
            </a:r>
            <a:r>
              <a:rPr kumimoji="0" lang="en-US" sz="1198" b="1" i="0" u="none" strike="noStrike" kern="1200" cap="none" spc="-13" normalizeH="0" baseline="0" noProof="0" dirty="0">
                <a:ln>
                  <a:noFill/>
                </a:ln>
                <a:solidFill>
                  <a:srgbClr val="2E2E38"/>
                </a:solidFill>
                <a:effectLst/>
                <a:uLnTx/>
                <a:uFillTx/>
                <a:latin typeface="EYInterstate-LightBold"/>
                <a:ea typeface="+mn-ea"/>
                <a:cs typeface="+mn-cs"/>
              </a:rPr>
              <a:t>n</a:t>
            </a:r>
            <a:r>
              <a:rPr kumimoji="0" lang="en-US" sz="1198" b="1" i="0" u="none" strike="noStrike" kern="1200" cap="none" spc="0" normalizeH="0" baseline="0" noProof="0" dirty="0">
                <a:ln>
                  <a:noFill/>
                </a:ln>
                <a:solidFill>
                  <a:srgbClr val="2E2E38"/>
                </a:solidFill>
                <a:effectLst/>
                <a:uLnTx/>
                <a:uFillTx/>
                <a:latin typeface="EYInterstate-LightBold"/>
                <a:ea typeface="+mn-ea"/>
                <a:cs typeface="+mn-cs"/>
              </a:rPr>
              <a:t>ergy s</a:t>
            </a:r>
            <a:r>
              <a:rPr kumimoji="0" lang="en-US" sz="1198" b="1" i="0" u="none" strike="noStrike" kern="1200" cap="none" spc="-11" normalizeH="0" baseline="0" noProof="0" dirty="0">
                <a:ln>
                  <a:noFill/>
                </a:ln>
                <a:solidFill>
                  <a:srgbClr val="2E2E38"/>
                </a:solidFill>
                <a:effectLst/>
                <a:uLnTx/>
                <a:uFillTx/>
                <a:latin typeface="EYInterstate-LightBold"/>
                <a:ea typeface="+mn-ea"/>
                <a:cs typeface="+mn-cs"/>
              </a:rPr>
              <a:t>o</a:t>
            </a:r>
            <a:r>
              <a:rPr kumimoji="0" lang="en-US" sz="1198" b="1" i="0" u="none" strike="noStrike" kern="1200" cap="none" spc="-12" normalizeH="0" baseline="0" noProof="0" dirty="0">
                <a:ln>
                  <a:noFill/>
                </a:ln>
                <a:solidFill>
                  <a:srgbClr val="2E2E38"/>
                </a:solidFill>
                <a:effectLst/>
                <a:uLnTx/>
                <a:uFillTx/>
                <a:latin typeface="EYInterstate-LightBold"/>
                <a:ea typeface="+mn-ea"/>
                <a:cs typeface="+mn-cs"/>
              </a:rPr>
              <a:t>u</a:t>
            </a:r>
            <a:r>
              <a:rPr kumimoji="0" lang="en-US" sz="1198" b="1" i="0" u="none" strike="noStrike" kern="1200" cap="none" spc="0" normalizeH="0" baseline="0" noProof="0" dirty="0">
                <a:ln>
                  <a:noFill/>
                </a:ln>
                <a:solidFill>
                  <a:srgbClr val="2E2E38"/>
                </a:solidFill>
                <a:effectLst/>
                <a:uLnTx/>
                <a:uFillTx/>
                <a:latin typeface="EYInterstate-LightBold"/>
                <a:ea typeface="+mn-ea"/>
                <a:cs typeface="+mn-cs"/>
              </a:rPr>
              <a:t>rce	H</a:t>
            </a:r>
            <a:r>
              <a:rPr kumimoji="0" lang="en-US" sz="1198" b="1" i="0" u="none" strike="noStrike" kern="1200" cap="none" spc="324" normalizeH="0" baseline="-36363" noProof="0" dirty="0">
                <a:ln>
                  <a:noFill/>
                </a:ln>
                <a:solidFill>
                  <a:srgbClr val="2E2E38"/>
                </a:solidFill>
                <a:effectLst/>
                <a:uLnTx/>
                <a:uFillTx/>
                <a:latin typeface="EYInterstate-LightBold"/>
                <a:ea typeface="+mn-ea"/>
                <a:cs typeface="+mn-cs"/>
              </a:rPr>
              <a:t>2</a:t>
            </a:r>
            <a:r>
              <a:rPr kumimoji="0" lang="en-US" sz="1198" b="1" i="0" u="none" strike="noStrike" kern="1200" cap="none" spc="0" normalizeH="0" baseline="0" noProof="0" dirty="0">
                <a:ln>
                  <a:noFill/>
                </a:ln>
                <a:solidFill>
                  <a:srgbClr val="2E2E38"/>
                </a:solidFill>
                <a:effectLst/>
                <a:uLnTx/>
                <a:uFillTx/>
                <a:latin typeface="EYInterstate-LightBold"/>
                <a:ea typeface="+mn-ea"/>
                <a:cs typeface="+mn-cs"/>
              </a:rPr>
              <a:t>Ge</a:t>
            </a:r>
            <a:r>
              <a:rPr kumimoji="0" lang="en-US" sz="1198" b="1" i="0" u="none" strike="noStrike" kern="1200" cap="none" spc="-12" normalizeH="0" baseline="0" noProof="0" dirty="0">
                <a:ln>
                  <a:noFill/>
                </a:ln>
                <a:solidFill>
                  <a:srgbClr val="2E2E38"/>
                </a:solidFill>
                <a:effectLst/>
                <a:uLnTx/>
                <a:uFillTx/>
                <a:latin typeface="EYInterstate-LightBold"/>
                <a:ea typeface="+mn-ea"/>
                <a:cs typeface="+mn-cs"/>
              </a:rPr>
              <a:t>n</a:t>
            </a:r>
            <a:r>
              <a:rPr kumimoji="0" lang="en-US" sz="1198" b="1" i="0" u="none" strike="noStrike" kern="1200" cap="none" spc="0" normalizeH="0" baseline="0" noProof="0" dirty="0">
                <a:ln>
                  <a:noFill/>
                </a:ln>
                <a:solidFill>
                  <a:srgbClr val="2E2E38"/>
                </a:solidFill>
                <a:effectLst/>
                <a:uLnTx/>
                <a:uFillTx/>
                <a:latin typeface="EYInterstate-LightBold"/>
                <a:ea typeface="+mn-ea"/>
                <a:cs typeface="+mn-cs"/>
              </a:rPr>
              <a:t>erati</a:t>
            </a:r>
            <a:r>
              <a:rPr kumimoji="0" lang="en-US" sz="1198" b="1" i="0" u="none" strike="noStrike" kern="1200" cap="none" spc="-12" normalizeH="0" baseline="0" noProof="0" dirty="0">
                <a:ln>
                  <a:noFill/>
                </a:ln>
                <a:solidFill>
                  <a:srgbClr val="2E2E38"/>
                </a:solidFill>
                <a:effectLst/>
                <a:uLnTx/>
                <a:uFillTx/>
                <a:latin typeface="EYInterstate-LightBold"/>
                <a:ea typeface="+mn-ea"/>
                <a:cs typeface="+mn-cs"/>
              </a:rPr>
              <a:t>o</a:t>
            </a:r>
            <a:r>
              <a:rPr kumimoji="0" lang="en-US" sz="1198" b="1" i="0" u="none" strike="noStrike" kern="1200" cap="none" spc="0" normalizeH="0" baseline="0" noProof="0" dirty="0">
                <a:ln>
                  <a:noFill/>
                </a:ln>
                <a:solidFill>
                  <a:srgbClr val="2E2E38"/>
                </a:solidFill>
                <a:effectLst/>
                <a:uLnTx/>
                <a:uFillTx/>
                <a:latin typeface="EYInterstate-LightBold"/>
                <a:ea typeface="+mn-ea"/>
                <a:cs typeface="+mn-cs"/>
              </a:rPr>
              <a:t>n	C</a:t>
            </a:r>
            <a:r>
              <a:rPr kumimoji="0" lang="en-US" sz="1198" b="1" i="0" u="none" strike="noStrike" kern="1200" cap="none" spc="-12" normalizeH="0" baseline="0" noProof="0" dirty="0">
                <a:ln>
                  <a:noFill/>
                </a:ln>
                <a:solidFill>
                  <a:srgbClr val="2E2E38"/>
                </a:solidFill>
                <a:effectLst/>
                <a:uLnTx/>
                <a:uFillTx/>
                <a:latin typeface="EYInterstate-LightBold"/>
                <a:ea typeface="+mn-ea"/>
                <a:cs typeface="+mn-cs"/>
              </a:rPr>
              <a:t>on</a:t>
            </a:r>
            <a:r>
              <a:rPr kumimoji="0" lang="en-US" sz="1198" b="1" i="0" u="none" strike="noStrike" kern="1200" cap="none" spc="0" normalizeH="0" baseline="0" noProof="0" dirty="0">
                <a:ln>
                  <a:noFill/>
                </a:ln>
                <a:solidFill>
                  <a:srgbClr val="2E2E38"/>
                </a:solidFill>
                <a:effectLst/>
                <a:uLnTx/>
                <a:uFillTx/>
                <a:latin typeface="EYInterstate-LightBold"/>
                <a:ea typeface="+mn-ea"/>
                <a:cs typeface="+mn-cs"/>
              </a:rPr>
              <a:t>versi</a:t>
            </a:r>
            <a:r>
              <a:rPr kumimoji="0" lang="en-US" sz="1198" b="1" i="0" u="none" strike="noStrike" kern="1200" cap="none" spc="-15" normalizeH="0" baseline="0" noProof="0" dirty="0">
                <a:ln>
                  <a:noFill/>
                </a:ln>
                <a:solidFill>
                  <a:srgbClr val="2E2E38"/>
                </a:solidFill>
                <a:effectLst/>
                <a:uLnTx/>
                <a:uFillTx/>
                <a:latin typeface="EYInterstate-LightBold"/>
                <a:ea typeface="+mn-ea"/>
                <a:cs typeface="+mn-cs"/>
              </a:rPr>
              <a:t>o</a:t>
            </a:r>
            <a:r>
              <a:rPr kumimoji="0" lang="en-US" sz="1198" b="1" i="0" u="none" strike="noStrike" kern="1200" cap="none" spc="0" normalizeH="0" baseline="0" noProof="0" dirty="0">
                <a:ln>
                  <a:noFill/>
                </a:ln>
                <a:solidFill>
                  <a:srgbClr val="2E2E38"/>
                </a:solidFill>
                <a:effectLst/>
                <a:uLnTx/>
                <a:uFillTx/>
                <a:latin typeface="EYInterstate-LightBold"/>
                <a:ea typeface="+mn-ea"/>
                <a:cs typeface="+mn-cs"/>
              </a:rPr>
              <a:t>n	Distri</a:t>
            </a:r>
            <a:r>
              <a:rPr kumimoji="0" lang="en-US" sz="1198" b="1" i="0" u="none" strike="noStrike" kern="1200" cap="none" spc="-13" normalizeH="0" baseline="0" noProof="0" dirty="0">
                <a:ln>
                  <a:noFill/>
                </a:ln>
                <a:solidFill>
                  <a:srgbClr val="2E2E38"/>
                </a:solidFill>
                <a:effectLst/>
                <a:uLnTx/>
                <a:uFillTx/>
                <a:latin typeface="EYInterstate-LightBold"/>
                <a:ea typeface="+mn-ea"/>
                <a:cs typeface="+mn-cs"/>
              </a:rPr>
              <a:t>b</a:t>
            </a:r>
            <a:r>
              <a:rPr kumimoji="0" lang="en-US" sz="1198" b="1" i="0" u="none" strike="noStrike" kern="1200" cap="none" spc="-12" normalizeH="0" baseline="0" noProof="0" dirty="0">
                <a:ln>
                  <a:noFill/>
                </a:ln>
                <a:solidFill>
                  <a:srgbClr val="2E2E38"/>
                </a:solidFill>
                <a:effectLst/>
                <a:uLnTx/>
                <a:uFillTx/>
                <a:latin typeface="EYInterstate-LightBold"/>
                <a:ea typeface="+mn-ea"/>
                <a:cs typeface="+mn-cs"/>
              </a:rPr>
              <a:t>u</a:t>
            </a:r>
            <a:r>
              <a:rPr kumimoji="0" lang="en-US" sz="1198" b="1" i="0" u="none" strike="noStrike" kern="1200" cap="none" spc="0" normalizeH="0" baseline="0" noProof="0" dirty="0">
                <a:ln>
                  <a:noFill/>
                </a:ln>
                <a:solidFill>
                  <a:srgbClr val="2E2E38"/>
                </a:solidFill>
                <a:effectLst/>
                <a:uLnTx/>
                <a:uFillTx/>
                <a:latin typeface="EYInterstate-LightBold"/>
                <a:ea typeface="+mn-ea"/>
                <a:cs typeface="+mn-cs"/>
              </a:rPr>
              <a:t>ti</a:t>
            </a:r>
            <a:r>
              <a:rPr kumimoji="0" lang="en-US" sz="1198" b="1" i="0" u="none" strike="noStrike" kern="1200" cap="none" spc="-13" normalizeH="0" baseline="0" noProof="0" dirty="0">
                <a:ln>
                  <a:noFill/>
                </a:ln>
                <a:solidFill>
                  <a:srgbClr val="2E2E38"/>
                </a:solidFill>
                <a:effectLst/>
                <a:uLnTx/>
                <a:uFillTx/>
                <a:latin typeface="EYInterstate-LightBold"/>
                <a:ea typeface="+mn-ea"/>
                <a:cs typeface="+mn-cs"/>
              </a:rPr>
              <a:t>o</a:t>
            </a:r>
            <a:r>
              <a:rPr kumimoji="0" lang="en-US" sz="1198" b="1" i="0" u="none" strike="noStrike" kern="1200" cap="none" spc="0" normalizeH="0" baseline="0" noProof="0" dirty="0">
                <a:ln>
                  <a:noFill/>
                </a:ln>
                <a:solidFill>
                  <a:srgbClr val="2E2E38"/>
                </a:solidFill>
                <a:effectLst/>
                <a:uLnTx/>
                <a:uFillTx/>
                <a:latin typeface="EYInterstate-LightBold"/>
                <a:ea typeface="+mn-ea"/>
                <a:cs typeface="+mn-cs"/>
              </a:rPr>
              <a:t>n	E</a:t>
            </a:r>
            <a:r>
              <a:rPr kumimoji="0" lang="en-US" sz="1198" b="1" i="0" u="none" strike="noStrike" kern="1200" cap="none" spc="-12" normalizeH="0" baseline="0" noProof="0" dirty="0">
                <a:ln>
                  <a:noFill/>
                </a:ln>
                <a:solidFill>
                  <a:srgbClr val="2E2E38"/>
                </a:solidFill>
                <a:effectLst/>
                <a:uLnTx/>
                <a:uFillTx/>
                <a:latin typeface="EYInterstate-LightBold"/>
                <a:ea typeface="+mn-ea"/>
                <a:cs typeface="+mn-cs"/>
              </a:rPr>
              <a:t>n</a:t>
            </a:r>
            <a:r>
              <a:rPr kumimoji="0" lang="en-US" sz="1198" b="1" i="0" u="none" strike="noStrike" kern="1200" cap="none" spc="-11" normalizeH="0" baseline="0" noProof="0" dirty="0">
                <a:ln>
                  <a:noFill/>
                </a:ln>
                <a:solidFill>
                  <a:srgbClr val="2E2E38"/>
                </a:solidFill>
                <a:effectLst/>
                <a:uLnTx/>
                <a:uFillTx/>
                <a:latin typeface="EYInterstate-LightBold"/>
                <a:ea typeface="+mn-ea"/>
                <a:cs typeface="+mn-cs"/>
              </a:rPr>
              <a:t>d</a:t>
            </a:r>
            <a:r>
              <a:rPr kumimoji="0" lang="en-US" sz="1198" b="1" i="0" u="none" strike="noStrike" kern="1200" cap="none" spc="0" normalizeH="0" baseline="0" noProof="0" dirty="0">
                <a:ln>
                  <a:noFill/>
                </a:ln>
                <a:solidFill>
                  <a:srgbClr val="2E2E38"/>
                </a:solidFill>
                <a:effectLst/>
                <a:uLnTx/>
                <a:uFillTx/>
                <a:latin typeface="EYInterstate-LightBold"/>
                <a:ea typeface="+mn-ea"/>
                <a:cs typeface="+mn-cs"/>
              </a:rPr>
              <a:t>-</a:t>
            </a:r>
            <a:r>
              <a:rPr kumimoji="0" lang="en-US" sz="1198" b="1" i="0" u="none" strike="noStrike" kern="1200" cap="none" spc="-13" normalizeH="0" baseline="0" noProof="0" dirty="0">
                <a:ln>
                  <a:noFill/>
                </a:ln>
                <a:solidFill>
                  <a:srgbClr val="2E2E38"/>
                </a:solidFill>
                <a:effectLst/>
                <a:uLnTx/>
                <a:uFillTx/>
                <a:latin typeface="EYInterstate-LightBold"/>
                <a:ea typeface="+mn-ea"/>
                <a:cs typeface="+mn-cs"/>
              </a:rPr>
              <a:t>u</a:t>
            </a:r>
            <a:r>
              <a:rPr kumimoji="0" lang="en-US" sz="1198" b="1" i="0" u="none" strike="noStrike" kern="1200" cap="none" spc="0" normalizeH="0" baseline="0" noProof="0" dirty="0">
                <a:ln>
                  <a:noFill/>
                </a:ln>
                <a:solidFill>
                  <a:srgbClr val="2E2E38"/>
                </a:solidFill>
                <a:effectLst/>
                <a:uLnTx/>
                <a:uFillTx/>
                <a:latin typeface="EYInterstate-LightBold"/>
                <a:ea typeface="+mn-ea"/>
                <a:cs typeface="+mn-cs"/>
              </a:rPr>
              <a:t>se</a:t>
            </a:r>
          </a:p>
        </p:txBody>
      </p:sp>
      <p:sp>
        <p:nvSpPr>
          <p:cNvPr id="1590" name="Rectangle 1590"/>
          <p:cNvSpPr/>
          <p:nvPr/>
        </p:nvSpPr>
        <p:spPr>
          <a:xfrm>
            <a:off x="5461661" y="3624286"/>
            <a:ext cx="1116391" cy="246990"/>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605" b="1" i="0" u="none" strike="noStrike" kern="1200" cap="none" spc="-12" normalizeH="0" baseline="0" noProof="0" dirty="0">
                <a:ln>
                  <a:noFill/>
                </a:ln>
                <a:solidFill>
                  <a:srgbClr val="FFE600"/>
                </a:solidFill>
                <a:effectLst/>
                <a:uLnTx/>
                <a:uFillTx/>
                <a:latin typeface="EYInterstate-LightBold"/>
                <a:ea typeface="+mn-ea"/>
                <a:cs typeface="+mn-cs"/>
              </a:rPr>
              <a:t>R</a:t>
            </a:r>
            <a:r>
              <a:rPr kumimoji="0" lang="en-US" sz="1605" b="1" i="0" u="none" strike="noStrike" kern="1200" cap="none" spc="0" normalizeH="0" baseline="0" noProof="0" dirty="0">
                <a:ln>
                  <a:noFill/>
                </a:ln>
                <a:solidFill>
                  <a:srgbClr val="FFE600"/>
                </a:solidFill>
                <a:effectLst/>
                <a:uLnTx/>
                <a:uFillTx/>
                <a:latin typeface="EYInterstate-LightBold"/>
                <a:ea typeface="+mn-ea"/>
                <a:cs typeface="+mn-cs"/>
              </a:rPr>
              <a:t>efinement</a:t>
            </a:r>
          </a:p>
        </p:txBody>
      </p:sp>
      <p:sp>
        <p:nvSpPr>
          <p:cNvPr id="1591" name="Rectangle 1591"/>
          <p:cNvSpPr/>
          <p:nvPr/>
        </p:nvSpPr>
        <p:spPr>
          <a:xfrm>
            <a:off x="5479931" y="3010498"/>
            <a:ext cx="1069628" cy="246861"/>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605" b="1" i="0" u="none" strike="noStrike" kern="1200" cap="none" spc="0" normalizeH="0" baseline="0" noProof="0" dirty="0">
                <a:ln>
                  <a:noFill/>
                </a:ln>
                <a:solidFill>
                  <a:srgbClr val="FFE600"/>
                </a:solidFill>
                <a:effectLst/>
                <a:uLnTx/>
                <a:uFillTx/>
                <a:latin typeface="EYInterstate-LightBold"/>
                <a:ea typeface="+mn-ea"/>
                <a:cs typeface="+mn-cs"/>
              </a:rPr>
              <a:t>Conver</a:t>
            </a:r>
            <a:r>
              <a:rPr kumimoji="0" lang="en-US" sz="1605" b="1" i="0" u="none" strike="noStrike" kern="1200" cap="none" spc="-13" normalizeH="0" baseline="0" noProof="0" dirty="0">
                <a:ln>
                  <a:noFill/>
                </a:ln>
                <a:solidFill>
                  <a:srgbClr val="FFE600"/>
                </a:solidFill>
                <a:effectLst/>
                <a:uLnTx/>
                <a:uFillTx/>
                <a:latin typeface="EYInterstate-LightBold"/>
                <a:ea typeface="+mn-ea"/>
                <a:cs typeface="+mn-cs"/>
              </a:rPr>
              <a:t>s</a:t>
            </a:r>
            <a:r>
              <a:rPr kumimoji="0" lang="en-US" sz="1605" b="1" i="0" u="none" strike="noStrike" kern="1200" cap="none" spc="0" normalizeH="0" baseline="0" noProof="0" dirty="0">
                <a:ln>
                  <a:noFill/>
                </a:ln>
                <a:solidFill>
                  <a:srgbClr val="FFE600"/>
                </a:solidFill>
                <a:effectLst/>
                <a:uLnTx/>
                <a:uFillTx/>
                <a:latin typeface="EYInterstate-LightBold"/>
                <a:ea typeface="+mn-ea"/>
                <a:cs typeface="+mn-cs"/>
              </a:rPr>
              <a:t>ion</a:t>
            </a:r>
          </a:p>
        </p:txBody>
      </p:sp>
      <p:sp>
        <p:nvSpPr>
          <p:cNvPr id="1592" name="Rectangle 1592"/>
          <p:cNvSpPr/>
          <p:nvPr/>
        </p:nvSpPr>
        <p:spPr>
          <a:xfrm>
            <a:off x="7521722" y="2518046"/>
            <a:ext cx="1525494" cy="246861"/>
          </a:xfrm>
          <a:prstGeom prst="rect">
            <a:avLst/>
          </a:prstGeom>
        </p:spPr>
        <p:txBody>
          <a:bodyPr wrap="square" lIns="0" tIns="0" rIns="0" bIns="0">
            <a:sp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605" b="1" i="0" u="none" strike="noStrike" kern="1200" cap="none" spc="0" normalizeH="0" baseline="0" noProof="0" dirty="0">
                <a:ln>
                  <a:noFill/>
                </a:ln>
                <a:solidFill>
                  <a:srgbClr val="FFE600"/>
                </a:solidFill>
                <a:effectLst/>
                <a:uLnTx/>
                <a:uFillTx/>
                <a:latin typeface="EYInterstate-LightBold"/>
                <a:ea typeface="+mn-ea"/>
                <a:cs typeface="+mn-cs"/>
              </a:rPr>
              <a:t>Storage</a:t>
            </a:r>
          </a:p>
        </p:txBody>
      </p:sp>
      <p:sp>
        <p:nvSpPr>
          <p:cNvPr id="1593" name="Rectangle 1593"/>
          <p:cNvSpPr/>
          <p:nvPr/>
        </p:nvSpPr>
        <p:spPr>
          <a:xfrm>
            <a:off x="7512553" y="3375159"/>
            <a:ext cx="1525493" cy="247374"/>
          </a:xfrm>
          <a:prstGeom prst="rect">
            <a:avLst/>
          </a:prstGeom>
        </p:spPr>
        <p:txBody>
          <a:bodyPr wrap="square" lIns="0" tIns="0" rIns="0" bIns="0">
            <a:sp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608" b="1" i="0" u="none" strike="noStrike" kern="1200" cap="none" spc="0" normalizeH="0" baseline="0" noProof="0" dirty="0">
                <a:ln>
                  <a:noFill/>
                </a:ln>
                <a:solidFill>
                  <a:srgbClr val="FFE600"/>
                </a:solidFill>
                <a:effectLst/>
                <a:uLnTx/>
                <a:uFillTx/>
                <a:latin typeface="EYInterstate-LightBold"/>
                <a:ea typeface="+mn-ea"/>
                <a:cs typeface="+mn-cs"/>
              </a:rPr>
              <a:t>Tran</a:t>
            </a:r>
            <a:r>
              <a:rPr kumimoji="0" lang="en-US" sz="1608" b="1" i="0" u="none" strike="noStrike" kern="1200" cap="none" spc="-17" normalizeH="0" baseline="0" noProof="0" dirty="0">
                <a:ln>
                  <a:noFill/>
                </a:ln>
                <a:solidFill>
                  <a:srgbClr val="FFE600"/>
                </a:solidFill>
                <a:effectLst/>
                <a:uLnTx/>
                <a:uFillTx/>
                <a:latin typeface="EYInterstate-LightBold"/>
                <a:ea typeface="+mn-ea"/>
                <a:cs typeface="+mn-cs"/>
              </a:rPr>
              <a:t>s</a:t>
            </a:r>
            <a:r>
              <a:rPr kumimoji="0" lang="en-US" sz="1608" b="1" i="0" u="none" strike="noStrike" kern="1200" cap="none" spc="0" normalizeH="0" baseline="0" noProof="0" dirty="0">
                <a:ln>
                  <a:noFill/>
                </a:ln>
                <a:solidFill>
                  <a:srgbClr val="FFE600"/>
                </a:solidFill>
                <a:effectLst/>
                <a:uLnTx/>
                <a:uFillTx/>
                <a:latin typeface="EYInterstate-LightBold"/>
                <a:ea typeface="+mn-ea"/>
                <a:cs typeface="+mn-cs"/>
              </a:rPr>
              <a:t>port</a:t>
            </a:r>
          </a:p>
        </p:txBody>
      </p:sp>
      <p:sp>
        <p:nvSpPr>
          <p:cNvPr id="1595" name="Rectangle 1595"/>
          <p:cNvSpPr/>
          <p:nvPr/>
        </p:nvSpPr>
        <p:spPr>
          <a:xfrm>
            <a:off x="613662" y="6108646"/>
            <a:ext cx="1604156" cy="121830"/>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Sou</a:t>
            </a:r>
            <a:r>
              <a:rPr kumimoji="0" lang="en-US" sz="792" b="0" i="0" u="none" strike="noStrike" kern="1200" cap="none" spc="-11" normalizeH="0" baseline="0" noProof="0" dirty="0">
                <a:ln>
                  <a:noFill/>
                </a:ln>
                <a:solidFill>
                  <a:srgbClr val="FFFFFF"/>
                </a:solidFill>
                <a:effectLst/>
                <a:uLnTx/>
                <a:uFillTx/>
                <a:latin typeface="EYInterstate-Light"/>
                <a:ea typeface="+mn-ea"/>
                <a:cs typeface="+mn-cs"/>
              </a:rPr>
              <a:t>r</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ces: I</a:t>
            </a:r>
            <a:r>
              <a:rPr kumimoji="0" lang="en-US" sz="792" b="0" i="0" u="none" strike="noStrike" kern="1200" cap="none" spc="-11" normalizeH="0" baseline="0" noProof="0" dirty="0">
                <a:ln>
                  <a:noFill/>
                </a:ln>
                <a:solidFill>
                  <a:srgbClr val="FFFFFF"/>
                </a:solidFill>
                <a:effectLst/>
                <a:uLnTx/>
                <a:uFillTx/>
                <a:latin typeface="EYInterstate-Light"/>
                <a:ea typeface="+mn-ea"/>
                <a:cs typeface="+mn-cs"/>
              </a:rPr>
              <a:t>R</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ENA, IEA, EY analysis.</a:t>
            </a:r>
          </a:p>
        </p:txBody>
      </p:sp>
      <p:sp>
        <p:nvSpPr>
          <p:cNvPr id="1596" name="Rectangle 1596"/>
          <p:cNvSpPr/>
          <p:nvPr/>
        </p:nvSpPr>
        <p:spPr>
          <a:xfrm>
            <a:off x="613660" y="6230438"/>
            <a:ext cx="2836351" cy="121830"/>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Note: </a:t>
            </a:r>
            <a:r>
              <a:rPr kumimoji="0" lang="en-US" sz="792" b="0" i="0" u="none" strike="noStrike" kern="1200" cap="none" spc="-12" normalizeH="0" baseline="0" noProof="0" dirty="0">
                <a:ln>
                  <a:noFill/>
                </a:ln>
                <a:solidFill>
                  <a:srgbClr val="FFFFFF"/>
                </a:solidFill>
                <a:effectLst/>
                <a:uLnTx/>
                <a:uFillTx/>
                <a:latin typeface="EYInterstate-Light"/>
                <a:ea typeface="+mn-ea"/>
                <a:cs typeface="+mn-cs"/>
              </a:rPr>
              <a:t>1</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 Mainly foo</a:t>
            </a:r>
            <a:r>
              <a:rPr kumimoji="0" lang="en-US" sz="792" b="0" i="0" u="none" strike="noStrike" kern="1200" cap="none" spc="-12" normalizeH="0" baseline="0" noProof="0" dirty="0">
                <a:ln>
                  <a:noFill/>
                </a:ln>
                <a:solidFill>
                  <a:srgbClr val="FFFFFF"/>
                </a:solidFill>
                <a:effectLst/>
                <a:uLnTx/>
                <a:uFillTx/>
                <a:latin typeface="EYInterstate-Light"/>
                <a:ea typeface="+mn-ea"/>
                <a:cs typeface="+mn-cs"/>
              </a:rPr>
              <a:t>d</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 &amp; </a:t>
            </a:r>
            <a:r>
              <a:rPr kumimoji="0" lang="en-US" sz="792" b="0" i="0" u="none" strike="noStrike" kern="1200" cap="none" spc="-12" normalizeH="0" baseline="0" noProof="0" dirty="0">
                <a:ln>
                  <a:noFill/>
                </a:ln>
                <a:solidFill>
                  <a:srgbClr val="FFFFFF"/>
                </a:solidFill>
                <a:effectLst/>
                <a:uLnTx/>
                <a:uFillTx/>
                <a:latin typeface="EYInterstate-Light"/>
                <a:ea typeface="+mn-ea"/>
                <a:cs typeface="+mn-cs"/>
              </a:rPr>
              <a:t>b</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eve</a:t>
            </a:r>
            <a:r>
              <a:rPr kumimoji="0" lang="en-US" sz="792" b="0" i="0" u="none" strike="noStrike" kern="1200" cap="none" spc="-11" normalizeH="0" baseline="0" noProof="0" dirty="0">
                <a:ln>
                  <a:noFill/>
                </a:ln>
                <a:solidFill>
                  <a:srgbClr val="FFFFFF"/>
                </a:solidFill>
                <a:effectLst/>
                <a:uLnTx/>
                <a:uFillTx/>
                <a:latin typeface="EYInterstate-Light"/>
                <a:ea typeface="+mn-ea"/>
                <a:cs typeface="+mn-cs"/>
              </a:rPr>
              <a:t>r</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a</a:t>
            </a:r>
            <a:r>
              <a:rPr kumimoji="0" lang="en-US" sz="792" b="0" i="0" u="none" strike="noStrike" kern="1200" cap="none" spc="-12" normalizeH="0" baseline="0" noProof="0" dirty="0">
                <a:ln>
                  <a:noFill/>
                </a:ln>
                <a:solidFill>
                  <a:srgbClr val="FFFFFF"/>
                </a:solidFill>
                <a:effectLst/>
                <a:uLnTx/>
                <a:uFillTx/>
                <a:latin typeface="EYInterstate-Light"/>
                <a:ea typeface="+mn-ea"/>
                <a:cs typeface="+mn-cs"/>
              </a:rPr>
              <a:t>g</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e,</a:t>
            </a:r>
            <a:r>
              <a:rPr kumimoji="0" lang="en-US" sz="792" b="0" i="0" u="none" strike="noStrike" kern="1200" cap="none" spc="105" normalizeH="0" baseline="0" noProof="0" dirty="0">
                <a:ln>
                  <a:noFill/>
                </a:ln>
                <a:solidFill>
                  <a:srgbClr val="FFFFFF"/>
                </a:solidFill>
                <a:effectLst/>
                <a:uLnTx/>
                <a:uFillTx/>
                <a:latin typeface="EYInterstate-Light"/>
                <a:ea typeface="+mn-ea"/>
                <a:cs typeface="+mn-cs"/>
              </a:rPr>
              <a:t> </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semicon</a:t>
            </a:r>
            <a:r>
              <a:rPr kumimoji="0" lang="en-US" sz="792" b="0" i="0" u="none" strike="noStrike" kern="1200" cap="none" spc="-12" normalizeH="0" baseline="0" noProof="0" dirty="0">
                <a:ln>
                  <a:noFill/>
                </a:ln>
                <a:solidFill>
                  <a:srgbClr val="FFFFFF"/>
                </a:solidFill>
                <a:effectLst/>
                <a:uLnTx/>
                <a:uFillTx/>
                <a:latin typeface="EYInterstate-Light"/>
                <a:ea typeface="+mn-ea"/>
                <a:cs typeface="+mn-cs"/>
              </a:rPr>
              <a:t>d</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ucto</a:t>
            </a:r>
            <a:r>
              <a:rPr kumimoji="0" lang="en-US" sz="792" b="0" i="0" u="none" strike="noStrike" kern="1200" cap="none" spc="-11" normalizeH="0" baseline="0" noProof="0" dirty="0">
                <a:ln>
                  <a:noFill/>
                </a:ln>
                <a:solidFill>
                  <a:srgbClr val="FFFFFF"/>
                </a:solidFill>
                <a:effectLst/>
                <a:uLnTx/>
                <a:uFillTx/>
                <a:latin typeface="EYInterstate-Light"/>
                <a:ea typeface="+mn-ea"/>
                <a:cs typeface="+mn-cs"/>
              </a:rPr>
              <a:t>r</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s</a:t>
            </a:r>
            <a:r>
              <a:rPr kumimoji="0" lang="en-US" sz="792" b="0" i="0" u="none" strike="noStrike" kern="1200" cap="none" spc="105" normalizeH="0" baseline="0" noProof="0" dirty="0">
                <a:ln>
                  <a:noFill/>
                </a:ln>
                <a:solidFill>
                  <a:srgbClr val="FFFFFF"/>
                </a:solidFill>
                <a:effectLst/>
                <a:uLnTx/>
                <a:uFillTx/>
                <a:latin typeface="EYInterstate-Light"/>
                <a:ea typeface="+mn-ea"/>
                <a:cs typeface="+mn-cs"/>
              </a:rPr>
              <a:t> </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an</a:t>
            </a:r>
            <a:r>
              <a:rPr kumimoji="0" lang="en-US" sz="792" b="0" i="0" u="none" strike="noStrike" kern="1200" cap="none" spc="-12" normalizeH="0" baseline="0" noProof="0" dirty="0">
                <a:ln>
                  <a:noFill/>
                </a:ln>
                <a:solidFill>
                  <a:srgbClr val="FFFFFF"/>
                </a:solidFill>
                <a:effectLst/>
                <a:uLnTx/>
                <a:uFillTx/>
                <a:latin typeface="EYInterstate-Light"/>
                <a:ea typeface="+mn-ea"/>
                <a:cs typeface="+mn-cs"/>
              </a:rPr>
              <a:t>d</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 </a:t>
            </a:r>
            <a:r>
              <a:rPr kumimoji="0" lang="en-US" sz="792" b="0" i="0" u="none" strike="noStrike" kern="1200" cap="none" spc="-12" normalizeH="0" baseline="0" noProof="0" dirty="0">
                <a:ln>
                  <a:noFill/>
                </a:ln>
                <a:solidFill>
                  <a:srgbClr val="FFFFFF"/>
                </a:solidFill>
                <a:effectLst/>
                <a:uLnTx/>
                <a:uFillTx/>
                <a:latin typeface="EYInterstate-Light"/>
                <a:ea typeface="+mn-ea"/>
                <a:cs typeface="+mn-cs"/>
              </a:rPr>
              <a:t>g</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lass.</a:t>
            </a:r>
          </a:p>
        </p:txBody>
      </p:sp>
      <p:sp>
        <p:nvSpPr>
          <p:cNvPr id="1568" name="Rectangle 1568"/>
          <p:cNvSpPr/>
          <p:nvPr/>
        </p:nvSpPr>
        <p:spPr>
          <a:xfrm>
            <a:off x="2416760" y="4697458"/>
            <a:ext cx="368499" cy="246990"/>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605" b="1" i="0" u="none" strike="noStrike" kern="1200" cap="none" spc="0" normalizeH="0" baseline="0" noProof="0" dirty="0">
                <a:ln>
                  <a:noFill/>
                </a:ln>
                <a:solidFill>
                  <a:srgbClr val="FFE600"/>
                </a:solidFill>
                <a:effectLst/>
                <a:uLnTx/>
                <a:uFillTx/>
                <a:latin typeface="EYInterstate-LightBold"/>
                <a:ea typeface="+mn-ea"/>
                <a:cs typeface="+mn-cs"/>
              </a:rPr>
              <a:t>Gas</a:t>
            </a:r>
          </a:p>
        </p:txBody>
      </p:sp>
      <p:sp>
        <p:nvSpPr>
          <p:cNvPr id="1565" name="Rectangle 1565"/>
          <p:cNvSpPr/>
          <p:nvPr/>
        </p:nvSpPr>
        <p:spPr>
          <a:xfrm>
            <a:off x="2292884" y="2502900"/>
            <a:ext cx="603704" cy="246861"/>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605" b="1" i="0" u="none" strike="noStrike" kern="1200" cap="none" spc="0" normalizeH="0" baseline="0" noProof="0" dirty="0">
                <a:ln>
                  <a:noFill/>
                </a:ln>
                <a:solidFill>
                  <a:srgbClr val="FFE600"/>
                </a:solidFill>
                <a:effectLst/>
                <a:uLnTx/>
                <a:uFillTx/>
                <a:latin typeface="EYInterstate-LightBold"/>
                <a:ea typeface="+mn-ea"/>
                <a:cs typeface="+mn-cs"/>
              </a:rPr>
              <a:t>Power</a:t>
            </a:r>
          </a:p>
        </p:txBody>
      </p:sp>
      <p:sp>
        <p:nvSpPr>
          <p:cNvPr id="452" name="Rectangle 1569">
            <a:extLst>
              <a:ext uri="{FF2B5EF4-FFF2-40B4-BE49-F238E27FC236}">
                <a16:creationId xmlns:a16="http://schemas.microsoft.com/office/drawing/2014/main" id="{56C4CA4F-A363-4545-8F7F-B0D5B3ED79EF}"/>
              </a:ext>
            </a:extLst>
          </p:cNvPr>
          <p:cNvSpPr/>
          <p:nvPr/>
        </p:nvSpPr>
        <p:spPr>
          <a:xfrm>
            <a:off x="9834644" y="2543559"/>
            <a:ext cx="1541041" cy="247503"/>
          </a:xfrm>
          <a:prstGeom prst="rect">
            <a:avLst/>
          </a:prstGeom>
          <a:solidFill>
            <a:srgbClr val="2E2E38"/>
          </a:solidFill>
        </p:spPr>
        <p:txBody>
          <a:bodyPr wrap="square" lIns="0" tIns="0" rIns="0" bIns="0">
            <a:spAutoFit/>
          </a:bodyPr>
          <a:lstStyle/>
          <a:p>
            <a:pPr marL="0" marR="0" lvl="0" indent="0" algn="ctr" defTabSz="913943" rtl="0" eaLnBrk="1" fontAlgn="auto" latinLnBrk="0" hangingPunct="1">
              <a:lnSpc>
                <a:spcPct val="100000"/>
              </a:lnSpc>
              <a:spcBef>
                <a:spcPts val="0"/>
              </a:spcBef>
              <a:spcAft>
                <a:spcPts val="0"/>
              </a:spcAft>
              <a:buClrTx/>
              <a:buSzTx/>
              <a:buFontTx/>
              <a:buNone/>
              <a:tabLst>
                <a:tab pos="1942426" algn="l"/>
              </a:tabLst>
              <a:defRPr/>
            </a:pPr>
            <a:r>
              <a:rPr kumimoji="0" lang="en-US" sz="1608" b="1" i="0" u="none" strike="noStrike" kern="1200" cap="none" spc="0" normalizeH="0" baseline="0" noProof="0" dirty="0">
                <a:ln>
                  <a:noFill/>
                </a:ln>
                <a:solidFill>
                  <a:srgbClr val="FFE600"/>
                </a:solidFill>
                <a:effectLst/>
                <a:uLnTx/>
                <a:uFillTx/>
                <a:latin typeface="EYInterstate-LightBold"/>
                <a:ea typeface="+mn-ea"/>
                <a:cs typeface="+mn-cs"/>
              </a:rPr>
              <a:t>Mobility</a:t>
            </a:r>
            <a:endParaRPr kumimoji="0" lang="en-US" sz="2432" b="1" i="0" u="none" strike="noStrike" kern="1200" cap="none" spc="0" normalizeH="0" baseline="17599" noProof="0" dirty="0">
              <a:ln>
                <a:noFill/>
              </a:ln>
              <a:solidFill>
                <a:srgbClr val="FFE600"/>
              </a:solidFill>
              <a:effectLst/>
              <a:uLnTx/>
              <a:uFillTx/>
              <a:latin typeface="EYInterstate-LightBold"/>
              <a:ea typeface="+mn-ea"/>
              <a:cs typeface="+mn-cs"/>
            </a:endParaRPr>
          </a:p>
        </p:txBody>
      </p:sp>
      <p:cxnSp>
        <p:nvCxnSpPr>
          <p:cNvPr id="20" name="Connector: Elbow 19">
            <a:extLst>
              <a:ext uri="{FF2B5EF4-FFF2-40B4-BE49-F238E27FC236}">
                <a16:creationId xmlns:a16="http://schemas.microsoft.com/office/drawing/2014/main" id="{22E81CE1-970B-4483-A75E-2B089E858475}"/>
              </a:ext>
            </a:extLst>
          </p:cNvPr>
          <p:cNvCxnSpPr>
            <a:cxnSpLocks/>
          </p:cNvCxnSpPr>
          <p:nvPr/>
        </p:nvCxnSpPr>
        <p:spPr>
          <a:xfrm rot="5400000" flipH="1" flipV="1">
            <a:off x="8583507" y="2565783"/>
            <a:ext cx="1585743" cy="303893"/>
          </a:xfrm>
          <a:prstGeom prst="bentConnector3">
            <a:avLst>
              <a:gd name="adj1" fmla="val 100030"/>
            </a:avLst>
          </a:prstGeom>
          <a:ln w="9525">
            <a:solidFill>
              <a:srgbClr val="C4C4CD"/>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6AF61AAC-47AB-4838-8B37-934BF27DEB9C}"/>
              </a:ext>
            </a:extLst>
          </p:cNvPr>
          <p:cNvCxnSpPr>
            <a:cxnSpLocks/>
          </p:cNvCxnSpPr>
          <p:nvPr/>
        </p:nvCxnSpPr>
        <p:spPr>
          <a:xfrm>
            <a:off x="8777699" y="3510596"/>
            <a:ext cx="731586" cy="0"/>
          </a:xfrm>
          <a:prstGeom prst="straightConnector1">
            <a:avLst/>
          </a:prstGeom>
          <a:ln w="9525">
            <a:solidFill>
              <a:srgbClr val="C4C4CD"/>
            </a:solidFill>
            <a:tailEnd type="triangle"/>
          </a:ln>
        </p:spPr>
        <p:style>
          <a:lnRef idx="1">
            <a:schemeClr val="accent1"/>
          </a:lnRef>
          <a:fillRef idx="0">
            <a:schemeClr val="accent1"/>
          </a:fillRef>
          <a:effectRef idx="0">
            <a:schemeClr val="accent1"/>
          </a:effectRef>
          <a:fontRef idx="minor">
            <a:schemeClr val="tx1"/>
          </a:fontRef>
        </p:style>
      </p:cxnSp>
      <p:cxnSp>
        <p:nvCxnSpPr>
          <p:cNvPr id="481" name="Connector: Elbow 480">
            <a:extLst>
              <a:ext uri="{FF2B5EF4-FFF2-40B4-BE49-F238E27FC236}">
                <a16:creationId xmlns:a16="http://schemas.microsoft.com/office/drawing/2014/main" id="{6EBB795A-E81F-41E0-89E1-2C1AEEE7737F}"/>
              </a:ext>
            </a:extLst>
          </p:cNvPr>
          <p:cNvCxnSpPr>
            <a:cxnSpLocks/>
          </p:cNvCxnSpPr>
          <p:nvPr/>
        </p:nvCxnSpPr>
        <p:spPr>
          <a:xfrm rot="16200000" flipH="1">
            <a:off x="8546652" y="4212078"/>
            <a:ext cx="1608938" cy="253381"/>
          </a:xfrm>
          <a:prstGeom prst="bentConnector3">
            <a:avLst>
              <a:gd name="adj1" fmla="val 100097"/>
            </a:avLst>
          </a:prstGeom>
          <a:ln w="9525">
            <a:solidFill>
              <a:srgbClr val="C4C4CD"/>
            </a:solidFill>
            <a:tailEnd type="triangle"/>
          </a:ln>
        </p:spPr>
        <p:style>
          <a:lnRef idx="1">
            <a:schemeClr val="accent1"/>
          </a:lnRef>
          <a:fillRef idx="0">
            <a:schemeClr val="accent1"/>
          </a:fillRef>
          <a:effectRef idx="0">
            <a:schemeClr val="accent1"/>
          </a:effectRef>
          <a:fontRef idx="minor">
            <a:schemeClr val="tx1"/>
          </a:fontRef>
        </p:style>
      </p:cxnSp>
      <p:grpSp>
        <p:nvGrpSpPr>
          <p:cNvPr id="9" name="2. H2 Generation Reforming">
            <a:extLst>
              <a:ext uri="{FF2B5EF4-FFF2-40B4-BE49-F238E27FC236}">
                <a16:creationId xmlns:a16="http://schemas.microsoft.com/office/drawing/2014/main" id="{A8FCCAAD-1351-49BE-8FC7-E14A7FE2FFD7}"/>
              </a:ext>
            </a:extLst>
          </p:cNvPr>
          <p:cNvGrpSpPr/>
          <p:nvPr/>
        </p:nvGrpSpPr>
        <p:grpSpPr>
          <a:xfrm>
            <a:off x="2978980" y="3463509"/>
            <a:ext cx="2153714" cy="2102962"/>
            <a:chOff x="2980531" y="3463527"/>
            <a:chExt cx="2154836" cy="2104057"/>
          </a:xfrm>
        </p:grpSpPr>
        <p:pic>
          <p:nvPicPr>
            <p:cNvPr id="1531" name="Picture 1531"/>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a:xfrm>
              <a:off x="4747458" y="5201506"/>
              <a:ext cx="387909" cy="101547"/>
            </a:xfrm>
            <a:prstGeom prst="rect">
              <a:avLst/>
            </a:prstGeom>
            <a:noFill/>
          </p:spPr>
        </p:pic>
        <p:sp>
          <p:nvSpPr>
            <p:cNvPr id="1269" name="Freeform 1269"/>
            <p:cNvSpPr/>
            <p:nvPr/>
          </p:nvSpPr>
          <p:spPr>
            <a:xfrm>
              <a:off x="3226280" y="3977355"/>
              <a:ext cx="359477" cy="335106"/>
            </a:xfrm>
            <a:custGeom>
              <a:avLst/>
              <a:gdLst/>
              <a:ahLst/>
              <a:cxnLst/>
              <a:rect l="0" t="0" r="0" b="0"/>
              <a:pathLst>
                <a:path w="359664" h="335281">
                  <a:moveTo>
                    <a:pt x="171958" y="165609"/>
                  </a:moveTo>
                  <a:lnTo>
                    <a:pt x="171958" y="165609"/>
                  </a:lnTo>
                  <a:lnTo>
                    <a:pt x="168276" y="172847"/>
                  </a:lnTo>
                  <a:lnTo>
                    <a:pt x="166370" y="176531"/>
                  </a:lnTo>
                  <a:lnTo>
                    <a:pt x="164593" y="180340"/>
                  </a:lnTo>
                  <a:lnTo>
                    <a:pt x="162942" y="184150"/>
                  </a:lnTo>
                  <a:lnTo>
                    <a:pt x="161290" y="187960"/>
                  </a:lnTo>
                  <a:lnTo>
                    <a:pt x="159767" y="191897"/>
                  </a:lnTo>
                  <a:lnTo>
                    <a:pt x="158243" y="195962"/>
                  </a:lnTo>
                  <a:lnTo>
                    <a:pt x="156972" y="199899"/>
                  </a:lnTo>
                  <a:lnTo>
                    <a:pt x="155702" y="203835"/>
                  </a:lnTo>
                  <a:lnTo>
                    <a:pt x="154813" y="207772"/>
                  </a:lnTo>
                  <a:lnTo>
                    <a:pt x="153925" y="211709"/>
                  </a:lnTo>
                  <a:lnTo>
                    <a:pt x="153163" y="215646"/>
                  </a:lnTo>
                  <a:lnTo>
                    <a:pt x="152655" y="219456"/>
                  </a:lnTo>
                  <a:lnTo>
                    <a:pt x="152274" y="223266"/>
                  </a:lnTo>
                  <a:lnTo>
                    <a:pt x="152274" y="227077"/>
                  </a:lnTo>
                  <a:lnTo>
                    <a:pt x="152274" y="230633"/>
                  </a:lnTo>
                  <a:lnTo>
                    <a:pt x="152655" y="233934"/>
                  </a:lnTo>
                  <a:lnTo>
                    <a:pt x="152908" y="237109"/>
                  </a:lnTo>
                  <a:lnTo>
                    <a:pt x="153289" y="240158"/>
                  </a:lnTo>
                  <a:lnTo>
                    <a:pt x="153797" y="242952"/>
                  </a:lnTo>
                  <a:lnTo>
                    <a:pt x="154432" y="245618"/>
                  </a:lnTo>
                  <a:lnTo>
                    <a:pt x="155195" y="248031"/>
                  </a:lnTo>
                  <a:lnTo>
                    <a:pt x="156211" y="250444"/>
                  </a:lnTo>
                  <a:lnTo>
                    <a:pt x="156972" y="252477"/>
                  </a:lnTo>
                  <a:lnTo>
                    <a:pt x="158115" y="254509"/>
                  </a:lnTo>
                  <a:lnTo>
                    <a:pt x="159258" y="256287"/>
                  </a:lnTo>
                  <a:lnTo>
                    <a:pt x="160401" y="258065"/>
                  </a:lnTo>
                  <a:lnTo>
                    <a:pt x="161671" y="259588"/>
                  </a:lnTo>
                  <a:lnTo>
                    <a:pt x="162942" y="260985"/>
                  </a:lnTo>
                  <a:lnTo>
                    <a:pt x="164338" y="262256"/>
                  </a:lnTo>
                  <a:lnTo>
                    <a:pt x="165736" y="263399"/>
                  </a:lnTo>
                  <a:lnTo>
                    <a:pt x="165101" y="261493"/>
                  </a:lnTo>
                  <a:lnTo>
                    <a:pt x="164593" y="259588"/>
                  </a:lnTo>
                  <a:lnTo>
                    <a:pt x="164212" y="257303"/>
                  </a:lnTo>
                  <a:lnTo>
                    <a:pt x="163831" y="255016"/>
                  </a:lnTo>
                  <a:lnTo>
                    <a:pt x="163576" y="252603"/>
                  </a:lnTo>
                  <a:lnTo>
                    <a:pt x="163322" y="250190"/>
                  </a:lnTo>
                  <a:lnTo>
                    <a:pt x="163322" y="247524"/>
                  </a:lnTo>
                  <a:lnTo>
                    <a:pt x="163069" y="244730"/>
                  </a:lnTo>
                  <a:lnTo>
                    <a:pt x="163322" y="242190"/>
                  </a:lnTo>
                  <a:lnTo>
                    <a:pt x="163322" y="239522"/>
                  </a:lnTo>
                  <a:lnTo>
                    <a:pt x="163703" y="236728"/>
                  </a:lnTo>
                  <a:lnTo>
                    <a:pt x="163957" y="234188"/>
                  </a:lnTo>
                  <a:lnTo>
                    <a:pt x="164846" y="228728"/>
                  </a:lnTo>
                  <a:lnTo>
                    <a:pt x="165989" y="223393"/>
                  </a:lnTo>
                  <a:lnTo>
                    <a:pt x="167513" y="218059"/>
                  </a:lnTo>
                  <a:lnTo>
                    <a:pt x="168911" y="212980"/>
                  </a:lnTo>
                  <a:lnTo>
                    <a:pt x="170562" y="207900"/>
                  </a:lnTo>
                  <a:lnTo>
                    <a:pt x="172213" y="203328"/>
                  </a:lnTo>
                  <a:lnTo>
                    <a:pt x="173990" y="199009"/>
                  </a:lnTo>
                  <a:lnTo>
                    <a:pt x="175514" y="194946"/>
                  </a:lnTo>
                  <a:lnTo>
                    <a:pt x="178563" y="188468"/>
                  </a:lnTo>
                  <a:lnTo>
                    <a:pt x="180595" y="184150"/>
                  </a:lnTo>
                  <a:lnTo>
                    <a:pt x="181230" y="182627"/>
                  </a:lnTo>
                  <a:lnTo>
                    <a:pt x="182119" y="184150"/>
                  </a:lnTo>
                  <a:lnTo>
                    <a:pt x="184151" y="188468"/>
                  </a:lnTo>
                  <a:lnTo>
                    <a:pt x="187071" y="194946"/>
                  </a:lnTo>
                  <a:lnTo>
                    <a:pt x="188850" y="199009"/>
                  </a:lnTo>
                  <a:lnTo>
                    <a:pt x="190374" y="203328"/>
                  </a:lnTo>
                  <a:lnTo>
                    <a:pt x="192151" y="207900"/>
                  </a:lnTo>
                  <a:lnTo>
                    <a:pt x="193802" y="212980"/>
                  </a:lnTo>
                  <a:lnTo>
                    <a:pt x="195326" y="218059"/>
                  </a:lnTo>
                  <a:lnTo>
                    <a:pt x="196724" y="223393"/>
                  </a:lnTo>
                  <a:lnTo>
                    <a:pt x="197867" y="228728"/>
                  </a:lnTo>
                  <a:lnTo>
                    <a:pt x="198756" y="234188"/>
                  </a:lnTo>
                  <a:lnTo>
                    <a:pt x="199009" y="236728"/>
                  </a:lnTo>
                  <a:lnTo>
                    <a:pt x="199263" y="239522"/>
                  </a:lnTo>
                  <a:lnTo>
                    <a:pt x="199518" y="242190"/>
                  </a:lnTo>
                  <a:lnTo>
                    <a:pt x="199518" y="244730"/>
                  </a:lnTo>
                  <a:lnTo>
                    <a:pt x="199518" y="247905"/>
                  </a:lnTo>
                  <a:lnTo>
                    <a:pt x="199263" y="250953"/>
                  </a:lnTo>
                  <a:lnTo>
                    <a:pt x="199009" y="253874"/>
                  </a:lnTo>
                  <a:lnTo>
                    <a:pt x="198628" y="256413"/>
                  </a:lnTo>
                  <a:lnTo>
                    <a:pt x="198120" y="258953"/>
                  </a:lnTo>
                  <a:lnTo>
                    <a:pt x="197486" y="261366"/>
                  </a:lnTo>
                  <a:lnTo>
                    <a:pt x="196724" y="263525"/>
                  </a:lnTo>
                  <a:lnTo>
                    <a:pt x="195962" y="265558"/>
                  </a:lnTo>
                  <a:lnTo>
                    <a:pt x="197739" y="264541"/>
                  </a:lnTo>
                  <a:lnTo>
                    <a:pt x="199518" y="263271"/>
                  </a:lnTo>
                  <a:lnTo>
                    <a:pt x="201042" y="262128"/>
                  </a:lnTo>
                  <a:lnTo>
                    <a:pt x="202693" y="260478"/>
                  </a:lnTo>
                  <a:lnTo>
                    <a:pt x="204217" y="258827"/>
                  </a:lnTo>
                  <a:lnTo>
                    <a:pt x="205613" y="256921"/>
                  </a:lnTo>
                  <a:lnTo>
                    <a:pt x="207011" y="254762"/>
                  </a:lnTo>
                  <a:lnTo>
                    <a:pt x="208153" y="252603"/>
                  </a:lnTo>
                  <a:lnTo>
                    <a:pt x="209170" y="250190"/>
                  </a:lnTo>
                  <a:lnTo>
                    <a:pt x="210313" y="247524"/>
                  </a:lnTo>
                  <a:lnTo>
                    <a:pt x="211201" y="244730"/>
                  </a:lnTo>
                  <a:lnTo>
                    <a:pt x="211837" y="241555"/>
                  </a:lnTo>
                  <a:lnTo>
                    <a:pt x="212345" y="238253"/>
                  </a:lnTo>
                  <a:lnTo>
                    <a:pt x="212980" y="234824"/>
                  </a:lnTo>
                  <a:lnTo>
                    <a:pt x="213107" y="231013"/>
                  </a:lnTo>
                  <a:lnTo>
                    <a:pt x="213233" y="227077"/>
                  </a:lnTo>
                  <a:lnTo>
                    <a:pt x="213233" y="224663"/>
                  </a:lnTo>
                  <a:lnTo>
                    <a:pt x="213107" y="222124"/>
                  </a:lnTo>
                  <a:lnTo>
                    <a:pt x="212599" y="217171"/>
                  </a:lnTo>
                  <a:lnTo>
                    <a:pt x="211709" y="212218"/>
                  </a:lnTo>
                  <a:lnTo>
                    <a:pt x="210567" y="207010"/>
                  </a:lnTo>
                  <a:lnTo>
                    <a:pt x="209170" y="201931"/>
                  </a:lnTo>
                  <a:lnTo>
                    <a:pt x="207519" y="196724"/>
                  </a:lnTo>
                  <a:lnTo>
                    <a:pt x="205613" y="191516"/>
                  </a:lnTo>
                  <a:lnTo>
                    <a:pt x="203455" y="186309"/>
                  </a:lnTo>
                  <a:lnTo>
                    <a:pt x="201295" y="181103"/>
                  </a:lnTo>
                  <a:lnTo>
                    <a:pt x="199009" y="176150"/>
                  </a:lnTo>
                  <a:lnTo>
                    <a:pt x="196343" y="171069"/>
                  </a:lnTo>
                  <a:lnTo>
                    <a:pt x="193802" y="166116"/>
                  </a:lnTo>
                  <a:lnTo>
                    <a:pt x="191008" y="161290"/>
                  </a:lnTo>
                  <a:lnTo>
                    <a:pt x="188214" y="156591"/>
                  </a:lnTo>
                  <a:lnTo>
                    <a:pt x="185420" y="152019"/>
                  </a:lnTo>
                  <a:lnTo>
                    <a:pt x="182626" y="147702"/>
                  </a:lnTo>
                  <a:lnTo>
                    <a:pt x="180213" y="151638"/>
                  </a:lnTo>
                  <a:lnTo>
                    <a:pt x="177546" y="155956"/>
                  </a:lnTo>
                  <a:lnTo>
                    <a:pt x="174880" y="160656"/>
                  </a:lnTo>
                  <a:lnTo>
                    <a:pt x="171958" y="165609"/>
                  </a:lnTo>
                  <a:close/>
                  <a:moveTo>
                    <a:pt x="-510032" y="2880360"/>
                  </a:moveTo>
                  <a:moveTo>
                    <a:pt x="151765" y="157988"/>
                  </a:moveTo>
                  <a:lnTo>
                    <a:pt x="151765" y="157988"/>
                  </a:lnTo>
                  <a:lnTo>
                    <a:pt x="153925" y="154433"/>
                  </a:lnTo>
                  <a:lnTo>
                    <a:pt x="156211" y="150496"/>
                  </a:lnTo>
                  <a:lnTo>
                    <a:pt x="161163" y="142494"/>
                  </a:lnTo>
                  <a:lnTo>
                    <a:pt x="166370" y="135002"/>
                  </a:lnTo>
                  <a:lnTo>
                    <a:pt x="171324" y="127890"/>
                  </a:lnTo>
                  <a:lnTo>
                    <a:pt x="175769" y="121540"/>
                  </a:lnTo>
                  <a:lnTo>
                    <a:pt x="179325" y="116587"/>
                  </a:lnTo>
                  <a:lnTo>
                    <a:pt x="182626" y="112268"/>
                  </a:lnTo>
                  <a:lnTo>
                    <a:pt x="185928" y="116587"/>
                  </a:lnTo>
                  <a:lnTo>
                    <a:pt x="189612" y="121540"/>
                  </a:lnTo>
                  <a:lnTo>
                    <a:pt x="194183" y="127890"/>
                  </a:lnTo>
                  <a:lnTo>
                    <a:pt x="199263" y="135002"/>
                  </a:lnTo>
                  <a:lnTo>
                    <a:pt x="204344" y="142494"/>
                  </a:lnTo>
                  <a:lnTo>
                    <a:pt x="209170" y="150496"/>
                  </a:lnTo>
                  <a:lnTo>
                    <a:pt x="211456" y="154433"/>
                  </a:lnTo>
                  <a:lnTo>
                    <a:pt x="213614" y="157988"/>
                  </a:lnTo>
                  <a:lnTo>
                    <a:pt x="217678" y="165609"/>
                  </a:lnTo>
                  <a:lnTo>
                    <a:pt x="219583" y="169546"/>
                  </a:lnTo>
                  <a:lnTo>
                    <a:pt x="221615" y="173609"/>
                  </a:lnTo>
                  <a:lnTo>
                    <a:pt x="223394" y="177800"/>
                  </a:lnTo>
                  <a:lnTo>
                    <a:pt x="225171" y="181991"/>
                  </a:lnTo>
                  <a:lnTo>
                    <a:pt x="226950" y="186437"/>
                  </a:lnTo>
                  <a:lnTo>
                    <a:pt x="228474" y="190881"/>
                  </a:lnTo>
                  <a:lnTo>
                    <a:pt x="229997" y="195327"/>
                  </a:lnTo>
                  <a:lnTo>
                    <a:pt x="231395" y="199771"/>
                  </a:lnTo>
                  <a:lnTo>
                    <a:pt x="232538" y="204343"/>
                  </a:lnTo>
                  <a:lnTo>
                    <a:pt x="233426" y="208915"/>
                  </a:lnTo>
                  <a:lnTo>
                    <a:pt x="234315" y="213487"/>
                  </a:lnTo>
                  <a:lnTo>
                    <a:pt x="234951" y="218059"/>
                  </a:lnTo>
                  <a:lnTo>
                    <a:pt x="235205" y="222631"/>
                  </a:lnTo>
                  <a:lnTo>
                    <a:pt x="235458" y="227077"/>
                  </a:lnTo>
                  <a:lnTo>
                    <a:pt x="235458" y="230378"/>
                  </a:lnTo>
                  <a:lnTo>
                    <a:pt x="235205" y="233681"/>
                  </a:lnTo>
                  <a:lnTo>
                    <a:pt x="234951" y="236856"/>
                  </a:lnTo>
                  <a:lnTo>
                    <a:pt x="234443" y="240158"/>
                  </a:lnTo>
                  <a:lnTo>
                    <a:pt x="233934" y="243078"/>
                  </a:lnTo>
                  <a:lnTo>
                    <a:pt x="233426" y="246000"/>
                  </a:lnTo>
                  <a:lnTo>
                    <a:pt x="232538" y="248921"/>
                  </a:lnTo>
                  <a:lnTo>
                    <a:pt x="231649" y="251715"/>
                  </a:lnTo>
                  <a:lnTo>
                    <a:pt x="230759" y="254381"/>
                  </a:lnTo>
                  <a:lnTo>
                    <a:pt x="229744" y="257049"/>
                  </a:lnTo>
                  <a:lnTo>
                    <a:pt x="228474" y="259588"/>
                  </a:lnTo>
                  <a:lnTo>
                    <a:pt x="227203" y="262128"/>
                  </a:lnTo>
                  <a:lnTo>
                    <a:pt x="225807" y="264287"/>
                  </a:lnTo>
                  <a:lnTo>
                    <a:pt x="224282" y="266446"/>
                  </a:lnTo>
                  <a:lnTo>
                    <a:pt x="222758" y="268733"/>
                  </a:lnTo>
                  <a:lnTo>
                    <a:pt x="221107" y="270765"/>
                  </a:lnTo>
                  <a:lnTo>
                    <a:pt x="219330" y="272543"/>
                  </a:lnTo>
                  <a:lnTo>
                    <a:pt x="217551" y="274447"/>
                  </a:lnTo>
                  <a:lnTo>
                    <a:pt x="215646" y="276099"/>
                  </a:lnTo>
                  <a:lnTo>
                    <a:pt x="213488" y="277750"/>
                  </a:lnTo>
                  <a:lnTo>
                    <a:pt x="211456" y="279146"/>
                  </a:lnTo>
                  <a:lnTo>
                    <a:pt x="209170" y="280416"/>
                  </a:lnTo>
                  <a:lnTo>
                    <a:pt x="206757" y="281687"/>
                  </a:lnTo>
                  <a:lnTo>
                    <a:pt x="204470" y="282830"/>
                  </a:lnTo>
                  <a:lnTo>
                    <a:pt x="201931" y="283846"/>
                  </a:lnTo>
                  <a:lnTo>
                    <a:pt x="199518" y="284608"/>
                  </a:lnTo>
                  <a:lnTo>
                    <a:pt x="196851" y="285496"/>
                  </a:lnTo>
                  <a:lnTo>
                    <a:pt x="194183" y="286131"/>
                  </a:lnTo>
                  <a:lnTo>
                    <a:pt x="191389" y="286512"/>
                  </a:lnTo>
                  <a:lnTo>
                    <a:pt x="188595" y="286893"/>
                  </a:lnTo>
                  <a:lnTo>
                    <a:pt x="185675" y="287147"/>
                  </a:lnTo>
                  <a:lnTo>
                    <a:pt x="182626" y="287147"/>
                  </a:lnTo>
                  <a:lnTo>
                    <a:pt x="179706" y="287147"/>
                  </a:lnTo>
                  <a:lnTo>
                    <a:pt x="176784" y="286893"/>
                  </a:lnTo>
                  <a:lnTo>
                    <a:pt x="174118" y="286512"/>
                  </a:lnTo>
                  <a:lnTo>
                    <a:pt x="171324" y="286131"/>
                  </a:lnTo>
                  <a:lnTo>
                    <a:pt x="168657" y="285496"/>
                  </a:lnTo>
                  <a:lnTo>
                    <a:pt x="165989" y="284862"/>
                  </a:lnTo>
                  <a:lnTo>
                    <a:pt x="163576" y="283972"/>
                  </a:lnTo>
                  <a:lnTo>
                    <a:pt x="161037" y="282956"/>
                  </a:lnTo>
                  <a:lnTo>
                    <a:pt x="158624" y="281940"/>
                  </a:lnTo>
                  <a:lnTo>
                    <a:pt x="156211" y="280671"/>
                  </a:lnTo>
                  <a:lnTo>
                    <a:pt x="154051" y="279400"/>
                  </a:lnTo>
                  <a:lnTo>
                    <a:pt x="152020" y="278003"/>
                  </a:lnTo>
                  <a:lnTo>
                    <a:pt x="149988" y="276480"/>
                  </a:lnTo>
                  <a:lnTo>
                    <a:pt x="147956" y="274702"/>
                  </a:lnTo>
                  <a:lnTo>
                    <a:pt x="146177" y="273050"/>
                  </a:lnTo>
                  <a:lnTo>
                    <a:pt x="144400" y="271146"/>
                  </a:lnTo>
                  <a:lnTo>
                    <a:pt x="142749" y="269113"/>
                  </a:lnTo>
                  <a:lnTo>
                    <a:pt x="141097" y="266955"/>
                  </a:lnTo>
                  <a:lnTo>
                    <a:pt x="139574" y="264796"/>
                  </a:lnTo>
                  <a:lnTo>
                    <a:pt x="138303" y="262509"/>
                  </a:lnTo>
                  <a:lnTo>
                    <a:pt x="136907" y="260096"/>
                  </a:lnTo>
                  <a:lnTo>
                    <a:pt x="135763" y="257556"/>
                  </a:lnTo>
                  <a:lnTo>
                    <a:pt x="134747" y="255016"/>
                  </a:lnTo>
                  <a:lnTo>
                    <a:pt x="133858" y="252222"/>
                  </a:lnTo>
                  <a:lnTo>
                    <a:pt x="132843" y="249302"/>
                  </a:lnTo>
                  <a:lnTo>
                    <a:pt x="132207" y="246508"/>
                  </a:lnTo>
                  <a:lnTo>
                    <a:pt x="131445" y="243459"/>
                  </a:lnTo>
                  <a:lnTo>
                    <a:pt x="131064" y="240284"/>
                  </a:lnTo>
                  <a:lnTo>
                    <a:pt x="130683" y="237109"/>
                  </a:lnTo>
                  <a:lnTo>
                    <a:pt x="130176" y="233934"/>
                  </a:lnTo>
                  <a:lnTo>
                    <a:pt x="130049" y="230506"/>
                  </a:lnTo>
                  <a:lnTo>
                    <a:pt x="130049" y="227077"/>
                  </a:lnTo>
                  <a:lnTo>
                    <a:pt x="130176" y="222631"/>
                  </a:lnTo>
                  <a:lnTo>
                    <a:pt x="130430" y="218059"/>
                  </a:lnTo>
                  <a:lnTo>
                    <a:pt x="131192" y="213487"/>
                  </a:lnTo>
                  <a:lnTo>
                    <a:pt x="131826" y="208915"/>
                  </a:lnTo>
                  <a:lnTo>
                    <a:pt x="132970" y="204343"/>
                  </a:lnTo>
                  <a:lnTo>
                    <a:pt x="134113" y="199771"/>
                  </a:lnTo>
                  <a:lnTo>
                    <a:pt x="135509" y="195327"/>
                  </a:lnTo>
                  <a:lnTo>
                    <a:pt x="136907" y="190881"/>
                  </a:lnTo>
                  <a:lnTo>
                    <a:pt x="138557" y="186437"/>
                  </a:lnTo>
                  <a:lnTo>
                    <a:pt x="140208" y="181991"/>
                  </a:lnTo>
                  <a:lnTo>
                    <a:pt x="141987" y="177800"/>
                  </a:lnTo>
                  <a:lnTo>
                    <a:pt x="144019" y="173609"/>
                  </a:lnTo>
                  <a:lnTo>
                    <a:pt x="145924" y="169546"/>
                  </a:lnTo>
                  <a:lnTo>
                    <a:pt x="147828" y="165609"/>
                  </a:lnTo>
                  <a:lnTo>
                    <a:pt x="151765" y="157988"/>
                  </a:lnTo>
                  <a:close/>
                  <a:moveTo>
                    <a:pt x="-502411" y="2880360"/>
                  </a:moveTo>
                  <a:moveTo>
                    <a:pt x="301499" y="74422"/>
                  </a:moveTo>
                  <a:lnTo>
                    <a:pt x="63246" y="74422"/>
                  </a:lnTo>
                  <a:lnTo>
                    <a:pt x="63246" y="315850"/>
                  </a:lnTo>
                  <a:lnTo>
                    <a:pt x="41021" y="315850"/>
                  </a:lnTo>
                  <a:lnTo>
                    <a:pt x="41021" y="0"/>
                  </a:lnTo>
                  <a:lnTo>
                    <a:pt x="323724" y="0"/>
                  </a:lnTo>
                  <a:lnTo>
                    <a:pt x="323724" y="315850"/>
                  </a:lnTo>
                  <a:lnTo>
                    <a:pt x="301499" y="315850"/>
                  </a:lnTo>
                  <a:lnTo>
                    <a:pt x="301499" y="74422"/>
                  </a:lnTo>
                  <a:close/>
                  <a:moveTo>
                    <a:pt x="-418845" y="2880360"/>
                  </a:moveTo>
                  <a:moveTo>
                    <a:pt x="63246" y="65278"/>
                  </a:moveTo>
                  <a:lnTo>
                    <a:pt x="301499" y="65278"/>
                  </a:lnTo>
                  <a:lnTo>
                    <a:pt x="301499" y="18288"/>
                  </a:lnTo>
                  <a:lnTo>
                    <a:pt x="63246" y="18288"/>
                  </a:lnTo>
                  <a:lnTo>
                    <a:pt x="63246" y="65278"/>
                  </a:lnTo>
                  <a:close/>
                  <a:moveTo>
                    <a:pt x="-409701" y="2880360"/>
                  </a:moveTo>
                  <a:moveTo>
                    <a:pt x="94362" y="38481"/>
                  </a:moveTo>
                  <a:lnTo>
                    <a:pt x="94362" y="38481"/>
                  </a:lnTo>
                  <a:lnTo>
                    <a:pt x="92964" y="38609"/>
                  </a:lnTo>
                  <a:lnTo>
                    <a:pt x="91821" y="38990"/>
                  </a:lnTo>
                  <a:lnTo>
                    <a:pt x="90806" y="39371"/>
                  </a:lnTo>
                  <a:lnTo>
                    <a:pt x="89789" y="40006"/>
                  </a:lnTo>
                  <a:lnTo>
                    <a:pt x="89027" y="40768"/>
                  </a:lnTo>
                  <a:lnTo>
                    <a:pt x="88520" y="41784"/>
                  </a:lnTo>
                  <a:lnTo>
                    <a:pt x="88012" y="42800"/>
                  </a:lnTo>
                  <a:lnTo>
                    <a:pt x="87884" y="43815"/>
                  </a:lnTo>
                  <a:lnTo>
                    <a:pt x="88012" y="44959"/>
                  </a:lnTo>
                  <a:lnTo>
                    <a:pt x="88520" y="45975"/>
                  </a:lnTo>
                  <a:lnTo>
                    <a:pt x="89027" y="46863"/>
                  </a:lnTo>
                  <a:lnTo>
                    <a:pt x="89789" y="47753"/>
                  </a:lnTo>
                  <a:lnTo>
                    <a:pt x="90806" y="48260"/>
                  </a:lnTo>
                  <a:lnTo>
                    <a:pt x="91821" y="48896"/>
                  </a:lnTo>
                  <a:lnTo>
                    <a:pt x="92964" y="49022"/>
                  </a:lnTo>
                  <a:lnTo>
                    <a:pt x="94362" y="49150"/>
                  </a:lnTo>
                  <a:lnTo>
                    <a:pt x="95632" y="49022"/>
                  </a:lnTo>
                  <a:lnTo>
                    <a:pt x="96901" y="48896"/>
                  </a:lnTo>
                  <a:lnTo>
                    <a:pt x="98045" y="48260"/>
                  </a:lnTo>
                  <a:lnTo>
                    <a:pt x="98933" y="47753"/>
                  </a:lnTo>
                  <a:lnTo>
                    <a:pt x="99822" y="46863"/>
                  </a:lnTo>
                  <a:lnTo>
                    <a:pt x="100331" y="45975"/>
                  </a:lnTo>
                  <a:lnTo>
                    <a:pt x="100712" y="44959"/>
                  </a:lnTo>
                  <a:lnTo>
                    <a:pt x="100965" y="43815"/>
                  </a:lnTo>
                  <a:lnTo>
                    <a:pt x="100712" y="42800"/>
                  </a:lnTo>
                  <a:lnTo>
                    <a:pt x="100331" y="41784"/>
                  </a:lnTo>
                  <a:lnTo>
                    <a:pt x="99822" y="40768"/>
                  </a:lnTo>
                  <a:lnTo>
                    <a:pt x="98933" y="40006"/>
                  </a:lnTo>
                  <a:lnTo>
                    <a:pt x="98045" y="39371"/>
                  </a:lnTo>
                  <a:lnTo>
                    <a:pt x="96901" y="38990"/>
                  </a:lnTo>
                  <a:lnTo>
                    <a:pt x="95632" y="38609"/>
                  </a:lnTo>
                  <a:lnTo>
                    <a:pt x="94362" y="38481"/>
                  </a:lnTo>
                  <a:close/>
                  <a:moveTo>
                    <a:pt x="-382904" y="2880360"/>
                  </a:moveTo>
                  <a:moveTo>
                    <a:pt x="94362" y="29337"/>
                  </a:moveTo>
                  <a:lnTo>
                    <a:pt x="94362" y="29337"/>
                  </a:lnTo>
                  <a:lnTo>
                    <a:pt x="96267" y="29465"/>
                  </a:lnTo>
                  <a:lnTo>
                    <a:pt x="97918" y="29591"/>
                  </a:lnTo>
                  <a:lnTo>
                    <a:pt x="99695" y="29972"/>
                  </a:lnTo>
                  <a:lnTo>
                    <a:pt x="101220" y="30353"/>
                  </a:lnTo>
                  <a:lnTo>
                    <a:pt x="102744" y="31115"/>
                  </a:lnTo>
                  <a:lnTo>
                    <a:pt x="104268" y="31878"/>
                  </a:lnTo>
                  <a:lnTo>
                    <a:pt x="105664" y="32640"/>
                  </a:lnTo>
                  <a:lnTo>
                    <a:pt x="106934" y="33656"/>
                  </a:lnTo>
                  <a:lnTo>
                    <a:pt x="108077" y="34671"/>
                  </a:lnTo>
                  <a:lnTo>
                    <a:pt x="108967" y="35687"/>
                  </a:lnTo>
                  <a:lnTo>
                    <a:pt x="109856" y="36958"/>
                  </a:lnTo>
                  <a:lnTo>
                    <a:pt x="110618" y="38228"/>
                  </a:lnTo>
                  <a:lnTo>
                    <a:pt x="111126" y="39497"/>
                  </a:lnTo>
                  <a:lnTo>
                    <a:pt x="111633" y="41021"/>
                  </a:lnTo>
                  <a:lnTo>
                    <a:pt x="111888" y="42291"/>
                  </a:lnTo>
                  <a:lnTo>
                    <a:pt x="112014" y="43815"/>
                  </a:lnTo>
                  <a:lnTo>
                    <a:pt x="111888" y="45340"/>
                  </a:lnTo>
                  <a:lnTo>
                    <a:pt x="111633" y="46863"/>
                  </a:lnTo>
                  <a:lnTo>
                    <a:pt x="111126" y="48134"/>
                  </a:lnTo>
                  <a:lnTo>
                    <a:pt x="110618" y="49531"/>
                  </a:lnTo>
                  <a:lnTo>
                    <a:pt x="109856" y="50800"/>
                  </a:lnTo>
                  <a:lnTo>
                    <a:pt x="108967" y="51943"/>
                  </a:lnTo>
                  <a:lnTo>
                    <a:pt x="108077" y="53087"/>
                  </a:lnTo>
                  <a:lnTo>
                    <a:pt x="106934" y="54103"/>
                  </a:lnTo>
                  <a:lnTo>
                    <a:pt x="105664" y="54991"/>
                  </a:lnTo>
                  <a:lnTo>
                    <a:pt x="104268" y="56008"/>
                  </a:lnTo>
                  <a:lnTo>
                    <a:pt x="102744" y="56643"/>
                  </a:lnTo>
                  <a:lnTo>
                    <a:pt x="101220" y="57278"/>
                  </a:lnTo>
                  <a:lnTo>
                    <a:pt x="99695" y="57785"/>
                  </a:lnTo>
                  <a:lnTo>
                    <a:pt x="97918" y="58166"/>
                  </a:lnTo>
                  <a:lnTo>
                    <a:pt x="96267" y="58293"/>
                  </a:lnTo>
                  <a:lnTo>
                    <a:pt x="94362" y="58293"/>
                  </a:lnTo>
                  <a:lnTo>
                    <a:pt x="92583" y="58293"/>
                  </a:lnTo>
                  <a:lnTo>
                    <a:pt x="90806" y="58166"/>
                  </a:lnTo>
                  <a:lnTo>
                    <a:pt x="89155" y="57785"/>
                  </a:lnTo>
                  <a:lnTo>
                    <a:pt x="87376" y="57278"/>
                  </a:lnTo>
                  <a:lnTo>
                    <a:pt x="85852" y="56643"/>
                  </a:lnTo>
                  <a:lnTo>
                    <a:pt x="84582" y="56008"/>
                  </a:lnTo>
                  <a:lnTo>
                    <a:pt x="83186" y="54991"/>
                  </a:lnTo>
                  <a:lnTo>
                    <a:pt x="81915" y="54103"/>
                  </a:lnTo>
                  <a:lnTo>
                    <a:pt x="80772" y="53087"/>
                  </a:lnTo>
                  <a:lnTo>
                    <a:pt x="79630" y="51943"/>
                  </a:lnTo>
                  <a:lnTo>
                    <a:pt x="78868" y="50800"/>
                  </a:lnTo>
                  <a:lnTo>
                    <a:pt x="78106" y="49531"/>
                  </a:lnTo>
                  <a:lnTo>
                    <a:pt x="77597" y="48134"/>
                  </a:lnTo>
                  <a:lnTo>
                    <a:pt x="76963" y="46863"/>
                  </a:lnTo>
                  <a:lnTo>
                    <a:pt x="76708" y="45340"/>
                  </a:lnTo>
                  <a:lnTo>
                    <a:pt x="76708" y="43815"/>
                  </a:lnTo>
                  <a:lnTo>
                    <a:pt x="76708" y="42291"/>
                  </a:lnTo>
                  <a:lnTo>
                    <a:pt x="76963" y="41021"/>
                  </a:lnTo>
                  <a:lnTo>
                    <a:pt x="77597" y="39497"/>
                  </a:lnTo>
                  <a:lnTo>
                    <a:pt x="78106" y="38228"/>
                  </a:lnTo>
                  <a:lnTo>
                    <a:pt x="78868" y="36958"/>
                  </a:lnTo>
                  <a:lnTo>
                    <a:pt x="79630" y="35687"/>
                  </a:lnTo>
                  <a:lnTo>
                    <a:pt x="80772" y="34671"/>
                  </a:lnTo>
                  <a:lnTo>
                    <a:pt x="81915" y="33656"/>
                  </a:lnTo>
                  <a:lnTo>
                    <a:pt x="83186" y="32640"/>
                  </a:lnTo>
                  <a:lnTo>
                    <a:pt x="84582" y="31878"/>
                  </a:lnTo>
                  <a:lnTo>
                    <a:pt x="85852" y="31115"/>
                  </a:lnTo>
                  <a:lnTo>
                    <a:pt x="87376" y="30353"/>
                  </a:lnTo>
                  <a:lnTo>
                    <a:pt x="89155" y="29972"/>
                  </a:lnTo>
                  <a:lnTo>
                    <a:pt x="90806" y="29591"/>
                  </a:lnTo>
                  <a:lnTo>
                    <a:pt x="92583" y="29465"/>
                  </a:lnTo>
                  <a:lnTo>
                    <a:pt x="94362" y="29337"/>
                  </a:lnTo>
                  <a:close/>
                  <a:moveTo>
                    <a:pt x="-373760" y="2880360"/>
                  </a:moveTo>
                  <a:moveTo>
                    <a:pt x="0" y="326137"/>
                  </a:moveTo>
                  <a:lnTo>
                    <a:pt x="172847" y="326137"/>
                  </a:lnTo>
                  <a:lnTo>
                    <a:pt x="172847" y="303150"/>
                  </a:lnTo>
                  <a:lnTo>
                    <a:pt x="195072" y="303150"/>
                  </a:lnTo>
                  <a:lnTo>
                    <a:pt x="195072" y="326137"/>
                  </a:lnTo>
                  <a:lnTo>
                    <a:pt x="359664" y="326137"/>
                  </a:lnTo>
                  <a:lnTo>
                    <a:pt x="359664" y="335281"/>
                  </a:lnTo>
                  <a:lnTo>
                    <a:pt x="0" y="335281"/>
                  </a:lnTo>
                  <a:lnTo>
                    <a:pt x="0" y="326137"/>
                  </a:lnTo>
                  <a:close/>
                  <a:moveTo>
                    <a:pt x="-670560" y="2880360"/>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70" name="Freeform 1270"/>
            <p:cNvSpPr/>
            <p:nvPr/>
          </p:nvSpPr>
          <p:spPr>
            <a:xfrm>
              <a:off x="3098331" y="4059608"/>
              <a:ext cx="127949" cy="243714"/>
            </a:xfrm>
            <a:custGeom>
              <a:avLst/>
              <a:gdLst/>
              <a:ahLst/>
              <a:cxnLst/>
              <a:rect l="0" t="0" r="0" b="0"/>
              <a:pathLst>
                <a:path w="128016" h="243841">
                  <a:moveTo>
                    <a:pt x="49912" y="95759"/>
                  </a:moveTo>
                  <a:lnTo>
                    <a:pt x="49912" y="165228"/>
                  </a:lnTo>
                  <a:lnTo>
                    <a:pt x="47499" y="166244"/>
                  </a:lnTo>
                  <a:lnTo>
                    <a:pt x="45212" y="167387"/>
                  </a:lnTo>
                  <a:lnTo>
                    <a:pt x="42927" y="168403"/>
                  </a:lnTo>
                  <a:lnTo>
                    <a:pt x="40768" y="169800"/>
                  </a:lnTo>
                  <a:lnTo>
                    <a:pt x="38735" y="171069"/>
                  </a:lnTo>
                  <a:lnTo>
                    <a:pt x="36958" y="172720"/>
                  </a:lnTo>
                  <a:lnTo>
                    <a:pt x="35180" y="174244"/>
                  </a:lnTo>
                  <a:lnTo>
                    <a:pt x="33656" y="176022"/>
                  </a:lnTo>
                  <a:lnTo>
                    <a:pt x="32259" y="177800"/>
                  </a:lnTo>
                  <a:lnTo>
                    <a:pt x="30988" y="179706"/>
                  </a:lnTo>
                  <a:lnTo>
                    <a:pt x="29846" y="181738"/>
                  </a:lnTo>
                  <a:lnTo>
                    <a:pt x="28956" y="183897"/>
                  </a:lnTo>
                  <a:lnTo>
                    <a:pt x="28322" y="185801"/>
                  </a:lnTo>
                  <a:lnTo>
                    <a:pt x="27813" y="188214"/>
                  </a:lnTo>
                  <a:lnTo>
                    <a:pt x="27433" y="190373"/>
                  </a:lnTo>
                  <a:lnTo>
                    <a:pt x="27306" y="192660"/>
                  </a:lnTo>
                  <a:lnTo>
                    <a:pt x="27306" y="194184"/>
                  </a:lnTo>
                  <a:lnTo>
                    <a:pt x="27433" y="195707"/>
                  </a:lnTo>
                  <a:lnTo>
                    <a:pt x="27813" y="197104"/>
                  </a:lnTo>
                  <a:lnTo>
                    <a:pt x="28068" y="198629"/>
                  </a:lnTo>
                  <a:lnTo>
                    <a:pt x="28575" y="200025"/>
                  </a:lnTo>
                  <a:lnTo>
                    <a:pt x="28956" y="201422"/>
                  </a:lnTo>
                  <a:lnTo>
                    <a:pt x="29591" y="202947"/>
                  </a:lnTo>
                  <a:lnTo>
                    <a:pt x="30227" y="204216"/>
                  </a:lnTo>
                  <a:lnTo>
                    <a:pt x="30988" y="205613"/>
                  </a:lnTo>
                  <a:lnTo>
                    <a:pt x="31750" y="206884"/>
                  </a:lnTo>
                  <a:lnTo>
                    <a:pt x="32640" y="208026"/>
                  </a:lnTo>
                  <a:lnTo>
                    <a:pt x="33656" y="209169"/>
                  </a:lnTo>
                  <a:lnTo>
                    <a:pt x="34672" y="210439"/>
                  </a:lnTo>
                  <a:lnTo>
                    <a:pt x="35687" y="211456"/>
                  </a:lnTo>
                  <a:lnTo>
                    <a:pt x="36958" y="212598"/>
                  </a:lnTo>
                  <a:lnTo>
                    <a:pt x="38100" y="213614"/>
                  </a:lnTo>
                  <a:lnTo>
                    <a:pt x="39371" y="214631"/>
                  </a:lnTo>
                  <a:lnTo>
                    <a:pt x="40640" y="215519"/>
                  </a:lnTo>
                  <a:lnTo>
                    <a:pt x="42037" y="216409"/>
                  </a:lnTo>
                  <a:lnTo>
                    <a:pt x="43434" y="217297"/>
                  </a:lnTo>
                  <a:lnTo>
                    <a:pt x="44959" y="218060"/>
                  </a:lnTo>
                  <a:lnTo>
                    <a:pt x="46483" y="218822"/>
                  </a:lnTo>
                  <a:lnTo>
                    <a:pt x="48134" y="219457"/>
                  </a:lnTo>
                  <a:lnTo>
                    <a:pt x="49658" y="219964"/>
                  </a:lnTo>
                  <a:lnTo>
                    <a:pt x="51435" y="220472"/>
                  </a:lnTo>
                  <a:lnTo>
                    <a:pt x="53087" y="220981"/>
                  </a:lnTo>
                  <a:lnTo>
                    <a:pt x="54865" y="221362"/>
                  </a:lnTo>
                  <a:lnTo>
                    <a:pt x="56515" y="221742"/>
                  </a:lnTo>
                  <a:lnTo>
                    <a:pt x="58421" y="221997"/>
                  </a:lnTo>
                  <a:lnTo>
                    <a:pt x="60199" y="222123"/>
                  </a:lnTo>
                  <a:lnTo>
                    <a:pt x="61977" y="222250"/>
                  </a:lnTo>
                  <a:lnTo>
                    <a:pt x="64135" y="222250"/>
                  </a:lnTo>
                  <a:lnTo>
                    <a:pt x="66040" y="222250"/>
                  </a:lnTo>
                  <a:lnTo>
                    <a:pt x="67818" y="222123"/>
                  </a:lnTo>
                  <a:lnTo>
                    <a:pt x="69724" y="221997"/>
                  </a:lnTo>
                  <a:lnTo>
                    <a:pt x="71502" y="221742"/>
                  </a:lnTo>
                  <a:lnTo>
                    <a:pt x="73280" y="221362"/>
                  </a:lnTo>
                  <a:lnTo>
                    <a:pt x="75058" y="220981"/>
                  </a:lnTo>
                  <a:lnTo>
                    <a:pt x="76581" y="220472"/>
                  </a:lnTo>
                  <a:lnTo>
                    <a:pt x="78359" y="219964"/>
                  </a:lnTo>
                  <a:lnTo>
                    <a:pt x="79884" y="219457"/>
                  </a:lnTo>
                  <a:lnTo>
                    <a:pt x="81534" y="218822"/>
                  </a:lnTo>
                  <a:lnTo>
                    <a:pt x="83185" y="218060"/>
                  </a:lnTo>
                  <a:lnTo>
                    <a:pt x="84583" y="217297"/>
                  </a:lnTo>
                  <a:lnTo>
                    <a:pt x="86106" y="216409"/>
                  </a:lnTo>
                  <a:lnTo>
                    <a:pt x="87377" y="215519"/>
                  </a:lnTo>
                  <a:lnTo>
                    <a:pt x="88647" y="214631"/>
                  </a:lnTo>
                  <a:lnTo>
                    <a:pt x="90043" y="213614"/>
                  </a:lnTo>
                  <a:lnTo>
                    <a:pt x="91187" y="212598"/>
                  </a:lnTo>
                  <a:lnTo>
                    <a:pt x="92330" y="211456"/>
                  </a:lnTo>
                  <a:lnTo>
                    <a:pt x="93472" y="210439"/>
                  </a:lnTo>
                  <a:lnTo>
                    <a:pt x="94362" y="209169"/>
                  </a:lnTo>
                  <a:lnTo>
                    <a:pt x="95378" y="208026"/>
                  </a:lnTo>
                  <a:lnTo>
                    <a:pt x="96266" y="206884"/>
                  </a:lnTo>
                  <a:lnTo>
                    <a:pt x="97028" y="205613"/>
                  </a:lnTo>
                  <a:lnTo>
                    <a:pt x="97918" y="204216"/>
                  </a:lnTo>
                  <a:lnTo>
                    <a:pt x="98553" y="202947"/>
                  </a:lnTo>
                  <a:lnTo>
                    <a:pt x="99060" y="201422"/>
                  </a:lnTo>
                  <a:lnTo>
                    <a:pt x="99568" y="200025"/>
                  </a:lnTo>
                  <a:lnTo>
                    <a:pt x="99950" y="198629"/>
                  </a:lnTo>
                  <a:lnTo>
                    <a:pt x="100203" y="197104"/>
                  </a:lnTo>
                  <a:lnTo>
                    <a:pt x="100584" y="195707"/>
                  </a:lnTo>
                  <a:lnTo>
                    <a:pt x="100712" y="194184"/>
                  </a:lnTo>
                  <a:lnTo>
                    <a:pt x="100712" y="192660"/>
                  </a:lnTo>
                  <a:lnTo>
                    <a:pt x="100584" y="190373"/>
                  </a:lnTo>
                  <a:lnTo>
                    <a:pt x="100203" y="188214"/>
                  </a:lnTo>
                  <a:lnTo>
                    <a:pt x="99696" y="185801"/>
                  </a:lnTo>
                  <a:lnTo>
                    <a:pt x="99060" y="183897"/>
                  </a:lnTo>
                  <a:lnTo>
                    <a:pt x="98172" y="181738"/>
                  </a:lnTo>
                  <a:lnTo>
                    <a:pt x="97028" y="179706"/>
                  </a:lnTo>
                  <a:lnTo>
                    <a:pt x="95759" y="177800"/>
                  </a:lnTo>
                  <a:lnTo>
                    <a:pt x="94362" y="176022"/>
                  </a:lnTo>
                  <a:lnTo>
                    <a:pt x="92837" y="174244"/>
                  </a:lnTo>
                  <a:lnTo>
                    <a:pt x="91059" y="172720"/>
                  </a:lnTo>
                  <a:lnTo>
                    <a:pt x="89281" y="171069"/>
                  </a:lnTo>
                  <a:lnTo>
                    <a:pt x="87250" y="169800"/>
                  </a:lnTo>
                  <a:lnTo>
                    <a:pt x="85090" y="168403"/>
                  </a:lnTo>
                  <a:lnTo>
                    <a:pt x="82805" y="167387"/>
                  </a:lnTo>
                  <a:lnTo>
                    <a:pt x="80646" y="166244"/>
                  </a:lnTo>
                  <a:lnTo>
                    <a:pt x="78106" y="165228"/>
                  </a:lnTo>
                  <a:lnTo>
                    <a:pt x="78106" y="95759"/>
                  </a:lnTo>
                  <a:lnTo>
                    <a:pt x="49912" y="95759"/>
                  </a:lnTo>
                  <a:close/>
                  <a:moveTo>
                    <a:pt x="-394462" y="2798064"/>
                  </a:moveTo>
                  <a:moveTo>
                    <a:pt x="50038" y="57150"/>
                  </a:moveTo>
                  <a:lnTo>
                    <a:pt x="75819" y="57150"/>
                  </a:lnTo>
                  <a:lnTo>
                    <a:pt x="75819" y="51816"/>
                  </a:lnTo>
                  <a:lnTo>
                    <a:pt x="50038" y="51816"/>
                  </a:lnTo>
                  <a:lnTo>
                    <a:pt x="50038" y="57150"/>
                  </a:lnTo>
                  <a:close/>
                  <a:moveTo>
                    <a:pt x="-355853" y="2798064"/>
                  </a:moveTo>
                  <a:moveTo>
                    <a:pt x="75819" y="26797"/>
                  </a:moveTo>
                  <a:lnTo>
                    <a:pt x="50038" y="26797"/>
                  </a:lnTo>
                  <a:lnTo>
                    <a:pt x="50038" y="32132"/>
                  </a:lnTo>
                  <a:lnTo>
                    <a:pt x="75819" y="32132"/>
                  </a:lnTo>
                  <a:lnTo>
                    <a:pt x="75819" y="26797"/>
                  </a:lnTo>
                  <a:close/>
                  <a:moveTo>
                    <a:pt x="-325500" y="2798064"/>
                  </a:moveTo>
                  <a:moveTo>
                    <a:pt x="50038" y="82423"/>
                  </a:moveTo>
                  <a:lnTo>
                    <a:pt x="75819" y="82423"/>
                  </a:lnTo>
                  <a:lnTo>
                    <a:pt x="75819" y="76963"/>
                  </a:lnTo>
                  <a:lnTo>
                    <a:pt x="50038" y="76963"/>
                  </a:lnTo>
                  <a:lnTo>
                    <a:pt x="50038" y="82423"/>
                  </a:lnTo>
                  <a:close/>
                  <a:moveTo>
                    <a:pt x="-381126" y="2798064"/>
                  </a:moveTo>
                  <a:moveTo>
                    <a:pt x="102997" y="151004"/>
                  </a:moveTo>
                  <a:lnTo>
                    <a:pt x="102997" y="22607"/>
                  </a:lnTo>
                  <a:lnTo>
                    <a:pt x="88519" y="22607"/>
                  </a:lnTo>
                  <a:lnTo>
                    <a:pt x="88519" y="157100"/>
                  </a:lnTo>
                  <a:lnTo>
                    <a:pt x="91822" y="158750"/>
                  </a:lnTo>
                  <a:lnTo>
                    <a:pt x="94108" y="160147"/>
                  </a:lnTo>
                  <a:lnTo>
                    <a:pt x="96393" y="161672"/>
                  </a:lnTo>
                  <a:lnTo>
                    <a:pt x="98680" y="163322"/>
                  </a:lnTo>
                  <a:lnTo>
                    <a:pt x="100712" y="164973"/>
                  </a:lnTo>
                  <a:lnTo>
                    <a:pt x="102616" y="166879"/>
                  </a:lnTo>
                  <a:lnTo>
                    <a:pt x="104394" y="168784"/>
                  </a:lnTo>
                  <a:lnTo>
                    <a:pt x="106046" y="170816"/>
                  </a:lnTo>
                  <a:lnTo>
                    <a:pt x="107569" y="172847"/>
                  </a:lnTo>
                  <a:lnTo>
                    <a:pt x="108840" y="175007"/>
                  </a:lnTo>
                  <a:lnTo>
                    <a:pt x="110109" y="177292"/>
                  </a:lnTo>
                  <a:lnTo>
                    <a:pt x="111125" y="179706"/>
                  </a:lnTo>
                  <a:lnTo>
                    <a:pt x="111887" y="182119"/>
                  </a:lnTo>
                  <a:lnTo>
                    <a:pt x="112650" y="184404"/>
                  </a:lnTo>
                  <a:lnTo>
                    <a:pt x="113158" y="186944"/>
                  </a:lnTo>
                  <a:lnTo>
                    <a:pt x="113412" y="189485"/>
                  </a:lnTo>
                  <a:lnTo>
                    <a:pt x="113538" y="192025"/>
                  </a:lnTo>
                  <a:lnTo>
                    <a:pt x="113412" y="194057"/>
                  </a:lnTo>
                  <a:lnTo>
                    <a:pt x="113284" y="196088"/>
                  </a:lnTo>
                  <a:lnTo>
                    <a:pt x="113031" y="198120"/>
                  </a:lnTo>
                  <a:lnTo>
                    <a:pt x="112522" y="200025"/>
                  </a:lnTo>
                  <a:lnTo>
                    <a:pt x="111887" y="202057"/>
                  </a:lnTo>
                  <a:lnTo>
                    <a:pt x="111253" y="203963"/>
                  </a:lnTo>
                  <a:lnTo>
                    <a:pt x="110490" y="205741"/>
                  </a:lnTo>
                  <a:lnTo>
                    <a:pt x="109728" y="207519"/>
                  </a:lnTo>
                  <a:lnTo>
                    <a:pt x="108585" y="209297"/>
                  </a:lnTo>
                  <a:lnTo>
                    <a:pt x="107569" y="211075"/>
                  </a:lnTo>
                  <a:lnTo>
                    <a:pt x="106427" y="212725"/>
                  </a:lnTo>
                  <a:lnTo>
                    <a:pt x="105030" y="214376"/>
                  </a:lnTo>
                  <a:lnTo>
                    <a:pt x="103759" y="215900"/>
                  </a:lnTo>
                  <a:lnTo>
                    <a:pt x="102235" y="217425"/>
                  </a:lnTo>
                  <a:lnTo>
                    <a:pt x="100712" y="218948"/>
                  </a:lnTo>
                  <a:lnTo>
                    <a:pt x="99060" y="220345"/>
                  </a:lnTo>
                  <a:lnTo>
                    <a:pt x="97283" y="221616"/>
                  </a:lnTo>
                  <a:lnTo>
                    <a:pt x="95505" y="222885"/>
                  </a:lnTo>
                  <a:lnTo>
                    <a:pt x="93600" y="224029"/>
                  </a:lnTo>
                  <a:lnTo>
                    <a:pt x="91822" y="225172"/>
                  </a:lnTo>
                  <a:lnTo>
                    <a:pt x="89790" y="226188"/>
                  </a:lnTo>
                  <a:lnTo>
                    <a:pt x="87631" y="227204"/>
                  </a:lnTo>
                  <a:lnTo>
                    <a:pt x="85472" y="228092"/>
                  </a:lnTo>
                  <a:lnTo>
                    <a:pt x="83312" y="228982"/>
                  </a:lnTo>
                  <a:lnTo>
                    <a:pt x="81153" y="229489"/>
                  </a:lnTo>
                  <a:lnTo>
                    <a:pt x="78740" y="230251"/>
                  </a:lnTo>
                  <a:lnTo>
                    <a:pt x="76455" y="230760"/>
                  </a:lnTo>
                  <a:lnTo>
                    <a:pt x="74041" y="231267"/>
                  </a:lnTo>
                  <a:lnTo>
                    <a:pt x="71628" y="231648"/>
                  </a:lnTo>
                  <a:lnTo>
                    <a:pt x="69215" y="231775"/>
                  </a:lnTo>
                  <a:lnTo>
                    <a:pt x="66675" y="232029"/>
                  </a:lnTo>
                  <a:lnTo>
                    <a:pt x="64135" y="232029"/>
                  </a:lnTo>
                  <a:lnTo>
                    <a:pt x="61341" y="232029"/>
                  </a:lnTo>
                  <a:lnTo>
                    <a:pt x="58802" y="231775"/>
                  </a:lnTo>
                  <a:lnTo>
                    <a:pt x="56388" y="231648"/>
                  </a:lnTo>
                  <a:lnTo>
                    <a:pt x="53975" y="231267"/>
                  </a:lnTo>
                  <a:lnTo>
                    <a:pt x="51562" y="230760"/>
                  </a:lnTo>
                  <a:lnTo>
                    <a:pt x="49277" y="230251"/>
                  </a:lnTo>
                  <a:lnTo>
                    <a:pt x="46990" y="229489"/>
                  </a:lnTo>
                  <a:lnTo>
                    <a:pt x="44705" y="228982"/>
                  </a:lnTo>
                  <a:lnTo>
                    <a:pt x="42546" y="228092"/>
                  </a:lnTo>
                  <a:lnTo>
                    <a:pt x="40387" y="227204"/>
                  </a:lnTo>
                  <a:lnTo>
                    <a:pt x="38355" y="226188"/>
                  </a:lnTo>
                  <a:lnTo>
                    <a:pt x="36196" y="225172"/>
                  </a:lnTo>
                  <a:lnTo>
                    <a:pt x="34418" y="224029"/>
                  </a:lnTo>
                  <a:lnTo>
                    <a:pt x="32512" y="222885"/>
                  </a:lnTo>
                  <a:lnTo>
                    <a:pt x="30734" y="221616"/>
                  </a:lnTo>
                  <a:lnTo>
                    <a:pt x="28956" y="220345"/>
                  </a:lnTo>
                  <a:lnTo>
                    <a:pt x="27306" y="218948"/>
                  </a:lnTo>
                  <a:lnTo>
                    <a:pt x="25781" y="217425"/>
                  </a:lnTo>
                  <a:lnTo>
                    <a:pt x="24258" y="215900"/>
                  </a:lnTo>
                  <a:lnTo>
                    <a:pt x="22987" y="214376"/>
                  </a:lnTo>
                  <a:lnTo>
                    <a:pt x="21590" y="212725"/>
                  </a:lnTo>
                  <a:lnTo>
                    <a:pt x="20447" y="211075"/>
                  </a:lnTo>
                  <a:lnTo>
                    <a:pt x="19431" y="209297"/>
                  </a:lnTo>
                  <a:lnTo>
                    <a:pt x="18415" y="207519"/>
                  </a:lnTo>
                  <a:lnTo>
                    <a:pt x="17527" y="205741"/>
                  </a:lnTo>
                  <a:lnTo>
                    <a:pt x="16765" y="203963"/>
                  </a:lnTo>
                  <a:lnTo>
                    <a:pt x="16130" y="202057"/>
                  </a:lnTo>
                  <a:lnTo>
                    <a:pt x="15494" y="200025"/>
                  </a:lnTo>
                  <a:lnTo>
                    <a:pt x="15113" y="198120"/>
                  </a:lnTo>
                  <a:lnTo>
                    <a:pt x="14733" y="196088"/>
                  </a:lnTo>
                  <a:lnTo>
                    <a:pt x="14606" y="194057"/>
                  </a:lnTo>
                  <a:lnTo>
                    <a:pt x="14478" y="192025"/>
                  </a:lnTo>
                  <a:lnTo>
                    <a:pt x="14606" y="189485"/>
                  </a:lnTo>
                  <a:lnTo>
                    <a:pt x="14859" y="186944"/>
                  </a:lnTo>
                  <a:lnTo>
                    <a:pt x="15368" y="184404"/>
                  </a:lnTo>
                  <a:lnTo>
                    <a:pt x="16130" y="182119"/>
                  </a:lnTo>
                  <a:lnTo>
                    <a:pt x="16891" y="179706"/>
                  </a:lnTo>
                  <a:lnTo>
                    <a:pt x="17908" y="177292"/>
                  </a:lnTo>
                  <a:lnTo>
                    <a:pt x="19178" y="175007"/>
                  </a:lnTo>
                  <a:lnTo>
                    <a:pt x="20447" y="172847"/>
                  </a:lnTo>
                  <a:lnTo>
                    <a:pt x="21972" y="170816"/>
                  </a:lnTo>
                  <a:lnTo>
                    <a:pt x="23622" y="168784"/>
                  </a:lnTo>
                  <a:lnTo>
                    <a:pt x="25400" y="166879"/>
                  </a:lnTo>
                  <a:lnTo>
                    <a:pt x="27306" y="164973"/>
                  </a:lnTo>
                  <a:lnTo>
                    <a:pt x="29337" y="163322"/>
                  </a:lnTo>
                  <a:lnTo>
                    <a:pt x="31624" y="161672"/>
                  </a:lnTo>
                  <a:lnTo>
                    <a:pt x="33909" y="160147"/>
                  </a:lnTo>
                  <a:lnTo>
                    <a:pt x="36196" y="158750"/>
                  </a:lnTo>
                  <a:lnTo>
                    <a:pt x="39625" y="157100"/>
                  </a:lnTo>
                  <a:lnTo>
                    <a:pt x="39625" y="11812"/>
                  </a:lnTo>
                  <a:lnTo>
                    <a:pt x="102997" y="11812"/>
                  </a:lnTo>
                  <a:lnTo>
                    <a:pt x="102997" y="10922"/>
                  </a:lnTo>
                  <a:lnTo>
                    <a:pt x="102997" y="9779"/>
                  </a:lnTo>
                  <a:lnTo>
                    <a:pt x="102743" y="8763"/>
                  </a:lnTo>
                  <a:lnTo>
                    <a:pt x="102362" y="7747"/>
                  </a:lnTo>
                  <a:lnTo>
                    <a:pt x="101981" y="6604"/>
                  </a:lnTo>
                  <a:lnTo>
                    <a:pt x="101474" y="5716"/>
                  </a:lnTo>
                  <a:lnTo>
                    <a:pt x="100838" y="4826"/>
                  </a:lnTo>
                  <a:lnTo>
                    <a:pt x="99950" y="3938"/>
                  </a:lnTo>
                  <a:lnTo>
                    <a:pt x="99060" y="3175"/>
                  </a:lnTo>
                  <a:lnTo>
                    <a:pt x="98172" y="2541"/>
                  </a:lnTo>
                  <a:lnTo>
                    <a:pt x="97028" y="1779"/>
                  </a:lnTo>
                  <a:lnTo>
                    <a:pt x="96012" y="1270"/>
                  </a:lnTo>
                  <a:lnTo>
                    <a:pt x="94869" y="889"/>
                  </a:lnTo>
                  <a:lnTo>
                    <a:pt x="93600" y="509"/>
                  </a:lnTo>
                  <a:lnTo>
                    <a:pt x="92330" y="128"/>
                  </a:lnTo>
                  <a:lnTo>
                    <a:pt x="90933" y="128"/>
                  </a:lnTo>
                  <a:lnTo>
                    <a:pt x="89535" y="0"/>
                  </a:lnTo>
                  <a:lnTo>
                    <a:pt x="38481" y="0"/>
                  </a:lnTo>
                  <a:lnTo>
                    <a:pt x="37084" y="128"/>
                  </a:lnTo>
                  <a:lnTo>
                    <a:pt x="35687" y="128"/>
                  </a:lnTo>
                  <a:lnTo>
                    <a:pt x="34418" y="509"/>
                  </a:lnTo>
                  <a:lnTo>
                    <a:pt x="33147" y="889"/>
                  </a:lnTo>
                  <a:lnTo>
                    <a:pt x="32005" y="1270"/>
                  </a:lnTo>
                  <a:lnTo>
                    <a:pt x="30988" y="1779"/>
                  </a:lnTo>
                  <a:lnTo>
                    <a:pt x="29846" y="2541"/>
                  </a:lnTo>
                  <a:lnTo>
                    <a:pt x="28956" y="3175"/>
                  </a:lnTo>
                  <a:lnTo>
                    <a:pt x="28068" y="3938"/>
                  </a:lnTo>
                  <a:lnTo>
                    <a:pt x="27178" y="4826"/>
                  </a:lnTo>
                  <a:lnTo>
                    <a:pt x="26543" y="5716"/>
                  </a:lnTo>
                  <a:lnTo>
                    <a:pt x="26035" y="6604"/>
                  </a:lnTo>
                  <a:lnTo>
                    <a:pt x="25655" y="7747"/>
                  </a:lnTo>
                  <a:lnTo>
                    <a:pt x="25274" y="8763"/>
                  </a:lnTo>
                  <a:lnTo>
                    <a:pt x="25019" y="9779"/>
                  </a:lnTo>
                  <a:lnTo>
                    <a:pt x="25019" y="10922"/>
                  </a:lnTo>
                  <a:lnTo>
                    <a:pt x="25019" y="151004"/>
                  </a:lnTo>
                  <a:lnTo>
                    <a:pt x="22225" y="152782"/>
                  </a:lnTo>
                  <a:lnTo>
                    <a:pt x="19559" y="154687"/>
                  </a:lnTo>
                  <a:lnTo>
                    <a:pt x="17018" y="156719"/>
                  </a:lnTo>
                  <a:lnTo>
                    <a:pt x="14606" y="159004"/>
                  </a:lnTo>
                  <a:lnTo>
                    <a:pt x="12447" y="161291"/>
                  </a:lnTo>
                  <a:lnTo>
                    <a:pt x="10415" y="163576"/>
                  </a:lnTo>
                  <a:lnTo>
                    <a:pt x="8509" y="166116"/>
                  </a:lnTo>
                  <a:lnTo>
                    <a:pt x="6731" y="168657"/>
                  </a:lnTo>
                  <a:lnTo>
                    <a:pt x="5208" y="171323"/>
                  </a:lnTo>
                  <a:lnTo>
                    <a:pt x="3810" y="174117"/>
                  </a:lnTo>
                  <a:lnTo>
                    <a:pt x="2668" y="177038"/>
                  </a:lnTo>
                  <a:lnTo>
                    <a:pt x="1778" y="179960"/>
                  </a:lnTo>
                  <a:lnTo>
                    <a:pt x="890" y="182754"/>
                  </a:lnTo>
                  <a:lnTo>
                    <a:pt x="381" y="185801"/>
                  </a:lnTo>
                  <a:lnTo>
                    <a:pt x="0" y="188850"/>
                  </a:lnTo>
                  <a:lnTo>
                    <a:pt x="0" y="192025"/>
                  </a:lnTo>
                  <a:lnTo>
                    <a:pt x="0" y="194691"/>
                  </a:lnTo>
                  <a:lnTo>
                    <a:pt x="255" y="197359"/>
                  </a:lnTo>
                  <a:lnTo>
                    <a:pt x="635" y="199898"/>
                  </a:lnTo>
                  <a:lnTo>
                    <a:pt x="1143" y="202438"/>
                  </a:lnTo>
                  <a:lnTo>
                    <a:pt x="2033" y="204851"/>
                  </a:lnTo>
                  <a:lnTo>
                    <a:pt x="2794" y="207391"/>
                  </a:lnTo>
                  <a:lnTo>
                    <a:pt x="3810" y="209932"/>
                  </a:lnTo>
                  <a:lnTo>
                    <a:pt x="4953" y="212091"/>
                  </a:lnTo>
                  <a:lnTo>
                    <a:pt x="6224" y="214504"/>
                  </a:lnTo>
                  <a:lnTo>
                    <a:pt x="7747" y="216789"/>
                  </a:lnTo>
                  <a:lnTo>
                    <a:pt x="9144" y="218948"/>
                  </a:lnTo>
                  <a:lnTo>
                    <a:pt x="10922" y="220981"/>
                  </a:lnTo>
                  <a:lnTo>
                    <a:pt x="12574" y="223013"/>
                  </a:lnTo>
                  <a:lnTo>
                    <a:pt x="14606" y="224917"/>
                  </a:lnTo>
                  <a:lnTo>
                    <a:pt x="16637" y="226822"/>
                  </a:lnTo>
                  <a:lnTo>
                    <a:pt x="18669" y="228728"/>
                  </a:lnTo>
                  <a:lnTo>
                    <a:pt x="20956" y="230379"/>
                  </a:lnTo>
                  <a:lnTo>
                    <a:pt x="23241" y="232029"/>
                  </a:lnTo>
                  <a:lnTo>
                    <a:pt x="25655" y="233554"/>
                  </a:lnTo>
                  <a:lnTo>
                    <a:pt x="28194" y="234823"/>
                  </a:lnTo>
                  <a:lnTo>
                    <a:pt x="30862" y="236347"/>
                  </a:lnTo>
                  <a:lnTo>
                    <a:pt x="33528" y="237617"/>
                  </a:lnTo>
                  <a:lnTo>
                    <a:pt x="36196" y="238634"/>
                  </a:lnTo>
                  <a:lnTo>
                    <a:pt x="38990" y="239776"/>
                  </a:lnTo>
                  <a:lnTo>
                    <a:pt x="41910" y="240666"/>
                  </a:lnTo>
                  <a:lnTo>
                    <a:pt x="44831" y="241554"/>
                  </a:lnTo>
                  <a:lnTo>
                    <a:pt x="47880" y="242189"/>
                  </a:lnTo>
                  <a:lnTo>
                    <a:pt x="51055" y="242825"/>
                  </a:lnTo>
                  <a:lnTo>
                    <a:pt x="54230" y="243206"/>
                  </a:lnTo>
                  <a:lnTo>
                    <a:pt x="57405" y="243460"/>
                  </a:lnTo>
                  <a:lnTo>
                    <a:pt x="60706" y="243713"/>
                  </a:lnTo>
                  <a:lnTo>
                    <a:pt x="64135" y="243841"/>
                  </a:lnTo>
                  <a:lnTo>
                    <a:pt x="67310" y="243713"/>
                  </a:lnTo>
                  <a:lnTo>
                    <a:pt x="70612" y="243460"/>
                  </a:lnTo>
                  <a:lnTo>
                    <a:pt x="73787" y="243206"/>
                  </a:lnTo>
                  <a:lnTo>
                    <a:pt x="76962" y="242825"/>
                  </a:lnTo>
                  <a:lnTo>
                    <a:pt x="80137" y="242189"/>
                  </a:lnTo>
                  <a:lnTo>
                    <a:pt x="83185" y="241554"/>
                  </a:lnTo>
                  <a:lnTo>
                    <a:pt x="86106" y="240666"/>
                  </a:lnTo>
                  <a:lnTo>
                    <a:pt x="89028" y="239776"/>
                  </a:lnTo>
                  <a:lnTo>
                    <a:pt x="91822" y="238634"/>
                  </a:lnTo>
                  <a:lnTo>
                    <a:pt x="94488" y="237617"/>
                  </a:lnTo>
                  <a:lnTo>
                    <a:pt x="97156" y="236347"/>
                  </a:lnTo>
                  <a:lnTo>
                    <a:pt x="99822" y="234823"/>
                  </a:lnTo>
                  <a:lnTo>
                    <a:pt x="102362" y="233554"/>
                  </a:lnTo>
                  <a:lnTo>
                    <a:pt x="104775" y="232029"/>
                  </a:lnTo>
                  <a:lnTo>
                    <a:pt x="107188" y="230379"/>
                  </a:lnTo>
                  <a:lnTo>
                    <a:pt x="109347" y="228728"/>
                  </a:lnTo>
                  <a:lnTo>
                    <a:pt x="111380" y="226822"/>
                  </a:lnTo>
                  <a:lnTo>
                    <a:pt x="113412" y="224917"/>
                  </a:lnTo>
                  <a:lnTo>
                    <a:pt x="115443" y="223013"/>
                  </a:lnTo>
                  <a:lnTo>
                    <a:pt x="117094" y="220981"/>
                  </a:lnTo>
                  <a:lnTo>
                    <a:pt x="118872" y="218948"/>
                  </a:lnTo>
                  <a:lnTo>
                    <a:pt x="120269" y="216789"/>
                  </a:lnTo>
                  <a:lnTo>
                    <a:pt x="121793" y="214504"/>
                  </a:lnTo>
                  <a:lnTo>
                    <a:pt x="123063" y="212091"/>
                  </a:lnTo>
                  <a:lnTo>
                    <a:pt x="124206" y="209932"/>
                  </a:lnTo>
                  <a:lnTo>
                    <a:pt x="125222" y="207391"/>
                  </a:lnTo>
                  <a:lnTo>
                    <a:pt x="125984" y="204851"/>
                  </a:lnTo>
                  <a:lnTo>
                    <a:pt x="126874" y="202438"/>
                  </a:lnTo>
                  <a:lnTo>
                    <a:pt x="127381" y="199898"/>
                  </a:lnTo>
                  <a:lnTo>
                    <a:pt x="127762" y="197359"/>
                  </a:lnTo>
                  <a:lnTo>
                    <a:pt x="128016" y="194691"/>
                  </a:lnTo>
                  <a:lnTo>
                    <a:pt x="128016" y="192025"/>
                  </a:lnTo>
                  <a:lnTo>
                    <a:pt x="128016" y="188850"/>
                  </a:lnTo>
                  <a:lnTo>
                    <a:pt x="127635" y="185801"/>
                  </a:lnTo>
                  <a:lnTo>
                    <a:pt x="127128" y="182754"/>
                  </a:lnTo>
                  <a:lnTo>
                    <a:pt x="126238" y="179960"/>
                  </a:lnTo>
                  <a:lnTo>
                    <a:pt x="125350" y="177038"/>
                  </a:lnTo>
                  <a:lnTo>
                    <a:pt x="124206" y="174117"/>
                  </a:lnTo>
                  <a:lnTo>
                    <a:pt x="122809" y="171323"/>
                  </a:lnTo>
                  <a:lnTo>
                    <a:pt x="121285" y="168657"/>
                  </a:lnTo>
                  <a:lnTo>
                    <a:pt x="119508" y="166116"/>
                  </a:lnTo>
                  <a:lnTo>
                    <a:pt x="117603" y="163576"/>
                  </a:lnTo>
                  <a:lnTo>
                    <a:pt x="115571" y="161291"/>
                  </a:lnTo>
                  <a:lnTo>
                    <a:pt x="113412" y="159004"/>
                  </a:lnTo>
                  <a:lnTo>
                    <a:pt x="110999" y="156719"/>
                  </a:lnTo>
                  <a:lnTo>
                    <a:pt x="108459" y="154687"/>
                  </a:lnTo>
                  <a:lnTo>
                    <a:pt x="105791" y="152782"/>
                  </a:lnTo>
                  <a:lnTo>
                    <a:pt x="102997" y="151004"/>
                  </a:lnTo>
                  <a:close/>
                  <a:moveTo>
                    <a:pt x="-449707" y="2798064"/>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37" name="Freeform 1337"/>
            <p:cNvSpPr/>
            <p:nvPr/>
          </p:nvSpPr>
          <p:spPr>
            <a:xfrm>
              <a:off x="4128018" y="3949938"/>
              <a:ext cx="411266" cy="371663"/>
            </a:xfrm>
            <a:custGeom>
              <a:avLst/>
              <a:gdLst/>
              <a:ahLst/>
              <a:cxnLst/>
              <a:rect l="0" t="0" r="0" b="0"/>
              <a:pathLst>
                <a:path w="411480" h="371857">
                  <a:moveTo>
                    <a:pt x="192787" y="49531"/>
                  </a:moveTo>
                  <a:lnTo>
                    <a:pt x="192787" y="49531"/>
                  </a:lnTo>
                  <a:lnTo>
                    <a:pt x="192787" y="48388"/>
                  </a:lnTo>
                  <a:lnTo>
                    <a:pt x="192913" y="47372"/>
                  </a:lnTo>
                  <a:lnTo>
                    <a:pt x="193168" y="46482"/>
                  </a:lnTo>
                  <a:lnTo>
                    <a:pt x="193422" y="45466"/>
                  </a:lnTo>
                  <a:lnTo>
                    <a:pt x="193675" y="44578"/>
                  </a:lnTo>
                  <a:lnTo>
                    <a:pt x="194056" y="43688"/>
                  </a:lnTo>
                  <a:lnTo>
                    <a:pt x="194564" y="42672"/>
                  </a:lnTo>
                  <a:lnTo>
                    <a:pt x="195073" y="41784"/>
                  </a:lnTo>
                  <a:lnTo>
                    <a:pt x="196343" y="40132"/>
                  </a:lnTo>
                  <a:lnTo>
                    <a:pt x="197739" y="38482"/>
                  </a:lnTo>
                  <a:lnTo>
                    <a:pt x="199391" y="36957"/>
                  </a:lnTo>
                  <a:lnTo>
                    <a:pt x="201295" y="35560"/>
                  </a:lnTo>
                  <a:lnTo>
                    <a:pt x="203328" y="34291"/>
                  </a:lnTo>
                  <a:lnTo>
                    <a:pt x="205487" y="33147"/>
                  </a:lnTo>
                  <a:lnTo>
                    <a:pt x="207899" y="32259"/>
                  </a:lnTo>
                  <a:lnTo>
                    <a:pt x="210439" y="31369"/>
                  </a:lnTo>
                  <a:lnTo>
                    <a:pt x="213106" y="30735"/>
                  </a:lnTo>
                  <a:lnTo>
                    <a:pt x="215774" y="30226"/>
                  </a:lnTo>
                  <a:lnTo>
                    <a:pt x="218694" y="29972"/>
                  </a:lnTo>
                  <a:lnTo>
                    <a:pt x="221616" y="29845"/>
                  </a:lnTo>
                  <a:lnTo>
                    <a:pt x="223520" y="29845"/>
                  </a:lnTo>
                  <a:lnTo>
                    <a:pt x="225425" y="29972"/>
                  </a:lnTo>
                  <a:lnTo>
                    <a:pt x="225806" y="28829"/>
                  </a:lnTo>
                  <a:lnTo>
                    <a:pt x="226187" y="27687"/>
                  </a:lnTo>
                  <a:lnTo>
                    <a:pt x="226695" y="26416"/>
                  </a:lnTo>
                  <a:lnTo>
                    <a:pt x="227330" y="25273"/>
                  </a:lnTo>
                  <a:lnTo>
                    <a:pt x="228093" y="24257"/>
                  </a:lnTo>
                  <a:lnTo>
                    <a:pt x="228855" y="23115"/>
                  </a:lnTo>
                  <a:lnTo>
                    <a:pt x="229743" y="22098"/>
                  </a:lnTo>
                  <a:lnTo>
                    <a:pt x="230760" y="20956"/>
                  </a:lnTo>
                  <a:lnTo>
                    <a:pt x="232792" y="19050"/>
                  </a:lnTo>
                  <a:lnTo>
                    <a:pt x="235078" y="17145"/>
                  </a:lnTo>
                  <a:lnTo>
                    <a:pt x="237491" y="15494"/>
                  </a:lnTo>
                  <a:lnTo>
                    <a:pt x="240285" y="13844"/>
                  </a:lnTo>
                  <a:lnTo>
                    <a:pt x="243205" y="12447"/>
                  </a:lnTo>
                  <a:lnTo>
                    <a:pt x="246380" y="11303"/>
                  </a:lnTo>
                  <a:lnTo>
                    <a:pt x="249682" y="10034"/>
                  </a:lnTo>
                  <a:lnTo>
                    <a:pt x="253112" y="9144"/>
                  </a:lnTo>
                  <a:lnTo>
                    <a:pt x="256794" y="8382"/>
                  </a:lnTo>
                  <a:lnTo>
                    <a:pt x="260605" y="7747"/>
                  </a:lnTo>
                  <a:lnTo>
                    <a:pt x="264414" y="7620"/>
                  </a:lnTo>
                  <a:lnTo>
                    <a:pt x="268351" y="7494"/>
                  </a:lnTo>
                  <a:lnTo>
                    <a:pt x="271780" y="7494"/>
                  </a:lnTo>
                  <a:lnTo>
                    <a:pt x="275337" y="7747"/>
                  </a:lnTo>
                  <a:lnTo>
                    <a:pt x="277495" y="6097"/>
                  </a:lnTo>
                  <a:lnTo>
                    <a:pt x="280036" y="4572"/>
                  </a:lnTo>
                  <a:lnTo>
                    <a:pt x="282449" y="3175"/>
                  </a:lnTo>
                  <a:lnTo>
                    <a:pt x="285116" y="2160"/>
                  </a:lnTo>
                  <a:lnTo>
                    <a:pt x="288037" y="1144"/>
                  </a:lnTo>
                  <a:lnTo>
                    <a:pt x="290957" y="509"/>
                  </a:lnTo>
                  <a:lnTo>
                    <a:pt x="294005" y="128"/>
                  </a:lnTo>
                  <a:lnTo>
                    <a:pt x="297180" y="0"/>
                  </a:lnTo>
                  <a:lnTo>
                    <a:pt x="298705" y="0"/>
                  </a:lnTo>
                  <a:lnTo>
                    <a:pt x="300355" y="128"/>
                  </a:lnTo>
                  <a:lnTo>
                    <a:pt x="303404" y="509"/>
                  </a:lnTo>
                  <a:lnTo>
                    <a:pt x="306451" y="1144"/>
                  </a:lnTo>
                  <a:lnTo>
                    <a:pt x="309373" y="2160"/>
                  </a:lnTo>
                  <a:lnTo>
                    <a:pt x="311912" y="3303"/>
                  </a:lnTo>
                  <a:lnTo>
                    <a:pt x="314580" y="4700"/>
                  </a:lnTo>
                  <a:lnTo>
                    <a:pt x="316993" y="6223"/>
                  </a:lnTo>
                  <a:lnTo>
                    <a:pt x="319151" y="8001"/>
                  </a:lnTo>
                  <a:lnTo>
                    <a:pt x="320168" y="8891"/>
                  </a:lnTo>
                  <a:lnTo>
                    <a:pt x="321184" y="9907"/>
                  </a:lnTo>
                  <a:lnTo>
                    <a:pt x="322073" y="10795"/>
                  </a:lnTo>
                  <a:lnTo>
                    <a:pt x="323088" y="12066"/>
                  </a:lnTo>
                  <a:lnTo>
                    <a:pt x="323850" y="13082"/>
                  </a:lnTo>
                  <a:lnTo>
                    <a:pt x="324486" y="14225"/>
                  </a:lnTo>
                  <a:lnTo>
                    <a:pt x="325248" y="15367"/>
                  </a:lnTo>
                  <a:lnTo>
                    <a:pt x="325882" y="16510"/>
                  </a:lnTo>
                  <a:lnTo>
                    <a:pt x="326518" y="17907"/>
                  </a:lnTo>
                  <a:lnTo>
                    <a:pt x="327025" y="19178"/>
                  </a:lnTo>
                  <a:lnTo>
                    <a:pt x="327406" y="20447"/>
                  </a:lnTo>
                  <a:lnTo>
                    <a:pt x="327787" y="21717"/>
                  </a:lnTo>
                  <a:lnTo>
                    <a:pt x="328042" y="23115"/>
                  </a:lnTo>
                  <a:lnTo>
                    <a:pt x="328295" y="24385"/>
                  </a:lnTo>
                  <a:lnTo>
                    <a:pt x="328423" y="25782"/>
                  </a:lnTo>
                  <a:lnTo>
                    <a:pt x="328423" y="27178"/>
                  </a:lnTo>
                  <a:lnTo>
                    <a:pt x="330709" y="26670"/>
                  </a:lnTo>
                  <a:lnTo>
                    <a:pt x="332994" y="25909"/>
                  </a:lnTo>
                  <a:lnTo>
                    <a:pt x="335407" y="25400"/>
                  </a:lnTo>
                  <a:lnTo>
                    <a:pt x="337820" y="25019"/>
                  </a:lnTo>
                  <a:lnTo>
                    <a:pt x="340361" y="24638"/>
                  </a:lnTo>
                  <a:lnTo>
                    <a:pt x="343028" y="24385"/>
                  </a:lnTo>
                  <a:lnTo>
                    <a:pt x="345694" y="24257"/>
                  </a:lnTo>
                  <a:lnTo>
                    <a:pt x="348362" y="24257"/>
                  </a:lnTo>
                  <a:lnTo>
                    <a:pt x="352425" y="24385"/>
                  </a:lnTo>
                  <a:lnTo>
                    <a:pt x="356362" y="24638"/>
                  </a:lnTo>
                  <a:lnTo>
                    <a:pt x="360045" y="25273"/>
                  </a:lnTo>
                  <a:lnTo>
                    <a:pt x="363601" y="25909"/>
                  </a:lnTo>
                  <a:lnTo>
                    <a:pt x="367157" y="26797"/>
                  </a:lnTo>
                  <a:lnTo>
                    <a:pt x="370332" y="28067"/>
                  </a:lnTo>
                  <a:lnTo>
                    <a:pt x="373380" y="29338"/>
                  </a:lnTo>
                  <a:lnTo>
                    <a:pt x="376174" y="30735"/>
                  </a:lnTo>
                  <a:lnTo>
                    <a:pt x="378842" y="32259"/>
                  </a:lnTo>
                  <a:lnTo>
                    <a:pt x="379857" y="33020"/>
                  </a:lnTo>
                  <a:lnTo>
                    <a:pt x="381000" y="33910"/>
                  </a:lnTo>
                  <a:lnTo>
                    <a:pt x="382017" y="34798"/>
                  </a:lnTo>
                  <a:lnTo>
                    <a:pt x="383032" y="35688"/>
                  </a:lnTo>
                  <a:lnTo>
                    <a:pt x="383794" y="36576"/>
                  </a:lnTo>
                  <a:lnTo>
                    <a:pt x="384684" y="37592"/>
                  </a:lnTo>
                  <a:lnTo>
                    <a:pt x="385445" y="38609"/>
                  </a:lnTo>
                  <a:lnTo>
                    <a:pt x="385954" y="39625"/>
                  </a:lnTo>
                  <a:lnTo>
                    <a:pt x="386462" y="40767"/>
                  </a:lnTo>
                  <a:lnTo>
                    <a:pt x="386969" y="41784"/>
                  </a:lnTo>
                  <a:lnTo>
                    <a:pt x="387350" y="42800"/>
                  </a:lnTo>
                  <a:lnTo>
                    <a:pt x="387478" y="43816"/>
                  </a:lnTo>
                  <a:lnTo>
                    <a:pt x="387731" y="45085"/>
                  </a:lnTo>
                  <a:lnTo>
                    <a:pt x="387731" y="46228"/>
                  </a:lnTo>
                  <a:lnTo>
                    <a:pt x="387731" y="46991"/>
                  </a:lnTo>
                  <a:lnTo>
                    <a:pt x="387605" y="47879"/>
                  </a:lnTo>
                  <a:lnTo>
                    <a:pt x="387478" y="48895"/>
                  </a:lnTo>
                  <a:lnTo>
                    <a:pt x="387224" y="49785"/>
                  </a:lnTo>
                  <a:lnTo>
                    <a:pt x="386588" y="51435"/>
                  </a:lnTo>
                  <a:lnTo>
                    <a:pt x="385826" y="53087"/>
                  </a:lnTo>
                  <a:lnTo>
                    <a:pt x="384684" y="54738"/>
                  </a:lnTo>
                  <a:lnTo>
                    <a:pt x="383413" y="56262"/>
                  </a:lnTo>
                  <a:lnTo>
                    <a:pt x="381889" y="57659"/>
                  </a:lnTo>
                  <a:lnTo>
                    <a:pt x="380238" y="59056"/>
                  </a:lnTo>
                  <a:lnTo>
                    <a:pt x="348488" y="59056"/>
                  </a:lnTo>
                  <a:lnTo>
                    <a:pt x="348743" y="61088"/>
                  </a:lnTo>
                  <a:lnTo>
                    <a:pt x="348743" y="62992"/>
                  </a:lnTo>
                  <a:lnTo>
                    <a:pt x="348743" y="64390"/>
                  </a:lnTo>
                  <a:lnTo>
                    <a:pt x="348616" y="65787"/>
                  </a:lnTo>
                  <a:lnTo>
                    <a:pt x="348488" y="67184"/>
                  </a:lnTo>
                  <a:lnTo>
                    <a:pt x="348107" y="68581"/>
                  </a:lnTo>
                  <a:lnTo>
                    <a:pt x="347854" y="69850"/>
                  </a:lnTo>
                  <a:lnTo>
                    <a:pt x="347473" y="71247"/>
                  </a:lnTo>
                  <a:lnTo>
                    <a:pt x="346837" y="72391"/>
                  </a:lnTo>
                  <a:lnTo>
                    <a:pt x="346330" y="73788"/>
                  </a:lnTo>
                  <a:lnTo>
                    <a:pt x="345694" y="74931"/>
                  </a:lnTo>
                  <a:lnTo>
                    <a:pt x="344932" y="76073"/>
                  </a:lnTo>
                  <a:lnTo>
                    <a:pt x="344298" y="77344"/>
                  </a:lnTo>
                  <a:lnTo>
                    <a:pt x="343409" y="78487"/>
                  </a:lnTo>
                  <a:lnTo>
                    <a:pt x="342519" y="79503"/>
                  </a:lnTo>
                  <a:lnTo>
                    <a:pt x="341630" y="80519"/>
                  </a:lnTo>
                  <a:lnTo>
                    <a:pt x="340614" y="81407"/>
                  </a:lnTo>
                  <a:lnTo>
                    <a:pt x="339599" y="82550"/>
                  </a:lnTo>
                  <a:lnTo>
                    <a:pt x="337312" y="84201"/>
                  </a:lnTo>
                  <a:lnTo>
                    <a:pt x="335026" y="85853"/>
                  </a:lnTo>
                  <a:lnTo>
                    <a:pt x="332360" y="87250"/>
                  </a:lnTo>
                  <a:lnTo>
                    <a:pt x="329693" y="88392"/>
                  </a:lnTo>
                  <a:lnTo>
                    <a:pt x="326772" y="89282"/>
                  </a:lnTo>
                  <a:lnTo>
                    <a:pt x="323724" y="90044"/>
                  </a:lnTo>
                  <a:lnTo>
                    <a:pt x="322199" y="90297"/>
                  </a:lnTo>
                  <a:lnTo>
                    <a:pt x="320675" y="90297"/>
                  </a:lnTo>
                  <a:lnTo>
                    <a:pt x="319024" y="90425"/>
                  </a:lnTo>
                  <a:lnTo>
                    <a:pt x="317500" y="90551"/>
                  </a:lnTo>
                  <a:lnTo>
                    <a:pt x="315849" y="90425"/>
                  </a:lnTo>
                  <a:lnTo>
                    <a:pt x="314325" y="90297"/>
                  </a:lnTo>
                  <a:lnTo>
                    <a:pt x="312801" y="90297"/>
                  </a:lnTo>
                  <a:lnTo>
                    <a:pt x="311150" y="90044"/>
                  </a:lnTo>
                  <a:lnTo>
                    <a:pt x="308230" y="89282"/>
                  </a:lnTo>
                  <a:lnTo>
                    <a:pt x="305436" y="88392"/>
                  </a:lnTo>
                  <a:lnTo>
                    <a:pt x="302642" y="87250"/>
                  </a:lnTo>
                  <a:lnTo>
                    <a:pt x="299974" y="85853"/>
                  </a:lnTo>
                  <a:lnTo>
                    <a:pt x="297562" y="84201"/>
                  </a:lnTo>
                  <a:lnTo>
                    <a:pt x="295403" y="82550"/>
                  </a:lnTo>
                  <a:lnTo>
                    <a:pt x="294260" y="81407"/>
                  </a:lnTo>
                  <a:lnTo>
                    <a:pt x="293370" y="80519"/>
                  </a:lnTo>
                  <a:lnTo>
                    <a:pt x="292481" y="79503"/>
                  </a:lnTo>
                  <a:lnTo>
                    <a:pt x="291466" y="78487"/>
                  </a:lnTo>
                  <a:lnTo>
                    <a:pt x="290704" y="77344"/>
                  </a:lnTo>
                  <a:lnTo>
                    <a:pt x="290068" y="76073"/>
                  </a:lnTo>
                  <a:lnTo>
                    <a:pt x="289306" y="74931"/>
                  </a:lnTo>
                  <a:lnTo>
                    <a:pt x="288672" y="73788"/>
                  </a:lnTo>
                  <a:lnTo>
                    <a:pt x="288037" y="72391"/>
                  </a:lnTo>
                  <a:lnTo>
                    <a:pt x="287529" y="71247"/>
                  </a:lnTo>
                  <a:lnTo>
                    <a:pt x="287148" y="69850"/>
                  </a:lnTo>
                  <a:lnTo>
                    <a:pt x="286893" y="68581"/>
                  </a:lnTo>
                  <a:lnTo>
                    <a:pt x="286512" y="67184"/>
                  </a:lnTo>
                  <a:lnTo>
                    <a:pt x="286386" y="65787"/>
                  </a:lnTo>
                  <a:lnTo>
                    <a:pt x="286259" y="64390"/>
                  </a:lnTo>
                  <a:lnTo>
                    <a:pt x="286131" y="62992"/>
                  </a:lnTo>
                  <a:lnTo>
                    <a:pt x="286259" y="61088"/>
                  </a:lnTo>
                  <a:lnTo>
                    <a:pt x="284226" y="61469"/>
                  </a:lnTo>
                  <a:lnTo>
                    <a:pt x="282068" y="62103"/>
                  </a:lnTo>
                  <a:lnTo>
                    <a:pt x="279909" y="62485"/>
                  </a:lnTo>
                  <a:lnTo>
                    <a:pt x="277623" y="62738"/>
                  </a:lnTo>
                  <a:lnTo>
                    <a:pt x="275463" y="63119"/>
                  </a:lnTo>
                  <a:lnTo>
                    <a:pt x="273050" y="63247"/>
                  </a:lnTo>
                  <a:lnTo>
                    <a:pt x="270764" y="63373"/>
                  </a:lnTo>
                  <a:lnTo>
                    <a:pt x="268351" y="63500"/>
                  </a:lnTo>
                  <a:lnTo>
                    <a:pt x="265430" y="63373"/>
                  </a:lnTo>
                  <a:lnTo>
                    <a:pt x="262382" y="63119"/>
                  </a:lnTo>
                  <a:lnTo>
                    <a:pt x="259588" y="62866"/>
                  </a:lnTo>
                  <a:lnTo>
                    <a:pt x="256794" y="62485"/>
                  </a:lnTo>
                  <a:lnTo>
                    <a:pt x="254000" y="61850"/>
                  </a:lnTo>
                  <a:lnTo>
                    <a:pt x="251334" y="61341"/>
                  </a:lnTo>
                  <a:lnTo>
                    <a:pt x="248667" y="60453"/>
                  </a:lnTo>
                  <a:lnTo>
                    <a:pt x="246254" y="59691"/>
                  </a:lnTo>
                  <a:lnTo>
                    <a:pt x="245237" y="60707"/>
                  </a:lnTo>
                  <a:lnTo>
                    <a:pt x="244094" y="61595"/>
                  </a:lnTo>
                  <a:lnTo>
                    <a:pt x="243079" y="62485"/>
                  </a:lnTo>
                  <a:lnTo>
                    <a:pt x="241681" y="63500"/>
                  </a:lnTo>
                  <a:lnTo>
                    <a:pt x="240412" y="64390"/>
                  </a:lnTo>
                  <a:lnTo>
                    <a:pt x="239014" y="65151"/>
                  </a:lnTo>
                  <a:lnTo>
                    <a:pt x="237491" y="65787"/>
                  </a:lnTo>
                  <a:lnTo>
                    <a:pt x="236093" y="66422"/>
                  </a:lnTo>
                  <a:lnTo>
                    <a:pt x="234443" y="66929"/>
                  </a:lnTo>
                  <a:lnTo>
                    <a:pt x="232664" y="67565"/>
                  </a:lnTo>
                  <a:lnTo>
                    <a:pt x="230887" y="68072"/>
                  </a:lnTo>
                  <a:lnTo>
                    <a:pt x="229236" y="68453"/>
                  </a:lnTo>
                  <a:lnTo>
                    <a:pt x="227330" y="68581"/>
                  </a:lnTo>
                  <a:lnTo>
                    <a:pt x="225425" y="68835"/>
                  </a:lnTo>
                  <a:lnTo>
                    <a:pt x="223648" y="68962"/>
                  </a:lnTo>
                  <a:lnTo>
                    <a:pt x="221616" y="69088"/>
                  </a:lnTo>
                  <a:lnTo>
                    <a:pt x="218694" y="68962"/>
                  </a:lnTo>
                  <a:lnTo>
                    <a:pt x="215774" y="68581"/>
                  </a:lnTo>
                  <a:lnTo>
                    <a:pt x="213106" y="68200"/>
                  </a:lnTo>
                  <a:lnTo>
                    <a:pt x="210439" y="67438"/>
                  </a:lnTo>
                  <a:lnTo>
                    <a:pt x="207899" y="66675"/>
                  </a:lnTo>
                  <a:lnTo>
                    <a:pt x="205487" y="65787"/>
                  </a:lnTo>
                  <a:lnTo>
                    <a:pt x="203328" y="64516"/>
                  </a:lnTo>
                  <a:lnTo>
                    <a:pt x="201295" y="63247"/>
                  </a:lnTo>
                  <a:lnTo>
                    <a:pt x="199391" y="61976"/>
                  </a:lnTo>
                  <a:lnTo>
                    <a:pt x="197739" y="60453"/>
                  </a:lnTo>
                  <a:lnTo>
                    <a:pt x="196343" y="58801"/>
                  </a:lnTo>
                  <a:lnTo>
                    <a:pt x="195073" y="57023"/>
                  </a:lnTo>
                  <a:lnTo>
                    <a:pt x="194564" y="56135"/>
                  </a:lnTo>
                  <a:lnTo>
                    <a:pt x="194056" y="55372"/>
                  </a:lnTo>
                  <a:lnTo>
                    <a:pt x="193675" y="54357"/>
                  </a:lnTo>
                  <a:lnTo>
                    <a:pt x="193422" y="53467"/>
                  </a:lnTo>
                  <a:lnTo>
                    <a:pt x="193168" y="52325"/>
                  </a:lnTo>
                  <a:lnTo>
                    <a:pt x="192913" y="51435"/>
                  </a:lnTo>
                  <a:lnTo>
                    <a:pt x="192787" y="50419"/>
                  </a:lnTo>
                  <a:lnTo>
                    <a:pt x="192787" y="49531"/>
                  </a:lnTo>
                  <a:close/>
                  <a:moveTo>
                    <a:pt x="-1268730" y="2907792"/>
                  </a:moveTo>
                  <a:moveTo>
                    <a:pt x="160020" y="214122"/>
                  </a:moveTo>
                  <a:lnTo>
                    <a:pt x="160020" y="253492"/>
                  </a:lnTo>
                  <a:lnTo>
                    <a:pt x="0" y="253492"/>
                  </a:lnTo>
                  <a:lnTo>
                    <a:pt x="0" y="214122"/>
                  </a:lnTo>
                  <a:lnTo>
                    <a:pt x="160020" y="214122"/>
                  </a:lnTo>
                  <a:close/>
                  <a:moveTo>
                    <a:pt x="-1433321" y="2907792"/>
                  </a:moveTo>
                  <a:moveTo>
                    <a:pt x="252730" y="327534"/>
                  </a:moveTo>
                  <a:lnTo>
                    <a:pt x="278130" y="371857"/>
                  </a:lnTo>
                  <a:lnTo>
                    <a:pt x="268351" y="371857"/>
                  </a:lnTo>
                  <a:lnTo>
                    <a:pt x="245111" y="331090"/>
                  </a:lnTo>
                  <a:lnTo>
                    <a:pt x="244856" y="331216"/>
                  </a:lnTo>
                  <a:lnTo>
                    <a:pt x="244856" y="330835"/>
                  </a:lnTo>
                  <a:lnTo>
                    <a:pt x="240412" y="322962"/>
                  </a:lnTo>
                  <a:lnTo>
                    <a:pt x="242570" y="322326"/>
                  </a:lnTo>
                  <a:lnTo>
                    <a:pt x="244856" y="321310"/>
                  </a:lnTo>
                  <a:lnTo>
                    <a:pt x="246507" y="320675"/>
                  </a:lnTo>
                  <a:lnTo>
                    <a:pt x="248159" y="319660"/>
                  </a:lnTo>
                  <a:lnTo>
                    <a:pt x="251080" y="318009"/>
                  </a:lnTo>
                  <a:lnTo>
                    <a:pt x="253747" y="316231"/>
                  </a:lnTo>
                  <a:lnTo>
                    <a:pt x="256287" y="314072"/>
                  </a:lnTo>
                  <a:lnTo>
                    <a:pt x="258699" y="311913"/>
                  </a:lnTo>
                  <a:lnTo>
                    <a:pt x="260986" y="309372"/>
                  </a:lnTo>
                  <a:lnTo>
                    <a:pt x="263144" y="306706"/>
                  </a:lnTo>
                  <a:lnTo>
                    <a:pt x="265049" y="303912"/>
                  </a:lnTo>
                  <a:lnTo>
                    <a:pt x="266828" y="300991"/>
                  </a:lnTo>
                  <a:lnTo>
                    <a:pt x="268351" y="297816"/>
                  </a:lnTo>
                  <a:lnTo>
                    <a:pt x="269749" y="294513"/>
                  </a:lnTo>
                  <a:lnTo>
                    <a:pt x="271018" y="291338"/>
                  </a:lnTo>
                  <a:lnTo>
                    <a:pt x="272162" y="287910"/>
                  </a:lnTo>
                  <a:lnTo>
                    <a:pt x="272924" y="284226"/>
                  </a:lnTo>
                  <a:lnTo>
                    <a:pt x="273431" y="280544"/>
                  </a:lnTo>
                  <a:lnTo>
                    <a:pt x="273812" y="276734"/>
                  </a:lnTo>
                  <a:lnTo>
                    <a:pt x="274067" y="272923"/>
                  </a:lnTo>
                  <a:lnTo>
                    <a:pt x="274067" y="270003"/>
                  </a:lnTo>
                  <a:lnTo>
                    <a:pt x="273812" y="267082"/>
                  </a:lnTo>
                  <a:lnTo>
                    <a:pt x="273431" y="264288"/>
                  </a:lnTo>
                  <a:lnTo>
                    <a:pt x="272924" y="261494"/>
                  </a:lnTo>
                  <a:lnTo>
                    <a:pt x="272416" y="258953"/>
                  </a:lnTo>
                  <a:lnTo>
                    <a:pt x="271780" y="256541"/>
                  </a:lnTo>
                  <a:lnTo>
                    <a:pt x="271018" y="254128"/>
                  </a:lnTo>
                  <a:lnTo>
                    <a:pt x="270256" y="251841"/>
                  </a:lnTo>
                  <a:lnTo>
                    <a:pt x="269368" y="249682"/>
                  </a:lnTo>
                  <a:lnTo>
                    <a:pt x="268351" y="247397"/>
                  </a:lnTo>
                  <a:lnTo>
                    <a:pt x="267209" y="245491"/>
                  </a:lnTo>
                  <a:lnTo>
                    <a:pt x="266066" y="243587"/>
                  </a:lnTo>
                  <a:lnTo>
                    <a:pt x="264795" y="241682"/>
                  </a:lnTo>
                  <a:lnTo>
                    <a:pt x="263525" y="240031"/>
                  </a:lnTo>
                  <a:lnTo>
                    <a:pt x="262129" y="238253"/>
                  </a:lnTo>
                  <a:lnTo>
                    <a:pt x="260859" y="236728"/>
                  </a:lnTo>
                  <a:lnTo>
                    <a:pt x="259462" y="235204"/>
                  </a:lnTo>
                  <a:lnTo>
                    <a:pt x="258064" y="233807"/>
                  </a:lnTo>
                  <a:lnTo>
                    <a:pt x="256541" y="232410"/>
                  </a:lnTo>
                  <a:lnTo>
                    <a:pt x="255143" y="231267"/>
                  </a:lnTo>
                  <a:lnTo>
                    <a:pt x="253619" y="230125"/>
                  </a:lnTo>
                  <a:lnTo>
                    <a:pt x="252095" y="228854"/>
                  </a:lnTo>
                  <a:lnTo>
                    <a:pt x="249048" y="227076"/>
                  </a:lnTo>
                  <a:lnTo>
                    <a:pt x="246126" y="225298"/>
                  </a:lnTo>
                  <a:lnTo>
                    <a:pt x="243332" y="224028"/>
                  </a:lnTo>
                  <a:lnTo>
                    <a:pt x="240666" y="222885"/>
                  </a:lnTo>
                  <a:lnTo>
                    <a:pt x="238253" y="222123"/>
                  </a:lnTo>
                  <a:lnTo>
                    <a:pt x="237491" y="221869"/>
                  </a:lnTo>
                  <a:lnTo>
                    <a:pt x="236855" y="221488"/>
                  </a:lnTo>
                  <a:lnTo>
                    <a:pt x="236474" y="220981"/>
                  </a:lnTo>
                  <a:lnTo>
                    <a:pt x="236093" y="220472"/>
                  </a:lnTo>
                  <a:lnTo>
                    <a:pt x="235586" y="219965"/>
                  </a:lnTo>
                  <a:lnTo>
                    <a:pt x="235331" y="219203"/>
                  </a:lnTo>
                  <a:lnTo>
                    <a:pt x="235205" y="218313"/>
                  </a:lnTo>
                  <a:lnTo>
                    <a:pt x="235078" y="217551"/>
                  </a:lnTo>
                  <a:lnTo>
                    <a:pt x="235078" y="208916"/>
                  </a:lnTo>
                  <a:lnTo>
                    <a:pt x="222886" y="208916"/>
                  </a:lnTo>
                  <a:lnTo>
                    <a:pt x="222886" y="217551"/>
                  </a:lnTo>
                  <a:lnTo>
                    <a:pt x="222759" y="218313"/>
                  </a:lnTo>
                  <a:lnTo>
                    <a:pt x="222631" y="218948"/>
                  </a:lnTo>
                  <a:lnTo>
                    <a:pt x="222250" y="219710"/>
                  </a:lnTo>
                  <a:lnTo>
                    <a:pt x="221869" y="220345"/>
                  </a:lnTo>
                  <a:lnTo>
                    <a:pt x="221362" y="220981"/>
                  </a:lnTo>
                  <a:lnTo>
                    <a:pt x="220854" y="221488"/>
                  </a:lnTo>
                  <a:lnTo>
                    <a:pt x="220218" y="221869"/>
                  </a:lnTo>
                  <a:lnTo>
                    <a:pt x="219711" y="222123"/>
                  </a:lnTo>
                  <a:lnTo>
                    <a:pt x="217805" y="222632"/>
                  </a:lnTo>
                  <a:lnTo>
                    <a:pt x="215900" y="223266"/>
                  </a:lnTo>
                  <a:lnTo>
                    <a:pt x="214123" y="224028"/>
                  </a:lnTo>
                  <a:lnTo>
                    <a:pt x="212218" y="224663"/>
                  </a:lnTo>
                  <a:lnTo>
                    <a:pt x="210439" y="225679"/>
                  </a:lnTo>
                  <a:lnTo>
                    <a:pt x="208788" y="226569"/>
                  </a:lnTo>
                  <a:lnTo>
                    <a:pt x="207011" y="227457"/>
                  </a:lnTo>
                  <a:lnTo>
                    <a:pt x="205487" y="228728"/>
                  </a:lnTo>
                  <a:lnTo>
                    <a:pt x="203962" y="229870"/>
                  </a:lnTo>
                  <a:lnTo>
                    <a:pt x="202312" y="231141"/>
                  </a:lnTo>
                  <a:lnTo>
                    <a:pt x="200787" y="232410"/>
                  </a:lnTo>
                  <a:lnTo>
                    <a:pt x="199391" y="233807"/>
                  </a:lnTo>
                  <a:lnTo>
                    <a:pt x="197993" y="235204"/>
                  </a:lnTo>
                  <a:lnTo>
                    <a:pt x="196597" y="236728"/>
                  </a:lnTo>
                  <a:lnTo>
                    <a:pt x="195454" y="238379"/>
                  </a:lnTo>
                  <a:lnTo>
                    <a:pt x="194184" y="240031"/>
                  </a:lnTo>
                  <a:lnTo>
                    <a:pt x="192913" y="241682"/>
                  </a:lnTo>
                  <a:lnTo>
                    <a:pt x="191770" y="243460"/>
                  </a:lnTo>
                  <a:lnTo>
                    <a:pt x="190755" y="245238"/>
                  </a:lnTo>
                  <a:lnTo>
                    <a:pt x="189738" y="247142"/>
                  </a:lnTo>
                  <a:lnTo>
                    <a:pt x="188849" y="249047"/>
                  </a:lnTo>
                  <a:lnTo>
                    <a:pt x="188087" y="251079"/>
                  </a:lnTo>
                  <a:lnTo>
                    <a:pt x="187325" y="252985"/>
                  </a:lnTo>
                  <a:lnTo>
                    <a:pt x="186691" y="255144"/>
                  </a:lnTo>
                  <a:lnTo>
                    <a:pt x="186055" y="257303"/>
                  </a:lnTo>
                  <a:lnTo>
                    <a:pt x="185420" y="259335"/>
                  </a:lnTo>
                  <a:lnTo>
                    <a:pt x="185039" y="261494"/>
                  </a:lnTo>
                  <a:lnTo>
                    <a:pt x="184659" y="263653"/>
                  </a:lnTo>
                  <a:lnTo>
                    <a:pt x="184405" y="265938"/>
                  </a:lnTo>
                  <a:lnTo>
                    <a:pt x="184150" y="268225"/>
                  </a:lnTo>
                  <a:lnTo>
                    <a:pt x="183897" y="270510"/>
                  </a:lnTo>
                  <a:lnTo>
                    <a:pt x="183897" y="272923"/>
                  </a:lnTo>
                  <a:lnTo>
                    <a:pt x="184024" y="275591"/>
                  </a:lnTo>
                  <a:lnTo>
                    <a:pt x="184150" y="278257"/>
                  </a:lnTo>
                  <a:lnTo>
                    <a:pt x="184405" y="280925"/>
                  </a:lnTo>
                  <a:lnTo>
                    <a:pt x="184912" y="283591"/>
                  </a:lnTo>
                  <a:lnTo>
                    <a:pt x="175768" y="275463"/>
                  </a:lnTo>
                  <a:lnTo>
                    <a:pt x="175768" y="272923"/>
                  </a:lnTo>
                  <a:lnTo>
                    <a:pt x="175768" y="270257"/>
                  </a:lnTo>
                  <a:lnTo>
                    <a:pt x="176023" y="267590"/>
                  </a:lnTo>
                  <a:lnTo>
                    <a:pt x="176149" y="265050"/>
                  </a:lnTo>
                  <a:lnTo>
                    <a:pt x="176404" y="262510"/>
                  </a:lnTo>
                  <a:lnTo>
                    <a:pt x="177038" y="260097"/>
                  </a:lnTo>
                  <a:lnTo>
                    <a:pt x="177419" y="257557"/>
                  </a:lnTo>
                  <a:lnTo>
                    <a:pt x="178055" y="255144"/>
                  </a:lnTo>
                  <a:lnTo>
                    <a:pt x="178689" y="252857"/>
                  </a:lnTo>
                  <a:lnTo>
                    <a:pt x="179451" y="250444"/>
                  </a:lnTo>
                  <a:lnTo>
                    <a:pt x="180213" y="248159"/>
                  </a:lnTo>
                  <a:lnTo>
                    <a:pt x="181103" y="245872"/>
                  </a:lnTo>
                  <a:lnTo>
                    <a:pt x="182118" y="243713"/>
                  </a:lnTo>
                  <a:lnTo>
                    <a:pt x="183388" y="241682"/>
                  </a:lnTo>
                  <a:lnTo>
                    <a:pt x="184405" y="239522"/>
                  </a:lnTo>
                  <a:lnTo>
                    <a:pt x="185548" y="237491"/>
                  </a:lnTo>
                  <a:lnTo>
                    <a:pt x="186818" y="235585"/>
                  </a:lnTo>
                  <a:lnTo>
                    <a:pt x="188087" y="233553"/>
                  </a:lnTo>
                  <a:lnTo>
                    <a:pt x="189612" y="231775"/>
                  </a:lnTo>
                  <a:lnTo>
                    <a:pt x="191009" y="229870"/>
                  </a:lnTo>
                  <a:lnTo>
                    <a:pt x="192532" y="228219"/>
                  </a:lnTo>
                  <a:lnTo>
                    <a:pt x="194184" y="226695"/>
                  </a:lnTo>
                  <a:lnTo>
                    <a:pt x="195707" y="225044"/>
                  </a:lnTo>
                  <a:lnTo>
                    <a:pt x="197359" y="223647"/>
                  </a:lnTo>
                  <a:lnTo>
                    <a:pt x="199263" y="222123"/>
                  </a:lnTo>
                  <a:lnTo>
                    <a:pt x="201042" y="220726"/>
                  </a:lnTo>
                  <a:lnTo>
                    <a:pt x="202819" y="219584"/>
                  </a:lnTo>
                  <a:lnTo>
                    <a:pt x="204724" y="218313"/>
                  </a:lnTo>
                  <a:lnTo>
                    <a:pt x="206630" y="217297"/>
                  </a:lnTo>
                  <a:lnTo>
                    <a:pt x="208535" y="216282"/>
                  </a:lnTo>
                  <a:lnTo>
                    <a:pt x="210693" y="215519"/>
                  </a:lnTo>
                  <a:lnTo>
                    <a:pt x="212725" y="214631"/>
                  </a:lnTo>
                  <a:lnTo>
                    <a:pt x="214757" y="213869"/>
                  </a:lnTo>
                  <a:lnTo>
                    <a:pt x="214757" y="204216"/>
                  </a:lnTo>
                  <a:lnTo>
                    <a:pt x="214885" y="203328"/>
                  </a:lnTo>
                  <a:lnTo>
                    <a:pt x="215138" y="202312"/>
                  </a:lnTo>
                  <a:lnTo>
                    <a:pt x="215519" y="201676"/>
                  </a:lnTo>
                  <a:lnTo>
                    <a:pt x="216028" y="200915"/>
                  </a:lnTo>
                  <a:lnTo>
                    <a:pt x="216662" y="200407"/>
                  </a:lnTo>
                  <a:lnTo>
                    <a:pt x="217298" y="199898"/>
                  </a:lnTo>
                  <a:lnTo>
                    <a:pt x="218060" y="199644"/>
                  </a:lnTo>
                  <a:lnTo>
                    <a:pt x="218822" y="199517"/>
                  </a:lnTo>
                  <a:lnTo>
                    <a:pt x="239142" y="199517"/>
                  </a:lnTo>
                  <a:lnTo>
                    <a:pt x="240030" y="199644"/>
                  </a:lnTo>
                  <a:lnTo>
                    <a:pt x="240666" y="199898"/>
                  </a:lnTo>
                  <a:lnTo>
                    <a:pt x="241428" y="200407"/>
                  </a:lnTo>
                  <a:lnTo>
                    <a:pt x="242062" y="200915"/>
                  </a:lnTo>
                  <a:lnTo>
                    <a:pt x="242443" y="201676"/>
                  </a:lnTo>
                  <a:lnTo>
                    <a:pt x="242951" y="202312"/>
                  </a:lnTo>
                  <a:lnTo>
                    <a:pt x="243079" y="203328"/>
                  </a:lnTo>
                  <a:lnTo>
                    <a:pt x="243205" y="204216"/>
                  </a:lnTo>
                  <a:lnTo>
                    <a:pt x="243205" y="213869"/>
                  </a:lnTo>
                  <a:lnTo>
                    <a:pt x="245364" y="214631"/>
                  </a:lnTo>
                  <a:lnTo>
                    <a:pt x="247397" y="215519"/>
                  </a:lnTo>
                  <a:lnTo>
                    <a:pt x="249429" y="216282"/>
                  </a:lnTo>
                  <a:lnTo>
                    <a:pt x="251334" y="217297"/>
                  </a:lnTo>
                  <a:lnTo>
                    <a:pt x="253238" y="218313"/>
                  </a:lnTo>
                  <a:lnTo>
                    <a:pt x="255143" y="219584"/>
                  </a:lnTo>
                  <a:lnTo>
                    <a:pt x="257049" y="220726"/>
                  </a:lnTo>
                  <a:lnTo>
                    <a:pt x="258699" y="222123"/>
                  </a:lnTo>
                  <a:lnTo>
                    <a:pt x="260605" y="223647"/>
                  </a:lnTo>
                  <a:lnTo>
                    <a:pt x="262129" y="225044"/>
                  </a:lnTo>
                  <a:lnTo>
                    <a:pt x="263780" y="226695"/>
                  </a:lnTo>
                  <a:lnTo>
                    <a:pt x="265430" y="228219"/>
                  </a:lnTo>
                  <a:lnTo>
                    <a:pt x="266955" y="229870"/>
                  </a:lnTo>
                  <a:lnTo>
                    <a:pt x="268351" y="231775"/>
                  </a:lnTo>
                  <a:lnTo>
                    <a:pt x="269749" y="233553"/>
                  </a:lnTo>
                  <a:lnTo>
                    <a:pt x="271145" y="235585"/>
                  </a:lnTo>
                  <a:lnTo>
                    <a:pt x="272416" y="237491"/>
                  </a:lnTo>
                  <a:lnTo>
                    <a:pt x="273559" y="239522"/>
                  </a:lnTo>
                  <a:lnTo>
                    <a:pt x="274701" y="241682"/>
                  </a:lnTo>
                  <a:lnTo>
                    <a:pt x="275844" y="243713"/>
                  </a:lnTo>
                  <a:lnTo>
                    <a:pt x="276861" y="245872"/>
                  </a:lnTo>
                  <a:lnTo>
                    <a:pt x="277749" y="248159"/>
                  </a:lnTo>
                  <a:lnTo>
                    <a:pt x="278512" y="250444"/>
                  </a:lnTo>
                  <a:lnTo>
                    <a:pt x="279274" y="252857"/>
                  </a:lnTo>
                  <a:lnTo>
                    <a:pt x="280036" y="255144"/>
                  </a:lnTo>
                  <a:lnTo>
                    <a:pt x="280543" y="257557"/>
                  </a:lnTo>
                  <a:lnTo>
                    <a:pt x="281051" y="260097"/>
                  </a:lnTo>
                  <a:lnTo>
                    <a:pt x="281432" y="262510"/>
                  </a:lnTo>
                  <a:lnTo>
                    <a:pt x="281813" y="265050"/>
                  </a:lnTo>
                  <a:lnTo>
                    <a:pt x="282068" y="267590"/>
                  </a:lnTo>
                  <a:lnTo>
                    <a:pt x="282194" y="270257"/>
                  </a:lnTo>
                  <a:lnTo>
                    <a:pt x="282194" y="272923"/>
                  </a:lnTo>
                  <a:lnTo>
                    <a:pt x="282194" y="275082"/>
                  </a:lnTo>
                  <a:lnTo>
                    <a:pt x="282068" y="277369"/>
                  </a:lnTo>
                  <a:lnTo>
                    <a:pt x="281941" y="279528"/>
                  </a:lnTo>
                  <a:lnTo>
                    <a:pt x="281687" y="281560"/>
                  </a:lnTo>
                  <a:lnTo>
                    <a:pt x="281432" y="283845"/>
                  </a:lnTo>
                  <a:lnTo>
                    <a:pt x="281051" y="286004"/>
                  </a:lnTo>
                  <a:lnTo>
                    <a:pt x="280543" y="288037"/>
                  </a:lnTo>
                  <a:lnTo>
                    <a:pt x="280036" y="290195"/>
                  </a:lnTo>
                  <a:lnTo>
                    <a:pt x="279400" y="292100"/>
                  </a:lnTo>
                  <a:lnTo>
                    <a:pt x="278766" y="294132"/>
                  </a:lnTo>
                  <a:lnTo>
                    <a:pt x="278257" y="296165"/>
                  </a:lnTo>
                  <a:lnTo>
                    <a:pt x="277495" y="298069"/>
                  </a:lnTo>
                  <a:lnTo>
                    <a:pt x="276734" y="299975"/>
                  </a:lnTo>
                  <a:lnTo>
                    <a:pt x="275844" y="301879"/>
                  </a:lnTo>
                  <a:lnTo>
                    <a:pt x="275082" y="303657"/>
                  </a:lnTo>
                  <a:lnTo>
                    <a:pt x="274067" y="305435"/>
                  </a:lnTo>
                  <a:lnTo>
                    <a:pt x="273050" y="307213"/>
                  </a:lnTo>
                  <a:lnTo>
                    <a:pt x="271907" y="308991"/>
                  </a:lnTo>
                  <a:lnTo>
                    <a:pt x="270764" y="310516"/>
                  </a:lnTo>
                  <a:lnTo>
                    <a:pt x="269749" y="312166"/>
                  </a:lnTo>
                  <a:lnTo>
                    <a:pt x="268479" y="313817"/>
                  </a:lnTo>
                  <a:lnTo>
                    <a:pt x="267336" y="315215"/>
                  </a:lnTo>
                  <a:lnTo>
                    <a:pt x="266066" y="316738"/>
                  </a:lnTo>
                  <a:lnTo>
                    <a:pt x="264795" y="318135"/>
                  </a:lnTo>
                  <a:lnTo>
                    <a:pt x="263399" y="319532"/>
                  </a:lnTo>
                  <a:lnTo>
                    <a:pt x="261874" y="320929"/>
                  </a:lnTo>
                  <a:lnTo>
                    <a:pt x="260478" y="322072"/>
                  </a:lnTo>
                  <a:lnTo>
                    <a:pt x="259080" y="323342"/>
                  </a:lnTo>
                  <a:lnTo>
                    <a:pt x="257556" y="324485"/>
                  </a:lnTo>
                  <a:lnTo>
                    <a:pt x="255905" y="325628"/>
                  </a:lnTo>
                  <a:lnTo>
                    <a:pt x="254381" y="326517"/>
                  </a:lnTo>
                  <a:lnTo>
                    <a:pt x="252730" y="327534"/>
                  </a:lnTo>
                  <a:close/>
                  <a:moveTo>
                    <a:pt x="-1546733" y="2907792"/>
                  </a:moveTo>
                  <a:moveTo>
                    <a:pt x="16256" y="328422"/>
                  </a:moveTo>
                  <a:lnTo>
                    <a:pt x="50293" y="328422"/>
                  </a:lnTo>
                  <a:lnTo>
                    <a:pt x="50419" y="283465"/>
                  </a:lnTo>
                  <a:lnTo>
                    <a:pt x="50547" y="282703"/>
                  </a:lnTo>
                  <a:lnTo>
                    <a:pt x="50674" y="281813"/>
                  </a:lnTo>
                  <a:lnTo>
                    <a:pt x="50800" y="281178"/>
                  </a:lnTo>
                  <a:lnTo>
                    <a:pt x="51055" y="280544"/>
                  </a:lnTo>
                  <a:lnTo>
                    <a:pt x="51436" y="279909"/>
                  </a:lnTo>
                  <a:lnTo>
                    <a:pt x="51689" y="279528"/>
                  </a:lnTo>
                  <a:lnTo>
                    <a:pt x="52070" y="279019"/>
                  </a:lnTo>
                  <a:lnTo>
                    <a:pt x="52579" y="278892"/>
                  </a:lnTo>
                  <a:lnTo>
                    <a:pt x="52960" y="278638"/>
                  </a:lnTo>
                  <a:lnTo>
                    <a:pt x="53468" y="278512"/>
                  </a:lnTo>
                  <a:lnTo>
                    <a:pt x="54103" y="278512"/>
                  </a:lnTo>
                  <a:lnTo>
                    <a:pt x="54611" y="278638"/>
                  </a:lnTo>
                  <a:lnTo>
                    <a:pt x="55245" y="278766"/>
                  </a:lnTo>
                  <a:lnTo>
                    <a:pt x="55880" y="279019"/>
                  </a:lnTo>
                  <a:lnTo>
                    <a:pt x="56388" y="279400"/>
                  </a:lnTo>
                  <a:lnTo>
                    <a:pt x="57024" y="279909"/>
                  </a:lnTo>
                  <a:lnTo>
                    <a:pt x="103505" y="322072"/>
                  </a:lnTo>
                  <a:lnTo>
                    <a:pt x="103505" y="283591"/>
                  </a:lnTo>
                  <a:lnTo>
                    <a:pt x="103632" y="282703"/>
                  </a:lnTo>
                  <a:lnTo>
                    <a:pt x="103632" y="281813"/>
                  </a:lnTo>
                  <a:lnTo>
                    <a:pt x="103760" y="281178"/>
                  </a:lnTo>
                  <a:lnTo>
                    <a:pt x="104013" y="280544"/>
                  </a:lnTo>
                  <a:lnTo>
                    <a:pt x="104394" y="279909"/>
                  </a:lnTo>
                  <a:lnTo>
                    <a:pt x="104649" y="279528"/>
                  </a:lnTo>
                  <a:lnTo>
                    <a:pt x="105030" y="279019"/>
                  </a:lnTo>
                  <a:lnTo>
                    <a:pt x="105537" y="278892"/>
                  </a:lnTo>
                  <a:lnTo>
                    <a:pt x="106045" y="278638"/>
                  </a:lnTo>
                  <a:lnTo>
                    <a:pt x="106554" y="278512"/>
                  </a:lnTo>
                  <a:lnTo>
                    <a:pt x="107062" y="278512"/>
                  </a:lnTo>
                  <a:lnTo>
                    <a:pt x="107697" y="278638"/>
                  </a:lnTo>
                  <a:lnTo>
                    <a:pt x="108331" y="278766"/>
                  </a:lnTo>
                  <a:lnTo>
                    <a:pt x="108839" y="279019"/>
                  </a:lnTo>
                  <a:lnTo>
                    <a:pt x="109474" y="279400"/>
                  </a:lnTo>
                  <a:lnTo>
                    <a:pt x="110110" y="279909"/>
                  </a:lnTo>
                  <a:lnTo>
                    <a:pt x="133986" y="301625"/>
                  </a:lnTo>
                  <a:lnTo>
                    <a:pt x="133986" y="262891"/>
                  </a:lnTo>
                  <a:lnTo>
                    <a:pt x="150242" y="262891"/>
                  </a:lnTo>
                  <a:lnTo>
                    <a:pt x="150242" y="316231"/>
                  </a:lnTo>
                  <a:lnTo>
                    <a:pt x="156464" y="322072"/>
                  </a:lnTo>
                  <a:lnTo>
                    <a:pt x="156464" y="283591"/>
                  </a:lnTo>
                  <a:lnTo>
                    <a:pt x="156592" y="282703"/>
                  </a:lnTo>
                  <a:lnTo>
                    <a:pt x="156718" y="281813"/>
                  </a:lnTo>
                  <a:lnTo>
                    <a:pt x="156718" y="281178"/>
                  </a:lnTo>
                  <a:lnTo>
                    <a:pt x="157099" y="280544"/>
                  </a:lnTo>
                  <a:lnTo>
                    <a:pt x="157354" y="279909"/>
                  </a:lnTo>
                  <a:lnTo>
                    <a:pt x="157735" y="279528"/>
                  </a:lnTo>
                  <a:lnTo>
                    <a:pt x="158116" y="279019"/>
                  </a:lnTo>
                  <a:lnTo>
                    <a:pt x="158497" y="278892"/>
                  </a:lnTo>
                  <a:lnTo>
                    <a:pt x="159005" y="278638"/>
                  </a:lnTo>
                  <a:lnTo>
                    <a:pt x="159512" y="278512"/>
                  </a:lnTo>
                  <a:lnTo>
                    <a:pt x="160020" y="278512"/>
                  </a:lnTo>
                  <a:lnTo>
                    <a:pt x="160655" y="278638"/>
                  </a:lnTo>
                  <a:lnTo>
                    <a:pt x="161291" y="278766"/>
                  </a:lnTo>
                  <a:lnTo>
                    <a:pt x="161799" y="279019"/>
                  </a:lnTo>
                  <a:lnTo>
                    <a:pt x="162434" y="279400"/>
                  </a:lnTo>
                  <a:lnTo>
                    <a:pt x="163068" y="279909"/>
                  </a:lnTo>
                  <a:lnTo>
                    <a:pt x="206375" y="319025"/>
                  </a:lnTo>
                  <a:lnTo>
                    <a:pt x="237999" y="319025"/>
                  </a:lnTo>
                  <a:lnTo>
                    <a:pt x="237999" y="371857"/>
                  </a:lnTo>
                  <a:lnTo>
                    <a:pt x="0" y="371857"/>
                  </a:lnTo>
                  <a:lnTo>
                    <a:pt x="0" y="262891"/>
                  </a:lnTo>
                  <a:lnTo>
                    <a:pt x="16256" y="262891"/>
                  </a:lnTo>
                  <a:lnTo>
                    <a:pt x="16256" y="328422"/>
                  </a:lnTo>
                  <a:close/>
                  <a:moveTo>
                    <a:pt x="-1547621" y="2907792"/>
                  </a:moveTo>
                  <a:moveTo>
                    <a:pt x="208662" y="333122"/>
                  </a:moveTo>
                  <a:lnTo>
                    <a:pt x="164593" y="293116"/>
                  </a:lnTo>
                  <a:lnTo>
                    <a:pt x="164593" y="331597"/>
                  </a:lnTo>
                  <a:lnTo>
                    <a:pt x="164593" y="332487"/>
                  </a:lnTo>
                  <a:lnTo>
                    <a:pt x="164466" y="333248"/>
                  </a:lnTo>
                  <a:lnTo>
                    <a:pt x="164338" y="334010"/>
                  </a:lnTo>
                  <a:lnTo>
                    <a:pt x="164085" y="334645"/>
                  </a:lnTo>
                  <a:lnTo>
                    <a:pt x="163830" y="335281"/>
                  </a:lnTo>
                  <a:lnTo>
                    <a:pt x="163449" y="335662"/>
                  </a:lnTo>
                  <a:lnTo>
                    <a:pt x="163068" y="336042"/>
                  </a:lnTo>
                  <a:lnTo>
                    <a:pt x="162561" y="336423"/>
                  </a:lnTo>
                  <a:lnTo>
                    <a:pt x="162053" y="336678"/>
                  </a:lnTo>
                  <a:lnTo>
                    <a:pt x="161544" y="336678"/>
                  </a:lnTo>
                  <a:lnTo>
                    <a:pt x="161037" y="336678"/>
                  </a:lnTo>
                  <a:lnTo>
                    <a:pt x="160401" y="336678"/>
                  </a:lnTo>
                  <a:lnTo>
                    <a:pt x="159767" y="336550"/>
                  </a:lnTo>
                  <a:lnTo>
                    <a:pt x="159386" y="336169"/>
                  </a:lnTo>
                  <a:lnTo>
                    <a:pt x="158750" y="335788"/>
                  </a:lnTo>
                  <a:lnTo>
                    <a:pt x="157988" y="335281"/>
                  </a:lnTo>
                  <a:lnTo>
                    <a:pt x="111634" y="293116"/>
                  </a:lnTo>
                  <a:lnTo>
                    <a:pt x="111634" y="331597"/>
                  </a:lnTo>
                  <a:lnTo>
                    <a:pt x="111634" y="332487"/>
                  </a:lnTo>
                  <a:lnTo>
                    <a:pt x="111506" y="333248"/>
                  </a:lnTo>
                  <a:lnTo>
                    <a:pt x="111380" y="334010"/>
                  </a:lnTo>
                  <a:lnTo>
                    <a:pt x="111125" y="334645"/>
                  </a:lnTo>
                  <a:lnTo>
                    <a:pt x="110744" y="335281"/>
                  </a:lnTo>
                  <a:lnTo>
                    <a:pt x="110363" y="335662"/>
                  </a:lnTo>
                  <a:lnTo>
                    <a:pt x="109982" y="336042"/>
                  </a:lnTo>
                  <a:lnTo>
                    <a:pt x="109601" y="336423"/>
                  </a:lnTo>
                  <a:lnTo>
                    <a:pt x="109093" y="336678"/>
                  </a:lnTo>
                  <a:lnTo>
                    <a:pt x="108586" y="336678"/>
                  </a:lnTo>
                  <a:lnTo>
                    <a:pt x="108078" y="336678"/>
                  </a:lnTo>
                  <a:lnTo>
                    <a:pt x="107443" y="336678"/>
                  </a:lnTo>
                  <a:lnTo>
                    <a:pt x="106807" y="336550"/>
                  </a:lnTo>
                  <a:lnTo>
                    <a:pt x="106299" y="336169"/>
                  </a:lnTo>
                  <a:lnTo>
                    <a:pt x="105664" y="335788"/>
                  </a:lnTo>
                  <a:lnTo>
                    <a:pt x="105030" y="335281"/>
                  </a:lnTo>
                  <a:lnTo>
                    <a:pt x="58801" y="293116"/>
                  </a:lnTo>
                  <a:lnTo>
                    <a:pt x="58801" y="331725"/>
                  </a:lnTo>
                  <a:lnTo>
                    <a:pt x="58674" y="332994"/>
                  </a:lnTo>
                  <a:lnTo>
                    <a:pt x="58420" y="334265"/>
                  </a:lnTo>
                  <a:lnTo>
                    <a:pt x="58039" y="335281"/>
                  </a:lnTo>
                  <a:lnTo>
                    <a:pt x="57405" y="336169"/>
                  </a:lnTo>
                  <a:lnTo>
                    <a:pt x="56769" y="336932"/>
                  </a:lnTo>
                  <a:lnTo>
                    <a:pt x="56007" y="337313"/>
                  </a:lnTo>
                  <a:lnTo>
                    <a:pt x="55118" y="337694"/>
                  </a:lnTo>
                  <a:lnTo>
                    <a:pt x="54356" y="337694"/>
                  </a:lnTo>
                  <a:lnTo>
                    <a:pt x="16256" y="337694"/>
                  </a:lnTo>
                  <a:lnTo>
                    <a:pt x="16256" y="353188"/>
                  </a:lnTo>
                  <a:lnTo>
                    <a:pt x="16511" y="353188"/>
                  </a:lnTo>
                  <a:lnTo>
                    <a:pt x="224155" y="353188"/>
                  </a:lnTo>
                  <a:lnTo>
                    <a:pt x="224155" y="333122"/>
                  </a:lnTo>
                  <a:lnTo>
                    <a:pt x="208662" y="333122"/>
                  </a:lnTo>
                  <a:close/>
                  <a:moveTo>
                    <a:pt x="-1552321" y="2907792"/>
                  </a:moveTo>
                  <a:moveTo>
                    <a:pt x="356998" y="204851"/>
                  </a:moveTo>
                  <a:lnTo>
                    <a:pt x="360935" y="68200"/>
                  </a:lnTo>
                  <a:lnTo>
                    <a:pt x="378968" y="68200"/>
                  </a:lnTo>
                  <a:lnTo>
                    <a:pt x="382779" y="204851"/>
                  </a:lnTo>
                  <a:lnTo>
                    <a:pt x="356998" y="204851"/>
                  </a:lnTo>
                  <a:close/>
                  <a:moveTo>
                    <a:pt x="-1424050" y="2907792"/>
                  </a:moveTo>
                  <a:moveTo>
                    <a:pt x="368809" y="77470"/>
                  </a:moveTo>
                  <a:lnTo>
                    <a:pt x="365761" y="186691"/>
                  </a:lnTo>
                  <a:lnTo>
                    <a:pt x="373888" y="177292"/>
                  </a:lnTo>
                  <a:lnTo>
                    <a:pt x="371094" y="77470"/>
                  </a:lnTo>
                  <a:lnTo>
                    <a:pt x="368809" y="77470"/>
                  </a:lnTo>
                  <a:close/>
                  <a:moveTo>
                    <a:pt x="-1296669" y="2907792"/>
                  </a:moveTo>
                  <a:moveTo>
                    <a:pt x="391795" y="228473"/>
                  </a:moveTo>
                  <a:lnTo>
                    <a:pt x="397892" y="228473"/>
                  </a:lnTo>
                  <a:lnTo>
                    <a:pt x="397892" y="252985"/>
                  </a:lnTo>
                  <a:lnTo>
                    <a:pt x="411480" y="252985"/>
                  </a:lnTo>
                  <a:lnTo>
                    <a:pt x="411480" y="371857"/>
                  </a:lnTo>
                  <a:lnTo>
                    <a:pt x="300482" y="371857"/>
                  </a:lnTo>
                  <a:lnTo>
                    <a:pt x="300482" y="252985"/>
                  </a:lnTo>
                  <a:lnTo>
                    <a:pt x="339218" y="252985"/>
                  </a:lnTo>
                  <a:lnTo>
                    <a:pt x="339218" y="228473"/>
                  </a:lnTo>
                  <a:lnTo>
                    <a:pt x="346456" y="228473"/>
                  </a:lnTo>
                  <a:lnTo>
                    <a:pt x="346456" y="214122"/>
                  </a:lnTo>
                  <a:lnTo>
                    <a:pt x="391795" y="214122"/>
                  </a:lnTo>
                  <a:lnTo>
                    <a:pt x="391795" y="228473"/>
                  </a:lnTo>
                  <a:close/>
                  <a:moveTo>
                    <a:pt x="-1447672" y="2907792"/>
                  </a:moveTo>
                  <a:moveTo>
                    <a:pt x="362712" y="247142"/>
                  </a:moveTo>
                  <a:lnTo>
                    <a:pt x="355474" y="247142"/>
                  </a:lnTo>
                  <a:lnTo>
                    <a:pt x="355474" y="271653"/>
                  </a:lnTo>
                  <a:lnTo>
                    <a:pt x="316738" y="271653"/>
                  </a:lnTo>
                  <a:lnTo>
                    <a:pt x="316738" y="353188"/>
                  </a:lnTo>
                  <a:lnTo>
                    <a:pt x="395224" y="353188"/>
                  </a:lnTo>
                  <a:lnTo>
                    <a:pt x="395224" y="271653"/>
                  </a:lnTo>
                  <a:lnTo>
                    <a:pt x="381636" y="271653"/>
                  </a:lnTo>
                  <a:lnTo>
                    <a:pt x="381636" y="247142"/>
                  </a:lnTo>
                  <a:lnTo>
                    <a:pt x="375539" y="247142"/>
                  </a:lnTo>
                  <a:lnTo>
                    <a:pt x="375539" y="232791"/>
                  </a:lnTo>
                  <a:lnTo>
                    <a:pt x="362712" y="232791"/>
                  </a:lnTo>
                  <a:lnTo>
                    <a:pt x="362712" y="247142"/>
                  </a:lnTo>
                  <a:close/>
                  <a:moveTo>
                    <a:pt x="-1466341" y="2907792"/>
                  </a:moveTo>
                  <a:moveTo>
                    <a:pt x="328676" y="317628"/>
                  </a:moveTo>
                  <a:lnTo>
                    <a:pt x="355474" y="317628"/>
                  </a:lnTo>
                  <a:lnTo>
                    <a:pt x="355474" y="327025"/>
                  </a:lnTo>
                  <a:lnTo>
                    <a:pt x="328676" y="327025"/>
                  </a:lnTo>
                  <a:lnTo>
                    <a:pt x="328676" y="317628"/>
                  </a:lnTo>
                  <a:close/>
                  <a:moveTo>
                    <a:pt x="-1536827" y="2907792"/>
                  </a:moveTo>
                  <a:moveTo>
                    <a:pt x="328676" y="284988"/>
                  </a:moveTo>
                  <a:lnTo>
                    <a:pt x="355474" y="284988"/>
                  </a:lnTo>
                  <a:lnTo>
                    <a:pt x="355474" y="294387"/>
                  </a:lnTo>
                  <a:lnTo>
                    <a:pt x="328676" y="294387"/>
                  </a:lnTo>
                  <a:lnTo>
                    <a:pt x="328676" y="284988"/>
                  </a:lnTo>
                  <a:close/>
                  <a:moveTo>
                    <a:pt x="-1504187" y="2907792"/>
                  </a:moveTo>
                  <a:moveTo>
                    <a:pt x="328676" y="301372"/>
                  </a:moveTo>
                  <a:lnTo>
                    <a:pt x="355474" y="301372"/>
                  </a:lnTo>
                  <a:lnTo>
                    <a:pt x="355474" y="310769"/>
                  </a:lnTo>
                  <a:lnTo>
                    <a:pt x="328676" y="310769"/>
                  </a:lnTo>
                  <a:lnTo>
                    <a:pt x="328676" y="301372"/>
                  </a:lnTo>
                  <a:close/>
                  <a:moveTo>
                    <a:pt x="-1520571" y="2907792"/>
                  </a:moveTo>
                  <a:moveTo>
                    <a:pt x="105030" y="77470"/>
                  </a:moveTo>
                  <a:lnTo>
                    <a:pt x="102109" y="186691"/>
                  </a:lnTo>
                  <a:lnTo>
                    <a:pt x="110363" y="177292"/>
                  </a:lnTo>
                  <a:lnTo>
                    <a:pt x="107443" y="77470"/>
                  </a:lnTo>
                  <a:lnTo>
                    <a:pt x="105030" y="77470"/>
                  </a:lnTo>
                  <a:close/>
                  <a:moveTo>
                    <a:pt x="-1296669" y="2907792"/>
                  </a:moveTo>
                  <a:moveTo>
                    <a:pt x="93345" y="204851"/>
                  </a:moveTo>
                  <a:lnTo>
                    <a:pt x="97282" y="68200"/>
                  </a:lnTo>
                  <a:lnTo>
                    <a:pt x="115317" y="68200"/>
                  </a:lnTo>
                  <a:lnTo>
                    <a:pt x="119254" y="204851"/>
                  </a:lnTo>
                  <a:lnTo>
                    <a:pt x="93345" y="204851"/>
                  </a:lnTo>
                  <a:close/>
                  <a:moveTo>
                    <a:pt x="-1424050" y="2907792"/>
                  </a:moveTo>
                  <a:moveTo>
                    <a:pt x="68962" y="77470"/>
                  </a:moveTo>
                  <a:lnTo>
                    <a:pt x="65913" y="186691"/>
                  </a:lnTo>
                  <a:lnTo>
                    <a:pt x="74042" y="177292"/>
                  </a:lnTo>
                  <a:lnTo>
                    <a:pt x="71374" y="77470"/>
                  </a:lnTo>
                  <a:lnTo>
                    <a:pt x="68962" y="77470"/>
                  </a:lnTo>
                  <a:close/>
                  <a:moveTo>
                    <a:pt x="-1296669" y="2907792"/>
                  </a:moveTo>
                  <a:moveTo>
                    <a:pt x="57278" y="204851"/>
                  </a:moveTo>
                  <a:lnTo>
                    <a:pt x="61087" y="68200"/>
                  </a:lnTo>
                  <a:lnTo>
                    <a:pt x="79249" y="68200"/>
                  </a:lnTo>
                  <a:lnTo>
                    <a:pt x="83059" y="204851"/>
                  </a:lnTo>
                  <a:lnTo>
                    <a:pt x="57278" y="204851"/>
                  </a:lnTo>
                  <a:close/>
                  <a:moveTo>
                    <a:pt x="-1424050" y="2907792"/>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38" name="Freeform 1338"/>
            <p:cNvSpPr/>
            <p:nvPr/>
          </p:nvSpPr>
          <p:spPr>
            <a:xfrm>
              <a:off x="4399150" y="5302546"/>
              <a:ext cx="24370" cy="27419"/>
            </a:xfrm>
            <a:custGeom>
              <a:avLst/>
              <a:gdLst/>
              <a:ahLst/>
              <a:cxnLst/>
              <a:rect l="0" t="0" r="0" b="0"/>
              <a:pathLst>
                <a:path w="24383" h="27433">
                  <a:moveTo>
                    <a:pt x="4318" y="19939"/>
                  </a:moveTo>
                  <a:lnTo>
                    <a:pt x="4318" y="19939"/>
                  </a:lnTo>
                  <a:lnTo>
                    <a:pt x="5714" y="17400"/>
                  </a:lnTo>
                  <a:lnTo>
                    <a:pt x="7112" y="16256"/>
                  </a:lnTo>
                  <a:lnTo>
                    <a:pt x="10032" y="16256"/>
                  </a:lnTo>
                  <a:lnTo>
                    <a:pt x="11430" y="16256"/>
                  </a:lnTo>
                  <a:lnTo>
                    <a:pt x="17271" y="14986"/>
                  </a:lnTo>
                  <a:lnTo>
                    <a:pt x="20065" y="13717"/>
                  </a:lnTo>
                  <a:lnTo>
                    <a:pt x="22987" y="11177"/>
                  </a:lnTo>
                  <a:lnTo>
                    <a:pt x="24383" y="7494"/>
                  </a:lnTo>
                  <a:lnTo>
                    <a:pt x="22987" y="3683"/>
                  </a:lnTo>
                  <a:lnTo>
                    <a:pt x="20065" y="1270"/>
                  </a:lnTo>
                  <a:lnTo>
                    <a:pt x="17271" y="0"/>
                  </a:lnTo>
                  <a:lnTo>
                    <a:pt x="12953" y="0"/>
                  </a:lnTo>
                  <a:lnTo>
                    <a:pt x="8636" y="0"/>
                  </a:lnTo>
                  <a:lnTo>
                    <a:pt x="4318" y="1270"/>
                  </a:lnTo>
                  <a:lnTo>
                    <a:pt x="1396" y="3683"/>
                  </a:lnTo>
                  <a:lnTo>
                    <a:pt x="0" y="7494"/>
                  </a:lnTo>
                  <a:lnTo>
                    <a:pt x="4318" y="7494"/>
                  </a:lnTo>
                  <a:lnTo>
                    <a:pt x="5714" y="4953"/>
                  </a:lnTo>
                  <a:lnTo>
                    <a:pt x="7112" y="3683"/>
                  </a:lnTo>
                  <a:lnTo>
                    <a:pt x="10032" y="3683"/>
                  </a:lnTo>
                  <a:lnTo>
                    <a:pt x="12953" y="3683"/>
                  </a:lnTo>
                  <a:lnTo>
                    <a:pt x="15747" y="3683"/>
                  </a:lnTo>
                  <a:lnTo>
                    <a:pt x="17271" y="3683"/>
                  </a:lnTo>
                  <a:lnTo>
                    <a:pt x="18669" y="6223"/>
                  </a:lnTo>
                  <a:lnTo>
                    <a:pt x="20065" y="7494"/>
                  </a:lnTo>
                  <a:lnTo>
                    <a:pt x="18669" y="10033"/>
                  </a:lnTo>
                  <a:lnTo>
                    <a:pt x="17271" y="11177"/>
                  </a:lnTo>
                  <a:lnTo>
                    <a:pt x="14351" y="12447"/>
                  </a:lnTo>
                  <a:lnTo>
                    <a:pt x="11430" y="12447"/>
                  </a:lnTo>
                  <a:lnTo>
                    <a:pt x="7112" y="12447"/>
                  </a:lnTo>
                  <a:lnTo>
                    <a:pt x="4318" y="13717"/>
                  </a:lnTo>
                  <a:lnTo>
                    <a:pt x="1396" y="16256"/>
                  </a:lnTo>
                  <a:lnTo>
                    <a:pt x="0" y="19939"/>
                  </a:lnTo>
                  <a:lnTo>
                    <a:pt x="0" y="27433"/>
                  </a:lnTo>
                  <a:lnTo>
                    <a:pt x="24383" y="27433"/>
                  </a:lnTo>
                  <a:lnTo>
                    <a:pt x="24383" y="22480"/>
                  </a:lnTo>
                  <a:lnTo>
                    <a:pt x="4318" y="22480"/>
                  </a:lnTo>
                  <a:lnTo>
                    <a:pt x="4318" y="19939"/>
                  </a:lnTo>
                  <a:close/>
                  <a:moveTo>
                    <a:pt x="-2863723" y="1554480"/>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39" name="Freeform 1339"/>
            <p:cNvSpPr/>
            <p:nvPr/>
          </p:nvSpPr>
          <p:spPr>
            <a:xfrm>
              <a:off x="4262060" y="5272081"/>
              <a:ext cx="57882" cy="57883"/>
            </a:xfrm>
            <a:custGeom>
              <a:avLst/>
              <a:gdLst/>
              <a:ahLst/>
              <a:cxnLst/>
              <a:rect l="0" t="0" r="0" b="0"/>
              <a:pathLst>
                <a:path w="57912" h="57913">
                  <a:moveTo>
                    <a:pt x="43816" y="47880"/>
                  </a:moveTo>
                  <a:lnTo>
                    <a:pt x="43816" y="47880"/>
                  </a:lnTo>
                  <a:lnTo>
                    <a:pt x="38100" y="49149"/>
                  </a:lnTo>
                  <a:lnTo>
                    <a:pt x="33910" y="50419"/>
                  </a:lnTo>
                  <a:lnTo>
                    <a:pt x="28194" y="49149"/>
                  </a:lnTo>
                  <a:lnTo>
                    <a:pt x="24004" y="47880"/>
                  </a:lnTo>
                  <a:lnTo>
                    <a:pt x="19812" y="46610"/>
                  </a:lnTo>
                  <a:lnTo>
                    <a:pt x="15494" y="44069"/>
                  </a:lnTo>
                  <a:lnTo>
                    <a:pt x="14098" y="40260"/>
                  </a:lnTo>
                  <a:lnTo>
                    <a:pt x="11304" y="36449"/>
                  </a:lnTo>
                  <a:lnTo>
                    <a:pt x="9906" y="28957"/>
                  </a:lnTo>
                  <a:lnTo>
                    <a:pt x="11304" y="21463"/>
                  </a:lnTo>
                  <a:lnTo>
                    <a:pt x="14098" y="17653"/>
                  </a:lnTo>
                  <a:lnTo>
                    <a:pt x="15494" y="15113"/>
                  </a:lnTo>
                  <a:lnTo>
                    <a:pt x="19812" y="12574"/>
                  </a:lnTo>
                  <a:lnTo>
                    <a:pt x="24004" y="10033"/>
                  </a:lnTo>
                  <a:lnTo>
                    <a:pt x="28194" y="8763"/>
                  </a:lnTo>
                  <a:lnTo>
                    <a:pt x="33910" y="7494"/>
                  </a:lnTo>
                  <a:lnTo>
                    <a:pt x="42418" y="10033"/>
                  </a:lnTo>
                  <a:lnTo>
                    <a:pt x="46610" y="11303"/>
                  </a:lnTo>
                  <a:lnTo>
                    <a:pt x="50800" y="13844"/>
                  </a:lnTo>
                  <a:lnTo>
                    <a:pt x="57912" y="7494"/>
                  </a:lnTo>
                  <a:lnTo>
                    <a:pt x="52325" y="3810"/>
                  </a:lnTo>
                  <a:lnTo>
                    <a:pt x="46610" y="1271"/>
                  </a:lnTo>
                  <a:lnTo>
                    <a:pt x="41022" y="0"/>
                  </a:lnTo>
                  <a:lnTo>
                    <a:pt x="33910" y="0"/>
                  </a:lnTo>
                  <a:lnTo>
                    <a:pt x="25400" y="0"/>
                  </a:lnTo>
                  <a:lnTo>
                    <a:pt x="19812" y="2541"/>
                  </a:lnTo>
                  <a:lnTo>
                    <a:pt x="12700" y="5080"/>
                  </a:lnTo>
                  <a:lnTo>
                    <a:pt x="8510" y="8763"/>
                  </a:lnTo>
                  <a:lnTo>
                    <a:pt x="5588" y="13844"/>
                  </a:lnTo>
                  <a:lnTo>
                    <a:pt x="2794" y="18924"/>
                  </a:lnTo>
                  <a:lnTo>
                    <a:pt x="1398" y="23877"/>
                  </a:lnTo>
                  <a:lnTo>
                    <a:pt x="0" y="28957"/>
                  </a:lnTo>
                  <a:lnTo>
                    <a:pt x="1398" y="35307"/>
                  </a:lnTo>
                  <a:lnTo>
                    <a:pt x="2794" y="40260"/>
                  </a:lnTo>
                  <a:lnTo>
                    <a:pt x="5588" y="45339"/>
                  </a:lnTo>
                  <a:lnTo>
                    <a:pt x="8510" y="49149"/>
                  </a:lnTo>
                  <a:lnTo>
                    <a:pt x="12700" y="52833"/>
                  </a:lnTo>
                  <a:lnTo>
                    <a:pt x="19812" y="56643"/>
                  </a:lnTo>
                  <a:lnTo>
                    <a:pt x="25400" y="57913"/>
                  </a:lnTo>
                  <a:lnTo>
                    <a:pt x="33910" y="57913"/>
                  </a:lnTo>
                  <a:lnTo>
                    <a:pt x="41022" y="57913"/>
                  </a:lnTo>
                  <a:lnTo>
                    <a:pt x="46610" y="56643"/>
                  </a:lnTo>
                  <a:lnTo>
                    <a:pt x="52325" y="54102"/>
                  </a:lnTo>
                  <a:lnTo>
                    <a:pt x="57912" y="50419"/>
                  </a:lnTo>
                  <a:lnTo>
                    <a:pt x="50800" y="44069"/>
                  </a:lnTo>
                  <a:lnTo>
                    <a:pt x="48006" y="46610"/>
                  </a:lnTo>
                  <a:lnTo>
                    <a:pt x="43816" y="47880"/>
                  </a:lnTo>
                  <a:close/>
                  <a:moveTo>
                    <a:pt x="-2724023" y="1584960"/>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40" name="Freeform 1340"/>
            <p:cNvSpPr/>
            <p:nvPr/>
          </p:nvSpPr>
          <p:spPr>
            <a:xfrm>
              <a:off x="4326036" y="5269035"/>
              <a:ext cx="67021" cy="60929"/>
            </a:xfrm>
            <a:custGeom>
              <a:avLst/>
              <a:gdLst/>
              <a:ahLst/>
              <a:cxnLst/>
              <a:rect l="0" t="0" r="0" b="0"/>
              <a:pathLst>
                <a:path w="67056" h="60961">
                  <a:moveTo>
                    <a:pt x="58548" y="10161"/>
                  </a:moveTo>
                  <a:lnTo>
                    <a:pt x="58548" y="10161"/>
                  </a:lnTo>
                  <a:lnTo>
                    <a:pt x="54229" y="6350"/>
                  </a:lnTo>
                  <a:lnTo>
                    <a:pt x="48515" y="2541"/>
                  </a:lnTo>
                  <a:lnTo>
                    <a:pt x="41403" y="1270"/>
                  </a:lnTo>
                  <a:lnTo>
                    <a:pt x="32767" y="0"/>
                  </a:lnTo>
                  <a:lnTo>
                    <a:pt x="27052" y="1270"/>
                  </a:lnTo>
                  <a:lnTo>
                    <a:pt x="19940" y="2541"/>
                  </a:lnTo>
                  <a:lnTo>
                    <a:pt x="14224" y="5081"/>
                  </a:lnTo>
                  <a:lnTo>
                    <a:pt x="10034" y="8891"/>
                  </a:lnTo>
                  <a:lnTo>
                    <a:pt x="5716" y="13970"/>
                  </a:lnTo>
                  <a:lnTo>
                    <a:pt x="2794" y="19050"/>
                  </a:lnTo>
                  <a:lnTo>
                    <a:pt x="1398" y="24131"/>
                  </a:lnTo>
                  <a:lnTo>
                    <a:pt x="0" y="30481"/>
                  </a:lnTo>
                  <a:lnTo>
                    <a:pt x="1398" y="36831"/>
                  </a:lnTo>
                  <a:lnTo>
                    <a:pt x="2794" y="41911"/>
                  </a:lnTo>
                  <a:lnTo>
                    <a:pt x="4318" y="46991"/>
                  </a:lnTo>
                  <a:lnTo>
                    <a:pt x="8510" y="50800"/>
                  </a:lnTo>
                  <a:lnTo>
                    <a:pt x="12828" y="54611"/>
                  </a:lnTo>
                  <a:lnTo>
                    <a:pt x="18542" y="58420"/>
                  </a:lnTo>
                  <a:lnTo>
                    <a:pt x="25654" y="59691"/>
                  </a:lnTo>
                  <a:lnTo>
                    <a:pt x="32767" y="60961"/>
                  </a:lnTo>
                  <a:lnTo>
                    <a:pt x="41403" y="59691"/>
                  </a:lnTo>
                  <a:lnTo>
                    <a:pt x="48515" y="58420"/>
                  </a:lnTo>
                  <a:lnTo>
                    <a:pt x="54229" y="54611"/>
                  </a:lnTo>
                  <a:lnTo>
                    <a:pt x="58548" y="50800"/>
                  </a:lnTo>
                  <a:lnTo>
                    <a:pt x="61342" y="46991"/>
                  </a:lnTo>
                  <a:lnTo>
                    <a:pt x="64262" y="41911"/>
                  </a:lnTo>
                  <a:lnTo>
                    <a:pt x="65660" y="36831"/>
                  </a:lnTo>
                  <a:lnTo>
                    <a:pt x="67056" y="30481"/>
                  </a:lnTo>
                  <a:lnTo>
                    <a:pt x="65660" y="25400"/>
                  </a:lnTo>
                  <a:lnTo>
                    <a:pt x="64262" y="19050"/>
                  </a:lnTo>
                  <a:lnTo>
                    <a:pt x="61342" y="13970"/>
                  </a:lnTo>
                  <a:lnTo>
                    <a:pt x="58548" y="10161"/>
                  </a:lnTo>
                  <a:close/>
                  <a:moveTo>
                    <a:pt x="-2747264" y="1588008"/>
                  </a:moveTo>
                  <a:moveTo>
                    <a:pt x="54229" y="39370"/>
                  </a:moveTo>
                  <a:lnTo>
                    <a:pt x="54229" y="39370"/>
                  </a:lnTo>
                  <a:lnTo>
                    <a:pt x="52833" y="41911"/>
                  </a:lnTo>
                  <a:lnTo>
                    <a:pt x="51309" y="45720"/>
                  </a:lnTo>
                  <a:lnTo>
                    <a:pt x="47117" y="48261"/>
                  </a:lnTo>
                  <a:lnTo>
                    <a:pt x="44197" y="49531"/>
                  </a:lnTo>
                  <a:lnTo>
                    <a:pt x="38481" y="52070"/>
                  </a:lnTo>
                  <a:lnTo>
                    <a:pt x="32767" y="52070"/>
                  </a:lnTo>
                  <a:lnTo>
                    <a:pt x="27052" y="52070"/>
                  </a:lnTo>
                  <a:lnTo>
                    <a:pt x="22860" y="49531"/>
                  </a:lnTo>
                  <a:lnTo>
                    <a:pt x="18542" y="48261"/>
                  </a:lnTo>
                  <a:lnTo>
                    <a:pt x="15748" y="45720"/>
                  </a:lnTo>
                  <a:lnTo>
                    <a:pt x="11430" y="38100"/>
                  </a:lnTo>
                  <a:lnTo>
                    <a:pt x="10034" y="30481"/>
                  </a:lnTo>
                  <a:lnTo>
                    <a:pt x="11430" y="21591"/>
                  </a:lnTo>
                  <a:lnTo>
                    <a:pt x="14224" y="17781"/>
                  </a:lnTo>
                  <a:lnTo>
                    <a:pt x="17146" y="15241"/>
                  </a:lnTo>
                  <a:lnTo>
                    <a:pt x="19940" y="12700"/>
                  </a:lnTo>
                  <a:lnTo>
                    <a:pt x="24258" y="10161"/>
                  </a:lnTo>
                  <a:lnTo>
                    <a:pt x="28575" y="8891"/>
                  </a:lnTo>
                  <a:lnTo>
                    <a:pt x="32767" y="8891"/>
                  </a:lnTo>
                  <a:lnTo>
                    <a:pt x="38481" y="10161"/>
                  </a:lnTo>
                  <a:lnTo>
                    <a:pt x="44197" y="11431"/>
                  </a:lnTo>
                  <a:lnTo>
                    <a:pt x="47117" y="12700"/>
                  </a:lnTo>
                  <a:lnTo>
                    <a:pt x="51309" y="16511"/>
                  </a:lnTo>
                  <a:lnTo>
                    <a:pt x="52833" y="19050"/>
                  </a:lnTo>
                  <a:lnTo>
                    <a:pt x="54229" y="22861"/>
                  </a:lnTo>
                  <a:lnTo>
                    <a:pt x="55627" y="30481"/>
                  </a:lnTo>
                  <a:lnTo>
                    <a:pt x="54229" y="39370"/>
                  </a:lnTo>
                  <a:close/>
                  <a:moveTo>
                    <a:pt x="-2776473" y="1588008"/>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41" name="Freeform 1341"/>
            <p:cNvSpPr/>
            <p:nvPr/>
          </p:nvSpPr>
          <p:spPr>
            <a:xfrm>
              <a:off x="4048812" y="4982671"/>
              <a:ext cx="587958" cy="322920"/>
            </a:xfrm>
            <a:custGeom>
              <a:avLst/>
              <a:gdLst/>
              <a:ahLst/>
              <a:cxnLst/>
              <a:rect l="0" t="0" r="0" b="0"/>
              <a:pathLst>
                <a:path w="588264" h="323088">
                  <a:moveTo>
                    <a:pt x="469772" y="323088"/>
                  </a:moveTo>
                  <a:lnTo>
                    <a:pt x="385952" y="323088"/>
                  </a:lnTo>
                  <a:lnTo>
                    <a:pt x="385952" y="311785"/>
                  </a:lnTo>
                  <a:lnTo>
                    <a:pt x="469772" y="311785"/>
                  </a:lnTo>
                  <a:lnTo>
                    <a:pt x="481329" y="310515"/>
                  </a:lnTo>
                  <a:lnTo>
                    <a:pt x="491363" y="309373"/>
                  </a:lnTo>
                  <a:lnTo>
                    <a:pt x="501522" y="306832"/>
                  </a:lnTo>
                  <a:lnTo>
                    <a:pt x="511683" y="304293"/>
                  </a:lnTo>
                  <a:lnTo>
                    <a:pt x="520319" y="300609"/>
                  </a:lnTo>
                  <a:lnTo>
                    <a:pt x="528954" y="295529"/>
                  </a:lnTo>
                  <a:lnTo>
                    <a:pt x="537717" y="290576"/>
                  </a:lnTo>
                  <a:lnTo>
                    <a:pt x="544957" y="284226"/>
                  </a:lnTo>
                  <a:lnTo>
                    <a:pt x="550671" y="278004"/>
                  </a:lnTo>
                  <a:lnTo>
                    <a:pt x="557910" y="270510"/>
                  </a:lnTo>
                  <a:lnTo>
                    <a:pt x="562228" y="263018"/>
                  </a:lnTo>
                  <a:lnTo>
                    <a:pt x="566546" y="255524"/>
                  </a:lnTo>
                  <a:lnTo>
                    <a:pt x="570865" y="246762"/>
                  </a:lnTo>
                  <a:lnTo>
                    <a:pt x="573785" y="237872"/>
                  </a:lnTo>
                  <a:lnTo>
                    <a:pt x="575309" y="229109"/>
                  </a:lnTo>
                  <a:lnTo>
                    <a:pt x="575309" y="220345"/>
                  </a:lnTo>
                  <a:lnTo>
                    <a:pt x="573785" y="205360"/>
                  </a:lnTo>
                  <a:lnTo>
                    <a:pt x="569467" y="190373"/>
                  </a:lnTo>
                  <a:lnTo>
                    <a:pt x="562228" y="176531"/>
                  </a:lnTo>
                  <a:lnTo>
                    <a:pt x="553592" y="165354"/>
                  </a:lnTo>
                  <a:lnTo>
                    <a:pt x="542035" y="154051"/>
                  </a:lnTo>
                  <a:lnTo>
                    <a:pt x="528954" y="144019"/>
                  </a:lnTo>
                  <a:lnTo>
                    <a:pt x="514603" y="137795"/>
                  </a:lnTo>
                  <a:lnTo>
                    <a:pt x="498602" y="131445"/>
                  </a:lnTo>
                  <a:lnTo>
                    <a:pt x="492886" y="130175"/>
                  </a:lnTo>
                  <a:lnTo>
                    <a:pt x="492886" y="126493"/>
                  </a:lnTo>
                  <a:lnTo>
                    <a:pt x="494284" y="116460"/>
                  </a:lnTo>
                  <a:lnTo>
                    <a:pt x="492886" y="105156"/>
                  </a:lnTo>
                  <a:lnTo>
                    <a:pt x="491363" y="95123"/>
                  </a:lnTo>
                  <a:lnTo>
                    <a:pt x="488569" y="85218"/>
                  </a:lnTo>
                  <a:lnTo>
                    <a:pt x="484251" y="75185"/>
                  </a:lnTo>
                  <a:lnTo>
                    <a:pt x="479806" y="66422"/>
                  </a:lnTo>
                  <a:lnTo>
                    <a:pt x="472694" y="57659"/>
                  </a:lnTo>
                  <a:lnTo>
                    <a:pt x="466852" y="48895"/>
                  </a:lnTo>
                  <a:lnTo>
                    <a:pt x="458215" y="41275"/>
                  </a:lnTo>
                  <a:lnTo>
                    <a:pt x="449452" y="35053"/>
                  </a:lnTo>
                  <a:lnTo>
                    <a:pt x="440816" y="28829"/>
                  </a:lnTo>
                  <a:lnTo>
                    <a:pt x="430657" y="23750"/>
                  </a:lnTo>
                  <a:lnTo>
                    <a:pt x="420623" y="20066"/>
                  </a:lnTo>
                  <a:lnTo>
                    <a:pt x="409066" y="16256"/>
                  </a:lnTo>
                  <a:lnTo>
                    <a:pt x="397509" y="13716"/>
                  </a:lnTo>
                  <a:lnTo>
                    <a:pt x="385952" y="11303"/>
                  </a:lnTo>
                  <a:lnTo>
                    <a:pt x="372871" y="11303"/>
                  </a:lnTo>
                  <a:lnTo>
                    <a:pt x="354076" y="12573"/>
                  </a:lnTo>
                  <a:lnTo>
                    <a:pt x="336803" y="16256"/>
                  </a:lnTo>
                  <a:lnTo>
                    <a:pt x="319404" y="22479"/>
                  </a:lnTo>
                  <a:lnTo>
                    <a:pt x="303529" y="30100"/>
                  </a:lnTo>
                  <a:lnTo>
                    <a:pt x="290576" y="40132"/>
                  </a:lnTo>
                  <a:lnTo>
                    <a:pt x="277495" y="52578"/>
                  </a:lnTo>
                  <a:lnTo>
                    <a:pt x="267334" y="65151"/>
                  </a:lnTo>
                  <a:lnTo>
                    <a:pt x="260222" y="80138"/>
                  </a:lnTo>
                  <a:lnTo>
                    <a:pt x="257302" y="86360"/>
                  </a:lnTo>
                  <a:lnTo>
                    <a:pt x="251459" y="83947"/>
                  </a:lnTo>
                  <a:lnTo>
                    <a:pt x="234188" y="80138"/>
                  </a:lnTo>
                  <a:lnTo>
                    <a:pt x="216789" y="77597"/>
                  </a:lnTo>
                  <a:lnTo>
                    <a:pt x="200914" y="78868"/>
                  </a:lnTo>
                  <a:lnTo>
                    <a:pt x="185039" y="82678"/>
                  </a:lnTo>
                  <a:lnTo>
                    <a:pt x="170560" y="88900"/>
                  </a:lnTo>
                  <a:lnTo>
                    <a:pt x="157607" y="96394"/>
                  </a:lnTo>
                  <a:lnTo>
                    <a:pt x="145922" y="105156"/>
                  </a:lnTo>
                  <a:lnTo>
                    <a:pt x="135890" y="116460"/>
                  </a:lnTo>
                  <a:lnTo>
                    <a:pt x="128651" y="129032"/>
                  </a:lnTo>
                  <a:lnTo>
                    <a:pt x="124333" y="142748"/>
                  </a:lnTo>
                  <a:lnTo>
                    <a:pt x="122809" y="147828"/>
                  </a:lnTo>
                  <a:lnTo>
                    <a:pt x="117094" y="146559"/>
                  </a:lnTo>
                  <a:lnTo>
                    <a:pt x="108458" y="146559"/>
                  </a:lnTo>
                  <a:lnTo>
                    <a:pt x="98297" y="146559"/>
                  </a:lnTo>
                  <a:lnTo>
                    <a:pt x="89661" y="147828"/>
                  </a:lnTo>
                  <a:lnTo>
                    <a:pt x="80898" y="150241"/>
                  </a:lnTo>
                  <a:lnTo>
                    <a:pt x="70865" y="152781"/>
                  </a:lnTo>
                  <a:lnTo>
                    <a:pt x="63627" y="156591"/>
                  </a:lnTo>
                  <a:lnTo>
                    <a:pt x="54864" y="160275"/>
                  </a:lnTo>
                  <a:lnTo>
                    <a:pt x="47752" y="165354"/>
                  </a:lnTo>
                  <a:lnTo>
                    <a:pt x="41909" y="170307"/>
                  </a:lnTo>
                  <a:lnTo>
                    <a:pt x="34671" y="176531"/>
                  </a:lnTo>
                  <a:lnTo>
                    <a:pt x="28956" y="182881"/>
                  </a:lnTo>
                  <a:lnTo>
                    <a:pt x="24510" y="189103"/>
                  </a:lnTo>
                  <a:lnTo>
                    <a:pt x="20192" y="196597"/>
                  </a:lnTo>
                  <a:lnTo>
                    <a:pt x="17398" y="204090"/>
                  </a:lnTo>
                  <a:lnTo>
                    <a:pt x="15875" y="211582"/>
                  </a:lnTo>
                  <a:lnTo>
                    <a:pt x="14477" y="220345"/>
                  </a:lnTo>
                  <a:lnTo>
                    <a:pt x="12953" y="229109"/>
                  </a:lnTo>
                  <a:lnTo>
                    <a:pt x="14477" y="236728"/>
                  </a:lnTo>
                  <a:lnTo>
                    <a:pt x="15875" y="245491"/>
                  </a:lnTo>
                  <a:lnTo>
                    <a:pt x="17398" y="252984"/>
                  </a:lnTo>
                  <a:lnTo>
                    <a:pt x="20192" y="260478"/>
                  </a:lnTo>
                  <a:lnTo>
                    <a:pt x="24510" y="267970"/>
                  </a:lnTo>
                  <a:lnTo>
                    <a:pt x="28956" y="274193"/>
                  </a:lnTo>
                  <a:lnTo>
                    <a:pt x="34671" y="281813"/>
                  </a:lnTo>
                  <a:lnTo>
                    <a:pt x="41909" y="286767"/>
                  </a:lnTo>
                  <a:lnTo>
                    <a:pt x="47752" y="291720"/>
                  </a:lnTo>
                  <a:lnTo>
                    <a:pt x="54864" y="296799"/>
                  </a:lnTo>
                  <a:lnTo>
                    <a:pt x="63627" y="301753"/>
                  </a:lnTo>
                  <a:lnTo>
                    <a:pt x="70865" y="304293"/>
                  </a:lnTo>
                  <a:lnTo>
                    <a:pt x="80898" y="308103"/>
                  </a:lnTo>
                  <a:lnTo>
                    <a:pt x="89661" y="309373"/>
                  </a:lnTo>
                  <a:lnTo>
                    <a:pt x="98297" y="310515"/>
                  </a:lnTo>
                  <a:lnTo>
                    <a:pt x="108458" y="311785"/>
                  </a:lnTo>
                  <a:lnTo>
                    <a:pt x="195071" y="311785"/>
                  </a:lnTo>
                  <a:lnTo>
                    <a:pt x="195071" y="323088"/>
                  </a:lnTo>
                  <a:lnTo>
                    <a:pt x="108458" y="323088"/>
                  </a:lnTo>
                  <a:lnTo>
                    <a:pt x="96901" y="321818"/>
                  </a:lnTo>
                  <a:lnTo>
                    <a:pt x="86740" y="320548"/>
                  </a:lnTo>
                  <a:lnTo>
                    <a:pt x="76581" y="318135"/>
                  </a:lnTo>
                  <a:lnTo>
                    <a:pt x="66547" y="315595"/>
                  </a:lnTo>
                  <a:lnTo>
                    <a:pt x="56388" y="310515"/>
                  </a:lnTo>
                  <a:lnTo>
                    <a:pt x="47752" y="306832"/>
                  </a:lnTo>
                  <a:lnTo>
                    <a:pt x="38989" y="300609"/>
                  </a:lnTo>
                  <a:lnTo>
                    <a:pt x="31750" y="295529"/>
                  </a:lnTo>
                  <a:lnTo>
                    <a:pt x="24510" y="288037"/>
                  </a:lnTo>
                  <a:lnTo>
                    <a:pt x="18796" y="280543"/>
                  </a:lnTo>
                  <a:lnTo>
                    <a:pt x="12953" y="273051"/>
                  </a:lnTo>
                  <a:lnTo>
                    <a:pt x="8635" y="265431"/>
                  </a:lnTo>
                  <a:lnTo>
                    <a:pt x="5841" y="256668"/>
                  </a:lnTo>
                  <a:lnTo>
                    <a:pt x="2921" y="247904"/>
                  </a:lnTo>
                  <a:lnTo>
                    <a:pt x="1396" y="237872"/>
                  </a:lnTo>
                  <a:lnTo>
                    <a:pt x="0" y="229109"/>
                  </a:lnTo>
                  <a:lnTo>
                    <a:pt x="1396" y="219203"/>
                  </a:lnTo>
                  <a:lnTo>
                    <a:pt x="2921" y="210440"/>
                  </a:lnTo>
                  <a:lnTo>
                    <a:pt x="5841" y="200406"/>
                  </a:lnTo>
                  <a:lnTo>
                    <a:pt x="8635" y="192913"/>
                  </a:lnTo>
                  <a:lnTo>
                    <a:pt x="12953" y="184023"/>
                  </a:lnTo>
                  <a:lnTo>
                    <a:pt x="18796" y="176531"/>
                  </a:lnTo>
                  <a:lnTo>
                    <a:pt x="24510" y="169038"/>
                  </a:lnTo>
                  <a:lnTo>
                    <a:pt x="31750" y="162815"/>
                  </a:lnTo>
                  <a:lnTo>
                    <a:pt x="38989" y="156591"/>
                  </a:lnTo>
                  <a:lnTo>
                    <a:pt x="47752" y="151512"/>
                  </a:lnTo>
                  <a:lnTo>
                    <a:pt x="56388" y="146559"/>
                  </a:lnTo>
                  <a:lnTo>
                    <a:pt x="66547" y="142748"/>
                  </a:lnTo>
                  <a:lnTo>
                    <a:pt x="76581" y="139066"/>
                  </a:lnTo>
                  <a:lnTo>
                    <a:pt x="86740" y="136525"/>
                  </a:lnTo>
                  <a:lnTo>
                    <a:pt x="96901" y="135256"/>
                  </a:lnTo>
                  <a:lnTo>
                    <a:pt x="108458" y="135256"/>
                  </a:lnTo>
                  <a:lnTo>
                    <a:pt x="112776" y="135256"/>
                  </a:lnTo>
                  <a:lnTo>
                    <a:pt x="118490" y="120269"/>
                  </a:lnTo>
                  <a:lnTo>
                    <a:pt x="127253" y="107697"/>
                  </a:lnTo>
                  <a:lnTo>
                    <a:pt x="138810" y="95123"/>
                  </a:lnTo>
                  <a:lnTo>
                    <a:pt x="151765" y="86360"/>
                  </a:lnTo>
                  <a:lnTo>
                    <a:pt x="166242" y="77597"/>
                  </a:lnTo>
                  <a:lnTo>
                    <a:pt x="182117" y="71375"/>
                  </a:lnTo>
                  <a:lnTo>
                    <a:pt x="199516" y="67565"/>
                  </a:lnTo>
                  <a:lnTo>
                    <a:pt x="216789" y="66422"/>
                  </a:lnTo>
                  <a:lnTo>
                    <a:pt x="234188" y="67565"/>
                  </a:lnTo>
                  <a:lnTo>
                    <a:pt x="250063" y="71375"/>
                  </a:lnTo>
                  <a:lnTo>
                    <a:pt x="258698" y="56388"/>
                  </a:lnTo>
                  <a:lnTo>
                    <a:pt x="270256" y="42545"/>
                  </a:lnTo>
                  <a:lnTo>
                    <a:pt x="283336" y="30100"/>
                  </a:lnTo>
                  <a:lnTo>
                    <a:pt x="299211" y="20066"/>
                  </a:lnTo>
                  <a:lnTo>
                    <a:pt x="316484" y="11303"/>
                  </a:lnTo>
                  <a:lnTo>
                    <a:pt x="333883" y="4953"/>
                  </a:lnTo>
                  <a:lnTo>
                    <a:pt x="352678" y="1270"/>
                  </a:lnTo>
                  <a:lnTo>
                    <a:pt x="372871" y="0"/>
                  </a:lnTo>
                  <a:lnTo>
                    <a:pt x="387350" y="0"/>
                  </a:lnTo>
                  <a:lnTo>
                    <a:pt x="400303" y="2541"/>
                  </a:lnTo>
                  <a:lnTo>
                    <a:pt x="413384" y="4953"/>
                  </a:lnTo>
                  <a:lnTo>
                    <a:pt x="424941" y="8763"/>
                  </a:lnTo>
                  <a:lnTo>
                    <a:pt x="436498" y="13716"/>
                  </a:lnTo>
                  <a:lnTo>
                    <a:pt x="448056" y="20066"/>
                  </a:lnTo>
                  <a:lnTo>
                    <a:pt x="458215" y="26290"/>
                  </a:lnTo>
                  <a:lnTo>
                    <a:pt x="468248" y="33782"/>
                  </a:lnTo>
                  <a:lnTo>
                    <a:pt x="477011" y="42545"/>
                  </a:lnTo>
                  <a:lnTo>
                    <a:pt x="484251" y="51309"/>
                  </a:lnTo>
                  <a:lnTo>
                    <a:pt x="491363" y="60072"/>
                  </a:lnTo>
                  <a:lnTo>
                    <a:pt x="495808" y="71375"/>
                  </a:lnTo>
                  <a:lnTo>
                    <a:pt x="501522" y="81407"/>
                  </a:lnTo>
                  <a:lnTo>
                    <a:pt x="504444" y="92710"/>
                  </a:lnTo>
                  <a:lnTo>
                    <a:pt x="505840" y="103887"/>
                  </a:lnTo>
                  <a:lnTo>
                    <a:pt x="507365" y="116460"/>
                  </a:lnTo>
                  <a:lnTo>
                    <a:pt x="507365" y="122682"/>
                  </a:lnTo>
                  <a:lnTo>
                    <a:pt x="524636" y="129032"/>
                  </a:lnTo>
                  <a:lnTo>
                    <a:pt x="540511" y="137795"/>
                  </a:lnTo>
                  <a:lnTo>
                    <a:pt x="553592" y="147828"/>
                  </a:lnTo>
                  <a:lnTo>
                    <a:pt x="565150" y="160275"/>
                  </a:lnTo>
                  <a:lnTo>
                    <a:pt x="575309" y="172847"/>
                  </a:lnTo>
                  <a:lnTo>
                    <a:pt x="582421" y="187834"/>
                  </a:lnTo>
                  <a:lnTo>
                    <a:pt x="586866" y="204090"/>
                  </a:lnTo>
                  <a:lnTo>
                    <a:pt x="588264" y="220345"/>
                  </a:lnTo>
                  <a:lnTo>
                    <a:pt x="588264" y="230378"/>
                  </a:lnTo>
                  <a:lnTo>
                    <a:pt x="585342" y="240412"/>
                  </a:lnTo>
                  <a:lnTo>
                    <a:pt x="582421" y="250445"/>
                  </a:lnTo>
                  <a:lnTo>
                    <a:pt x="579627" y="259207"/>
                  </a:lnTo>
                  <a:lnTo>
                    <a:pt x="573785" y="269240"/>
                  </a:lnTo>
                  <a:lnTo>
                    <a:pt x="568071" y="276734"/>
                  </a:lnTo>
                  <a:lnTo>
                    <a:pt x="560832" y="285496"/>
                  </a:lnTo>
                  <a:lnTo>
                    <a:pt x="553592" y="291720"/>
                  </a:lnTo>
                  <a:lnTo>
                    <a:pt x="544957" y="299340"/>
                  </a:lnTo>
                  <a:lnTo>
                    <a:pt x="536194" y="305562"/>
                  </a:lnTo>
                  <a:lnTo>
                    <a:pt x="526160" y="310515"/>
                  </a:lnTo>
                  <a:lnTo>
                    <a:pt x="516001" y="314326"/>
                  </a:lnTo>
                  <a:lnTo>
                    <a:pt x="505840" y="318135"/>
                  </a:lnTo>
                  <a:lnTo>
                    <a:pt x="494284" y="320548"/>
                  </a:lnTo>
                  <a:lnTo>
                    <a:pt x="482727" y="321818"/>
                  </a:lnTo>
                  <a:lnTo>
                    <a:pt x="469772" y="323088"/>
                  </a:lnTo>
                  <a:close/>
                  <a:moveTo>
                    <a:pt x="-2496312" y="1874520"/>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42" name="Freeform 1342"/>
            <p:cNvSpPr/>
            <p:nvPr/>
          </p:nvSpPr>
          <p:spPr>
            <a:xfrm>
              <a:off x="4326036" y="5019228"/>
              <a:ext cx="91393" cy="76160"/>
            </a:xfrm>
            <a:custGeom>
              <a:avLst/>
              <a:gdLst/>
              <a:ahLst/>
              <a:cxnLst/>
              <a:rect l="0" t="0" r="0" b="0"/>
              <a:pathLst>
                <a:path w="91441" h="76200">
                  <a:moveTo>
                    <a:pt x="13081" y="76200"/>
                  </a:moveTo>
                  <a:lnTo>
                    <a:pt x="0" y="76200"/>
                  </a:lnTo>
                  <a:lnTo>
                    <a:pt x="0" y="67692"/>
                  </a:lnTo>
                  <a:lnTo>
                    <a:pt x="1398" y="60452"/>
                  </a:lnTo>
                  <a:lnTo>
                    <a:pt x="4318" y="53214"/>
                  </a:lnTo>
                  <a:lnTo>
                    <a:pt x="7240" y="45974"/>
                  </a:lnTo>
                  <a:lnTo>
                    <a:pt x="16003" y="32640"/>
                  </a:lnTo>
                  <a:lnTo>
                    <a:pt x="26162" y="21718"/>
                  </a:lnTo>
                  <a:lnTo>
                    <a:pt x="40641" y="12065"/>
                  </a:lnTo>
                  <a:lnTo>
                    <a:pt x="55118" y="6096"/>
                  </a:lnTo>
                  <a:lnTo>
                    <a:pt x="63881" y="2414"/>
                  </a:lnTo>
                  <a:lnTo>
                    <a:pt x="72517" y="1271"/>
                  </a:lnTo>
                  <a:lnTo>
                    <a:pt x="81280" y="0"/>
                  </a:lnTo>
                  <a:lnTo>
                    <a:pt x="91441" y="0"/>
                  </a:lnTo>
                  <a:lnTo>
                    <a:pt x="91441" y="10922"/>
                  </a:lnTo>
                  <a:lnTo>
                    <a:pt x="75439" y="12065"/>
                  </a:lnTo>
                  <a:lnTo>
                    <a:pt x="60960" y="15749"/>
                  </a:lnTo>
                  <a:lnTo>
                    <a:pt x="47879" y="21718"/>
                  </a:lnTo>
                  <a:lnTo>
                    <a:pt x="36323" y="29084"/>
                  </a:lnTo>
                  <a:lnTo>
                    <a:pt x="26162" y="38736"/>
                  </a:lnTo>
                  <a:lnTo>
                    <a:pt x="18923" y="50800"/>
                  </a:lnTo>
                  <a:lnTo>
                    <a:pt x="14479" y="62865"/>
                  </a:lnTo>
                  <a:lnTo>
                    <a:pt x="13081" y="76200"/>
                  </a:lnTo>
                  <a:close/>
                  <a:moveTo>
                    <a:pt x="-2563367" y="1837944"/>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43" name="Freeform 1343"/>
            <p:cNvSpPr/>
            <p:nvPr/>
          </p:nvSpPr>
          <p:spPr>
            <a:xfrm>
              <a:off x="4079275" y="5144130"/>
              <a:ext cx="76160" cy="70068"/>
            </a:xfrm>
            <a:custGeom>
              <a:avLst/>
              <a:gdLst/>
              <a:ahLst/>
              <a:cxnLst/>
              <a:rect l="0" t="0" r="0" b="0"/>
              <a:pathLst>
                <a:path w="76200" h="70104">
                  <a:moveTo>
                    <a:pt x="12700" y="70104"/>
                  </a:moveTo>
                  <a:lnTo>
                    <a:pt x="0" y="70104"/>
                  </a:lnTo>
                  <a:lnTo>
                    <a:pt x="1398" y="55881"/>
                  </a:lnTo>
                  <a:lnTo>
                    <a:pt x="5588" y="42800"/>
                  </a:lnTo>
                  <a:lnTo>
                    <a:pt x="12700" y="31116"/>
                  </a:lnTo>
                  <a:lnTo>
                    <a:pt x="22606" y="20828"/>
                  </a:lnTo>
                  <a:lnTo>
                    <a:pt x="33910" y="11684"/>
                  </a:lnTo>
                  <a:lnTo>
                    <a:pt x="46610" y="6478"/>
                  </a:lnTo>
                  <a:lnTo>
                    <a:pt x="60706" y="1271"/>
                  </a:lnTo>
                  <a:lnTo>
                    <a:pt x="76200" y="0"/>
                  </a:lnTo>
                  <a:lnTo>
                    <a:pt x="76200" y="11684"/>
                  </a:lnTo>
                  <a:lnTo>
                    <a:pt x="63500" y="12954"/>
                  </a:lnTo>
                  <a:lnTo>
                    <a:pt x="52198" y="16891"/>
                  </a:lnTo>
                  <a:lnTo>
                    <a:pt x="40894" y="22099"/>
                  </a:lnTo>
                  <a:lnTo>
                    <a:pt x="30988" y="28575"/>
                  </a:lnTo>
                  <a:lnTo>
                    <a:pt x="24004" y="37593"/>
                  </a:lnTo>
                  <a:lnTo>
                    <a:pt x="18288" y="48006"/>
                  </a:lnTo>
                  <a:lnTo>
                    <a:pt x="14098" y="58421"/>
                  </a:lnTo>
                  <a:lnTo>
                    <a:pt x="12700" y="70104"/>
                  </a:lnTo>
                  <a:close/>
                  <a:moveTo>
                    <a:pt x="-2435351" y="1712976"/>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44" name="Freeform 1344"/>
            <p:cNvSpPr/>
            <p:nvPr/>
          </p:nvSpPr>
          <p:spPr>
            <a:xfrm>
              <a:off x="4524053" y="5144131"/>
              <a:ext cx="76160" cy="63976"/>
            </a:xfrm>
            <a:custGeom>
              <a:avLst/>
              <a:gdLst/>
              <a:ahLst/>
              <a:cxnLst/>
              <a:rect l="0" t="0" r="0" b="0"/>
              <a:pathLst>
                <a:path w="76200" h="64009">
                  <a:moveTo>
                    <a:pt x="76200" y="64009"/>
                  </a:moveTo>
                  <a:lnTo>
                    <a:pt x="63246" y="64009"/>
                  </a:lnTo>
                  <a:lnTo>
                    <a:pt x="61848" y="53087"/>
                  </a:lnTo>
                  <a:lnTo>
                    <a:pt x="57531" y="43434"/>
                  </a:lnTo>
                  <a:lnTo>
                    <a:pt x="51815" y="35053"/>
                  </a:lnTo>
                  <a:lnTo>
                    <a:pt x="44577" y="26544"/>
                  </a:lnTo>
                  <a:lnTo>
                    <a:pt x="34544" y="20575"/>
                  </a:lnTo>
                  <a:lnTo>
                    <a:pt x="24383" y="15749"/>
                  </a:lnTo>
                  <a:lnTo>
                    <a:pt x="12953" y="12066"/>
                  </a:lnTo>
                  <a:lnTo>
                    <a:pt x="0" y="10922"/>
                  </a:lnTo>
                  <a:lnTo>
                    <a:pt x="0" y="0"/>
                  </a:lnTo>
                  <a:lnTo>
                    <a:pt x="15875" y="1271"/>
                  </a:lnTo>
                  <a:lnTo>
                    <a:pt x="30226" y="4826"/>
                  </a:lnTo>
                  <a:lnTo>
                    <a:pt x="41656" y="10922"/>
                  </a:lnTo>
                  <a:lnTo>
                    <a:pt x="53213" y="19304"/>
                  </a:lnTo>
                  <a:lnTo>
                    <a:pt x="63246" y="28956"/>
                  </a:lnTo>
                  <a:lnTo>
                    <a:pt x="70484" y="39878"/>
                  </a:lnTo>
                  <a:lnTo>
                    <a:pt x="74802" y="50674"/>
                  </a:lnTo>
                  <a:lnTo>
                    <a:pt x="76200" y="64009"/>
                  </a:lnTo>
                  <a:close/>
                  <a:moveTo>
                    <a:pt x="-2874265" y="1712976"/>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45" name="Freeform 1345"/>
            <p:cNvSpPr/>
            <p:nvPr/>
          </p:nvSpPr>
          <p:spPr>
            <a:xfrm>
              <a:off x="4152391" y="5241617"/>
              <a:ext cx="12185" cy="12186"/>
            </a:xfrm>
            <a:custGeom>
              <a:avLst/>
              <a:gdLst/>
              <a:ahLst/>
              <a:cxnLst/>
              <a:rect l="0" t="0" r="0" b="0"/>
              <a:pathLst>
                <a:path w="12191" h="12192">
                  <a:moveTo>
                    <a:pt x="0" y="12192"/>
                  </a:moveTo>
                  <a:lnTo>
                    <a:pt x="12191" y="12192"/>
                  </a:lnTo>
                  <a:lnTo>
                    <a:pt x="12191" y="0"/>
                  </a:lnTo>
                  <a:lnTo>
                    <a:pt x="0" y="0"/>
                  </a:lnTo>
                  <a:lnTo>
                    <a:pt x="0" y="12192"/>
                  </a:lnTo>
                  <a:close/>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46" name="Freeform 1346"/>
            <p:cNvSpPr/>
            <p:nvPr/>
          </p:nvSpPr>
          <p:spPr>
            <a:xfrm>
              <a:off x="4191995" y="5241617"/>
              <a:ext cx="12185" cy="12186"/>
            </a:xfrm>
            <a:custGeom>
              <a:avLst/>
              <a:gdLst/>
              <a:ahLst/>
              <a:cxnLst/>
              <a:rect l="0" t="0" r="0" b="0"/>
              <a:pathLst>
                <a:path w="12191" h="12192">
                  <a:moveTo>
                    <a:pt x="0" y="12192"/>
                  </a:moveTo>
                  <a:lnTo>
                    <a:pt x="12191" y="12192"/>
                  </a:lnTo>
                  <a:lnTo>
                    <a:pt x="12191" y="0"/>
                  </a:lnTo>
                  <a:lnTo>
                    <a:pt x="0" y="0"/>
                  </a:lnTo>
                  <a:lnTo>
                    <a:pt x="0" y="12192"/>
                  </a:lnTo>
                  <a:close/>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47" name="Freeform 1347"/>
            <p:cNvSpPr/>
            <p:nvPr/>
          </p:nvSpPr>
          <p:spPr>
            <a:xfrm>
              <a:off x="4228552" y="5241617"/>
              <a:ext cx="12185" cy="12186"/>
            </a:xfrm>
            <a:custGeom>
              <a:avLst/>
              <a:gdLst/>
              <a:ahLst/>
              <a:cxnLst/>
              <a:rect l="0" t="0" r="0" b="0"/>
              <a:pathLst>
                <a:path w="12191" h="12192">
                  <a:moveTo>
                    <a:pt x="0" y="12192"/>
                  </a:moveTo>
                  <a:lnTo>
                    <a:pt x="12191" y="12192"/>
                  </a:lnTo>
                  <a:lnTo>
                    <a:pt x="12191" y="0"/>
                  </a:lnTo>
                  <a:lnTo>
                    <a:pt x="0" y="0"/>
                  </a:lnTo>
                  <a:lnTo>
                    <a:pt x="0" y="12192"/>
                  </a:lnTo>
                  <a:close/>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48" name="Freeform 1348"/>
            <p:cNvSpPr/>
            <p:nvPr/>
          </p:nvSpPr>
          <p:spPr>
            <a:xfrm>
              <a:off x="4435708" y="5241617"/>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49" name="Freeform 1349"/>
            <p:cNvSpPr/>
            <p:nvPr/>
          </p:nvSpPr>
          <p:spPr>
            <a:xfrm>
              <a:off x="4472262" y="5241617"/>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50" name="Freeform 1350"/>
            <p:cNvSpPr/>
            <p:nvPr/>
          </p:nvSpPr>
          <p:spPr>
            <a:xfrm>
              <a:off x="4511867" y="5241617"/>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pic>
          <p:nvPicPr>
            <p:cNvPr id="1352" name="Picture 1352"/>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a:xfrm>
              <a:off x="3027501" y="4534342"/>
              <a:ext cx="365570" cy="171361"/>
            </a:xfrm>
            <a:prstGeom prst="rect">
              <a:avLst/>
            </a:prstGeom>
            <a:noFill/>
          </p:spPr>
        </p:pic>
        <p:pic>
          <p:nvPicPr>
            <p:cNvPr id="1353" name="Picture 1353"/>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a:xfrm>
              <a:off x="3036640" y="4505874"/>
              <a:ext cx="1177693" cy="191289"/>
            </a:xfrm>
            <a:prstGeom prst="rect">
              <a:avLst/>
            </a:prstGeom>
            <a:noFill/>
          </p:spPr>
        </p:pic>
        <p:pic>
          <p:nvPicPr>
            <p:cNvPr id="1355" name="Picture 1355"/>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a:xfrm>
              <a:off x="4290494" y="4506669"/>
              <a:ext cx="125156" cy="449346"/>
            </a:xfrm>
            <a:prstGeom prst="rect">
              <a:avLst/>
            </a:prstGeom>
            <a:noFill/>
          </p:spPr>
        </p:pic>
        <p:pic>
          <p:nvPicPr>
            <p:cNvPr id="1363" name="Picture 1363"/>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a:xfrm>
              <a:off x="3323005" y="3463527"/>
              <a:ext cx="266941" cy="426244"/>
            </a:xfrm>
            <a:prstGeom prst="rect">
              <a:avLst/>
            </a:prstGeom>
            <a:noFill/>
          </p:spPr>
        </p:pic>
        <p:pic>
          <p:nvPicPr>
            <p:cNvPr id="1364" name="Picture 1364"/>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a:xfrm>
              <a:off x="4281990" y="3610529"/>
              <a:ext cx="101547" cy="294602"/>
            </a:xfrm>
            <a:prstGeom prst="rect">
              <a:avLst/>
            </a:prstGeom>
            <a:noFill/>
          </p:spPr>
        </p:pic>
        <p:sp>
          <p:nvSpPr>
            <p:cNvPr id="1545" name="Rectangle 1545"/>
            <p:cNvSpPr/>
            <p:nvPr/>
          </p:nvSpPr>
          <p:spPr>
            <a:xfrm>
              <a:off x="3069644" y="4328386"/>
              <a:ext cx="574260" cy="154786"/>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11" normalizeH="0" baseline="0" noProof="0" dirty="0">
                  <a:ln>
                    <a:noFill/>
                  </a:ln>
                  <a:solidFill>
                    <a:srgbClr val="FFFFFF"/>
                  </a:solidFill>
                  <a:effectLst/>
                  <a:uLnTx/>
                  <a:uFillTx/>
                  <a:latin typeface="EYInterstate-LightBold"/>
                  <a:ea typeface="+mn-ea"/>
                  <a:cs typeface="+mn-cs"/>
                </a:rPr>
                <a:t>P</a:t>
              </a: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yrol</a:t>
              </a:r>
              <a:r>
                <a:rPr kumimoji="0" lang="en-US" sz="1005" b="1" i="0" u="none" strike="noStrike" kern="1200" cap="none" spc="-11" normalizeH="0" baseline="0" noProof="0" dirty="0">
                  <a:ln>
                    <a:noFill/>
                  </a:ln>
                  <a:solidFill>
                    <a:srgbClr val="FFFFFF"/>
                  </a:solidFill>
                  <a:effectLst/>
                  <a:uLnTx/>
                  <a:uFillTx/>
                  <a:latin typeface="EYInterstate-LightBold"/>
                  <a:ea typeface="+mn-ea"/>
                  <a:cs typeface="+mn-cs"/>
                </a:rPr>
                <a:t>y</a:t>
              </a: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sis</a:t>
              </a:r>
            </a:p>
          </p:txBody>
        </p:sp>
        <p:sp>
          <p:nvSpPr>
            <p:cNvPr id="1559" name="Rectangle 1559"/>
            <p:cNvSpPr/>
            <p:nvPr/>
          </p:nvSpPr>
          <p:spPr>
            <a:xfrm>
              <a:off x="4022028" y="4322040"/>
              <a:ext cx="628050" cy="154705"/>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Reforming</a:t>
              </a:r>
            </a:p>
          </p:txBody>
        </p:sp>
        <p:sp>
          <p:nvSpPr>
            <p:cNvPr id="1560" name="Rectangle 1560"/>
            <p:cNvSpPr/>
            <p:nvPr/>
          </p:nvSpPr>
          <p:spPr>
            <a:xfrm>
              <a:off x="4216618" y="5330021"/>
              <a:ext cx="258084" cy="154786"/>
            </a:xfrm>
            <a:prstGeom prst="rect">
              <a:avLst/>
            </a:prstGeom>
          </p:spPr>
          <p:txBody>
            <a:bodyPr wrap="none" lIns="0" tIns="0" rIns="0" bIns="0">
              <a:spAutoFit/>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CCS</a:t>
              </a:r>
            </a:p>
          </p:txBody>
        </p:sp>
        <p:sp>
          <p:nvSpPr>
            <p:cNvPr id="447" name="Freeform 1530">
              <a:extLst>
                <a:ext uri="{FF2B5EF4-FFF2-40B4-BE49-F238E27FC236}">
                  <a16:creationId xmlns:a16="http://schemas.microsoft.com/office/drawing/2014/main" id="{92ECB062-BFEE-4436-A750-D9B54EFE8640}"/>
                </a:ext>
              </a:extLst>
            </p:cNvPr>
            <p:cNvSpPr/>
            <p:nvPr/>
          </p:nvSpPr>
          <p:spPr>
            <a:xfrm>
              <a:off x="2980531" y="3799140"/>
              <a:ext cx="1849173" cy="1768444"/>
            </a:xfrm>
            <a:custGeom>
              <a:avLst/>
              <a:gdLst/>
              <a:ahLst/>
              <a:cxnLst/>
              <a:rect l="0" t="0" r="0" b="0"/>
              <a:pathLst>
                <a:path w="1850136" h="4014216">
                  <a:moveTo>
                    <a:pt x="0" y="4014216"/>
                  </a:moveTo>
                  <a:lnTo>
                    <a:pt x="1850136" y="4014216"/>
                  </a:lnTo>
                  <a:lnTo>
                    <a:pt x="1850136" y="0"/>
                  </a:lnTo>
                  <a:lnTo>
                    <a:pt x="0" y="0"/>
                  </a:lnTo>
                  <a:lnTo>
                    <a:pt x="0" y="4014216"/>
                  </a:lnTo>
                  <a:close/>
                </a:path>
              </a:pathLst>
            </a:custGeom>
            <a:noFill/>
            <a:ln w="9525" cap="flat" cmpd="sng">
              <a:solidFill>
                <a:srgbClr val="BFAD00"/>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grpSp>
      <p:sp>
        <p:nvSpPr>
          <p:cNvPr id="499" name="Title 1">
            <a:extLst>
              <a:ext uri="{FF2B5EF4-FFF2-40B4-BE49-F238E27FC236}">
                <a16:creationId xmlns:a16="http://schemas.microsoft.com/office/drawing/2014/main" id="{8890105D-00A8-412B-8394-67E07ED85186}"/>
              </a:ext>
            </a:extLst>
          </p:cNvPr>
          <p:cNvSpPr txBox="1">
            <a:spLocks/>
          </p:cNvSpPr>
          <p:nvPr/>
        </p:nvSpPr>
        <p:spPr>
          <a:xfrm>
            <a:off x="616900" y="525116"/>
            <a:ext cx="6489856" cy="590550"/>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399" b="1" i="0" u="none" strike="noStrike" kern="1200" cap="none" spc="0" normalizeH="0" baseline="0" noProof="0" dirty="0">
                <a:ln>
                  <a:noFill/>
                </a:ln>
                <a:solidFill>
                  <a:srgbClr val="FFE600"/>
                </a:solidFill>
                <a:effectLst/>
                <a:uLnTx/>
                <a:uFillTx/>
                <a:latin typeface="EYInterstate Light" panose="02000506000000020004" pitchFamily="2" charset="0"/>
                <a:ea typeface="+mj-ea"/>
                <a:cs typeface="Arial" pitchFamily="34" charset="0"/>
              </a:rPr>
              <a:t>The hydrogen ecosystem and its value chain</a:t>
            </a:r>
          </a:p>
        </p:txBody>
      </p:sp>
      <p:grpSp>
        <p:nvGrpSpPr>
          <p:cNvPr id="498" name="1. Source - Gas">
            <a:extLst>
              <a:ext uri="{FF2B5EF4-FFF2-40B4-BE49-F238E27FC236}">
                <a16:creationId xmlns:a16="http://schemas.microsoft.com/office/drawing/2014/main" id="{FB422803-9B79-4E3D-91A0-DB65D5188389}"/>
              </a:ext>
            </a:extLst>
          </p:cNvPr>
          <p:cNvGrpSpPr/>
          <p:nvPr/>
        </p:nvGrpSpPr>
        <p:grpSpPr>
          <a:xfrm>
            <a:off x="832961" y="3322629"/>
            <a:ext cx="1854943" cy="2519229"/>
            <a:chOff x="833395" y="3322574"/>
            <a:chExt cx="1855909" cy="2520542"/>
          </a:xfrm>
        </p:grpSpPr>
        <p:cxnSp>
          <p:nvCxnSpPr>
            <p:cNvPr id="553" name="Straight Connector 552">
              <a:extLst>
                <a:ext uri="{FF2B5EF4-FFF2-40B4-BE49-F238E27FC236}">
                  <a16:creationId xmlns:a16="http://schemas.microsoft.com/office/drawing/2014/main" id="{5D3E9ECE-9359-4C13-B7C8-78273804FB59}"/>
                </a:ext>
              </a:extLst>
            </p:cNvPr>
            <p:cNvCxnSpPr>
              <a:cxnSpLocks/>
            </p:cNvCxnSpPr>
            <p:nvPr/>
          </p:nvCxnSpPr>
          <p:spPr>
            <a:xfrm>
              <a:off x="1933354" y="4385168"/>
              <a:ext cx="0" cy="275201"/>
            </a:xfrm>
            <a:prstGeom prst="line">
              <a:avLst/>
            </a:prstGeom>
            <a:ln w="9525">
              <a:solidFill>
                <a:srgbClr val="D2D2DA"/>
              </a:solidFill>
              <a:tailEnd type="none"/>
            </a:ln>
          </p:spPr>
          <p:style>
            <a:lnRef idx="1">
              <a:schemeClr val="accent1"/>
            </a:lnRef>
            <a:fillRef idx="0">
              <a:schemeClr val="accent1"/>
            </a:fillRef>
            <a:effectRef idx="0">
              <a:schemeClr val="accent1"/>
            </a:effectRef>
            <a:fontRef idx="minor">
              <a:schemeClr val="tx1"/>
            </a:fontRef>
          </p:style>
        </p:cxnSp>
        <p:pic>
          <p:nvPicPr>
            <p:cNvPr id="554" name="Picture 1423">
              <a:extLst>
                <a:ext uri="{FF2B5EF4-FFF2-40B4-BE49-F238E27FC236}">
                  <a16:creationId xmlns:a16="http://schemas.microsoft.com/office/drawing/2014/main" id="{F62D171E-1985-4B13-9A62-42804527AD54}"/>
                </a:ext>
              </a:extLst>
            </p:cNvPr>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a:xfrm>
              <a:off x="1383629" y="3517021"/>
              <a:ext cx="1284570" cy="1129331"/>
            </a:xfrm>
            <a:prstGeom prst="rect">
              <a:avLst/>
            </a:prstGeom>
            <a:noFill/>
          </p:spPr>
        </p:pic>
        <p:sp>
          <p:nvSpPr>
            <p:cNvPr id="555" name="Freeform 1301">
              <a:extLst>
                <a:ext uri="{FF2B5EF4-FFF2-40B4-BE49-F238E27FC236}">
                  <a16:creationId xmlns:a16="http://schemas.microsoft.com/office/drawing/2014/main" id="{855B2221-BBCF-408B-A25A-9625E3E8FEE8}"/>
                </a:ext>
              </a:extLst>
            </p:cNvPr>
            <p:cNvSpPr/>
            <p:nvPr/>
          </p:nvSpPr>
          <p:spPr>
            <a:xfrm>
              <a:off x="1743359" y="3910476"/>
              <a:ext cx="362523" cy="130995"/>
            </a:xfrm>
            <a:custGeom>
              <a:avLst/>
              <a:gdLst/>
              <a:ahLst/>
              <a:cxnLst/>
              <a:rect l="0" t="0" r="0" b="0"/>
              <a:pathLst>
                <a:path w="362712" h="131063">
                  <a:moveTo>
                    <a:pt x="24003" y="121284"/>
                  </a:moveTo>
                  <a:lnTo>
                    <a:pt x="113157" y="121284"/>
                  </a:lnTo>
                  <a:lnTo>
                    <a:pt x="111379" y="131063"/>
                  </a:lnTo>
                  <a:lnTo>
                    <a:pt x="0" y="131063"/>
                  </a:lnTo>
                  <a:lnTo>
                    <a:pt x="0" y="126237"/>
                  </a:lnTo>
                  <a:lnTo>
                    <a:pt x="0" y="122428"/>
                  </a:lnTo>
                  <a:lnTo>
                    <a:pt x="254" y="118618"/>
                  </a:lnTo>
                  <a:lnTo>
                    <a:pt x="635" y="114934"/>
                  </a:lnTo>
                  <a:lnTo>
                    <a:pt x="1016" y="111125"/>
                  </a:lnTo>
                  <a:lnTo>
                    <a:pt x="1652" y="107569"/>
                  </a:lnTo>
                  <a:lnTo>
                    <a:pt x="2159" y="104012"/>
                  </a:lnTo>
                  <a:lnTo>
                    <a:pt x="3049" y="100456"/>
                  </a:lnTo>
                  <a:lnTo>
                    <a:pt x="4065" y="97154"/>
                  </a:lnTo>
                  <a:lnTo>
                    <a:pt x="5081" y="93725"/>
                  </a:lnTo>
                  <a:lnTo>
                    <a:pt x="6224" y="90424"/>
                  </a:lnTo>
                  <a:lnTo>
                    <a:pt x="7621" y="87122"/>
                  </a:lnTo>
                  <a:lnTo>
                    <a:pt x="8891" y="83947"/>
                  </a:lnTo>
                  <a:lnTo>
                    <a:pt x="10415" y="80772"/>
                  </a:lnTo>
                  <a:lnTo>
                    <a:pt x="12066" y="77724"/>
                  </a:lnTo>
                  <a:lnTo>
                    <a:pt x="13716" y="74803"/>
                  </a:lnTo>
                  <a:lnTo>
                    <a:pt x="15494" y="71754"/>
                  </a:lnTo>
                  <a:lnTo>
                    <a:pt x="17400" y="68834"/>
                  </a:lnTo>
                  <a:lnTo>
                    <a:pt x="19559" y="65912"/>
                  </a:lnTo>
                  <a:lnTo>
                    <a:pt x="21591" y="63246"/>
                  </a:lnTo>
                  <a:lnTo>
                    <a:pt x="23750" y="60451"/>
                  </a:lnTo>
                  <a:lnTo>
                    <a:pt x="26035" y="57784"/>
                  </a:lnTo>
                  <a:lnTo>
                    <a:pt x="28449" y="55244"/>
                  </a:lnTo>
                  <a:lnTo>
                    <a:pt x="30862" y="52704"/>
                  </a:lnTo>
                  <a:lnTo>
                    <a:pt x="33402" y="50165"/>
                  </a:lnTo>
                  <a:lnTo>
                    <a:pt x="36069" y="47751"/>
                  </a:lnTo>
                  <a:lnTo>
                    <a:pt x="38735" y="45466"/>
                  </a:lnTo>
                  <a:lnTo>
                    <a:pt x="41656" y="43053"/>
                  </a:lnTo>
                  <a:lnTo>
                    <a:pt x="44450" y="40766"/>
                  </a:lnTo>
                  <a:lnTo>
                    <a:pt x="47372" y="38607"/>
                  </a:lnTo>
                  <a:lnTo>
                    <a:pt x="50419" y="36449"/>
                  </a:lnTo>
                  <a:lnTo>
                    <a:pt x="53594" y="34416"/>
                  </a:lnTo>
                  <a:lnTo>
                    <a:pt x="56643" y="32512"/>
                  </a:lnTo>
                  <a:lnTo>
                    <a:pt x="59818" y="30479"/>
                  </a:lnTo>
                  <a:lnTo>
                    <a:pt x="63119" y="28575"/>
                  </a:lnTo>
                  <a:lnTo>
                    <a:pt x="66549" y="26669"/>
                  </a:lnTo>
                  <a:lnTo>
                    <a:pt x="69978" y="25019"/>
                  </a:lnTo>
                  <a:lnTo>
                    <a:pt x="73279" y="23241"/>
                  </a:lnTo>
                  <a:lnTo>
                    <a:pt x="76962" y="21590"/>
                  </a:lnTo>
                  <a:lnTo>
                    <a:pt x="84075" y="18415"/>
                  </a:lnTo>
                  <a:lnTo>
                    <a:pt x="91441" y="15621"/>
                  </a:lnTo>
                  <a:lnTo>
                    <a:pt x="99060" y="12953"/>
                  </a:lnTo>
                  <a:lnTo>
                    <a:pt x="106807" y="10668"/>
                  </a:lnTo>
                  <a:lnTo>
                    <a:pt x="114681" y="8381"/>
                  </a:lnTo>
                  <a:lnTo>
                    <a:pt x="122809" y="6603"/>
                  </a:lnTo>
                  <a:lnTo>
                    <a:pt x="130937" y="4825"/>
                  </a:lnTo>
                  <a:lnTo>
                    <a:pt x="139193" y="3428"/>
                  </a:lnTo>
                  <a:lnTo>
                    <a:pt x="147447" y="2285"/>
                  </a:lnTo>
                  <a:lnTo>
                    <a:pt x="155829" y="1397"/>
                  </a:lnTo>
                  <a:lnTo>
                    <a:pt x="164338" y="634"/>
                  </a:lnTo>
                  <a:lnTo>
                    <a:pt x="172847" y="253"/>
                  </a:lnTo>
                  <a:lnTo>
                    <a:pt x="181356" y="0"/>
                  </a:lnTo>
                  <a:lnTo>
                    <a:pt x="189866" y="126"/>
                  </a:lnTo>
                  <a:lnTo>
                    <a:pt x="198375" y="381"/>
                  </a:lnTo>
                  <a:lnTo>
                    <a:pt x="206629" y="1016"/>
                  </a:lnTo>
                  <a:lnTo>
                    <a:pt x="215266" y="1778"/>
                  </a:lnTo>
                  <a:lnTo>
                    <a:pt x="223394" y="2666"/>
                  </a:lnTo>
                  <a:lnTo>
                    <a:pt x="231775" y="4063"/>
                  </a:lnTo>
                  <a:lnTo>
                    <a:pt x="239777" y="5587"/>
                  </a:lnTo>
                  <a:lnTo>
                    <a:pt x="247904" y="7366"/>
                  </a:lnTo>
                  <a:lnTo>
                    <a:pt x="255778" y="9397"/>
                  </a:lnTo>
                  <a:lnTo>
                    <a:pt x="263525" y="11810"/>
                  </a:lnTo>
                  <a:lnTo>
                    <a:pt x="271146" y="14224"/>
                  </a:lnTo>
                  <a:lnTo>
                    <a:pt x="278638" y="17144"/>
                  </a:lnTo>
                  <a:lnTo>
                    <a:pt x="282194" y="18541"/>
                  </a:lnTo>
                  <a:lnTo>
                    <a:pt x="285750" y="20066"/>
                  </a:lnTo>
                  <a:lnTo>
                    <a:pt x="289306" y="21716"/>
                  </a:lnTo>
                  <a:lnTo>
                    <a:pt x="292735" y="23368"/>
                  </a:lnTo>
                  <a:lnTo>
                    <a:pt x="296165" y="25146"/>
                  </a:lnTo>
                  <a:lnTo>
                    <a:pt x="299466" y="27050"/>
                  </a:lnTo>
                  <a:lnTo>
                    <a:pt x="302769" y="28828"/>
                  </a:lnTo>
                  <a:lnTo>
                    <a:pt x="306071" y="30734"/>
                  </a:lnTo>
                  <a:lnTo>
                    <a:pt x="309119" y="32766"/>
                  </a:lnTo>
                  <a:lnTo>
                    <a:pt x="312294" y="34797"/>
                  </a:lnTo>
                  <a:lnTo>
                    <a:pt x="315341" y="36956"/>
                  </a:lnTo>
                  <a:lnTo>
                    <a:pt x="318262" y="39116"/>
                  </a:lnTo>
                  <a:lnTo>
                    <a:pt x="321056" y="41275"/>
                  </a:lnTo>
                  <a:lnTo>
                    <a:pt x="323724" y="43687"/>
                  </a:lnTo>
                  <a:lnTo>
                    <a:pt x="326644" y="46100"/>
                  </a:lnTo>
                  <a:lnTo>
                    <a:pt x="329184" y="48513"/>
                  </a:lnTo>
                  <a:lnTo>
                    <a:pt x="331725" y="51053"/>
                  </a:lnTo>
                  <a:lnTo>
                    <a:pt x="334265" y="53594"/>
                  </a:lnTo>
                  <a:lnTo>
                    <a:pt x="336678" y="56134"/>
                  </a:lnTo>
                  <a:lnTo>
                    <a:pt x="338837" y="58928"/>
                  </a:lnTo>
                  <a:lnTo>
                    <a:pt x="341122" y="61594"/>
                  </a:lnTo>
                  <a:lnTo>
                    <a:pt x="343154" y="64516"/>
                  </a:lnTo>
                  <a:lnTo>
                    <a:pt x="345187" y="67309"/>
                  </a:lnTo>
                  <a:lnTo>
                    <a:pt x="347091" y="70231"/>
                  </a:lnTo>
                  <a:lnTo>
                    <a:pt x="348869" y="73278"/>
                  </a:lnTo>
                  <a:lnTo>
                    <a:pt x="350647" y="76326"/>
                  </a:lnTo>
                  <a:lnTo>
                    <a:pt x="352299" y="79501"/>
                  </a:lnTo>
                  <a:lnTo>
                    <a:pt x="353822" y="82676"/>
                  </a:lnTo>
                  <a:lnTo>
                    <a:pt x="355093" y="86106"/>
                  </a:lnTo>
                  <a:lnTo>
                    <a:pt x="356490" y="89407"/>
                  </a:lnTo>
                  <a:lnTo>
                    <a:pt x="357506" y="92709"/>
                  </a:lnTo>
                  <a:lnTo>
                    <a:pt x="358522" y="96138"/>
                  </a:lnTo>
                  <a:lnTo>
                    <a:pt x="359665" y="99822"/>
                  </a:lnTo>
                  <a:lnTo>
                    <a:pt x="360300" y="103378"/>
                  </a:lnTo>
                  <a:lnTo>
                    <a:pt x="361062" y="106934"/>
                  </a:lnTo>
                  <a:lnTo>
                    <a:pt x="361697" y="110744"/>
                  </a:lnTo>
                  <a:lnTo>
                    <a:pt x="362078" y="114553"/>
                  </a:lnTo>
                  <a:lnTo>
                    <a:pt x="362459" y="118363"/>
                  </a:lnTo>
                  <a:lnTo>
                    <a:pt x="362585" y="122300"/>
                  </a:lnTo>
                  <a:lnTo>
                    <a:pt x="362712" y="126237"/>
                  </a:lnTo>
                  <a:lnTo>
                    <a:pt x="362712" y="131063"/>
                  </a:lnTo>
                  <a:lnTo>
                    <a:pt x="260350" y="131063"/>
                  </a:lnTo>
                  <a:lnTo>
                    <a:pt x="258572" y="121284"/>
                  </a:lnTo>
                  <a:lnTo>
                    <a:pt x="338709" y="121284"/>
                  </a:lnTo>
                  <a:lnTo>
                    <a:pt x="338456" y="118109"/>
                  </a:lnTo>
                  <a:lnTo>
                    <a:pt x="338075" y="114934"/>
                  </a:lnTo>
                  <a:lnTo>
                    <a:pt x="337694" y="111759"/>
                  </a:lnTo>
                  <a:lnTo>
                    <a:pt x="337185" y="108712"/>
                  </a:lnTo>
                  <a:lnTo>
                    <a:pt x="336678" y="105791"/>
                  </a:lnTo>
                  <a:lnTo>
                    <a:pt x="335916" y="102743"/>
                  </a:lnTo>
                  <a:lnTo>
                    <a:pt x="335027" y="99822"/>
                  </a:lnTo>
                  <a:lnTo>
                    <a:pt x="334137" y="97028"/>
                  </a:lnTo>
                  <a:lnTo>
                    <a:pt x="332994" y="94234"/>
                  </a:lnTo>
                  <a:lnTo>
                    <a:pt x="331978" y="91440"/>
                  </a:lnTo>
                  <a:lnTo>
                    <a:pt x="330709" y="88900"/>
                  </a:lnTo>
                  <a:lnTo>
                    <a:pt x="329438" y="86232"/>
                  </a:lnTo>
                  <a:lnTo>
                    <a:pt x="328169" y="83566"/>
                  </a:lnTo>
                  <a:lnTo>
                    <a:pt x="326644" y="81153"/>
                  </a:lnTo>
                  <a:lnTo>
                    <a:pt x="325121" y="78612"/>
                  </a:lnTo>
                  <a:lnTo>
                    <a:pt x="323469" y="76200"/>
                  </a:lnTo>
                  <a:lnTo>
                    <a:pt x="321691" y="73787"/>
                  </a:lnTo>
                  <a:lnTo>
                    <a:pt x="319913" y="71374"/>
                  </a:lnTo>
                  <a:lnTo>
                    <a:pt x="318135" y="69215"/>
                  </a:lnTo>
                  <a:lnTo>
                    <a:pt x="316231" y="67056"/>
                  </a:lnTo>
                  <a:lnTo>
                    <a:pt x="314072" y="64769"/>
                  </a:lnTo>
                  <a:lnTo>
                    <a:pt x="312040" y="62610"/>
                  </a:lnTo>
                  <a:lnTo>
                    <a:pt x="309881" y="60706"/>
                  </a:lnTo>
                  <a:lnTo>
                    <a:pt x="307594" y="58547"/>
                  </a:lnTo>
                  <a:lnTo>
                    <a:pt x="305435" y="56641"/>
                  </a:lnTo>
                  <a:lnTo>
                    <a:pt x="303150" y="54737"/>
                  </a:lnTo>
                  <a:lnTo>
                    <a:pt x="298197" y="51053"/>
                  </a:lnTo>
                  <a:lnTo>
                    <a:pt x="292990" y="47497"/>
                  </a:lnTo>
                  <a:lnTo>
                    <a:pt x="287528" y="44322"/>
                  </a:lnTo>
                  <a:lnTo>
                    <a:pt x="281941" y="41275"/>
                  </a:lnTo>
                  <a:lnTo>
                    <a:pt x="276225" y="38353"/>
                  </a:lnTo>
                  <a:lnTo>
                    <a:pt x="270256" y="35813"/>
                  </a:lnTo>
                  <a:lnTo>
                    <a:pt x="264034" y="33274"/>
                  </a:lnTo>
                  <a:lnTo>
                    <a:pt x="257684" y="31115"/>
                  </a:lnTo>
                  <a:lnTo>
                    <a:pt x="251334" y="28956"/>
                  </a:lnTo>
                  <a:lnTo>
                    <a:pt x="244729" y="27178"/>
                  </a:lnTo>
                  <a:lnTo>
                    <a:pt x="237872" y="25526"/>
                  </a:lnTo>
                  <a:lnTo>
                    <a:pt x="231141" y="24129"/>
                  </a:lnTo>
                  <a:lnTo>
                    <a:pt x="224156" y="22859"/>
                  </a:lnTo>
                  <a:lnTo>
                    <a:pt x="217171" y="21971"/>
                  </a:lnTo>
                  <a:lnTo>
                    <a:pt x="210059" y="21081"/>
                  </a:lnTo>
                  <a:lnTo>
                    <a:pt x="202947" y="20447"/>
                  </a:lnTo>
                  <a:lnTo>
                    <a:pt x="195834" y="19938"/>
                  </a:lnTo>
                  <a:lnTo>
                    <a:pt x="188722" y="19684"/>
                  </a:lnTo>
                  <a:lnTo>
                    <a:pt x="181484" y="19684"/>
                  </a:lnTo>
                  <a:lnTo>
                    <a:pt x="174244" y="19812"/>
                  </a:lnTo>
                  <a:lnTo>
                    <a:pt x="167006" y="20193"/>
                  </a:lnTo>
                  <a:lnTo>
                    <a:pt x="159894" y="20828"/>
                  </a:lnTo>
                  <a:lnTo>
                    <a:pt x="152654" y="21590"/>
                  </a:lnTo>
                  <a:lnTo>
                    <a:pt x="145669" y="22478"/>
                  </a:lnTo>
                  <a:lnTo>
                    <a:pt x="138684" y="23622"/>
                  </a:lnTo>
                  <a:lnTo>
                    <a:pt x="131700" y="25019"/>
                  </a:lnTo>
                  <a:lnTo>
                    <a:pt x="124841" y="26543"/>
                  </a:lnTo>
                  <a:lnTo>
                    <a:pt x="118110" y="28194"/>
                  </a:lnTo>
                  <a:lnTo>
                    <a:pt x="111634" y="30225"/>
                  </a:lnTo>
                  <a:lnTo>
                    <a:pt x="105156" y="32257"/>
                  </a:lnTo>
                  <a:lnTo>
                    <a:pt x="98679" y="34671"/>
                  </a:lnTo>
                  <a:lnTo>
                    <a:pt x="92584" y="37084"/>
                  </a:lnTo>
                  <a:lnTo>
                    <a:pt x="86615" y="39878"/>
                  </a:lnTo>
                  <a:lnTo>
                    <a:pt x="80772" y="42672"/>
                  </a:lnTo>
                  <a:lnTo>
                    <a:pt x="75184" y="45719"/>
                  </a:lnTo>
                  <a:lnTo>
                    <a:pt x="69724" y="49149"/>
                  </a:lnTo>
                  <a:lnTo>
                    <a:pt x="64771" y="52578"/>
                  </a:lnTo>
                  <a:lnTo>
                    <a:pt x="59818" y="56260"/>
                  </a:lnTo>
                  <a:lnTo>
                    <a:pt x="55119" y="60197"/>
                  </a:lnTo>
                  <a:lnTo>
                    <a:pt x="52832" y="62103"/>
                  </a:lnTo>
                  <a:lnTo>
                    <a:pt x="50674" y="64262"/>
                  </a:lnTo>
                  <a:lnTo>
                    <a:pt x="48641" y="66421"/>
                  </a:lnTo>
                  <a:lnTo>
                    <a:pt x="46609" y="68453"/>
                  </a:lnTo>
                  <a:lnTo>
                    <a:pt x="44578" y="70738"/>
                  </a:lnTo>
                  <a:lnTo>
                    <a:pt x="42800" y="72897"/>
                  </a:lnTo>
                  <a:lnTo>
                    <a:pt x="41022" y="75184"/>
                  </a:lnTo>
                  <a:lnTo>
                    <a:pt x="39244" y="77469"/>
                  </a:lnTo>
                  <a:lnTo>
                    <a:pt x="37593" y="79882"/>
                  </a:lnTo>
                  <a:lnTo>
                    <a:pt x="36069" y="82296"/>
                  </a:lnTo>
                  <a:lnTo>
                    <a:pt x="34544" y="84835"/>
                  </a:lnTo>
                  <a:lnTo>
                    <a:pt x="33275" y="87249"/>
                  </a:lnTo>
                  <a:lnTo>
                    <a:pt x="31878" y="89916"/>
                  </a:lnTo>
                  <a:lnTo>
                    <a:pt x="30734" y="92456"/>
                  </a:lnTo>
                  <a:lnTo>
                    <a:pt x="29719" y="95250"/>
                  </a:lnTo>
                  <a:lnTo>
                    <a:pt x="28575" y="97916"/>
                  </a:lnTo>
                  <a:lnTo>
                    <a:pt x="27687" y="100584"/>
                  </a:lnTo>
                  <a:lnTo>
                    <a:pt x="26797" y="103504"/>
                  </a:lnTo>
                  <a:lnTo>
                    <a:pt x="26035" y="106299"/>
                  </a:lnTo>
                  <a:lnTo>
                    <a:pt x="25528" y="109093"/>
                  </a:lnTo>
                  <a:lnTo>
                    <a:pt x="24893" y="112141"/>
                  </a:lnTo>
                  <a:lnTo>
                    <a:pt x="24512" y="115188"/>
                  </a:lnTo>
                  <a:lnTo>
                    <a:pt x="24131" y="118237"/>
                  </a:lnTo>
                  <a:lnTo>
                    <a:pt x="24003" y="121284"/>
                  </a:lnTo>
                  <a:close/>
                  <a:moveTo>
                    <a:pt x="1207644" y="3044951"/>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556" name="Freeform 1302">
              <a:extLst>
                <a:ext uri="{FF2B5EF4-FFF2-40B4-BE49-F238E27FC236}">
                  <a16:creationId xmlns:a16="http://schemas.microsoft.com/office/drawing/2014/main" id="{B2BD10EE-39D6-42A4-B72F-E172B0030A28}"/>
                </a:ext>
              </a:extLst>
            </p:cNvPr>
            <p:cNvSpPr/>
            <p:nvPr/>
          </p:nvSpPr>
          <p:spPr>
            <a:xfrm>
              <a:off x="1743359" y="4050610"/>
              <a:ext cx="24371" cy="146228"/>
            </a:xfrm>
            <a:custGeom>
              <a:avLst/>
              <a:gdLst/>
              <a:ahLst/>
              <a:cxnLst/>
              <a:rect l="0" t="0" r="0" b="0"/>
              <a:pathLst>
                <a:path w="24384" h="146304">
                  <a:moveTo>
                    <a:pt x="0" y="146304"/>
                  </a:moveTo>
                  <a:lnTo>
                    <a:pt x="24384" y="146304"/>
                  </a:lnTo>
                  <a:lnTo>
                    <a:pt x="24384" y="0"/>
                  </a:lnTo>
                  <a:lnTo>
                    <a:pt x="0" y="0"/>
                  </a:lnTo>
                  <a:lnTo>
                    <a:pt x="0" y="14630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557" name="Freeform 1303">
              <a:extLst>
                <a:ext uri="{FF2B5EF4-FFF2-40B4-BE49-F238E27FC236}">
                  <a16:creationId xmlns:a16="http://schemas.microsoft.com/office/drawing/2014/main" id="{763C2958-57E3-4A97-A9E0-4D88E7F5A0E0}"/>
                </a:ext>
              </a:extLst>
            </p:cNvPr>
            <p:cNvSpPr/>
            <p:nvPr/>
          </p:nvSpPr>
          <p:spPr>
            <a:xfrm>
              <a:off x="2081511" y="3913522"/>
              <a:ext cx="185831" cy="283317"/>
            </a:xfrm>
            <a:custGeom>
              <a:avLst/>
              <a:gdLst/>
              <a:ahLst/>
              <a:cxnLst/>
              <a:rect l="0" t="0" r="0" b="0"/>
              <a:pathLst>
                <a:path w="185928" h="283465">
                  <a:moveTo>
                    <a:pt x="70104" y="0"/>
                  </a:moveTo>
                  <a:lnTo>
                    <a:pt x="70104" y="26797"/>
                  </a:lnTo>
                  <a:lnTo>
                    <a:pt x="41149" y="26797"/>
                  </a:lnTo>
                  <a:lnTo>
                    <a:pt x="41149" y="253112"/>
                  </a:lnTo>
                  <a:lnTo>
                    <a:pt x="24003" y="253112"/>
                  </a:lnTo>
                  <a:lnTo>
                    <a:pt x="24003" y="138177"/>
                  </a:lnTo>
                  <a:lnTo>
                    <a:pt x="0" y="138177"/>
                  </a:lnTo>
                  <a:lnTo>
                    <a:pt x="0" y="283465"/>
                  </a:lnTo>
                  <a:lnTo>
                    <a:pt x="24003" y="283465"/>
                  </a:lnTo>
                  <a:lnTo>
                    <a:pt x="24003" y="263144"/>
                  </a:lnTo>
                  <a:lnTo>
                    <a:pt x="53087" y="263144"/>
                  </a:lnTo>
                  <a:lnTo>
                    <a:pt x="53087" y="36831"/>
                  </a:lnTo>
                  <a:lnTo>
                    <a:pt x="70104" y="36831"/>
                  </a:lnTo>
                  <a:lnTo>
                    <a:pt x="70104" y="263144"/>
                  </a:lnTo>
                  <a:lnTo>
                    <a:pt x="95250" y="263144"/>
                  </a:lnTo>
                  <a:lnTo>
                    <a:pt x="95250" y="283465"/>
                  </a:lnTo>
                  <a:lnTo>
                    <a:pt x="107316" y="283465"/>
                  </a:lnTo>
                  <a:lnTo>
                    <a:pt x="107316" y="263144"/>
                  </a:lnTo>
                  <a:lnTo>
                    <a:pt x="111888" y="263144"/>
                  </a:lnTo>
                  <a:lnTo>
                    <a:pt x="111888" y="283465"/>
                  </a:lnTo>
                  <a:lnTo>
                    <a:pt x="123825" y="283465"/>
                  </a:lnTo>
                  <a:lnTo>
                    <a:pt x="123825" y="263144"/>
                  </a:lnTo>
                  <a:lnTo>
                    <a:pt x="136906" y="263144"/>
                  </a:lnTo>
                  <a:lnTo>
                    <a:pt x="136906" y="283465"/>
                  </a:lnTo>
                  <a:lnTo>
                    <a:pt x="148844" y="283465"/>
                  </a:lnTo>
                  <a:lnTo>
                    <a:pt x="148844" y="263144"/>
                  </a:lnTo>
                  <a:lnTo>
                    <a:pt x="153925" y="263144"/>
                  </a:lnTo>
                  <a:lnTo>
                    <a:pt x="153925" y="283465"/>
                  </a:lnTo>
                  <a:lnTo>
                    <a:pt x="165990" y="283465"/>
                  </a:lnTo>
                  <a:lnTo>
                    <a:pt x="165990" y="263144"/>
                  </a:lnTo>
                  <a:lnTo>
                    <a:pt x="185928" y="263144"/>
                  </a:lnTo>
                  <a:lnTo>
                    <a:pt x="185928" y="0"/>
                  </a:lnTo>
                  <a:lnTo>
                    <a:pt x="70104" y="0"/>
                  </a:lnTo>
                  <a:close/>
                  <a:moveTo>
                    <a:pt x="987553" y="3041904"/>
                  </a:moveTo>
                  <a:moveTo>
                    <a:pt x="173991" y="200406"/>
                  </a:moveTo>
                  <a:lnTo>
                    <a:pt x="81916" y="144781"/>
                  </a:lnTo>
                  <a:lnTo>
                    <a:pt x="81916" y="10034"/>
                  </a:lnTo>
                  <a:lnTo>
                    <a:pt x="173991" y="10034"/>
                  </a:lnTo>
                  <a:lnTo>
                    <a:pt x="173991" y="200406"/>
                  </a:lnTo>
                  <a:close/>
                  <a:moveTo>
                    <a:pt x="787147" y="3041904"/>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558" name="Freeform 1304">
              <a:extLst>
                <a:ext uri="{FF2B5EF4-FFF2-40B4-BE49-F238E27FC236}">
                  <a16:creationId xmlns:a16="http://schemas.microsoft.com/office/drawing/2014/main" id="{8EB20EDF-071F-4970-83E4-36DE662E0343}"/>
                </a:ext>
              </a:extLst>
            </p:cNvPr>
            <p:cNvSpPr/>
            <p:nvPr/>
          </p:nvSpPr>
          <p:spPr>
            <a:xfrm>
              <a:off x="1709847" y="4205978"/>
              <a:ext cx="563586" cy="9139"/>
            </a:xfrm>
            <a:custGeom>
              <a:avLst/>
              <a:gdLst/>
              <a:ahLst/>
              <a:cxnLst/>
              <a:rect l="0" t="0" r="0" b="0"/>
              <a:pathLst>
                <a:path w="563880" h="9144">
                  <a:moveTo>
                    <a:pt x="0" y="9144"/>
                  </a:moveTo>
                  <a:lnTo>
                    <a:pt x="563880" y="9144"/>
                  </a:lnTo>
                  <a:lnTo>
                    <a:pt x="563880"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559" name="Freeform 1305">
              <a:extLst>
                <a:ext uri="{FF2B5EF4-FFF2-40B4-BE49-F238E27FC236}">
                  <a16:creationId xmlns:a16="http://schemas.microsoft.com/office/drawing/2014/main" id="{A318794B-0A8D-49A8-AA95-BFC2241716E0}"/>
                </a:ext>
              </a:extLst>
            </p:cNvPr>
            <p:cNvSpPr/>
            <p:nvPr/>
          </p:nvSpPr>
          <p:spPr>
            <a:xfrm>
              <a:off x="1877400" y="4020147"/>
              <a:ext cx="103578" cy="170599"/>
            </a:xfrm>
            <a:custGeom>
              <a:avLst/>
              <a:gdLst/>
              <a:ahLst/>
              <a:cxnLst/>
              <a:rect l="0" t="0" r="0" b="0"/>
              <a:pathLst>
                <a:path w="103632" h="170688">
                  <a:moveTo>
                    <a:pt x="57785" y="18541"/>
                  </a:moveTo>
                  <a:lnTo>
                    <a:pt x="57785" y="61594"/>
                  </a:lnTo>
                  <a:lnTo>
                    <a:pt x="73534" y="48768"/>
                  </a:lnTo>
                  <a:lnTo>
                    <a:pt x="73534" y="62738"/>
                  </a:lnTo>
                  <a:lnTo>
                    <a:pt x="57785" y="75438"/>
                  </a:lnTo>
                  <a:lnTo>
                    <a:pt x="57785" y="85471"/>
                  </a:lnTo>
                  <a:lnTo>
                    <a:pt x="78994" y="68706"/>
                  </a:lnTo>
                  <a:lnTo>
                    <a:pt x="79375" y="68706"/>
                  </a:lnTo>
                  <a:lnTo>
                    <a:pt x="79375" y="82169"/>
                  </a:lnTo>
                  <a:lnTo>
                    <a:pt x="57785" y="99313"/>
                  </a:lnTo>
                  <a:lnTo>
                    <a:pt x="57785" y="108076"/>
                  </a:lnTo>
                  <a:lnTo>
                    <a:pt x="83059" y="89026"/>
                  </a:lnTo>
                  <a:lnTo>
                    <a:pt x="83059" y="102488"/>
                  </a:lnTo>
                  <a:lnTo>
                    <a:pt x="57785" y="121666"/>
                  </a:lnTo>
                  <a:lnTo>
                    <a:pt x="57785" y="139826"/>
                  </a:lnTo>
                  <a:lnTo>
                    <a:pt x="57785" y="146684"/>
                  </a:lnTo>
                  <a:lnTo>
                    <a:pt x="57785" y="170688"/>
                  </a:lnTo>
                  <a:lnTo>
                    <a:pt x="45720" y="170688"/>
                  </a:lnTo>
                  <a:lnTo>
                    <a:pt x="45720" y="146684"/>
                  </a:lnTo>
                  <a:lnTo>
                    <a:pt x="43307" y="146431"/>
                  </a:lnTo>
                  <a:lnTo>
                    <a:pt x="40894" y="146176"/>
                  </a:lnTo>
                  <a:lnTo>
                    <a:pt x="38609" y="145669"/>
                  </a:lnTo>
                  <a:lnTo>
                    <a:pt x="36322" y="145160"/>
                  </a:lnTo>
                  <a:lnTo>
                    <a:pt x="34037" y="144653"/>
                  </a:lnTo>
                  <a:lnTo>
                    <a:pt x="32004" y="144018"/>
                  </a:lnTo>
                  <a:lnTo>
                    <a:pt x="29591" y="143256"/>
                  </a:lnTo>
                  <a:lnTo>
                    <a:pt x="27687" y="142366"/>
                  </a:lnTo>
                  <a:lnTo>
                    <a:pt x="25528" y="141350"/>
                  </a:lnTo>
                  <a:lnTo>
                    <a:pt x="23622" y="140462"/>
                  </a:lnTo>
                  <a:lnTo>
                    <a:pt x="21591" y="139319"/>
                  </a:lnTo>
                  <a:lnTo>
                    <a:pt x="19813" y="138048"/>
                  </a:lnTo>
                  <a:lnTo>
                    <a:pt x="18035" y="136906"/>
                  </a:lnTo>
                  <a:lnTo>
                    <a:pt x="16257" y="135509"/>
                  </a:lnTo>
                  <a:lnTo>
                    <a:pt x="14732" y="133984"/>
                  </a:lnTo>
                  <a:lnTo>
                    <a:pt x="13209" y="132588"/>
                  </a:lnTo>
                  <a:lnTo>
                    <a:pt x="11557" y="130937"/>
                  </a:lnTo>
                  <a:lnTo>
                    <a:pt x="10288" y="129159"/>
                  </a:lnTo>
                  <a:lnTo>
                    <a:pt x="8891" y="127507"/>
                  </a:lnTo>
                  <a:lnTo>
                    <a:pt x="7747" y="125603"/>
                  </a:lnTo>
                  <a:lnTo>
                    <a:pt x="6478" y="123571"/>
                  </a:lnTo>
                  <a:lnTo>
                    <a:pt x="5335" y="121538"/>
                  </a:lnTo>
                  <a:lnTo>
                    <a:pt x="4319" y="119506"/>
                  </a:lnTo>
                  <a:lnTo>
                    <a:pt x="3429" y="117221"/>
                  </a:lnTo>
                  <a:lnTo>
                    <a:pt x="2667" y="114807"/>
                  </a:lnTo>
                  <a:lnTo>
                    <a:pt x="2032" y="112522"/>
                  </a:lnTo>
                  <a:lnTo>
                    <a:pt x="1397" y="109854"/>
                  </a:lnTo>
                  <a:lnTo>
                    <a:pt x="890" y="107441"/>
                  </a:lnTo>
                  <a:lnTo>
                    <a:pt x="635" y="104775"/>
                  </a:lnTo>
                  <a:lnTo>
                    <a:pt x="254" y="102107"/>
                  </a:lnTo>
                  <a:lnTo>
                    <a:pt x="128" y="99187"/>
                  </a:lnTo>
                  <a:lnTo>
                    <a:pt x="0" y="96266"/>
                  </a:lnTo>
                  <a:lnTo>
                    <a:pt x="128" y="92201"/>
                  </a:lnTo>
                  <a:lnTo>
                    <a:pt x="635" y="88138"/>
                  </a:lnTo>
                  <a:lnTo>
                    <a:pt x="1144" y="84200"/>
                  </a:lnTo>
                  <a:lnTo>
                    <a:pt x="2032" y="80137"/>
                  </a:lnTo>
                  <a:lnTo>
                    <a:pt x="3303" y="76072"/>
                  </a:lnTo>
                  <a:lnTo>
                    <a:pt x="4572" y="72009"/>
                  </a:lnTo>
                  <a:lnTo>
                    <a:pt x="5969" y="67944"/>
                  </a:lnTo>
                  <a:lnTo>
                    <a:pt x="7747" y="63881"/>
                  </a:lnTo>
                  <a:lnTo>
                    <a:pt x="9525" y="59944"/>
                  </a:lnTo>
                  <a:lnTo>
                    <a:pt x="11304" y="56006"/>
                  </a:lnTo>
                  <a:lnTo>
                    <a:pt x="13463" y="52197"/>
                  </a:lnTo>
                  <a:lnTo>
                    <a:pt x="15367" y="48259"/>
                  </a:lnTo>
                  <a:lnTo>
                    <a:pt x="17654" y="44576"/>
                  </a:lnTo>
                  <a:lnTo>
                    <a:pt x="19813" y="41021"/>
                  </a:lnTo>
                  <a:lnTo>
                    <a:pt x="24385" y="34163"/>
                  </a:lnTo>
                  <a:lnTo>
                    <a:pt x="29084" y="27559"/>
                  </a:lnTo>
                  <a:lnTo>
                    <a:pt x="33782" y="21335"/>
                  </a:lnTo>
                  <a:lnTo>
                    <a:pt x="38228" y="15494"/>
                  </a:lnTo>
                  <a:lnTo>
                    <a:pt x="42545" y="10413"/>
                  </a:lnTo>
                  <a:lnTo>
                    <a:pt x="46356" y="6096"/>
                  </a:lnTo>
                  <a:lnTo>
                    <a:pt x="49150" y="2794"/>
                  </a:lnTo>
                  <a:lnTo>
                    <a:pt x="51816" y="0"/>
                  </a:lnTo>
                  <a:lnTo>
                    <a:pt x="54357" y="2794"/>
                  </a:lnTo>
                  <a:lnTo>
                    <a:pt x="57404" y="6096"/>
                  </a:lnTo>
                  <a:lnTo>
                    <a:pt x="60960" y="10413"/>
                  </a:lnTo>
                  <a:lnTo>
                    <a:pt x="65279" y="15494"/>
                  </a:lnTo>
                  <a:lnTo>
                    <a:pt x="69978" y="21335"/>
                  </a:lnTo>
                  <a:lnTo>
                    <a:pt x="74676" y="27559"/>
                  </a:lnTo>
                  <a:lnTo>
                    <a:pt x="79375" y="34163"/>
                  </a:lnTo>
                  <a:lnTo>
                    <a:pt x="83820" y="41021"/>
                  </a:lnTo>
                  <a:lnTo>
                    <a:pt x="85979" y="44576"/>
                  </a:lnTo>
                  <a:lnTo>
                    <a:pt x="88138" y="48259"/>
                  </a:lnTo>
                  <a:lnTo>
                    <a:pt x="90297" y="52197"/>
                  </a:lnTo>
                  <a:lnTo>
                    <a:pt x="92329" y="56006"/>
                  </a:lnTo>
                  <a:lnTo>
                    <a:pt x="94235" y="59944"/>
                  </a:lnTo>
                  <a:lnTo>
                    <a:pt x="95885" y="63881"/>
                  </a:lnTo>
                  <a:lnTo>
                    <a:pt x="97537" y="67944"/>
                  </a:lnTo>
                  <a:lnTo>
                    <a:pt x="99060" y="72009"/>
                  </a:lnTo>
                  <a:lnTo>
                    <a:pt x="100457" y="76072"/>
                  </a:lnTo>
                  <a:lnTo>
                    <a:pt x="101473" y="80137"/>
                  </a:lnTo>
                  <a:lnTo>
                    <a:pt x="102490" y="84200"/>
                  </a:lnTo>
                  <a:lnTo>
                    <a:pt x="102997" y="88138"/>
                  </a:lnTo>
                  <a:lnTo>
                    <a:pt x="103506" y="92201"/>
                  </a:lnTo>
                  <a:lnTo>
                    <a:pt x="103632" y="96266"/>
                  </a:lnTo>
                  <a:lnTo>
                    <a:pt x="103632" y="98806"/>
                  </a:lnTo>
                  <a:lnTo>
                    <a:pt x="103506" y="101346"/>
                  </a:lnTo>
                  <a:lnTo>
                    <a:pt x="103251" y="103631"/>
                  </a:lnTo>
                  <a:lnTo>
                    <a:pt x="102870" y="105918"/>
                  </a:lnTo>
                  <a:lnTo>
                    <a:pt x="102616" y="108331"/>
                  </a:lnTo>
                  <a:lnTo>
                    <a:pt x="102109" y="110490"/>
                  </a:lnTo>
                  <a:lnTo>
                    <a:pt x="101473" y="112648"/>
                  </a:lnTo>
                  <a:lnTo>
                    <a:pt x="100838" y="114681"/>
                  </a:lnTo>
                  <a:lnTo>
                    <a:pt x="100076" y="116840"/>
                  </a:lnTo>
                  <a:lnTo>
                    <a:pt x="99315" y="118872"/>
                  </a:lnTo>
                  <a:lnTo>
                    <a:pt x="98553" y="120650"/>
                  </a:lnTo>
                  <a:lnTo>
                    <a:pt x="97537" y="122554"/>
                  </a:lnTo>
                  <a:lnTo>
                    <a:pt x="96520" y="124206"/>
                  </a:lnTo>
                  <a:lnTo>
                    <a:pt x="95378" y="125984"/>
                  </a:lnTo>
                  <a:lnTo>
                    <a:pt x="94362" y="127634"/>
                  </a:lnTo>
                  <a:lnTo>
                    <a:pt x="93219" y="129159"/>
                  </a:lnTo>
                  <a:lnTo>
                    <a:pt x="91822" y="130682"/>
                  </a:lnTo>
                  <a:lnTo>
                    <a:pt x="90551" y="132079"/>
                  </a:lnTo>
                  <a:lnTo>
                    <a:pt x="89154" y="133476"/>
                  </a:lnTo>
                  <a:lnTo>
                    <a:pt x="87757" y="134873"/>
                  </a:lnTo>
                  <a:lnTo>
                    <a:pt x="86234" y="136144"/>
                  </a:lnTo>
                  <a:lnTo>
                    <a:pt x="84710" y="137287"/>
                  </a:lnTo>
                  <a:lnTo>
                    <a:pt x="83059" y="138429"/>
                  </a:lnTo>
                  <a:lnTo>
                    <a:pt x="81281" y="139446"/>
                  </a:lnTo>
                  <a:lnTo>
                    <a:pt x="79757" y="140462"/>
                  </a:lnTo>
                  <a:lnTo>
                    <a:pt x="77851" y="141350"/>
                  </a:lnTo>
                  <a:lnTo>
                    <a:pt x="76073" y="142113"/>
                  </a:lnTo>
                  <a:lnTo>
                    <a:pt x="74295" y="143001"/>
                  </a:lnTo>
                  <a:lnTo>
                    <a:pt x="72263" y="143637"/>
                  </a:lnTo>
                  <a:lnTo>
                    <a:pt x="70359" y="144398"/>
                  </a:lnTo>
                  <a:lnTo>
                    <a:pt x="68326" y="144906"/>
                  </a:lnTo>
                  <a:lnTo>
                    <a:pt x="66422" y="145288"/>
                  </a:lnTo>
                  <a:lnTo>
                    <a:pt x="66422" y="138175"/>
                  </a:lnTo>
                  <a:lnTo>
                    <a:pt x="69342" y="137159"/>
                  </a:lnTo>
                  <a:lnTo>
                    <a:pt x="72263" y="135890"/>
                  </a:lnTo>
                  <a:lnTo>
                    <a:pt x="75057" y="134619"/>
                  </a:lnTo>
                  <a:lnTo>
                    <a:pt x="77851" y="132969"/>
                  </a:lnTo>
                  <a:lnTo>
                    <a:pt x="80519" y="131191"/>
                  </a:lnTo>
                  <a:lnTo>
                    <a:pt x="82678" y="129031"/>
                  </a:lnTo>
                  <a:lnTo>
                    <a:pt x="84963" y="126872"/>
                  </a:lnTo>
                  <a:lnTo>
                    <a:pt x="86995" y="124206"/>
                  </a:lnTo>
                  <a:lnTo>
                    <a:pt x="88773" y="121666"/>
                  </a:lnTo>
                  <a:lnTo>
                    <a:pt x="90425" y="118744"/>
                  </a:lnTo>
                  <a:lnTo>
                    <a:pt x="91822" y="115443"/>
                  </a:lnTo>
                  <a:lnTo>
                    <a:pt x="93091" y="112141"/>
                  </a:lnTo>
                  <a:lnTo>
                    <a:pt x="93854" y="108457"/>
                  </a:lnTo>
                  <a:lnTo>
                    <a:pt x="94616" y="104647"/>
                  </a:lnTo>
                  <a:lnTo>
                    <a:pt x="94997" y="100456"/>
                  </a:lnTo>
                  <a:lnTo>
                    <a:pt x="95123" y="96266"/>
                  </a:lnTo>
                  <a:lnTo>
                    <a:pt x="95123" y="93853"/>
                  </a:lnTo>
                  <a:lnTo>
                    <a:pt x="94997" y="91566"/>
                  </a:lnTo>
                  <a:lnTo>
                    <a:pt x="94616" y="89153"/>
                  </a:lnTo>
                  <a:lnTo>
                    <a:pt x="94362" y="86741"/>
                  </a:lnTo>
                  <a:lnTo>
                    <a:pt x="93345" y="81788"/>
                  </a:lnTo>
                  <a:lnTo>
                    <a:pt x="91948" y="76707"/>
                  </a:lnTo>
                  <a:lnTo>
                    <a:pt x="90170" y="71628"/>
                  </a:lnTo>
                  <a:lnTo>
                    <a:pt x="88138" y="66675"/>
                  </a:lnTo>
                  <a:lnTo>
                    <a:pt x="85853" y="61594"/>
                  </a:lnTo>
                  <a:lnTo>
                    <a:pt x="83313" y="56515"/>
                  </a:lnTo>
                  <a:lnTo>
                    <a:pt x="80519" y="51434"/>
                  </a:lnTo>
                  <a:lnTo>
                    <a:pt x="77725" y="46354"/>
                  </a:lnTo>
                  <a:lnTo>
                    <a:pt x="74676" y="41401"/>
                  </a:lnTo>
                  <a:lnTo>
                    <a:pt x="71375" y="36575"/>
                  </a:lnTo>
                  <a:lnTo>
                    <a:pt x="68200" y="31876"/>
                  </a:lnTo>
                  <a:lnTo>
                    <a:pt x="64644" y="27304"/>
                  </a:lnTo>
                  <a:lnTo>
                    <a:pt x="61341" y="22859"/>
                  </a:lnTo>
                  <a:lnTo>
                    <a:pt x="57785" y="18541"/>
                  </a:lnTo>
                  <a:close/>
                  <a:moveTo>
                    <a:pt x="1066547" y="2935223"/>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pic>
          <p:nvPicPr>
            <p:cNvPr id="560" name="Picture 1335">
              <a:extLst>
                <a:ext uri="{FF2B5EF4-FFF2-40B4-BE49-F238E27FC236}">
                  <a16:creationId xmlns:a16="http://schemas.microsoft.com/office/drawing/2014/main" id="{5BB16123-C66F-4699-8BA7-EE77B9B22B10}"/>
                </a:ext>
              </a:extLst>
            </p:cNvPr>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a:xfrm>
              <a:off x="916932" y="4523932"/>
              <a:ext cx="457177" cy="338406"/>
            </a:xfrm>
            <a:prstGeom prst="rect">
              <a:avLst/>
            </a:prstGeom>
            <a:noFill/>
          </p:spPr>
        </p:pic>
        <p:pic>
          <p:nvPicPr>
            <p:cNvPr id="561" name="Picture 1351">
              <a:extLst>
                <a:ext uri="{FF2B5EF4-FFF2-40B4-BE49-F238E27FC236}">
                  <a16:creationId xmlns:a16="http://schemas.microsoft.com/office/drawing/2014/main" id="{16FE864E-1F8D-4698-89DD-DE7B1EBD4F66}"/>
                </a:ext>
              </a:extLst>
            </p:cNvPr>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a:xfrm>
              <a:off x="1483653" y="4060624"/>
              <a:ext cx="238127" cy="669195"/>
            </a:xfrm>
            <a:prstGeom prst="rect">
              <a:avLst/>
            </a:prstGeom>
            <a:noFill/>
          </p:spPr>
        </p:pic>
        <p:pic>
          <p:nvPicPr>
            <p:cNvPr id="562" name="Picture 1354">
              <a:extLst>
                <a:ext uri="{FF2B5EF4-FFF2-40B4-BE49-F238E27FC236}">
                  <a16:creationId xmlns:a16="http://schemas.microsoft.com/office/drawing/2014/main" id="{B647F6D1-99BF-45E8-A2AE-B1850A3EE7C3}"/>
                </a:ext>
              </a:extLst>
            </p:cNvPr>
            <p:cNvPicPr>
              <a:picLocks noChangeArrowheads="1"/>
            </p:cNvPicPr>
            <p:nvPr/>
          </p:nvPicPr>
          <p:blipFill>
            <a:blip r:embed="rId30">
              <a:extLst>
                <a:ext uri="{28A0092B-C50C-407E-A947-70E740481C1C}">
                  <a14:useLocalDpi xmlns:a14="http://schemas.microsoft.com/office/drawing/2010/main" val="0"/>
                </a:ext>
              </a:extLst>
            </a:blip>
            <a:srcRect/>
            <a:stretch>
              <a:fillRect/>
            </a:stretch>
          </p:blipFill>
          <p:spPr>
            <a:xfrm>
              <a:off x="1034560" y="3916955"/>
              <a:ext cx="101547" cy="608902"/>
            </a:xfrm>
            <a:prstGeom prst="rect">
              <a:avLst/>
            </a:prstGeom>
            <a:noFill/>
          </p:spPr>
        </p:pic>
        <p:sp>
          <p:nvSpPr>
            <p:cNvPr id="563" name="Freeform 1532">
              <a:extLst>
                <a:ext uri="{FF2B5EF4-FFF2-40B4-BE49-F238E27FC236}">
                  <a16:creationId xmlns:a16="http://schemas.microsoft.com/office/drawing/2014/main" id="{521BEA06-4817-4E5F-9F23-49760064FA98}"/>
                </a:ext>
              </a:extLst>
            </p:cNvPr>
            <p:cNvSpPr/>
            <p:nvPr/>
          </p:nvSpPr>
          <p:spPr>
            <a:xfrm>
              <a:off x="2402942" y="5297976"/>
              <a:ext cx="286362" cy="396035"/>
            </a:xfrm>
            <a:custGeom>
              <a:avLst/>
              <a:gdLst/>
              <a:ahLst/>
              <a:cxnLst/>
              <a:rect l="0" t="0" r="0" b="0"/>
              <a:pathLst>
                <a:path w="286511" h="396241">
                  <a:moveTo>
                    <a:pt x="145542" y="125350"/>
                  </a:moveTo>
                  <a:lnTo>
                    <a:pt x="145288" y="125603"/>
                  </a:lnTo>
                  <a:lnTo>
                    <a:pt x="144779" y="126239"/>
                  </a:lnTo>
                  <a:lnTo>
                    <a:pt x="143891" y="127508"/>
                  </a:lnTo>
                  <a:lnTo>
                    <a:pt x="142748" y="129160"/>
                  </a:lnTo>
                  <a:lnTo>
                    <a:pt x="141351" y="131191"/>
                  </a:lnTo>
                  <a:lnTo>
                    <a:pt x="139573" y="133605"/>
                  </a:lnTo>
                  <a:lnTo>
                    <a:pt x="137667" y="136399"/>
                  </a:lnTo>
                  <a:lnTo>
                    <a:pt x="135635" y="139574"/>
                  </a:lnTo>
                  <a:lnTo>
                    <a:pt x="133350" y="143002"/>
                  </a:lnTo>
                  <a:lnTo>
                    <a:pt x="130810" y="146558"/>
                  </a:lnTo>
                  <a:lnTo>
                    <a:pt x="128142" y="150622"/>
                  </a:lnTo>
                  <a:lnTo>
                    <a:pt x="125476" y="154686"/>
                  </a:lnTo>
                  <a:lnTo>
                    <a:pt x="122682" y="159131"/>
                  </a:lnTo>
                  <a:lnTo>
                    <a:pt x="119760" y="163577"/>
                  </a:lnTo>
                  <a:lnTo>
                    <a:pt x="116839" y="168275"/>
                  </a:lnTo>
                  <a:lnTo>
                    <a:pt x="113919" y="173102"/>
                  </a:lnTo>
                  <a:lnTo>
                    <a:pt x="110998" y="177800"/>
                  </a:lnTo>
                  <a:lnTo>
                    <a:pt x="108076" y="182753"/>
                  </a:lnTo>
                  <a:lnTo>
                    <a:pt x="105282" y="187706"/>
                  </a:lnTo>
                  <a:lnTo>
                    <a:pt x="102616" y="192660"/>
                  </a:lnTo>
                  <a:lnTo>
                    <a:pt x="99948" y="197486"/>
                  </a:lnTo>
                  <a:lnTo>
                    <a:pt x="97027" y="203200"/>
                  </a:lnTo>
                  <a:lnTo>
                    <a:pt x="94360" y="208916"/>
                  </a:lnTo>
                  <a:lnTo>
                    <a:pt x="91948" y="213233"/>
                  </a:lnTo>
                  <a:lnTo>
                    <a:pt x="89916" y="217933"/>
                  </a:lnTo>
                  <a:lnTo>
                    <a:pt x="88138" y="222758"/>
                  </a:lnTo>
                  <a:lnTo>
                    <a:pt x="86741" y="227839"/>
                  </a:lnTo>
                  <a:lnTo>
                    <a:pt x="85851" y="231649"/>
                  </a:lnTo>
                  <a:lnTo>
                    <a:pt x="85217" y="234950"/>
                  </a:lnTo>
                  <a:lnTo>
                    <a:pt x="84835" y="238252"/>
                  </a:lnTo>
                  <a:lnTo>
                    <a:pt x="84835" y="241047"/>
                  </a:lnTo>
                  <a:lnTo>
                    <a:pt x="84963" y="243586"/>
                  </a:lnTo>
                  <a:lnTo>
                    <a:pt x="85344" y="250317"/>
                  </a:lnTo>
                  <a:lnTo>
                    <a:pt x="86232" y="256794"/>
                  </a:lnTo>
                  <a:lnTo>
                    <a:pt x="87757" y="263144"/>
                  </a:lnTo>
                  <a:lnTo>
                    <a:pt x="89789" y="269114"/>
                  </a:lnTo>
                  <a:lnTo>
                    <a:pt x="92329" y="274828"/>
                  </a:lnTo>
                  <a:lnTo>
                    <a:pt x="95376" y="280289"/>
                  </a:lnTo>
                  <a:lnTo>
                    <a:pt x="98805" y="285116"/>
                  </a:lnTo>
                  <a:lnTo>
                    <a:pt x="102742" y="289878"/>
                  </a:lnTo>
                  <a:lnTo>
                    <a:pt x="107060" y="294044"/>
                  </a:lnTo>
                  <a:lnTo>
                    <a:pt x="111632" y="297955"/>
                  </a:lnTo>
                  <a:lnTo>
                    <a:pt x="116713" y="301156"/>
                  </a:lnTo>
                  <a:lnTo>
                    <a:pt x="122047" y="303962"/>
                  </a:lnTo>
                  <a:lnTo>
                    <a:pt x="127507" y="306121"/>
                  </a:lnTo>
                  <a:lnTo>
                    <a:pt x="133350" y="307798"/>
                  </a:lnTo>
                  <a:lnTo>
                    <a:pt x="139319" y="308750"/>
                  </a:lnTo>
                  <a:lnTo>
                    <a:pt x="145542" y="309080"/>
                  </a:lnTo>
                  <a:lnTo>
                    <a:pt x="151764" y="308750"/>
                  </a:lnTo>
                  <a:lnTo>
                    <a:pt x="157733" y="307798"/>
                  </a:lnTo>
                  <a:lnTo>
                    <a:pt x="163448" y="306121"/>
                  </a:lnTo>
                  <a:lnTo>
                    <a:pt x="169036" y="303962"/>
                  </a:lnTo>
                  <a:lnTo>
                    <a:pt x="174370" y="301156"/>
                  </a:lnTo>
                  <a:lnTo>
                    <a:pt x="179323" y="297955"/>
                  </a:lnTo>
                  <a:lnTo>
                    <a:pt x="184023" y="294044"/>
                  </a:lnTo>
                  <a:lnTo>
                    <a:pt x="188214" y="289878"/>
                  </a:lnTo>
                  <a:lnTo>
                    <a:pt x="192151" y="285116"/>
                  </a:lnTo>
                  <a:lnTo>
                    <a:pt x="195579" y="280289"/>
                  </a:lnTo>
                  <a:lnTo>
                    <a:pt x="198627" y="274828"/>
                  </a:lnTo>
                  <a:lnTo>
                    <a:pt x="201295" y="269114"/>
                  </a:lnTo>
                  <a:lnTo>
                    <a:pt x="203200" y="263144"/>
                  </a:lnTo>
                  <a:lnTo>
                    <a:pt x="204723" y="256794"/>
                  </a:lnTo>
                  <a:lnTo>
                    <a:pt x="205739" y="250317"/>
                  </a:lnTo>
                  <a:lnTo>
                    <a:pt x="205994" y="243586"/>
                  </a:lnTo>
                  <a:lnTo>
                    <a:pt x="206375" y="241047"/>
                  </a:lnTo>
                  <a:lnTo>
                    <a:pt x="206120" y="238252"/>
                  </a:lnTo>
                  <a:lnTo>
                    <a:pt x="205867" y="234950"/>
                  </a:lnTo>
                  <a:lnTo>
                    <a:pt x="205104" y="231649"/>
                  </a:lnTo>
                  <a:lnTo>
                    <a:pt x="204216" y="227839"/>
                  </a:lnTo>
                  <a:lnTo>
                    <a:pt x="202819" y="222758"/>
                  </a:lnTo>
                  <a:lnTo>
                    <a:pt x="201167" y="217933"/>
                  </a:lnTo>
                  <a:lnTo>
                    <a:pt x="199008" y="213233"/>
                  </a:lnTo>
                  <a:lnTo>
                    <a:pt x="196723" y="208916"/>
                  </a:lnTo>
                  <a:lnTo>
                    <a:pt x="194436" y="204344"/>
                  </a:lnTo>
                  <a:lnTo>
                    <a:pt x="192151" y="199517"/>
                  </a:lnTo>
                  <a:lnTo>
                    <a:pt x="189610" y="194819"/>
                  </a:lnTo>
                  <a:lnTo>
                    <a:pt x="187070" y="189992"/>
                  </a:lnTo>
                  <a:lnTo>
                    <a:pt x="184276" y="185166"/>
                  </a:lnTo>
                  <a:lnTo>
                    <a:pt x="181482" y="180467"/>
                  </a:lnTo>
                  <a:lnTo>
                    <a:pt x="178689" y="175514"/>
                  </a:lnTo>
                  <a:lnTo>
                    <a:pt x="175767" y="170942"/>
                  </a:lnTo>
                  <a:lnTo>
                    <a:pt x="172973" y="166370"/>
                  </a:lnTo>
                  <a:lnTo>
                    <a:pt x="170179" y="161799"/>
                  </a:lnTo>
                  <a:lnTo>
                    <a:pt x="167385" y="157480"/>
                  </a:lnTo>
                  <a:lnTo>
                    <a:pt x="164719" y="153289"/>
                  </a:lnTo>
                  <a:lnTo>
                    <a:pt x="162051" y="149352"/>
                  </a:lnTo>
                  <a:lnTo>
                    <a:pt x="159511" y="145669"/>
                  </a:lnTo>
                  <a:lnTo>
                    <a:pt x="157226" y="142241"/>
                  </a:lnTo>
                  <a:lnTo>
                    <a:pt x="154939" y="138811"/>
                  </a:lnTo>
                  <a:lnTo>
                    <a:pt x="153035" y="135891"/>
                  </a:lnTo>
                  <a:lnTo>
                    <a:pt x="151129" y="133224"/>
                  </a:lnTo>
                  <a:lnTo>
                    <a:pt x="149479" y="130811"/>
                  </a:lnTo>
                  <a:lnTo>
                    <a:pt x="148082" y="128905"/>
                  </a:lnTo>
                  <a:lnTo>
                    <a:pt x="147066" y="127381"/>
                  </a:lnTo>
                  <a:lnTo>
                    <a:pt x="146176" y="126239"/>
                  </a:lnTo>
                  <a:lnTo>
                    <a:pt x="145669" y="125603"/>
                  </a:lnTo>
                  <a:lnTo>
                    <a:pt x="145542" y="125350"/>
                  </a:lnTo>
                  <a:close/>
                  <a:moveTo>
                    <a:pt x="-356998" y="1559052"/>
                  </a:moveTo>
                  <a:moveTo>
                    <a:pt x="143255" y="30989"/>
                  </a:moveTo>
                  <a:lnTo>
                    <a:pt x="131698" y="31116"/>
                  </a:lnTo>
                  <a:lnTo>
                    <a:pt x="120523" y="31369"/>
                  </a:lnTo>
                  <a:lnTo>
                    <a:pt x="109727" y="32131"/>
                  </a:lnTo>
                  <a:lnTo>
                    <a:pt x="99186" y="33020"/>
                  </a:lnTo>
                  <a:lnTo>
                    <a:pt x="89154" y="34036"/>
                  </a:lnTo>
                  <a:lnTo>
                    <a:pt x="79629" y="35306"/>
                  </a:lnTo>
                  <a:lnTo>
                    <a:pt x="70739" y="36703"/>
                  </a:lnTo>
                  <a:lnTo>
                    <a:pt x="62229" y="38355"/>
                  </a:lnTo>
                  <a:lnTo>
                    <a:pt x="54482" y="40260"/>
                  </a:lnTo>
                  <a:lnTo>
                    <a:pt x="49657" y="41402"/>
                  </a:lnTo>
                  <a:lnTo>
                    <a:pt x="45211" y="42672"/>
                  </a:lnTo>
                  <a:lnTo>
                    <a:pt x="41148" y="43689"/>
                  </a:lnTo>
                  <a:lnTo>
                    <a:pt x="37592" y="44705"/>
                  </a:lnTo>
                  <a:lnTo>
                    <a:pt x="34544" y="45720"/>
                  </a:lnTo>
                  <a:lnTo>
                    <a:pt x="31876" y="46355"/>
                  </a:lnTo>
                  <a:lnTo>
                    <a:pt x="29845" y="47117"/>
                  </a:lnTo>
                  <a:lnTo>
                    <a:pt x="28320" y="47625"/>
                  </a:lnTo>
                  <a:lnTo>
                    <a:pt x="27432" y="48006"/>
                  </a:lnTo>
                  <a:lnTo>
                    <a:pt x="27177" y="48388"/>
                  </a:lnTo>
                  <a:lnTo>
                    <a:pt x="27432" y="48641"/>
                  </a:lnTo>
                  <a:lnTo>
                    <a:pt x="28320" y="49150"/>
                  </a:lnTo>
                  <a:lnTo>
                    <a:pt x="29845" y="49530"/>
                  </a:lnTo>
                  <a:lnTo>
                    <a:pt x="31876" y="50292"/>
                  </a:lnTo>
                  <a:lnTo>
                    <a:pt x="34544" y="51181"/>
                  </a:lnTo>
                  <a:lnTo>
                    <a:pt x="37592" y="51944"/>
                  </a:lnTo>
                  <a:lnTo>
                    <a:pt x="41148" y="52960"/>
                  </a:lnTo>
                  <a:lnTo>
                    <a:pt x="45211" y="54102"/>
                  </a:lnTo>
                  <a:lnTo>
                    <a:pt x="49657" y="55245"/>
                  </a:lnTo>
                  <a:lnTo>
                    <a:pt x="54482" y="56516"/>
                  </a:lnTo>
                  <a:lnTo>
                    <a:pt x="62229" y="58166"/>
                  </a:lnTo>
                  <a:lnTo>
                    <a:pt x="70739" y="59944"/>
                  </a:lnTo>
                  <a:lnTo>
                    <a:pt x="79629" y="61469"/>
                  </a:lnTo>
                  <a:lnTo>
                    <a:pt x="89154" y="62739"/>
                  </a:lnTo>
                  <a:lnTo>
                    <a:pt x="99186" y="63755"/>
                  </a:lnTo>
                  <a:lnTo>
                    <a:pt x="109727" y="64644"/>
                  </a:lnTo>
                  <a:lnTo>
                    <a:pt x="120523" y="65278"/>
                  </a:lnTo>
                  <a:lnTo>
                    <a:pt x="131698" y="65533"/>
                  </a:lnTo>
                  <a:lnTo>
                    <a:pt x="143255" y="65786"/>
                  </a:lnTo>
                  <a:lnTo>
                    <a:pt x="154813" y="65533"/>
                  </a:lnTo>
                  <a:lnTo>
                    <a:pt x="165989" y="65278"/>
                  </a:lnTo>
                  <a:lnTo>
                    <a:pt x="176783" y="64644"/>
                  </a:lnTo>
                  <a:lnTo>
                    <a:pt x="187325" y="63755"/>
                  </a:lnTo>
                  <a:lnTo>
                    <a:pt x="197357" y="62739"/>
                  </a:lnTo>
                  <a:lnTo>
                    <a:pt x="206755" y="61469"/>
                  </a:lnTo>
                  <a:lnTo>
                    <a:pt x="215900" y="59944"/>
                  </a:lnTo>
                  <a:lnTo>
                    <a:pt x="224282" y="58166"/>
                  </a:lnTo>
                  <a:lnTo>
                    <a:pt x="232155" y="56516"/>
                  </a:lnTo>
                  <a:lnTo>
                    <a:pt x="236982" y="55245"/>
                  </a:lnTo>
                  <a:lnTo>
                    <a:pt x="241300" y="54102"/>
                  </a:lnTo>
                  <a:lnTo>
                    <a:pt x="245491" y="52960"/>
                  </a:lnTo>
                  <a:lnTo>
                    <a:pt x="249047" y="51944"/>
                  </a:lnTo>
                  <a:lnTo>
                    <a:pt x="252095" y="51181"/>
                  </a:lnTo>
                  <a:lnTo>
                    <a:pt x="254635" y="50292"/>
                  </a:lnTo>
                  <a:lnTo>
                    <a:pt x="256667" y="49530"/>
                  </a:lnTo>
                  <a:lnTo>
                    <a:pt x="258317" y="49150"/>
                  </a:lnTo>
                  <a:lnTo>
                    <a:pt x="259079" y="48641"/>
                  </a:lnTo>
                  <a:lnTo>
                    <a:pt x="259460" y="48388"/>
                  </a:lnTo>
                  <a:lnTo>
                    <a:pt x="259079" y="48006"/>
                  </a:lnTo>
                  <a:lnTo>
                    <a:pt x="258317" y="47625"/>
                  </a:lnTo>
                  <a:lnTo>
                    <a:pt x="256667" y="47117"/>
                  </a:lnTo>
                  <a:lnTo>
                    <a:pt x="254635" y="46355"/>
                  </a:lnTo>
                  <a:lnTo>
                    <a:pt x="252095" y="45720"/>
                  </a:lnTo>
                  <a:lnTo>
                    <a:pt x="249047" y="44705"/>
                  </a:lnTo>
                  <a:lnTo>
                    <a:pt x="245491" y="43689"/>
                  </a:lnTo>
                  <a:lnTo>
                    <a:pt x="241300" y="42672"/>
                  </a:lnTo>
                  <a:lnTo>
                    <a:pt x="236982" y="41402"/>
                  </a:lnTo>
                  <a:lnTo>
                    <a:pt x="232155" y="40260"/>
                  </a:lnTo>
                  <a:lnTo>
                    <a:pt x="224282" y="38355"/>
                  </a:lnTo>
                  <a:lnTo>
                    <a:pt x="215900" y="36703"/>
                  </a:lnTo>
                  <a:lnTo>
                    <a:pt x="206755" y="35306"/>
                  </a:lnTo>
                  <a:lnTo>
                    <a:pt x="197357" y="34036"/>
                  </a:lnTo>
                  <a:lnTo>
                    <a:pt x="187325" y="33020"/>
                  </a:lnTo>
                  <a:lnTo>
                    <a:pt x="176783" y="32131"/>
                  </a:lnTo>
                  <a:lnTo>
                    <a:pt x="165989" y="31369"/>
                  </a:lnTo>
                  <a:lnTo>
                    <a:pt x="154813" y="31116"/>
                  </a:lnTo>
                  <a:lnTo>
                    <a:pt x="143255" y="30989"/>
                  </a:lnTo>
                  <a:close/>
                  <a:moveTo>
                    <a:pt x="-262637" y="1559052"/>
                  </a:moveTo>
                  <a:moveTo>
                    <a:pt x="143255" y="0"/>
                  </a:moveTo>
                  <a:lnTo>
                    <a:pt x="155320" y="127"/>
                  </a:lnTo>
                  <a:lnTo>
                    <a:pt x="167258" y="508"/>
                  </a:lnTo>
                  <a:lnTo>
                    <a:pt x="178689" y="1144"/>
                  </a:lnTo>
                  <a:lnTo>
                    <a:pt x="189738" y="2160"/>
                  </a:lnTo>
                  <a:lnTo>
                    <a:pt x="200405" y="3175"/>
                  </a:lnTo>
                  <a:lnTo>
                    <a:pt x="210566" y="4700"/>
                  </a:lnTo>
                  <a:lnTo>
                    <a:pt x="220345" y="6224"/>
                  </a:lnTo>
                  <a:lnTo>
                    <a:pt x="229489" y="8002"/>
                  </a:lnTo>
                  <a:lnTo>
                    <a:pt x="237998" y="9906"/>
                  </a:lnTo>
                  <a:lnTo>
                    <a:pt x="244601" y="11811"/>
                  </a:lnTo>
                  <a:lnTo>
                    <a:pt x="250951" y="13970"/>
                  </a:lnTo>
                  <a:lnTo>
                    <a:pt x="256794" y="16130"/>
                  </a:lnTo>
                  <a:lnTo>
                    <a:pt x="262127" y="18542"/>
                  </a:lnTo>
                  <a:lnTo>
                    <a:pt x="267080" y="21210"/>
                  </a:lnTo>
                  <a:lnTo>
                    <a:pt x="271398" y="24003"/>
                  </a:lnTo>
                  <a:lnTo>
                    <a:pt x="275335" y="27052"/>
                  </a:lnTo>
                  <a:lnTo>
                    <a:pt x="278764" y="30100"/>
                  </a:lnTo>
                  <a:lnTo>
                    <a:pt x="281432" y="33528"/>
                  </a:lnTo>
                  <a:lnTo>
                    <a:pt x="283591" y="36958"/>
                  </a:lnTo>
                  <a:lnTo>
                    <a:pt x="285242" y="40641"/>
                  </a:lnTo>
                  <a:lnTo>
                    <a:pt x="286257" y="44450"/>
                  </a:lnTo>
                  <a:lnTo>
                    <a:pt x="286511" y="48388"/>
                  </a:lnTo>
                  <a:lnTo>
                    <a:pt x="286257" y="52197"/>
                  </a:lnTo>
                  <a:lnTo>
                    <a:pt x="285242" y="56008"/>
                  </a:lnTo>
                  <a:lnTo>
                    <a:pt x="283717" y="59564"/>
                  </a:lnTo>
                  <a:lnTo>
                    <a:pt x="281432" y="63119"/>
                  </a:lnTo>
                  <a:lnTo>
                    <a:pt x="278764" y="66422"/>
                  </a:lnTo>
                  <a:lnTo>
                    <a:pt x="275589" y="69597"/>
                  </a:lnTo>
                  <a:lnTo>
                    <a:pt x="271652" y="72391"/>
                  </a:lnTo>
                  <a:lnTo>
                    <a:pt x="267335" y="75311"/>
                  </a:lnTo>
                  <a:lnTo>
                    <a:pt x="262508" y="77852"/>
                  </a:lnTo>
                  <a:lnTo>
                    <a:pt x="262508" y="156591"/>
                  </a:lnTo>
                  <a:lnTo>
                    <a:pt x="267335" y="159131"/>
                  </a:lnTo>
                  <a:lnTo>
                    <a:pt x="271652" y="161799"/>
                  </a:lnTo>
                  <a:lnTo>
                    <a:pt x="275589" y="164592"/>
                  </a:lnTo>
                  <a:lnTo>
                    <a:pt x="278764" y="167641"/>
                  </a:lnTo>
                  <a:lnTo>
                    <a:pt x="281432" y="170942"/>
                  </a:lnTo>
                  <a:lnTo>
                    <a:pt x="283717" y="174244"/>
                  </a:lnTo>
                  <a:lnTo>
                    <a:pt x="285242" y="177674"/>
                  </a:lnTo>
                  <a:lnTo>
                    <a:pt x="286257" y="181483"/>
                  </a:lnTo>
                  <a:lnTo>
                    <a:pt x="286511" y="185166"/>
                  </a:lnTo>
                  <a:lnTo>
                    <a:pt x="286257" y="189103"/>
                  </a:lnTo>
                  <a:lnTo>
                    <a:pt x="285242" y="192660"/>
                  </a:lnTo>
                  <a:lnTo>
                    <a:pt x="283717" y="196089"/>
                  </a:lnTo>
                  <a:lnTo>
                    <a:pt x="281432" y="199517"/>
                  </a:lnTo>
                  <a:lnTo>
                    <a:pt x="278764" y="202692"/>
                  </a:lnTo>
                  <a:lnTo>
                    <a:pt x="275589" y="205741"/>
                  </a:lnTo>
                  <a:lnTo>
                    <a:pt x="271652" y="208661"/>
                  </a:lnTo>
                  <a:lnTo>
                    <a:pt x="267335" y="211328"/>
                  </a:lnTo>
                  <a:lnTo>
                    <a:pt x="262508" y="213741"/>
                  </a:lnTo>
                  <a:lnTo>
                    <a:pt x="262508" y="319786"/>
                  </a:lnTo>
                  <a:lnTo>
                    <a:pt x="267335" y="322352"/>
                  </a:lnTo>
                  <a:lnTo>
                    <a:pt x="271652" y="325070"/>
                  </a:lnTo>
                  <a:lnTo>
                    <a:pt x="275589" y="328105"/>
                  </a:lnTo>
                  <a:lnTo>
                    <a:pt x="278764" y="331064"/>
                  </a:lnTo>
                  <a:lnTo>
                    <a:pt x="281432" y="334341"/>
                  </a:lnTo>
                  <a:lnTo>
                    <a:pt x="283717" y="337859"/>
                  </a:lnTo>
                  <a:lnTo>
                    <a:pt x="285242" y="341300"/>
                  </a:lnTo>
                  <a:lnTo>
                    <a:pt x="286257" y="345060"/>
                  </a:lnTo>
                  <a:lnTo>
                    <a:pt x="286511" y="348895"/>
                  </a:lnTo>
                  <a:lnTo>
                    <a:pt x="286257" y="352743"/>
                  </a:lnTo>
                  <a:lnTo>
                    <a:pt x="285242" y="356413"/>
                  </a:lnTo>
                  <a:lnTo>
                    <a:pt x="283591" y="360096"/>
                  </a:lnTo>
                  <a:lnTo>
                    <a:pt x="281432" y="363538"/>
                  </a:lnTo>
                  <a:lnTo>
                    <a:pt x="278764" y="366815"/>
                  </a:lnTo>
                  <a:lnTo>
                    <a:pt x="275335" y="369926"/>
                  </a:lnTo>
                  <a:lnTo>
                    <a:pt x="271398" y="372809"/>
                  </a:lnTo>
                  <a:lnTo>
                    <a:pt x="267080" y="375527"/>
                  </a:lnTo>
                  <a:lnTo>
                    <a:pt x="262127" y="378092"/>
                  </a:lnTo>
                  <a:lnTo>
                    <a:pt x="256667" y="380492"/>
                  </a:lnTo>
                  <a:lnTo>
                    <a:pt x="250825" y="382804"/>
                  </a:lnTo>
                  <a:lnTo>
                    <a:pt x="244601" y="384722"/>
                  </a:lnTo>
                  <a:lnTo>
                    <a:pt x="237870" y="386487"/>
                  </a:lnTo>
                  <a:lnTo>
                    <a:pt x="229361" y="388405"/>
                  </a:lnTo>
                  <a:lnTo>
                    <a:pt x="220217" y="390246"/>
                  </a:lnTo>
                  <a:lnTo>
                    <a:pt x="210566" y="391681"/>
                  </a:lnTo>
                  <a:lnTo>
                    <a:pt x="200405" y="393116"/>
                  </a:lnTo>
                  <a:lnTo>
                    <a:pt x="189738" y="394158"/>
                  </a:lnTo>
                  <a:lnTo>
                    <a:pt x="178689" y="395047"/>
                  </a:lnTo>
                  <a:lnTo>
                    <a:pt x="167258" y="395758"/>
                  </a:lnTo>
                  <a:lnTo>
                    <a:pt x="155320" y="396075"/>
                  </a:lnTo>
                  <a:lnTo>
                    <a:pt x="143255" y="396241"/>
                  </a:lnTo>
                  <a:lnTo>
                    <a:pt x="131191" y="396075"/>
                  </a:lnTo>
                  <a:lnTo>
                    <a:pt x="119379" y="395758"/>
                  </a:lnTo>
                  <a:lnTo>
                    <a:pt x="107950" y="395047"/>
                  </a:lnTo>
                  <a:lnTo>
                    <a:pt x="96901" y="394158"/>
                  </a:lnTo>
                  <a:lnTo>
                    <a:pt x="86105" y="393116"/>
                  </a:lnTo>
                  <a:lnTo>
                    <a:pt x="76073" y="391681"/>
                  </a:lnTo>
                  <a:lnTo>
                    <a:pt x="66294" y="390246"/>
                  </a:lnTo>
                  <a:lnTo>
                    <a:pt x="57150" y="388405"/>
                  </a:lnTo>
                  <a:lnTo>
                    <a:pt x="48767" y="386487"/>
                  </a:lnTo>
                  <a:lnTo>
                    <a:pt x="42036" y="384722"/>
                  </a:lnTo>
                  <a:lnTo>
                    <a:pt x="35686" y="382804"/>
                  </a:lnTo>
                  <a:lnTo>
                    <a:pt x="29845" y="380492"/>
                  </a:lnTo>
                  <a:lnTo>
                    <a:pt x="24510" y="378092"/>
                  </a:lnTo>
                  <a:lnTo>
                    <a:pt x="19557" y="375527"/>
                  </a:lnTo>
                  <a:lnTo>
                    <a:pt x="15113" y="372809"/>
                  </a:lnTo>
                  <a:lnTo>
                    <a:pt x="11176" y="369926"/>
                  </a:lnTo>
                  <a:lnTo>
                    <a:pt x="7873" y="366815"/>
                  </a:lnTo>
                  <a:lnTo>
                    <a:pt x="5207" y="363538"/>
                  </a:lnTo>
                  <a:lnTo>
                    <a:pt x="3048" y="360096"/>
                  </a:lnTo>
                  <a:lnTo>
                    <a:pt x="1270" y="356413"/>
                  </a:lnTo>
                  <a:lnTo>
                    <a:pt x="380" y="352743"/>
                  </a:lnTo>
                  <a:lnTo>
                    <a:pt x="0" y="348895"/>
                  </a:lnTo>
                  <a:lnTo>
                    <a:pt x="380" y="344907"/>
                  </a:lnTo>
                  <a:lnTo>
                    <a:pt x="1397" y="341224"/>
                  </a:lnTo>
                  <a:lnTo>
                    <a:pt x="3048" y="337465"/>
                  </a:lnTo>
                  <a:lnTo>
                    <a:pt x="5333" y="333947"/>
                  </a:lnTo>
                  <a:lnTo>
                    <a:pt x="8127" y="330747"/>
                  </a:lnTo>
                  <a:lnTo>
                    <a:pt x="11557" y="327622"/>
                  </a:lnTo>
                  <a:lnTo>
                    <a:pt x="15620" y="324587"/>
                  </a:lnTo>
                  <a:lnTo>
                    <a:pt x="20192" y="321869"/>
                  </a:lnTo>
                  <a:lnTo>
                    <a:pt x="25145" y="319317"/>
                  </a:lnTo>
                  <a:lnTo>
                    <a:pt x="25145" y="214377"/>
                  </a:lnTo>
                  <a:lnTo>
                    <a:pt x="20192" y="211836"/>
                  </a:lnTo>
                  <a:lnTo>
                    <a:pt x="15620" y="209169"/>
                  </a:lnTo>
                  <a:lnTo>
                    <a:pt x="11557" y="206249"/>
                  </a:lnTo>
                  <a:lnTo>
                    <a:pt x="8127" y="203074"/>
                  </a:lnTo>
                  <a:lnTo>
                    <a:pt x="5333" y="199899"/>
                  </a:lnTo>
                  <a:lnTo>
                    <a:pt x="3048" y="196469"/>
                  </a:lnTo>
                  <a:lnTo>
                    <a:pt x="1397" y="192914"/>
                  </a:lnTo>
                  <a:lnTo>
                    <a:pt x="380" y="189103"/>
                  </a:lnTo>
                  <a:lnTo>
                    <a:pt x="0" y="185166"/>
                  </a:lnTo>
                  <a:lnTo>
                    <a:pt x="380" y="181356"/>
                  </a:lnTo>
                  <a:lnTo>
                    <a:pt x="1397" y="177547"/>
                  </a:lnTo>
                  <a:lnTo>
                    <a:pt x="3048" y="173991"/>
                  </a:lnTo>
                  <a:lnTo>
                    <a:pt x="5333" y="170435"/>
                  </a:lnTo>
                  <a:lnTo>
                    <a:pt x="8127" y="167260"/>
                  </a:lnTo>
                  <a:lnTo>
                    <a:pt x="11557" y="164211"/>
                  </a:lnTo>
                  <a:lnTo>
                    <a:pt x="15620" y="161291"/>
                  </a:lnTo>
                  <a:lnTo>
                    <a:pt x="20192" y="158624"/>
                  </a:lnTo>
                  <a:lnTo>
                    <a:pt x="25145" y="156083"/>
                  </a:lnTo>
                  <a:lnTo>
                    <a:pt x="25145" y="78486"/>
                  </a:lnTo>
                  <a:lnTo>
                    <a:pt x="20192" y="75819"/>
                  </a:lnTo>
                  <a:lnTo>
                    <a:pt x="15620" y="73025"/>
                  </a:lnTo>
                  <a:lnTo>
                    <a:pt x="11557" y="70105"/>
                  </a:lnTo>
                  <a:lnTo>
                    <a:pt x="8127" y="66802"/>
                  </a:lnTo>
                  <a:lnTo>
                    <a:pt x="5333" y="63374"/>
                  </a:lnTo>
                  <a:lnTo>
                    <a:pt x="3048" y="59944"/>
                  </a:lnTo>
                  <a:lnTo>
                    <a:pt x="1397" y="56261"/>
                  </a:lnTo>
                  <a:lnTo>
                    <a:pt x="380" y="52325"/>
                  </a:lnTo>
                  <a:lnTo>
                    <a:pt x="0" y="48388"/>
                  </a:lnTo>
                  <a:lnTo>
                    <a:pt x="380" y="44450"/>
                  </a:lnTo>
                  <a:lnTo>
                    <a:pt x="1270" y="40641"/>
                  </a:lnTo>
                  <a:lnTo>
                    <a:pt x="3048" y="36958"/>
                  </a:lnTo>
                  <a:lnTo>
                    <a:pt x="5207" y="33528"/>
                  </a:lnTo>
                  <a:lnTo>
                    <a:pt x="7873" y="30100"/>
                  </a:lnTo>
                  <a:lnTo>
                    <a:pt x="11176" y="27052"/>
                  </a:lnTo>
                  <a:lnTo>
                    <a:pt x="15113" y="24003"/>
                  </a:lnTo>
                  <a:lnTo>
                    <a:pt x="19557" y="21210"/>
                  </a:lnTo>
                  <a:lnTo>
                    <a:pt x="24510" y="18542"/>
                  </a:lnTo>
                  <a:lnTo>
                    <a:pt x="29717" y="16130"/>
                  </a:lnTo>
                  <a:lnTo>
                    <a:pt x="35686" y="13970"/>
                  </a:lnTo>
                  <a:lnTo>
                    <a:pt x="41910" y="11811"/>
                  </a:lnTo>
                  <a:lnTo>
                    <a:pt x="48641" y="9906"/>
                  </a:lnTo>
                  <a:lnTo>
                    <a:pt x="57150" y="8002"/>
                  </a:lnTo>
                  <a:lnTo>
                    <a:pt x="66294" y="6224"/>
                  </a:lnTo>
                  <a:lnTo>
                    <a:pt x="76073" y="4700"/>
                  </a:lnTo>
                  <a:lnTo>
                    <a:pt x="86105" y="3175"/>
                  </a:lnTo>
                  <a:lnTo>
                    <a:pt x="96901" y="2160"/>
                  </a:lnTo>
                  <a:lnTo>
                    <a:pt x="107950" y="1144"/>
                  </a:lnTo>
                  <a:lnTo>
                    <a:pt x="119379" y="508"/>
                  </a:lnTo>
                  <a:lnTo>
                    <a:pt x="131191" y="127"/>
                  </a:lnTo>
                  <a:lnTo>
                    <a:pt x="143255" y="0"/>
                  </a:lnTo>
                  <a:close/>
                  <a:moveTo>
                    <a:pt x="-231648" y="1559052"/>
                  </a:moveTo>
                </a:path>
              </a:pathLst>
            </a:custGeom>
            <a:noFill/>
            <a:ln w="9525" cap="flat" cmpd="sng">
              <a:solidFill>
                <a:srgbClr val="A5A5B5">
                  <a:alpha val="4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564" name="Freeform 1533">
              <a:extLst>
                <a:ext uri="{FF2B5EF4-FFF2-40B4-BE49-F238E27FC236}">
                  <a16:creationId xmlns:a16="http://schemas.microsoft.com/office/drawing/2014/main" id="{F3416096-B7DC-47FF-BD1E-EA8FC0A3DD6C}"/>
                </a:ext>
              </a:extLst>
            </p:cNvPr>
            <p:cNvSpPr/>
            <p:nvPr/>
          </p:nvSpPr>
          <p:spPr>
            <a:xfrm>
              <a:off x="1910212" y="4994860"/>
              <a:ext cx="646727" cy="216132"/>
            </a:xfrm>
            <a:custGeom>
              <a:avLst/>
              <a:gdLst/>
              <a:ahLst/>
              <a:cxnLst/>
              <a:rect l="0" t="0" r="0" b="0"/>
              <a:pathLst>
                <a:path w="553719" h="166242">
                  <a:moveTo>
                    <a:pt x="0" y="0"/>
                  </a:moveTo>
                  <a:lnTo>
                    <a:pt x="553719" y="0"/>
                  </a:lnTo>
                  <a:lnTo>
                    <a:pt x="553719" y="166242"/>
                  </a:lnTo>
                  <a:lnTo>
                    <a:pt x="551688" y="166242"/>
                  </a:lnTo>
                </a:path>
              </a:pathLst>
            </a:custGeom>
            <a:noFill/>
            <a:ln w="12700" cap="flat" cmpd="sng">
              <a:solidFill>
                <a:srgbClr val="D2D2DA">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565" name="Freeform 1534">
              <a:extLst>
                <a:ext uri="{FF2B5EF4-FFF2-40B4-BE49-F238E27FC236}">
                  <a16:creationId xmlns:a16="http://schemas.microsoft.com/office/drawing/2014/main" id="{C5EE3465-1C32-4724-AFF5-DBF6FE5F1EE4}"/>
                </a:ext>
              </a:extLst>
            </p:cNvPr>
            <p:cNvSpPr/>
            <p:nvPr/>
          </p:nvSpPr>
          <p:spPr>
            <a:xfrm>
              <a:off x="1240019" y="4994859"/>
              <a:ext cx="669177" cy="230893"/>
            </a:xfrm>
            <a:custGeom>
              <a:avLst/>
              <a:gdLst/>
              <a:ahLst/>
              <a:cxnLst/>
              <a:rect l="0" t="0" r="0" b="0"/>
              <a:pathLst>
                <a:path w="550164" h="231013">
                  <a:moveTo>
                    <a:pt x="5588" y="231013"/>
                  </a:moveTo>
                  <a:lnTo>
                    <a:pt x="0" y="231013"/>
                  </a:lnTo>
                  <a:lnTo>
                    <a:pt x="0" y="0"/>
                  </a:lnTo>
                  <a:lnTo>
                    <a:pt x="550164" y="0"/>
                  </a:lnTo>
                </a:path>
              </a:pathLst>
            </a:custGeom>
            <a:noFill/>
            <a:ln w="12700" cap="flat" cmpd="sng">
              <a:solidFill>
                <a:srgbClr val="D2D2DA">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566" name="Freeform 1535">
              <a:extLst>
                <a:ext uri="{FF2B5EF4-FFF2-40B4-BE49-F238E27FC236}">
                  <a16:creationId xmlns:a16="http://schemas.microsoft.com/office/drawing/2014/main" id="{C9D7030C-66C8-417C-9DDD-54C4C9CEDB06}"/>
                </a:ext>
              </a:extLst>
            </p:cNvPr>
            <p:cNvSpPr/>
            <p:nvPr/>
          </p:nvSpPr>
          <p:spPr>
            <a:xfrm>
              <a:off x="1100919" y="5564537"/>
              <a:ext cx="112717" cy="109671"/>
            </a:xfrm>
            <a:custGeom>
              <a:avLst/>
              <a:gdLst/>
              <a:ahLst/>
              <a:cxnLst/>
              <a:rect l="0" t="0" r="0" b="0"/>
              <a:pathLst>
                <a:path w="112776" h="109728">
                  <a:moveTo>
                    <a:pt x="56389" y="109728"/>
                  </a:moveTo>
                  <a:lnTo>
                    <a:pt x="56389" y="109728"/>
                  </a:lnTo>
                  <a:lnTo>
                    <a:pt x="44197" y="108649"/>
                  </a:lnTo>
                  <a:lnTo>
                    <a:pt x="34290" y="105423"/>
                  </a:lnTo>
                  <a:lnTo>
                    <a:pt x="24384" y="100051"/>
                  </a:lnTo>
                  <a:lnTo>
                    <a:pt x="16587" y="93587"/>
                  </a:lnTo>
                  <a:lnTo>
                    <a:pt x="8840" y="84989"/>
                  </a:lnTo>
                  <a:lnTo>
                    <a:pt x="4420" y="75299"/>
                  </a:lnTo>
                  <a:lnTo>
                    <a:pt x="1105" y="65621"/>
                  </a:lnTo>
                  <a:lnTo>
                    <a:pt x="0" y="54864"/>
                  </a:lnTo>
                  <a:lnTo>
                    <a:pt x="1105" y="43028"/>
                  </a:lnTo>
                  <a:lnTo>
                    <a:pt x="4420" y="33351"/>
                  </a:lnTo>
                  <a:lnTo>
                    <a:pt x="8840" y="23661"/>
                  </a:lnTo>
                  <a:lnTo>
                    <a:pt x="16587" y="15114"/>
                  </a:lnTo>
                  <a:lnTo>
                    <a:pt x="24384" y="8636"/>
                  </a:lnTo>
                  <a:lnTo>
                    <a:pt x="34290" y="4319"/>
                  </a:lnTo>
                  <a:lnTo>
                    <a:pt x="44197" y="1016"/>
                  </a:lnTo>
                  <a:lnTo>
                    <a:pt x="56389" y="0"/>
                  </a:lnTo>
                  <a:lnTo>
                    <a:pt x="67437" y="1016"/>
                  </a:lnTo>
                  <a:lnTo>
                    <a:pt x="78486" y="4319"/>
                  </a:lnTo>
                  <a:lnTo>
                    <a:pt x="87376" y="8636"/>
                  </a:lnTo>
                  <a:lnTo>
                    <a:pt x="96139" y="15114"/>
                  </a:lnTo>
                  <a:lnTo>
                    <a:pt x="102870" y="23661"/>
                  </a:lnTo>
                  <a:lnTo>
                    <a:pt x="108331" y="33351"/>
                  </a:lnTo>
                  <a:lnTo>
                    <a:pt x="111634" y="43028"/>
                  </a:lnTo>
                  <a:lnTo>
                    <a:pt x="112776" y="54864"/>
                  </a:lnTo>
                  <a:lnTo>
                    <a:pt x="111634" y="65621"/>
                  </a:lnTo>
                  <a:lnTo>
                    <a:pt x="108331" y="75299"/>
                  </a:lnTo>
                  <a:lnTo>
                    <a:pt x="102870" y="84989"/>
                  </a:lnTo>
                  <a:lnTo>
                    <a:pt x="96139" y="93587"/>
                  </a:lnTo>
                  <a:lnTo>
                    <a:pt x="87376" y="100051"/>
                  </a:lnTo>
                  <a:lnTo>
                    <a:pt x="78486" y="105423"/>
                  </a:lnTo>
                  <a:lnTo>
                    <a:pt x="67437" y="108649"/>
                  </a:lnTo>
                  <a:lnTo>
                    <a:pt x="56389" y="109728"/>
                  </a:lnTo>
                  <a:close/>
                  <a:moveTo>
                    <a:pt x="-70103" y="1292352"/>
                  </a:moveTo>
                  <a:moveTo>
                    <a:pt x="56389" y="9652"/>
                  </a:moveTo>
                  <a:lnTo>
                    <a:pt x="56389" y="9652"/>
                  </a:lnTo>
                  <a:lnTo>
                    <a:pt x="46483" y="9652"/>
                  </a:lnTo>
                  <a:lnTo>
                    <a:pt x="37592" y="12955"/>
                  </a:lnTo>
                  <a:lnTo>
                    <a:pt x="29845" y="17272"/>
                  </a:lnTo>
                  <a:lnTo>
                    <a:pt x="23242" y="22594"/>
                  </a:lnTo>
                  <a:lnTo>
                    <a:pt x="17653" y="29045"/>
                  </a:lnTo>
                  <a:lnTo>
                    <a:pt x="13272" y="36577"/>
                  </a:lnTo>
                  <a:lnTo>
                    <a:pt x="9957" y="45187"/>
                  </a:lnTo>
                  <a:lnTo>
                    <a:pt x="9957" y="54864"/>
                  </a:lnTo>
                  <a:lnTo>
                    <a:pt x="9957" y="63475"/>
                  </a:lnTo>
                  <a:lnTo>
                    <a:pt x="13272" y="72073"/>
                  </a:lnTo>
                  <a:lnTo>
                    <a:pt x="17653" y="79604"/>
                  </a:lnTo>
                  <a:lnTo>
                    <a:pt x="23242" y="86056"/>
                  </a:lnTo>
                  <a:lnTo>
                    <a:pt x="29845" y="91441"/>
                  </a:lnTo>
                  <a:lnTo>
                    <a:pt x="37592" y="95746"/>
                  </a:lnTo>
                  <a:lnTo>
                    <a:pt x="46483" y="98972"/>
                  </a:lnTo>
                  <a:lnTo>
                    <a:pt x="56389" y="100051"/>
                  </a:lnTo>
                  <a:lnTo>
                    <a:pt x="65278" y="98972"/>
                  </a:lnTo>
                  <a:lnTo>
                    <a:pt x="74042" y="95746"/>
                  </a:lnTo>
                  <a:lnTo>
                    <a:pt x="81789" y="91441"/>
                  </a:lnTo>
                  <a:lnTo>
                    <a:pt x="88392" y="86056"/>
                  </a:lnTo>
                  <a:lnTo>
                    <a:pt x="95123" y="79604"/>
                  </a:lnTo>
                  <a:lnTo>
                    <a:pt x="98425" y="72073"/>
                  </a:lnTo>
                  <a:lnTo>
                    <a:pt x="101728" y="63475"/>
                  </a:lnTo>
                  <a:lnTo>
                    <a:pt x="102870" y="54864"/>
                  </a:lnTo>
                  <a:lnTo>
                    <a:pt x="101728" y="45187"/>
                  </a:lnTo>
                  <a:lnTo>
                    <a:pt x="98425" y="36577"/>
                  </a:lnTo>
                  <a:lnTo>
                    <a:pt x="95123" y="29045"/>
                  </a:lnTo>
                  <a:lnTo>
                    <a:pt x="88392" y="22594"/>
                  </a:lnTo>
                  <a:lnTo>
                    <a:pt x="81789" y="17272"/>
                  </a:lnTo>
                  <a:lnTo>
                    <a:pt x="74042" y="12955"/>
                  </a:lnTo>
                  <a:lnTo>
                    <a:pt x="65278" y="9652"/>
                  </a:lnTo>
                  <a:lnTo>
                    <a:pt x="56389" y="9652"/>
                  </a:lnTo>
                  <a:close/>
                  <a:moveTo>
                    <a:pt x="29973" y="1292352"/>
                  </a:moveTo>
                </a:path>
              </a:pathLst>
            </a:custGeom>
            <a:solidFill>
              <a:srgbClr val="A5A5B5">
                <a:alpha val="4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567" name="Freeform 1536">
              <a:extLst>
                <a:ext uri="{FF2B5EF4-FFF2-40B4-BE49-F238E27FC236}">
                  <a16:creationId xmlns:a16="http://schemas.microsoft.com/office/drawing/2014/main" id="{888CA99A-042D-4EB0-A091-0A8E03ECCD07}"/>
                </a:ext>
              </a:extLst>
            </p:cNvPr>
            <p:cNvSpPr/>
            <p:nvPr/>
          </p:nvSpPr>
          <p:spPr>
            <a:xfrm>
              <a:off x="1259333" y="5567584"/>
              <a:ext cx="109671" cy="109671"/>
            </a:xfrm>
            <a:custGeom>
              <a:avLst/>
              <a:gdLst/>
              <a:ahLst/>
              <a:cxnLst/>
              <a:rect l="0" t="0" r="0" b="0"/>
              <a:pathLst>
                <a:path w="109728" h="109728">
                  <a:moveTo>
                    <a:pt x="54864" y="109728"/>
                  </a:moveTo>
                  <a:lnTo>
                    <a:pt x="54864" y="109728"/>
                  </a:lnTo>
                  <a:lnTo>
                    <a:pt x="44068" y="108648"/>
                  </a:lnTo>
                  <a:lnTo>
                    <a:pt x="34417" y="105422"/>
                  </a:lnTo>
                  <a:lnTo>
                    <a:pt x="24764" y="100050"/>
                  </a:lnTo>
                  <a:lnTo>
                    <a:pt x="16128" y="93586"/>
                  </a:lnTo>
                  <a:lnTo>
                    <a:pt x="9651" y="84988"/>
                  </a:lnTo>
                  <a:lnTo>
                    <a:pt x="4317" y="75298"/>
                  </a:lnTo>
                  <a:lnTo>
                    <a:pt x="1015" y="65620"/>
                  </a:lnTo>
                  <a:lnTo>
                    <a:pt x="0" y="54864"/>
                  </a:lnTo>
                  <a:lnTo>
                    <a:pt x="1015" y="43027"/>
                  </a:lnTo>
                  <a:lnTo>
                    <a:pt x="4317" y="33350"/>
                  </a:lnTo>
                  <a:lnTo>
                    <a:pt x="9651" y="23672"/>
                  </a:lnTo>
                  <a:lnTo>
                    <a:pt x="16128" y="15112"/>
                  </a:lnTo>
                  <a:lnTo>
                    <a:pt x="24764" y="8636"/>
                  </a:lnTo>
                  <a:lnTo>
                    <a:pt x="34417" y="4317"/>
                  </a:lnTo>
                  <a:lnTo>
                    <a:pt x="44068" y="1015"/>
                  </a:lnTo>
                  <a:lnTo>
                    <a:pt x="54864" y="0"/>
                  </a:lnTo>
                  <a:lnTo>
                    <a:pt x="66675" y="1015"/>
                  </a:lnTo>
                  <a:lnTo>
                    <a:pt x="76326" y="4317"/>
                  </a:lnTo>
                  <a:lnTo>
                    <a:pt x="86106" y="8636"/>
                  </a:lnTo>
                  <a:lnTo>
                    <a:pt x="93598" y="15112"/>
                  </a:lnTo>
                  <a:lnTo>
                    <a:pt x="101092" y="23672"/>
                  </a:lnTo>
                  <a:lnTo>
                    <a:pt x="105409" y="33350"/>
                  </a:lnTo>
                  <a:lnTo>
                    <a:pt x="108712" y="43027"/>
                  </a:lnTo>
                  <a:lnTo>
                    <a:pt x="109728" y="54864"/>
                  </a:lnTo>
                  <a:lnTo>
                    <a:pt x="108712" y="65620"/>
                  </a:lnTo>
                  <a:lnTo>
                    <a:pt x="105409" y="75298"/>
                  </a:lnTo>
                  <a:lnTo>
                    <a:pt x="101092" y="84988"/>
                  </a:lnTo>
                  <a:lnTo>
                    <a:pt x="93598" y="93586"/>
                  </a:lnTo>
                  <a:lnTo>
                    <a:pt x="86106" y="100050"/>
                  </a:lnTo>
                  <a:lnTo>
                    <a:pt x="76326" y="105422"/>
                  </a:lnTo>
                  <a:lnTo>
                    <a:pt x="66675" y="108648"/>
                  </a:lnTo>
                  <a:lnTo>
                    <a:pt x="54864" y="109728"/>
                  </a:lnTo>
                  <a:close/>
                  <a:moveTo>
                    <a:pt x="-231649" y="1289303"/>
                  </a:moveTo>
                  <a:moveTo>
                    <a:pt x="54864" y="9651"/>
                  </a:moveTo>
                  <a:lnTo>
                    <a:pt x="54864" y="9651"/>
                  </a:lnTo>
                  <a:lnTo>
                    <a:pt x="46228" y="9651"/>
                  </a:lnTo>
                  <a:lnTo>
                    <a:pt x="37592" y="12953"/>
                  </a:lnTo>
                  <a:lnTo>
                    <a:pt x="30098" y="17271"/>
                  </a:lnTo>
                  <a:lnTo>
                    <a:pt x="23622" y="22593"/>
                  </a:lnTo>
                  <a:lnTo>
                    <a:pt x="18287" y="29044"/>
                  </a:lnTo>
                  <a:lnTo>
                    <a:pt x="13970" y="36576"/>
                  </a:lnTo>
                  <a:lnTo>
                    <a:pt x="10795" y="45186"/>
                  </a:lnTo>
                  <a:lnTo>
                    <a:pt x="9651" y="54864"/>
                  </a:lnTo>
                  <a:lnTo>
                    <a:pt x="10795" y="63474"/>
                  </a:lnTo>
                  <a:lnTo>
                    <a:pt x="13970" y="72072"/>
                  </a:lnTo>
                  <a:lnTo>
                    <a:pt x="18287" y="79603"/>
                  </a:lnTo>
                  <a:lnTo>
                    <a:pt x="23622" y="86055"/>
                  </a:lnTo>
                  <a:lnTo>
                    <a:pt x="30098" y="91440"/>
                  </a:lnTo>
                  <a:lnTo>
                    <a:pt x="37592" y="95745"/>
                  </a:lnTo>
                  <a:lnTo>
                    <a:pt x="46228" y="98971"/>
                  </a:lnTo>
                  <a:lnTo>
                    <a:pt x="54864" y="100050"/>
                  </a:lnTo>
                  <a:lnTo>
                    <a:pt x="64515" y="98971"/>
                  </a:lnTo>
                  <a:lnTo>
                    <a:pt x="73151" y="95745"/>
                  </a:lnTo>
                  <a:lnTo>
                    <a:pt x="80645" y="91440"/>
                  </a:lnTo>
                  <a:lnTo>
                    <a:pt x="87122" y="86055"/>
                  </a:lnTo>
                  <a:lnTo>
                    <a:pt x="92456" y="79603"/>
                  </a:lnTo>
                  <a:lnTo>
                    <a:pt x="96773" y="72072"/>
                  </a:lnTo>
                  <a:lnTo>
                    <a:pt x="100076" y="63474"/>
                  </a:lnTo>
                  <a:lnTo>
                    <a:pt x="100076" y="54864"/>
                  </a:lnTo>
                  <a:lnTo>
                    <a:pt x="100076" y="45186"/>
                  </a:lnTo>
                  <a:lnTo>
                    <a:pt x="96773" y="36576"/>
                  </a:lnTo>
                  <a:lnTo>
                    <a:pt x="92456" y="29044"/>
                  </a:lnTo>
                  <a:lnTo>
                    <a:pt x="87122" y="22593"/>
                  </a:lnTo>
                  <a:lnTo>
                    <a:pt x="80645" y="17271"/>
                  </a:lnTo>
                  <a:lnTo>
                    <a:pt x="73151" y="12953"/>
                  </a:lnTo>
                  <a:lnTo>
                    <a:pt x="64515" y="9651"/>
                  </a:lnTo>
                  <a:lnTo>
                    <a:pt x="54864" y="9651"/>
                  </a:lnTo>
                  <a:close/>
                  <a:moveTo>
                    <a:pt x="-131572" y="1289303"/>
                  </a:moveTo>
                </a:path>
              </a:pathLst>
            </a:custGeom>
            <a:solidFill>
              <a:srgbClr val="A5A5B5">
                <a:alpha val="4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568" name="Freeform 1537">
              <a:extLst>
                <a:ext uri="{FF2B5EF4-FFF2-40B4-BE49-F238E27FC236}">
                  <a16:creationId xmlns:a16="http://schemas.microsoft.com/office/drawing/2014/main" id="{599A8814-2827-4753-A2FC-1B53B58B2478}"/>
                </a:ext>
              </a:extLst>
            </p:cNvPr>
            <p:cNvSpPr/>
            <p:nvPr/>
          </p:nvSpPr>
          <p:spPr>
            <a:xfrm>
              <a:off x="1033899" y="5424401"/>
              <a:ext cx="435637" cy="191924"/>
            </a:xfrm>
            <a:custGeom>
              <a:avLst/>
              <a:gdLst/>
              <a:ahLst/>
              <a:cxnLst/>
              <a:rect l="0" t="0" r="0" b="0"/>
              <a:pathLst>
                <a:path w="435864" h="192024">
                  <a:moveTo>
                    <a:pt x="371094" y="192024"/>
                  </a:moveTo>
                  <a:lnTo>
                    <a:pt x="339852" y="192024"/>
                  </a:lnTo>
                  <a:lnTo>
                    <a:pt x="338708" y="187681"/>
                  </a:lnTo>
                  <a:lnTo>
                    <a:pt x="336550" y="177915"/>
                  </a:lnTo>
                  <a:lnTo>
                    <a:pt x="332231" y="169241"/>
                  </a:lnTo>
                  <a:lnTo>
                    <a:pt x="325881" y="160528"/>
                  </a:lnTo>
                  <a:lnTo>
                    <a:pt x="319405" y="152908"/>
                  </a:lnTo>
                  <a:lnTo>
                    <a:pt x="310769" y="147574"/>
                  </a:lnTo>
                  <a:lnTo>
                    <a:pt x="302133" y="143257"/>
                  </a:lnTo>
                  <a:lnTo>
                    <a:pt x="292353" y="141097"/>
                  </a:lnTo>
                  <a:lnTo>
                    <a:pt x="281558" y="139955"/>
                  </a:lnTo>
                  <a:lnTo>
                    <a:pt x="270764" y="141097"/>
                  </a:lnTo>
                  <a:lnTo>
                    <a:pt x="261111" y="143257"/>
                  </a:lnTo>
                  <a:lnTo>
                    <a:pt x="251333" y="147574"/>
                  </a:lnTo>
                  <a:lnTo>
                    <a:pt x="243839" y="152908"/>
                  </a:lnTo>
                  <a:lnTo>
                    <a:pt x="236219" y="160528"/>
                  </a:lnTo>
                  <a:lnTo>
                    <a:pt x="230886" y="169241"/>
                  </a:lnTo>
                  <a:lnTo>
                    <a:pt x="226567" y="177915"/>
                  </a:lnTo>
                  <a:lnTo>
                    <a:pt x="223266" y="187681"/>
                  </a:lnTo>
                  <a:lnTo>
                    <a:pt x="223266" y="192024"/>
                  </a:lnTo>
                  <a:lnTo>
                    <a:pt x="182372" y="192024"/>
                  </a:lnTo>
                  <a:lnTo>
                    <a:pt x="182372" y="187681"/>
                  </a:lnTo>
                  <a:lnTo>
                    <a:pt x="179069" y="177915"/>
                  </a:lnTo>
                  <a:lnTo>
                    <a:pt x="174752" y="168161"/>
                  </a:lnTo>
                  <a:lnTo>
                    <a:pt x="169417" y="159513"/>
                  </a:lnTo>
                  <a:lnTo>
                    <a:pt x="161797" y="151893"/>
                  </a:lnTo>
                  <a:lnTo>
                    <a:pt x="154305" y="146432"/>
                  </a:lnTo>
                  <a:lnTo>
                    <a:pt x="144525" y="141097"/>
                  </a:lnTo>
                  <a:lnTo>
                    <a:pt x="134874" y="138811"/>
                  </a:lnTo>
                  <a:lnTo>
                    <a:pt x="124078" y="137796"/>
                  </a:lnTo>
                  <a:lnTo>
                    <a:pt x="113283" y="138811"/>
                  </a:lnTo>
                  <a:lnTo>
                    <a:pt x="103631" y="141097"/>
                  </a:lnTo>
                  <a:lnTo>
                    <a:pt x="93853" y="145416"/>
                  </a:lnTo>
                  <a:lnTo>
                    <a:pt x="86360" y="151893"/>
                  </a:lnTo>
                  <a:lnTo>
                    <a:pt x="78752" y="159513"/>
                  </a:lnTo>
                  <a:lnTo>
                    <a:pt x="73367" y="168161"/>
                  </a:lnTo>
                  <a:lnTo>
                    <a:pt x="69049" y="177915"/>
                  </a:lnTo>
                  <a:lnTo>
                    <a:pt x="65811" y="187681"/>
                  </a:lnTo>
                  <a:lnTo>
                    <a:pt x="65811" y="192024"/>
                  </a:lnTo>
                  <a:lnTo>
                    <a:pt x="37757" y="192024"/>
                  </a:lnTo>
                  <a:lnTo>
                    <a:pt x="7556" y="40133"/>
                  </a:lnTo>
                  <a:lnTo>
                    <a:pt x="0" y="40133"/>
                  </a:lnTo>
                  <a:lnTo>
                    <a:pt x="0" y="0"/>
                  </a:lnTo>
                  <a:lnTo>
                    <a:pt x="408939" y="0"/>
                  </a:lnTo>
                  <a:lnTo>
                    <a:pt x="408939" y="40133"/>
                  </a:lnTo>
                  <a:lnTo>
                    <a:pt x="401319" y="40133"/>
                  </a:lnTo>
                  <a:lnTo>
                    <a:pt x="397002" y="60707"/>
                  </a:lnTo>
                  <a:lnTo>
                    <a:pt x="407797" y="60707"/>
                  </a:lnTo>
                  <a:lnTo>
                    <a:pt x="407797" y="43435"/>
                  </a:lnTo>
                  <a:lnTo>
                    <a:pt x="435864" y="43435"/>
                  </a:lnTo>
                  <a:lnTo>
                    <a:pt x="435864" y="105283"/>
                  </a:lnTo>
                  <a:lnTo>
                    <a:pt x="407797" y="105283"/>
                  </a:lnTo>
                  <a:lnTo>
                    <a:pt x="407797" y="87885"/>
                  </a:lnTo>
                  <a:lnTo>
                    <a:pt x="391667" y="87885"/>
                  </a:lnTo>
                  <a:lnTo>
                    <a:pt x="371094" y="192024"/>
                  </a:lnTo>
                  <a:close/>
                  <a:moveTo>
                    <a:pt x="54864" y="1432560"/>
                  </a:moveTo>
                  <a:moveTo>
                    <a:pt x="347344" y="182258"/>
                  </a:moveTo>
                  <a:lnTo>
                    <a:pt x="363600" y="182258"/>
                  </a:lnTo>
                  <a:lnTo>
                    <a:pt x="384047" y="78105"/>
                  </a:lnTo>
                  <a:lnTo>
                    <a:pt x="417575" y="78105"/>
                  </a:lnTo>
                  <a:lnTo>
                    <a:pt x="417575" y="95505"/>
                  </a:lnTo>
                  <a:lnTo>
                    <a:pt x="426211" y="95505"/>
                  </a:lnTo>
                  <a:lnTo>
                    <a:pt x="426211" y="53213"/>
                  </a:lnTo>
                  <a:lnTo>
                    <a:pt x="417575" y="53213"/>
                  </a:lnTo>
                  <a:lnTo>
                    <a:pt x="417575" y="70485"/>
                  </a:lnTo>
                  <a:lnTo>
                    <a:pt x="385191" y="70485"/>
                  </a:lnTo>
                  <a:lnTo>
                    <a:pt x="392683" y="30353"/>
                  </a:lnTo>
                  <a:lnTo>
                    <a:pt x="399161" y="30353"/>
                  </a:lnTo>
                  <a:lnTo>
                    <a:pt x="399161" y="9780"/>
                  </a:lnTo>
                  <a:lnTo>
                    <a:pt x="9715" y="9780"/>
                  </a:lnTo>
                  <a:lnTo>
                    <a:pt x="9715" y="30353"/>
                  </a:lnTo>
                  <a:lnTo>
                    <a:pt x="16179" y="30353"/>
                  </a:lnTo>
                  <a:lnTo>
                    <a:pt x="45313" y="182258"/>
                  </a:lnTo>
                  <a:lnTo>
                    <a:pt x="57175" y="182258"/>
                  </a:lnTo>
                  <a:lnTo>
                    <a:pt x="60413" y="170333"/>
                  </a:lnTo>
                  <a:lnTo>
                    <a:pt x="65811" y="160528"/>
                  </a:lnTo>
                  <a:lnTo>
                    <a:pt x="73367" y="150749"/>
                  </a:lnTo>
                  <a:lnTo>
                    <a:pt x="80911" y="143257"/>
                  </a:lnTo>
                  <a:lnTo>
                    <a:pt x="90678" y="136652"/>
                  </a:lnTo>
                  <a:lnTo>
                    <a:pt x="101472" y="132335"/>
                  </a:lnTo>
                  <a:lnTo>
                    <a:pt x="112141" y="129160"/>
                  </a:lnTo>
                  <a:lnTo>
                    <a:pt x="124078" y="128016"/>
                  </a:lnTo>
                  <a:lnTo>
                    <a:pt x="135889" y="129160"/>
                  </a:lnTo>
                  <a:lnTo>
                    <a:pt x="146685" y="132335"/>
                  </a:lnTo>
                  <a:lnTo>
                    <a:pt x="157480" y="136652"/>
                  </a:lnTo>
                  <a:lnTo>
                    <a:pt x="167258" y="143257"/>
                  </a:lnTo>
                  <a:lnTo>
                    <a:pt x="174752" y="150749"/>
                  </a:lnTo>
                  <a:lnTo>
                    <a:pt x="182372" y="160528"/>
                  </a:lnTo>
                  <a:lnTo>
                    <a:pt x="187705" y="171412"/>
                  </a:lnTo>
                  <a:lnTo>
                    <a:pt x="191008" y="182258"/>
                  </a:lnTo>
                  <a:lnTo>
                    <a:pt x="214756" y="182258"/>
                  </a:lnTo>
                  <a:lnTo>
                    <a:pt x="218947" y="171412"/>
                  </a:lnTo>
                  <a:lnTo>
                    <a:pt x="224408" y="161672"/>
                  </a:lnTo>
                  <a:lnTo>
                    <a:pt x="230886" y="151893"/>
                  </a:lnTo>
                  <a:lnTo>
                    <a:pt x="238378" y="144272"/>
                  </a:lnTo>
                  <a:lnTo>
                    <a:pt x="248158" y="138811"/>
                  </a:lnTo>
                  <a:lnTo>
                    <a:pt x="258953" y="133477"/>
                  </a:lnTo>
                  <a:lnTo>
                    <a:pt x="269747" y="131319"/>
                  </a:lnTo>
                  <a:lnTo>
                    <a:pt x="281558" y="130175"/>
                  </a:lnTo>
                  <a:lnTo>
                    <a:pt x="293497" y="131319"/>
                  </a:lnTo>
                  <a:lnTo>
                    <a:pt x="304291" y="133477"/>
                  </a:lnTo>
                  <a:lnTo>
                    <a:pt x="315086" y="138811"/>
                  </a:lnTo>
                  <a:lnTo>
                    <a:pt x="323722" y="144272"/>
                  </a:lnTo>
                  <a:lnTo>
                    <a:pt x="332231" y="151893"/>
                  </a:lnTo>
                  <a:lnTo>
                    <a:pt x="338708" y="161672"/>
                  </a:lnTo>
                  <a:lnTo>
                    <a:pt x="344169" y="171412"/>
                  </a:lnTo>
                  <a:lnTo>
                    <a:pt x="347344" y="182258"/>
                  </a:lnTo>
                  <a:close/>
                  <a:moveTo>
                    <a:pt x="64630" y="1432560"/>
                  </a:moveTo>
                </a:path>
              </a:pathLst>
            </a:custGeom>
            <a:solidFill>
              <a:srgbClr val="A5A5B5">
                <a:alpha val="4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569" name="Freeform 1538">
              <a:extLst>
                <a:ext uri="{FF2B5EF4-FFF2-40B4-BE49-F238E27FC236}">
                  <a16:creationId xmlns:a16="http://schemas.microsoft.com/office/drawing/2014/main" id="{040EDE0A-132F-449C-B5DA-E135317F14C5}"/>
                </a:ext>
              </a:extLst>
            </p:cNvPr>
            <p:cNvSpPr/>
            <p:nvPr/>
          </p:nvSpPr>
          <p:spPr>
            <a:xfrm>
              <a:off x="1036944" y="5284267"/>
              <a:ext cx="405173" cy="134042"/>
            </a:xfrm>
            <a:custGeom>
              <a:avLst/>
              <a:gdLst/>
              <a:ahLst/>
              <a:cxnLst/>
              <a:rect l="0" t="0" r="0" b="0"/>
              <a:pathLst>
                <a:path w="405384" h="134112">
                  <a:moveTo>
                    <a:pt x="405384" y="134112"/>
                  </a:moveTo>
                  <a:lnTo>
                    <a:pt x="0" y="134112"/>
                  </a:lnTo>
                  <a:lnTo>
                    <a:pt x="103759" y="7746"/>
                  </a:lnTo>
                  <a:lnTo>
                    <a:pt x="107061" y="4445"/>
                  </a:lnTo>
                  <a:lnTo>
                    <a:pt x="110236" y="2159"/>
                  </a:lnTo>
                  <a:lnTo>
                    <a:pt x="113539" y="1142"/>
                  </a:lnTo>
                  <a:lnTo>
                    <a:pt x="117856" y="0"/>
                  </a:lnTo>
                  <a:lnTo>
                    <a:pt x="122175" y="0"/>
                  </a:lnTo>
                  <a:lnTo>
                    <a:pt x="125350" y="1142"/>
                  </a:lnTo>
                  <a:lnTo>
                    <a:pt x="129667" y="2159"/>
                  </a:lnTo>
                  <a:lnTo>
                    <a:pt x="132969" y="4445"/>
                  </a:lnTo>
                  <a:lnTo>
                    <a:pt x="173991" y="40640"/>
                  </a:lnTo>
                  <a:lnTo>
                    <a:pt x="213995" y="12065"/>
                  </a:lnTo>
                  <a:lnTo>
                    <a:pt x="220472" y="8762"/>
                  </a:lnTo>
                  <a:lnTo>
                    <a:pt x="227077" y="7746"/>
                  </a:lnTo>
                  <a:lnTo>
                    <a:pt x="233553" y="8762"/>
                  </a:lnTo>
                  <a:lnTo>
                    <a:pt x="238888" y="13207"/>
                  </a:lnTo>
                  <a:lnTo>
                    <a:pt x="289688" y="58292"/>
                  </a:lnTo>
                  <a:lnTo>
                    <a:pt x="308103" y="48387"/>
                  </a:lnTo>
                  <a:lnTo>
                    <a:pt x="314580" y="46228"/>
                  </a:lnTo>
                  <a:lnTo>
                    <a:pt x="321056" y="47243"/>
                  </a:lnTo>
                  <a:lnTo>
                    <a:pt x="326517" y="49529"/>
                  </a:lnTo>
                  <a:lnTo>
                    <a:pt x="331852" y="52704"/>
                  </a:lnTo>
                  <a:lnTo>
                    <a:pt x="405384" y="134112"/>
                  </a:lnTo>
                  <a:close/>
                  <a:moveTo>
                    <a:pt x="249936" y="1572767"/>
                  </a:moveTo>
                  <a:moveTo>
                    <a:pt x="20536" y="124206"/>
                  </a:moveTo>
                  <a:lnTo>
                    <a:pt x="382652" y="124206"/>
                  </a:lnTo>
                  <a:lnTo>
                    <a:pt x="325375" y="59309"/>
                  </a:lnTo>
                  <a:lnTo>
                    <a:pt x="322200" y="57150"/>
                  </a:lnTo>
                  <a:lnTo>
                    <a:pt x="318897" y="56006"/>
                  </a:lnTo>
                  <a:lnTo>
                    <a:pt x="315722" y="56006"/>
                  </a:lnTo>
                  <a:lnTo>
                    <a:pt x="312420" y="57150"/>
                  </a:lnTo>
                  <a:lnTo>
                    <a:pt x="288672" y="69215"/>
                  </a:lnTo>
                  <a:lnTo>
                    <a:pt x="232411" y="19812"/>
                  </a:lnTo>
                  <a:lnTo>
                    <a:pt x="230252" y="18668"/>
                  </a:lnTo>
                  <a:lnTo>
                    <a:pt x="227077" y="17526"/>
                  </a:lnTo>
                  <a:lnTo>
                    <a:pt x="222631" y="17526"/>
                  </a:lnTo>
                  <a:lnTo>
                    <a:pt x="220472" y="19812"/>
                  </a:lnTo>
                  <a:lnTo>
                    <a:pt x="172975" y="53848"/>
                  </a:lnTo>
                  <a:lnTo>
                    <a:pt x="126492" y="12065"/>
                  </a:lnTo>
                  <a:lnTo>
                    <a:pt x="123191" y="9906"/>
                  </a:lnTo>
                  <a:lnTo>
                    <a:pt x="118872" y="9906"/>
                  </a:lnTo>
                  <a:lnTo>
                    <a:pt x="114555" y="11048"/>
                  </a:lnTo>
                  <a:lnTo>
                    <a:pt x="111380" y="13207"/>
                  </a:lnTo>
                  <a:lnTo>
                    <a:pt x="20536" y="124206"/>
                  </a:lnTo>
                  <a:close/>
                  <a:moveTo>
                    <a:pt x="259842" y="1572767"/>
                  </a:moveTo>
                </a:path>
              </a:pathLst>
            </a:custGeom>
            <a:solidFill>
              <a:srgbClr val="A5A5B5">
                <a:alpha val="4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570" name="Freeform 1539">
              <a:extLst>
                <a:ext uri="{FF2B5EF4-FFF2-40B4-BE49-F238E27FC236}">
                  <a16:creationId xmlns:a16="http://schemas.microsoft.com/office/drawing/2014/main" id="{4FD3FE47-7BB6-43E2-8298-EC4863343BFB}"/>
                </a:ext>
              </a:extLst>
            </p:cNvPr>
            <p:cNvSpPr/>
            <p:nvPr/>
          </p:nvSpPr>
          <p:spPr>
            <a:xfrm>
              <a:off x="1923199" y="4991327"/>
              <a:ext cx="45719" cy="240374"/>
            </a:xfrm>
            <a:custGeom>
              <a:avLst/>
              <a:gdLst/>
              <a:ahLst/>
              <a:cxnLst/>
              <a:rect l="0" t="0" r="0" b="0"/>
              <a:pathLst>
                <a:path h="279274">
                  <a:moveTo>
                    <a:pt x="0" y="279274"/>
                  </a:moveTo>
                  <a:lnTo>
                    <a:pt x="0" y="0"/>
                  </a:lnTo>
                </a:path>
              </a:pathLst>
            </a:custGeom>
            <a:noFill/>
            <a:ln w="12700" cap="flat" cmpd="sng">
              <a:solidFill>
                <a:srgbClr val="D2D2DA">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571" name="Picture 1540">
              <a:extLst>
                <a:ext uri="{FF2B5EF4-FFF2-40B4-BE49-F238E27FC236}">
                  <a16:creationId xmlns:a16="http://schemas.microsoft.com/office/drawing/2014/main" id="{5D484AE8-505F-4E35-9AB5-D45D485EC1F9}"/>
                </a:ext>
              </a:extLst>
            </p:cNvPr>
            <p:cNvPicPr>
              <a:picLocks noChangeArrowheads="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rcRect/>
            <a:stretch/>
          </p:blipFill>
          <p:spPr>
            <a:xfrm>
              <a:off x="1708289" y="5293933"/>
              <a:ext cx="384472" cy="384472"/>
            </a:xfrm>
            <a:prstGeom prst="rect">
              <a:avLst/>
            </a:prstGeom>
            <a:noFill/>
          </p:spPr>
        </p:pic>
        <p:sp>
          <p:nvSpPr>
            <p:cNvPr id="572" name="Rectangle 1548">
              <a:extLst>
                <a:ext uri="{FF2B5EF4-FFF2-40B4-BE49-F238E27FC236}">
                  <a16:creationId xmlns:a16="http://schemas.microsoft.com/office/drawing/2014/main" id="{CFCDEF29-8470-40F9-B560-B145FDDDCA0E}"/>
                </a:ext>
              </a:extLst>
            </p:cNvPr>
            <p:cNvSpPr/>
            <p:nvPr/>
          </p:nvSpPr>
          <p:spPr>
            <a:xfrm>
              <a:off x="1774190" y="4230382"/>
              <a:ext cx="413575" cy="15478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Biogas</a:t>
              </a:r>
            </a:p>
          </p:txBody>
        </p:sp>
        <p:sp>
          <p:nvSpPr>
            <p:cNvPr id="573" name="Rectangle 1557">
              <a:extLst>
                <a:ext uri="{FF2B5EF4-FFF2-40B4-BE49-F238E27FC236}">
                  <a16:creationId xmlns:a16="http://schemas.microsoft.com/office/drawing/2014/main" id="{1A5FDC3C-A7C9-4E94-A32D-F70406A1C86A}"/>
                </a:ext>
              </a:extLst>
            </p:cNvPr>
            <p:cNvSpPr/>
            <p:nvPr/>
          </p:nvSpPr>
          <p:spPr>
            <a:xfrm>
              <a:off x="833395" y="4827109"/>
              <a:ext cx="524182" cy="15478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Biomass</a:t>
              </a:r>
            </a:p>
          </p:txBody>
        </p:sp>
        <p:sp>
          <p:nvSpPr>
            <p:cNvPr id="574" name="Rectangle 1558">
              <a:extLst>
                <a:ext uri="{FF2B5EF4-FFF2-40B4-BE49-F238E27FC236}">
                  <a16:creationId xmlns:a16="http://schemas.microsoft.com/office/drawing/2014/main" id="{7D14BA10-61A9-4317-A05E-F7E7489A9FDA}"/>
                </a:ext>
              </a:extLst>
            </p:cNvPr>
            <p:cNvSpPr/>
            <p:nvPr/>
          </p:nvSpPr>
          <p:spPr>
            <a:xfrm>
              <a:off x="1543449" y="5687112"/>
              <a:ext cx="726802" cy="15478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Natural</a:t>
              </a:r>
              <a:r>
                <a:rPr kumimoji="0" lang="en-US" sz="1005" b="1" i="0" u="none" strike="noStrike" kern="1200" cap="none" spc="-33" normalizeH="0" baseline="0" noProof="0" dirty="0">
                  <a:ln>
                    <a:noFill/>
                  </a:ln>
                  <a:solidFill>
                    <a:srgbClr val="8B8B90"/>
                  </a:solidFill>
                  <a:effectLst/>
                  <a:uLnTx/>
                  <a:uFillTx/>
                  <a:latin typeface="EYInterstate-LightBold"/>
                  <a:ea typeface="+mn-ea"/>
                  <a:cs typeface="+mn-cs"/>
                </a:rPr>
                <a:t> </a:t>
              </a:r>
              <a:r>
                <a:rPr kumimoji="0" lang="en-US" sz="1005" b="1" i="0" u="none" strike="noStrike" kern="1200" cap="none" spc="-12" normalizeH="0" baseline="0" noProof="0" dirty="0">
                  <a:ln>
                    <a:noFill/>
                  </a:ln>
                  <a:solidFill>
                    <a:srgbClr val="8B8B90"/>
                  </a:solidFill>
                  <a:effectLst/>
                  <a:uLnTx/>
                  <a:uFillTx/>
                  <a:latin typeface="EYInterstate-LightBold"/>
                  <a:ea typeface="+mn-ea"/>
                  <a:cs typeface="+mn-cs"/>
                </a:rPr>
                <a:t>G</a:t>
              </a: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as</a:t>
              </a:r>
            </a:p>
          </p:txBody>
        </p:sp>
        <p:sp>
          <p:nvSpPr>
            <p:cNvPr id="575" name="Rectangle 1594">
              <a:extLst>
                <a:ext uri="{FF2B5EF4-FFF2-40B4-BE49-F238E27FC236}">
                  <a16:creationId xmlns:a16="http://schemas.microsoft.com/office/drawing/2014/main" id="{F1549D8C-7F47-4B06-9A2E-E8460DC39C99}"/>
                </a:ext>
              </a:extLst>
            </p:cNvPr>
            <p:cNvSpPr/>
            <p:nvPr/>
          </p:nvSpPr>
          <p:spPr>
            <a:xfrm>
              <a:off x="2462093" y="5688330"/>
              <a:ext cx="166712" cy="15478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Oil</a:t>
              </a:r>
            </a:p>
          </p:txBody>
        </p:sp>
        <p:sp>
          <p:nvSpPr>
            <p:cNvPr id="576" name="Rectangle 1597">
              <a:extLst>
                <a:ext uri="{FF2B5EF4-FFF2-40B4-BE49-F238E27FC236}">
                  <a16:creationId xmlns:a16="http://schemas.microsoft.com/office/drawing/2014/main" id="{CB5D145E-6C19-4385-8142-D60C9FD8567B}"/>
                </a:ext>
              </a:extLst>
            </p:cNvPr>
            <p:cNvSpPr/>
            <p:nvPr/>
          </p:nvSpPr>
          <p:spPr>
            <a:xfrm>
              <a:off x="1107316" y="5688330"/>
              <a:ext cx="267702" cy="15478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Coal</a:t>
              </a:r>
            </a:p>
          </p:txBody>
        </p:sp>
        <p:grpSp>
          <p:nvGrpSpPr>
            <p:cNvPr id="577" name="Group 576">
              <a:extLst>
                <a:ext uri="{FF2B5EF4-FFF2-40B4-BE49-F238E27FC236}">
                  <a16:creationId xmlns:a16="http://schemas.microsoft.com/office/drawing/2014/main" id="{8A13F7C2-22C9-475F-AA0C-7766655F5DE8}"/>
                </a:ext>
              </a:extLst>
            </p:cNvPr>
            <p:cNvGrpSpPr/>
            <p:nvPr/>
          </p:nvGrpSpPr>
          <p:grpSpPr>
            <a:xfrm>
              <a:off x="925947" y="3322574"/>
              <a:ext cx="396034" cy="511287"/>
              <a:chOff x="862263" y="3176052"/>
              <a:chExt cx="396034" cy="511287"/>
            </a:xfrm>
          </p:grpSpPr>
          <p:sp>
            <p:nvSpPr>
              <p:cNvPr id="578" name="Freeform 1328">
                <a:extLst>
                  <a:ext uri="{FF2B5EF4-FFF2-40B4-BE49-F238E27FC236}">
                    <a16:creationId xmlns:a16="http://schemas.microsoft.com/office/drawing/2014/main" id="{7C1ED22A-FE60-42EC-A5BB-08422A70C84C}"/>
                  </a:ext>
                </a:extLst>
              </p:cNvPr>
              <p:cNvSpPr/>
              <p:nvPr/>
            </p:nvSpPr>
            <p:spPr>
              <a:xfrm>
                <a:off x="862263" y="3511254"/>
                <a:ext cx="396034" cy="6093"/>
              </a:xfrm>
              <a:custGeom>
                <a:avLst/>
                <a:gdLst/>
                <a:ahLst/>
                <a:cxnLst/>
                <a:rect l="0" t="0" r="0" b="0"/>
                <a:pathLst>
                  <a:path w="396240" h="6096">
                    <a:moveTo>
                      <a:pt x="0" y="6096"/>
                    </a:moveTo>
                    <a:lnTo>
                      <a:pt x="396240" y="6096"/>
                    </a:lnTo>
                    <a:lnTo>
                      <a:pt x="396240" y="0"/>
                    </a:lnTo>
                    <a:lnTo>
                      <a:pt x="0" y="0"/>
                    </a:lnTo>
                    <a:lnTo>
                      <a:pt x="0" y="6096"/>
                    </a:lnTo>
                    <a:close/>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579" name="Freeform 1329">
                <a:extLst>
                  <a:ext uri="{FF2B5EF4-FFF2-40B4-BE49-F238E27FC236}">
                    <a16:creationId xmlns:a16="http://schemas.microsoft.com/office/drawing/2014/main" id="{C144F10E-1FCA-4839-AAF7-F9A5B8A5324F}"/>
                  </a:ext>
                </a:extLst>
              </p:cNvPr>
              <p:cNvSpPr/>
              <p:nvPr/>
            </p:nvSpPr>
            <p:spPr>
              <a:xfrm>
                <a:off x="892729" y="3337609"/>
                <a:ext cx="24371" cy="164506"/>
              </a:xfrm>
              <a:custGeom>
                <a:avLst/>
                <a:gdLst/>
                <a:ahLst/>
                <a:cxnLst/>
                <a:rect l="0" t="0" r="0" b="0"/>
                <a:pathLst>
                  <a:path w="24384" h="164592">
                    <a:moveTo>
                      <a:pt x="0" y="164592"/>
                    </a:moveTo>
                    <a:lnTo>
                      <a:pt x="24384" y="164592"/>
                    </a:lnTo>
                    <a:lnTo>
                      <a:pt x="24384" y="0"/>
                    </a:lnTo>
                    <a:lnTo>
                      <a:pt x="0" y="0"/>
                    </a:lnTo>
                    <a:lnTo>
                      <a:pt x="0" y="164592"/>
                    </a:lnTo>
                    <a:close/>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580" name="Freeform 1330">
                <a:extLst>
                  <a:ext uri="{FF2B5EF4-FFF2-40B4-BE49-F238E27FC236}">
                    <a16:creationId xmlns:a16="http://schemas.microsoft.com/office/drawing/2014/main" id="{FDA59230-F6DB-441C-9304-42FDB7420D4B}"/>
                  </a:ext>
                </a:extLst>
              </p:cNvPr>
              <p:cNvSpPr/>
              <p:nvPr/>
            </p:nvSpPr>
            <p:spPr>
              <a:xfrm>
                <a:off x="1209556" y="3337609"/>
                <a:ext cx="21325" cy="164506"/>
              </a:xfrm>
              <a:custGeom>
                <a:avLst/>
                <a:gdLst/>
                <a:ahLst/>
                <a:cxnLst/>
                <a:rect l="0" t="0" r="0" b="0"/>
                <a:pathLst>
                  <a:path w="21336" h="164592">
                    <a:moveTo>
                      <a:pt x="0" y="164592"/>
                    </a:moveTo>
                    <a:lnTo>
                      <a:pt x="21336" y="164592"/>
                    </a:lnTo>
                    <a:lnTo>
                      <a:pt x="21336" y="0"/>
                    </a:lnTo>
                    <a:lnTo>
                      <a:pt x="0" y="0"/>
                    </a:lnTo>
                    <a:lnTo>
                      <a:pt x="0" y="164592"/>
                    </a:lnTo>
                    <a:close/>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581" name="Freeform 1331">
                <a:extLst>
                  <a:ext uri="{FF2B5EF4-FFF2-40B4-BE49-F238E27FC236}">
                    <a16:creationId xmlns:a16="http://schemas.microsoft.com/office/drawing/2014/main" id="{ECC8F10B-15D6-4630-B9F1-4C5AFB1F0444}"/>
                  </a:ext>
                </a:extLst>
              </p:cNvPr>
              <p:cNvSpPr/>
              <p:nvPr/>
            </p:nvSpPr>
            <p:spPr>
              <a:xfrm>
                <a:off x="892728" y="3288866"/>
                <a:ext cx="338152" cy="42651"/>
              </a:xfrm>
              <a:custGeom>
                <a:avLst/>
                <a:gdLst/>
                <a:ahLst/>
                <a:cxnLst/>
                <a:rect l="0" t="0" r="0" b="0"/>
                <a:pathLst>
                  <a:path w="338328" h="42673">
                    <a:moveTo>
                      <a:pt x="0" y="0"/>
                    </a:moveTo>
                    <a:lnTo>
                      <a:pt x="0" y="42673"/>
                    </a:lnTo>
                    <a:lnTo>
                      <a:pt x="22237" y="42673"/>
                    </a:lnTo>
                    <a:lnTo>
                      <a:pt x="315988" y="42673"/>
                    </a:lnTo>
                    <a:lnTo>
                      <a:pt x="338328" y="42673"/>
                    </a:lnTo>
                    <a:lnTo>
                      <a:pt x="338328" y="0"/>
                    </a:lnTo>
                    <a:lnTo>
                      <a:pt x="0" y="0"/>
                    </a:lnTo>
                    <a:close/>
                    <a:moveTo>
                      <a:pt x="2679192" y="3569208"/>
                    </a:moveTo>
                    <a:moveTo>
                      <a:pt x="315988" y="34544"/>
                    </a:moveTo>
                    <a:lnTo>
                      <a:pt x="22237" y="34544"/>
                    </a:lnTo>
                    <a:lnTo>
                      <a:pt x="22237" y="16130"/>
                    </a:lnTo>
                    <a:lnTo>
                      <a:pt x="315988" y="16130"/>
                    </a:lnTo>
                    <a:lnTo>
                      <a:pt x="315988" y="34544"/>
                    </a:lnTo>
                    <a:close/>
                    <a:moveTo>
                      <a:pt x="2644648" y="3569208"/>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582" name="Freeform 1332">
                <a:extLst>
                  <a:ext uri="{FF2B5EF4-FFF2-40B4-BE49-F238E27FC236}">
                    <a16:creationId xmlns:a16="http://schemas.microsoft.com/office/drawing/2014/main" id="{A7806F5B-B915-43F8-BAD6-982089410BDC}"/>
                  </a:ext>
                </a:extLst>
              </p:cNvPr>
              <p:cNvSpPr/>
              <p:nvPr/>
            </p:nvSpPr>
            <p:spPr>
              <a:xfrm>
                <a:off x="1026770" y="3355886"/>
                <a:ext cx="21325" cy="45696"/>
              </a:xfrm>
              <a:custGeom>
                <a:avLst/>
                <a:gdLst/>
                <a:ahLst/>
                <a:cxnLst/>
                <a:rect l="0" t="0" r="0" b="0"/>
                <a:pathLst>
                  <a:path w="21336" h="45720">
                    <a:moveTo>
                      <a:pt x="3556" y="45720"/>
                    </a:moveTo>
                    <a:lnTo>
                      <a:pt x="3556" y="45720"/>
                    </a:lnTo>
                    <a:lnTo>
                      <a:pt x="4573" y="45086"/>
                    </a:lnTo>
                    <a:lnTo>
                      <a:pt x="7417" y="43688"/>
                    </a:lnTo>
                    <a:lnTo>
                      <a:pt x="9348" y="42545"/>
                    </a:lnTo>
                    <a:lnTo>
                      <a:pt x="11278" y="41402"/>
                    </a:lnTo>
                    <a:lnTo>
                      <a:pt x="13310" y="39879"/>
                    </a:lnTo>
                    <a:lnTo>
                      <a:pt x="15342" y="38355"/>
                    </a:lnTo>
                    <a:lnTo>
                      <a:pt x="17273" y="36704"/>
                    </a:lnTo>
                    <a:lnTo>
                      <a:pt x="18898" y="34925"/>
                    </a:lnTo>
                    <a:lnTo>
                      <a:pt x="19609" y="34037"/>
                    </a:lnTo>
                    <a:lnTo>
                      <a:pt x="20117" y="33148"/>
                    </a:lnTo>
                    <a:lnTo>
                      <a:pt x="20625" y="32005"/>
                    </a:lnTo>
                    <a:lnTo>
                      <a:pt x="21032" y="31116"/>
                    </a:lnTo>
                    <a:lnTo>
                      <a:pt x="21336" y="30099"/>
                    </a:lnTo>
                    <a:lnTo>
                      <a:pt x="21336" y="29083"/>
                    </a:lnTo>
                    <a:lnTo>
                      <a:pt x="21336" y="28068"/>
                    </a:lnTo>
                    <a:lnTo>
                      <a:pt x="21235" y="27051"/>
                    </a:lnTo>
                    <a:lnTo>
                      <a:pt x="20828" y="26036"/>
                    </a:lnTo>
                    <a:lnTo>
                      <a:pt x="20117" y="25019"/>
                    </a:lnTo>
                    <a:lnTo>
                      <a:pt x="19406" y="24004"/>
                    </a:lnTo>
                    <a:lnTo>
                      <a:pt x="18289" y="23114"/>
                    </a:lnTo>
                    <a:lnTo>
                      <a:pt x="14936" y="19686"/>
                    </a:lnTo>
                    <a:lnTo>
                      <a:pt x="13615" y="18162"/>
                    </a:lnTo>
                    <a:lnTo>
                      <a:pt x="12396" y="16764"/>
                    </a:lnTo>
                    <a:lnTo>
                      <a:pt x="11380" y="15494"/>
                    </a:lnTo>
                    <a:lnTo>
                      <a:pt x="10669" y="14351"/>
                    </a:lnTo>
                    <a:lnTo>
                      <a:pt x="10059" y="13081"/>
                    </a:lnTo>
                    <a:lnTo>
                      <a:pt x="9754" y="11938"/>
                    </a:lnTo>
                    <a:lnTo>
                      <a:pt x="9449" y="10795"/>
                    </a:lnTo>
                    <a:lnTo>
                      <a:pt x="9348" y="9525"/>
                    </a:lnTo>
                    <a:lnTo>
                      <a:pt x="9348" y="8256"/>
                    </a:lnTo>
                    <a:lnTo>
                      <a:pt x="9449" y="6858"/>
                    </a:lnTo>
                    <a:lnTo>
                      <a:pt x="10059" y="3811"/>
                    </a:lnTo>
                    <a:lnTo>
                      <a:pt x="10872" y="0"/>
                    </a:lnTo>
                    <a:lnTo>
                      <a:pt x="10059" y="255"/>
                    </a:lnTo>
                    <a:lnTo>
                      <a:pt x="8027" y="1398"/>
                    </a:lnTo>
                    <a:lnTo>
                      <a:pt x="6605" y="2160"/>
                    </a:lnTo>
                    <a:lnTo>
                      <a:pt x="5284" y="3175"/>
                    </a:lnTo>
                    <a:lnTo>
                      <a:pt x="3963" y="4318"/>
                    </a:lnTo>
                    <a:lnTo>
                      <a:pt x="2744" y="5588"/>
                    </a:lnTo>
                    <a:lnTo>
                      <a:pt x="1626" y="7112"/>
                    </a:lnTo>
                    <a:lnTo>
                      <a:pt x="1017" y="8001"/>
                    </a:lnTo>
                    <a:lnTo>
                      <a:pt x="610" y="8891"/>
                    </a:lnTo>
                    <a:lnTo>
                      <a:pt x="407" y="9780"/>
                    </a:lnTo>
                    <a:lnTo>
                      <a:pt x="102" y="10668"/>
                    </a:lnTo>
                    <a:lnTo>
                      <a:pt x="0" y="11685"/>
                    </a:lnTo>
                    <a:lnTo>
                      <a:pt x="0" y="12574"/>
                    </a:lnTo>
                    <a:lnTo>
                      <a:pt x="0" y="13717"/>
                    </a:lnTo>
                    <a:lnTo>
                      <a:pt x="204" y="14732"/>
                    </a:lnTo>
                    <a:lnTo>
                      <a:pt x="509" y="16002"/>
                    </a:lnTo>
                    <a:lnTo>
                      <a:pt x="915" y="17273"/>
                    </a:lnTo>
                    <a:lnTo>
                      <a:pt x="1626" y="18416"/>
                    </a:lnTo>
                    <a:lnTo>
                      <a:pt x="2439" y="19686"/>
                    </a:lnTo>
                    <a:lnTo>
                      <a:pt x="3353" y="20956"/>
                    </a:lnTo>
                    <a:lnTo>
                      <a:pt x="4471" y="22225"/>
                    </a:lnTo>
                    <a:lnTo>
                      <a:pt x="6401" y="24512"/>
                    </a:lnTo>
                    <a:lnTo>
                      <a:pt x="7824" y="26543"/>
                    </a:lnTo>
                    <a:lnTo>
                      <a:pt x="8941" y="28322"/>
                    </a:lnTo>
                    <a:lnTo>
                      <a:pt x="9754" y="29973"/>
                    </a:lnTo>
                    <a:lnTo>
                      <a:pt x="10161" y="31369"/>
                    </a:lnTo>
                    <a:lnTo>
                      <a:pt x="10262" y="32639"/>
                    </a:lnTo>
                    <a:lnTo>
                      <a:pt x="10161" y="34037"/>
                    </a:lnTo>
                    <a:lnTo>
                      <a:pt x="9856" y="35180"/>
                    </a:lnTo>
                    <a:lnTo>
                      <a:pt x="9348" y="36323"/>
                    </a:lnTo>
                    <a:lnTo>
                      <a:pt x="8636" y="37466"/>
                    </a:lnTo>
                    <a:lnTo>
                      <a:pt x="7011" y="39879"/>
                    </a:lnTo>
                    <a:lnTo>
                      <a:pt x="5284" y="42545"/>
                    </a:lnTo>
                    <a:lnTo>
                      <a:pt x="4369" y="44069"/>
                    </a:lnTo>
                    <a:lnTo>
                      <a:pt x="3556" y="45720"/>
                    </a:lnTo>
                    <a:close/>
                    <a:moveTo>
                      <a:pt x="2432305" y="3502152"/>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583" name="Freeform 1333">
                <a:extLst>
                  <a:ext uri="{FF2B5EF4-FFF2-40B4-BE49-F238E27FC236}">
                    <a16:creationId xmlns:a16="http://schemas.microsoft.com/office/drawing/2014/main" id="{0258DA21-DD73-41ED-AA10-1F297C544C12}"/>
                  </a:ext>
                </a:extLst>
              </p:cNvPr>
              <p:cNvSpPr/>
              <p:nvPr/>
            </p:nvSpPr>
            <p:spPr>
              <a:xfrm>
                <a:off x="996306" y="3349795"/>
                <a:ext cx="143181" cy="152321"/>
              </a:xfrm>
              <a:custGeom>
                <a:avLst/>
                <a:gdLst/>
                <a:ahLst/>
                <a:cxnLst/>
                <a:rect l="0" t="0" r="0" b="0"/>
                <a:pathLst>
                  <a:path w="143256" h="152400">
                    <a:moveTo>
                      <a:pt x="143256" y="77088"/>
                    </a:moveTo>
                    <a:lnTo>
                      <a:pt x="143256" y="77088"/>
                    </a:lnTo>
                    <a:lnTo>
                      <a:pt x="142126" y="77215"/>
                    </a:lnTo>
                    <a:lnTo>
                      <a:pt x="139142" y="77596"/>
                    </a:lnTo>
                    <a:lnTo>
                      <a:pt x="137084" y="77851"/>
                    </a:lnTo>
                    <a:lnTo>
                      <a:pt x="134709" y="78105"/>
                    </a:lnTo>
                    <a:lnTo>
                      <a:pt x="132246" y="78486"/>
                    </a:lnTo>
                    <a:lnTo>
                      <a:pt x="129464" y="79120"/>
                    </a:lnTo>
                    <a:lnTo>
                      <a:pt x="126683" y="79882"/>
                    </a:lnTo>
                    <a:lnTo>
                      <a:pt x="123914" y="80771"/>
                    </a:lnTo>
                    <a:lnTo>
                      <a:pt x="121235" y="81788"/>
                    </a:lnTo>
                    <a:lnTo>
                      <a:pt x="118555" y="82931"/>
                    </a:lnTo>
                    <a:lnTo>
                      <a:pt x="117425" y="83693"/>
                    </a:lnTo>
                    <a:lnTo>
                      <a:pt x="116193" y="84327"/>
                    </a:lnTo>
                    <a:lnTo>
                      <a:pt x="115164" y="85217"/>
                    </a:lnTo>
                    <a:lnTo>
                      <a:pt x="114135" y="86106"/>
                    </a:lnTo>
                    <a:lnTo>
                      <a:pt x="113208" y="86994"/>
                    </a:lnTo>
                    <a:lnTo>
                      <a:pt x="112383" y="87883"/>
                    </a:lnTo>
                    <a:lnTo>
                      <a:pt x="111557" y="89026"/>
                    </a:lnTo>
                    <a:lnTo>
                      <a:pt x="111049" y="89915"/>
                    </a:lnTo>
                    <a:lnTo>
                      <a:pt x="111456" y="88264"/>
                    </a:lnTo>
                    <a:lnTo>
                      <a:pt x="111976" y="86613"/>
                    </a:lnTo>
                    <a:lnTo>
                      <a:pt x="112688" y="84963"/>
                    </a:lnTo>
                    <a:lnTo>
                      <a:pt x="113513" y="83312"/>
                    </a:lnTo>
                    <a:lnTo>
                      <a:pt x="114440" y="81661"/>
                    </a:lnTo>
                    <a:lnTo>
                      <a:pt x="115570" y="80009"/>
                    </a:lnTo>
                    <a:lnTo>
                      <a:pt x="116599" y="78486"/>
                    </a:lnTo>
                    <a:lnTo>
                      <a:pt x="118047" y="76707"/>
                    </a:lnTo>
                    <a:lnTo>
                      <a:pt x="120930" y="73532"/>
                    </a:lnTo>
                    <a:lnTo>
                      <a:pt x="124219" y="69976"/>
                    </a:lnTo>
                    <a:lnTo>
                      <a:pt x="131522" y="62611"/>
                    </a:lnTo>
                    <a:lnTo>
                      <a:pt x="123914" y="63245"/>
                    </a:lnTo>
                    <a:lnTo>
                      <a:pt x="116498" y="64007"/>
                    </a:lnTo>
                    <a:lnTo>
                      <a:pt x="112789" y="64515"/>
                    </a:lnTo>
                    <a:lnTo>
                      <a:pt x="109094" y="65024"/>
                    </a:lnTo>
                    <a:lnTo>
                      <a:pt x="105385" y="65532"/>
                    </a:lnTo>
                    <a:lnTo>
                      <a:pt x="101575" y="66420"/>
                    </a:lnTo>
                    <a:lnTo>
                      <a:pt x="102197" y="64769"/>
                    </a:lnTo>
                    <a:lnTo>
                      <a:pt x="102604" y="63245"/>
                    </a:lnTo>
                    <a:lnTo>
                      <a:pt x="103125" y="60197"/>
                    </a:lnTo>
                    <a:lnTo>
                      <a:pt x="103429" y="57276"/>
                    </a:lnTo>
                    <a:lnTo>
                      <a:pt x="103328" y="54356"/>
                    </a:lnTo>
                    <a:lnTo>
                      <a:pt x="103023" y="51562"/>
                    </a:lnTo>
                    <a:lnTo>
                      <a:pt x="102299" y="48640"/>
                    </a:lnTo>
                    <a:lnTo>
                      <a:pt x="101474" y="45974"/>
                    </a:lnTo>
                    <a:lnTo>
                      <a:pt x="100546" y="43307"/>
                    </a:lnTo>
                    <a:lnTo>
                      <a:pt x="99111" y="40767"/>
                    </a:lnTo>
                    <a:lnTo>
                      <a:pt x="97765" y="38100"/>
                    </a:lnTo>
                    <a:lnTo>
                      <a:pt x="96127" y="35687"/>
                    </a:lnTo>
                    <a:lnTo>
                      <a:pt x="94476" y="33274"/>
                    </a:lnTo>
                    <a:lnTo>
                      <a:pt x="92520" y="30988"/>
                    </a:lnTo>
                    <a:lnTo>
                      <a:pt x="90564" y="28828"/>
                    </a:lnTo>
                    <a:lnTo>
                      <a:pt x="88507" y="26669"/>
                    </a:lnTo>
                    <a:lnTo>
                      <a:pt x="86449" y="24638"/>
                    </a:lnTo>
                    <a:lnTo>
                      <a:pt x="84087" y="22606"/>
                    </a:lnTo>
                    <a:lnTo>
                      <a:pt x="81814" y="20574"/>
                    </a:lnTo>
                    <a:lnTo>
                      <a:pt x="79553" y="18669"/>
                    </a:lnTo>
                    <a:lnTo>
                      <a:pt x="77293" y="16890"/>
                    </a:lnTo>
                    <a:lnTo>
                      <a:pt x="75019" y="15367"/>
                    </a:lnTo>
                    <a:lnTo>
                      <a:pt x="72657" y="13715"/>
                    </a:lnTo>
                    <a:lnTo>
                      <a:pt x="70397" y="12319"/>
                    </a:lnTo>
                    <a:lnTo>
                      <a:pt x="68022" y="10794"/>
                    </a:lnTo>
                    <a:lnTo>
                      <a:pt x="63196" y="8001"/>
                    </a:lnTo>
                    <a:lnTo>
                      <a:pt x="58039" y="5461"/>
                    </a:lnTo>
                    <a:lnTo>
                      <a:pt x="52693" y="2794"/>
                    </a:lnTo>
                    <a:lnTo>
                      <a:pt x="46825" y="0"/>
                    </a:lnTo>
                    <a:lnTo>
                      <a:pt x="49403" y="4444"/>
                    </a:lnTo>
                    <a:lnTo>
                      <a:pt x="52172" y="9270"/>
                    </a:lnTo>
                    <a:lnTo>
                      <a:pt x="54750" y="14224"/>
                    </a:lnTo>
                    <a:lnTo>
                      <a:pt x="55982" y="16763"/>
                    </a:lnTo>
                    <a:lnTo>
                      <a:pt x="57112" y="19431"/>
                    </a:lnTo>
                    <a:lnTo>
                      <a:pt x="58039" y="21970"/>
                    </a:lnTo>
                    <a:lnTo>
                      <a:pt x="58763" y="24511"/>
                    </a:lnTo>
                    <a:lnTo>
                      <a:pt x="59386" y="27051"/>
                    </a:lnTo>
                    <a:lnTo>
                      <a:pt x="59792" y="29590"/>
                    </a:lnTo>
                    <a:lnTo>
                      <a:pt x="59792" y="32257"/>
                    </a:lnTo>
                    <a:lnTo>
                      <a:pt x="59589" y="33401"/>
                    </a:lnTo>
                    <a:lnTo>
                      <a:pt x="59386" y="34670"/>
                    </a:lnTo>
                    <a:lnTo>
                      <a:pt x="59068" y="35813"/>
                    </a:lnTo>
                    <a:lnTo>
                      <a:pt x="58662" y="36957"/>
                    </a:lnTo>
                    <a:lnTo>
                      <a:pt x="58255" y="38226"/>
                    </a:lnTo>
                    <a:lnTo>
                      <a:pt x="57633" y="39369"/>
                    </a:lnTo>
                    <a:lnTo>
                      <a:pt x="56185" y="41909"/>
                    </a:lnTo>
                    <a:lnTo>
                      <a:pt x="54128" y="44576"/>
                    </a:lnTo>
                    <a:lnTo>
                      <a:pt x="51867" y="47497"/>
                    </a:lnTo>
                    <a:lnTo>
                      <a:pt x="49302" y="50292"/>
                    </a:lnTo>
                    <a:lnTo>
                      <a:pt x="46521" y="53213"/>
                    </a:lnTo>
                    <a:lnTo>
                      <a:pt x="43536" y="56133"/>
                    </a:lnTo>
                    <a:lnTo>
                      <a:pt x="37250" y="62102"/>
                    </a:lnTo>
                    <a:lnTo>
                      <a:pt x="36742" y="61087"/>
                    </a:lnTo>
                    <a:lnTo>
                      <a:pt x="36221" y="60070"/>
                    </a:lnTo>
                    <a:lnTo>
                      <a:pt x="35408" y="59182"/>
                    </a:lnTo>
                    <a:lnTo>
                      <a:pt x="34379" y="58165"/>
                    </a:lnTo>
                    <a:lnTo>
                      <a:pt x="31497" y="55244"/>
                    </a:lnTo>
                    <a:lnTo>
                      <a:pt x="29020" y="52577"/>
                    </a:lnTo>
                    <a:lnTo>
                      <a:pt x="26963" y="50164"/>
                    </a:lnTo>
                    <a:lnTo>
                      <a:pt x="25426" y="48132"/>
                    </a:lnTo>
                    <a:lnTo>
                      <a:pt x="24181" y="46227"/>
                    </a:lnTo>
                    <a:lnTo>
                      <a:pt x="23356" y="44576"/>
                    </a:lnTo>
                    <a:lnTo>
                      <a:pt x="22848" y="42799"/>
                    </a:lnTo>
                    <a:lnTo>
                      <a:pt x="22543" y="41401"/>
                    </a:lnTo>
                    <a:lnTo>
                      <a:pt x="22543" y="39877"/>
                    </a:lnTo>
                    <a:lnTo>
                      <a:pt x="22848" y="38353"/>
                    </a:lnTo>
                    <a:lnTo>
                      <a:pt x="23254" y="36702"/>
                    </a:lnTo>
                    <a:lnTo>
                      <a:pt x="23775" y="34925"/>
                    </a:lnTo>
                    <a:lnTo>
                      <a:pt x="25210" y="31114"/>
                    </a:lnTo>
                    <a:lnTo>
                      <a:pt x="25832" y="28701"/>
                    </a:lnTo>
                    <a:lnTo>
                      <a:pt x="26658" y="26162"/>
                    </a:lnTo>
                    <a:lnTo>
                      <a:pt x="25426" y="26669"/>
                    </a:lnTo>
                    <a:lnTo>
                      <a:pt x="24080" y="27177"/>
                    </a:lnTo>
                    <a:lnTo>
                      <a:pt x="22225" y="28067"/>
                    </a:lnTo>
                    <a:lnTo>
                      <a:pt x="20371" y="29082"/>
                    </a:lnTo>
                    <a:lnTo>
                      <a:pt x="18111" y="30480"/>
                    </a:lnTo>
                    <a:lnTo>
                      <a:pt x="15952" y="31876"/>
                    </a:lnTo>
                    <a:lnTo>
                      <a:pt x="14821" y="32765"/>
                    </a:lnTo>
                    <a:lnTo>
                      <a:pt x="13894" y="33655"/>
                    </a:lnTo>
                    <a:lnTo>
                      <a:pt x="12764" y="34544"/>
                    </a:lnTo>
                    <a:lnTo>
                      <a:pt x="11939" y="35687"/>
                    </a:lnTo>
                    <a:lnTo>
                      <a:pt x="11011" y="36702"/>
                    </a:lnTo>
                    <a:lnTo>
                      <a:pt x="10288" y="37845"/>
                    </a:lnTo>
                    <a:lnTo>
                      <a:pt x="9576" y="39115"/>
                    </a:lnTo>
                    <a:lnTo>
                      <a:pt x="9056" y="40258"/>
                    </a:lnTo>
                    <a:lnTo>
                      <a:pt x="8649" y="41656"/>
                    </a:lnTo>
                    <a:lnTo>
                      <a:pt x="8332" y="43052"/>
                    </a:lnTo>
                    <a:lnTo>
                      <a:pt x="8332" y="44450"/>
                    </a:lnTo>
                    <a:lnTo>
                      <a:pt x="8332" y="45974"/>
                    </a:lnTo>
                    <a:lnTo>
                      <a:pt x="8649" y="47497"/>
                    </a:lnTo>
                    <a:lnTo>
                      <a:pt x="9056" y="49276"/>
                    </a:lnTo>
                    <a:lnTo>
                      <a:pt x="9780" y="50926"/>
                    </a:lnTo>
                    <a:lnTo>
                      <a:pt x="10707" y="52577"/>
                    </a:lnTo>
                    <a:lnTo>
                      <a:pt x="11837" y="54356"/>
                    </a:lnTo>
                    <a:lnTo>
                      <a:pt x="13272" y="56261"/>
                    </a:lnTo>
                    <a:lnTo>
                      <a:pt x="15545" y="59182"/>
                    </a:lnTo>
                    <a:lnTo>
                      <a:pt x="17285" y="61721"/>
                    </a:lnTo>
                    <a:lnTo>
                      <a:pt x="18835" y="64134"/>
                    </a:lnTo>
                    <a:lnTo>
                      <a:pt x="19762" y="66167"/>
                    </a:lnTo>
                    <a:lnTo>
                      <a:pt x="20486" y="68071"/>
                    </a:lnTo>
                    <a:lnTo>
                      <a:pt x="20892" y="69722"/>
                    </a:lnTo>
                    <a:lnTo>
                      <a:pt x="20994" y="71374"/>
                    </a:lnTo>
                    <a:lnTo>
                      <a:pt x="20892" y="72770"/>
                    </a:lnTo>
                    <a:lnTo>
                      <a:pt x="20486" y="74168"/>
                    </a:lnTo>
                    <a:lnTo>
                      <a:pt x="19762" y="75564"/>
                    </a:lnTo>
                    <a:lnTo>
                      <a:pt x="19139" y="76962"/>
                    </a:lnTo>
                    <a:lnTo>
                      <a:pt x="18111" y="78358"/>
                    </a:lnTo>
                    <a:lnTo>
                      <a:pt x="15952" y="81407"/>
                    </a:lnTo>
                    <a:lnTo>
                      <a:pt x="14821" y="82931"/>
                    </a:lnTo>
                    <a:lnTo>
                      <a:pt x="13589" y="84836"/>
                    </a:lnTo>
                    <a:lnTo>
                      <a:pt x="11939" y="86868"/>
                    </a:lnTo>
                    <a:lnTo>
                      <a:pt x="10389" y="88772"/>
                    </a:lnTo>
                    <a:lnTo>
                      <a:pt x="8954" y="90805"/>
                    </a:lnTo>
                    <a:lnTo>
                      <a:pt x="7519" y="92837"/>
                    </a:lnTo>
                    <a:lnTo>
                      <a:pt x="6376" y="94614"/>
                    </a:lnTo>
                    <a:lnTo>
                      <a:pt x="5347" y="96646"/>
                    </a:lnTo>
                    <a:lnTo>
                      <a:pt x="4319" y="98425"/>
                    </a:lnTo>
                    <a:lnTo>
                      <a:pt x="3391" y="100202"/>
                    </a:lnTo>
                    <a:lnTo>
                      <a:pt x="2579" y="101981"/>
                    </a:lnTo>
                    <a:lnTo>
                      <a:pt x="2058" y="103886"/>
                    </a:lnTo>
                    <a:lnTo>
                      <a:pt x="1334" y="105663"/>
                    </a:lnTo>
                    <a:lnTo>
                      <a:pt x="928" y="107188"/>
                    </a:lnTo>
                    <a:lnTo>
                      <a:pt x="521" y="108965"/>
                    </a:lnTo>
                    <a:lnTo>
                      <a:pt x="204" y="110617"/>
                    </a:lnTo>
                    <a:lnTo>
                      <a:pt x="102" y="112268"/>
                    </a:lnTo>
                    <a:lnTo>
                      <a:pt x="0" y="113792"/>
                    </a:lnTo>
                    <a:lnTo>
                      <a:pt x="0" y="115443"/>
                    </a:lnTo>
                    <a:lnTo>
                      <a:pt x="0" y="116839"/>
                    </a:lnTo>
                    <a:lnTo>
                      <a:pt x="102" y="118363"/>
                    </a:lnTo>
                    <a:lnTo>
                      <a:pt x="407" y="119888"/>
                    </a:lnTo>
                    <a:lnTo>
                      <a:pt x="1029" y="122682"/>
                    </a:lnTo>
                    <a:lnTo>
                      <a:pt x="2058" y="125349"/>
                    </a:lnTo>
                    <a:lnTo>
                      <a:pt x="3290" y="128015"/>
                    </a:lnTo>
                    <a:lnTo>
                      <a:pt x="4738" y="130428"/>
                    </a:lnTo>
                    <a:lnTo>
                      <a:pt x="6376" y="132714"/>
                    </a:lnTo>
                    <a:lnTo>
                      <a:pt x="8548" y="134874"/>
                    </a:lnTo>
                    <a:lnTo>
                      <a:pt x="10605" y="137032"/>
                    </a:lnTo>
                    <a:lnTo>
                      <a:pt x="12866" y="139064"/>
                    </a:lnTo>
                    <a:lnTo>
                      <a:pt x="15329" y="140715"/>
                    </a:lnTo>
                    <a:lnTo>
                      <a:pt x="18009" y="142494"/>
                    </a:lnTo>
                    <a:lnTo>
                      <a:pt x="20790" y="144018"/>
                    </a:lnTo>
                    <a:lnTo>
                      <a:pt x="23673" y="145542"/>
                    </a:lnTo>
                    <a:lnTo>
                      <a:pt x="26556" y="146812"/>
                    </a:lnTo>
                    <a:lnTo>
                      <a:pt x="29541" y="147827"/>
                    </a:lnTo>
                    <a:lnTo>
                      <a:pt x="32627" y="148970"/>
                    </a:lnTo>
                    <a:lnTo>
                      <a:pt x="35814" y="149859"/>
                    </a:lnTo>
                    <a:lnTo>
                      <a:pt x="38799" y="150494"/>
                    </a:lnTo>
                    <a:lnTo>
                      <a:pt x="41783" y="151257"/>
                    </a:lnTo>
                    <a:lnTo>
                      <a:pt x="44971" y="151764"/>
                    </a:lnTo>
                    <a:lnTo>
                      <a:pt x="48057" y="152145"/>
                    </a:lnTo>
                    <a:lnTo>
                      <a:pt x="50940" y="152272"/>
                    </a:lnTo>
                    <a:lnTo>
                      <a:pt x="53823" y="152400"/>
                    </a:lnTo>
                    <a:lnTo>
                      <a:pt x="60821" y="152400"/>
                    </a:lnTo>
                    <a:lnTo>
                      <a:pt x="57836" y="147827"/>
                    </a:lnTo>
                    <a:lnTo>
                      <a:pt x="55880" y="144652"/>
                    </a:lnTo>
                    <a:lnTo>
                      <a:pt x="54242" y="141986"/>
                    </a:lnTo>
                    <a:lnTo>
                      <a:pt x="52998" y="139572"/>
                    </a:lnTo>
                    <a:lnTo>
                      <a:pt x="52070" y="137032"/>
                    </a:lnTo>
                    <a:lnTo>
                      <a:pt x="51359" y="134874"/>
                    </a:lnTo>
                    <a:lnTo>
                      <a:pt x="50940" y="132969"/>
                    </a:lnTo>
                    <a:lnTo>
                      <a:pt x="50839" y="131063"/>
                    </a:lnTo>
                    <a:lnTo>
                      <a:pt x="50940" y="129413"/>
                    </a:lnTo>
                    <a:lnTo>
                      <a:pt x="51258" y="127888"/>
                    </a:lnTo>
                    <a:lnTo>
                      <a:pt x="51766" y="126364"/>
                    </a:lnTo>
                    <a:lnTo>
                      <a:pt x="52490" y="124968"/>
                    </a:lnTo>
                    <a:lnTo>
                      <a:pt x="53315" y="123825"/>
                    </a:lnTo>
                    <a:lnTo>
                      <a:pt x="54242" y="122682"/>
                    </a:lnTo>
                    <a:lnTo>
                      <a:pt x="55372" y="121538"/>
                    </a:lnTo>
                    <a:lnTo>
                      <a:pt x="56604" y="120395"/>
                    </a:lnTo>
                    <a:lnTo>
                      <a:pt x="57836" y="119380"/>
                    </a:lnTo>
                    <a:lnTo>
                      <a:pt x="60719" y="117347"/>
                    </a:lnTo>
                    <a:lnTo>
                      <a:pt x="63500" y="115188"/>
                    </a:lnTo>
                    <a:lnTo>
                      <a:pt x="64936" y="114172"/>
                    </a:lnTo>
                    <a:lnTo>
                      <a:pt x="66383" y="112902"/>
                    </a:lnTo>
                    <a:lnTo>
                      <a:pt x="67615" y="111759"/>
                    </a:lnTo>
                    <a:lnTo>
                      <a:pt x="68847" y="110489"/>
                    </a:lnTo>
                    <a:lnTo>
                      <a:pt x="70079" y="108965"/>
                    </a:lnTo>
                    <a:lnTo>
                      <a:pt x="71006" y="107442"/>
                    </a:lnTo>
                    <a:lnTo>
                      <a:pt x="72035" y="105790"/>
                    </a:lnTo>
                    <a:lnTo>
                      <a:pt x="72860" y="104013"/>
                    </a:lnTo>
                    <a:lnTo>
                      <a:pt x="73381" y="102107"/>
                    </a:lnTo>
                    <a:lnTo>
                      <a:pt x="73788" y="99949"/>
                    </a:lnTo>
                    <a:lnTo>
                      <a:pt x="74092" y="97663"/>
                    </a:lnTo>
                    <a:lnTo>
                      <a:pt x="74092" y="95122"/>
                    </a:lnTo>
                    <a:lnTo>
                      <a:pt x="76467" y="96774"/>
                    </a:lnTo>
                    <a:lnTo>
                      <a:pt x="78728" y="98425"/>
                    </a:lnTo>
                    <a:lnTo>
                      <a:pt x="80785" y="100202"/>
                    </a:lnTo>
                    <a:lnTo>
                      <a:pt x="82639" y="101853"/>
                    </a:lnTo>
                    <a:lnTo>
                      <a:pt x="84392" y="103505"/>
                    </a:lnTo>
                    <a:lnTo>
                      <a:pt x="85929" y="105282"/>
                    </a:lnTo>
                    <a:lnTo>
                      <a:pt x="87173" y="106933"/>
                    </a:lnTo>
                    <a:lnTo>
                      <a:pt x="88405" y="108838"/>
                    </a:lnTo>
                    <a:lnTo>
                      <a:pt x="89332" y="110617"/>
                    </a:lnTo>
                    <a:lnTo>
                      <a:pt x="90158" y="112394"/>
                    </a:lnTo>
                    <a:lnTo>
                      <a:pt x="90767" y="114172"/>
                    </a:lnTo>
                    <a:lnTo>
                      <a:pt x="91288" y="115951"/>
                    </a:lnTo>
                    <a:lnTo>
                      <a:pt x="91593" y="117728"/>
                    </a:lnTo>
                    <a:lnTo>
                      <a:pt x="91796" y="119507"/>
                    </a:lnTo>
                    <a:lnTo>
                      <a:pt x="91796" y="121412"/>
                    </a:lnTo>
                    <a:lnTo>
                      <a:pt x="91694" y="123189"/>
                    </a:lnTo>
                    <a:lnTo>
                      <a:pt x="91390" y="125094"/>
                    </a:lnTo>
                    <a:lnTo>
                      <a:pt x="91186" y="127000"/>
                    </a:lnTo>
                    <a:lnTo>
                      <a:pt x="90564" y="128777"/>
                    </a:lnTo>
                    <a:lnTo>
                      <a:pt x="89942" y="130682"/>
                    </a:lnTo>
                    <a:lnTo>
                      <a:pt x="89231" y="132461"/>
                    </a:lnTo>
                    <a:lnTo>
                      <a:pt x="88405" y="134365"/>
                    </a:lnTo>
                    <a:lnTo>
                      <a:pt x="87275" y="136144"/>
                    </a:lnTo>
                    <a:lnTo>
                      <a:pt x="86246" y="137921"/>
                    </a:lnTo>
                    <a:lnTo>
                      <a:pt x="85116" y="139826"/>
                    </a:lnTo>
                    <a:lnTo>
                      <a:pt x="83668" y="141605"/>
                    </a:lnTo>
                    <a:lnTo>
                      <a:pt x="82335" y="143382"/>
                    </a:lnTo>
                    <a:lnTo>
                      <a:pt x="80785" y="145161"/>
                    </a:lnTo>
                    <a:lnTo>
                      <a:pt x="77496" y="148717"/>
                    </a:lnTo>
                    <a:lnTo>
                      <a:pt x="73889" y="152400"/>
                    </a:lnTo>
                    <a:lnTo>
                      <a:pt x="82843" y="152400"/>
                    </a:lnTo>
                    <a:lnTo>
                      <a:pt x="85002" y="152400"/>
                    </a:lnTo>
                    <a:lnTo>
                      <a:pt x="87173" y="152145"/>
                    </a:lnTo>
                    <a:lnTo>
                      <a:pt x="89332" y="152145"/>
                    </a:lnTo>
                    <a:lnTo>
                      <a:pt x="91593" y="151764"/>
                    </a:lnTo>
                    <a:lnTo>
                      <a:pt x="93955" y="151383"/>
                    </a:lnTo>
                    <a:lnTo>
                      <a:pt x="96228" y="151002"/>
                    </a:lnTo>
                    <a:lnTo>
                      <a:pt x="98692" y="150494"/>
                    </a:lnTo>
                    <a:lnTo>
                      <a:pt x="101067" y="149987"/>
                    </a:lnTo>
                    <a:lnTo>
                      <a:pt x="103531" y="149351"/>
                    </a:lnTo>
                    <a:lnTo>
                      <a:pt x="105893" y="148463"/>
                    </a:lnTo>
                    <a:lnTo>
                      <a:pt x="108268" y="147701"/>
                    </a:lnTo>
                    <a:lnTo>
                      <a:pt x="110529" y="146684"/>
                    </a:lnTo>
                    <a:lnTo>
                      <a:pt x="112789" y="145795"/>
                    </a:lnTo>
                    <a:lnTo>
                      <a:pt x="114961" y="144652"/>
                    </a:lnTo>
                    <a:lnTo>
                      <a:pt x="117222" y="143382"/>
                    </a:lnTo>
                    <a:lnTo>
                      <a:pt x="119279" y="142239"/>
                    </a:lnTo>
                    <a:lnTo>
                      <a:pt x="121235" y="140715"/>
                    </a:lnTo>
                    <a:lnTo>
                      <a:pt x="122987" y="139192"/>
                    </a:lnTo>
                    <a:lnTo>
                      <a:pt x="124626" y="137540"/>
                    </a:lnTo>
                    <a:lnTo>
                      <a:pt x="126277" y="135889"/>
                    </a:lnTo>
                    <a:lnTo>
                      <a:pt x="127610" y="134112"/>
                    </a:lnTo>
                    <a:lnTo>
                      <a:pt x="128956" y="132207"/>
                    </a:lnTo>
                    <a:lnTo>
                      <a:pt x="129883" y="130175"/>
                    </a:lnTo>
                    <a:lnTo>
                      <a:pt x="130798" y="128143"/>
                    </a:lnTo>
                    <a:lnTo>
                      <a:pt x="131420" y="125857"/>
                    </a:lnTo>
                    <a:lnTo>
                      <a:pt x="131941" y="123444"/>
                    </a:lnTo>
                    <a:lnTo>
                      <a:pt x="132042" y="120903"/>
                    </a:lnTo>
                    <a:lnTo>
                      <a:pt x="132042" y="118363"/>
                    </a:lnTo>
                    <a:lnTo>
                      <a:pt x="131839" y="115696"/>
                    </a:lnTo>
                    <a:lnTo>
                      <a:pt x="131217" y="112902"/>
                    </a:lnTo>
                    <a:lnTo>
                      <a:pt x="130391" y="109982"/>
                    </a:lnTo>
                    <a:lnTo>
                      <a:pt x="129160" y="106933"/>
                    </a:lnTo>
                    <a:lnTo>
                      <a:pt x="127928" y="103505"/>
                    </a:lnTo>
                    <a:lnTo>
                      <a:pt x="127102" y="100457"/>
                    </a:lnTo>
                    <a:lnTo>
                      <a:pt x="126683" y="97789"/>
                    </a:lnTo>
                    <a:lnTo>
                      <a:pt x="126581" y="96646"/>
                    </a:lnTo>
                    <a:lnTo>
                      <a:pt x="126581" y="95503"/>
                    </a:lnTo>
                    <a:lnTo>
                      <a:pt x="126683" y="94614"/>
                    </a:lnTo>
                    <a:lnTo>
                      <a:pt x="126785" y="93599"/>
                    </a:lnTo>
                    <a:lnTo>
                      <a:pt x="127102" y="92709"/>
                    </a:lnTo>
                    <a:lnTo>
                      <a:pt x="127407" y="91820"/>
                    </a:lnTo>
                    <a:lnTo>
                      <a:pt x="127813" y="91058"/>
                    </a:lnTo>
                    <a:lnTo>
                      <a:pt x="128232" y="90169"/>
                    </a:lnTo>
                    <a:lnTo>
                      <a:pt x="129363" y="88772"/>
                    </a:lnTo>
                    <a:lnTo>
                      <a:pt x="130595" y="87502"/>
                    </a:lnTo>
                    <a:lnTo>
                      <a:pt x="132042" y="86106"/>
                    </a:lnTo>
                    <a:lnTo>
                      <a:pt x="133681" y="84963"/>
                    </a:lnTo>
                    <a:lnTo>
                      <a:pt x="135535" y="83565"/>
                    </a:lnTo>
                    <a:lnTo>
                      <a:pt x="137288" y="82169"/>
                    </a:lnTo>
                    <a:lnTo>
                      <a:pt x="139243" y="80771"/>
                    </a:lnTo>
                    <a:lnTo>
                      <a:pt x="141301" y="78994"/>
                    </a:lnTo>
                    <a:lnTo>
                      <a:pt x="143256" y="77088"/>
                    </a:lnTo>
                    <a:close/>
                    <a:moveTo>
                      <a:pt x="2437512" y="3508247"/>
                    </a:moveTo>
                    <a:moveTo>
                      <a:pt x="91796" y="145542"/>
                    </a:moveTo>
                    <a:lnTo>
                      <a:pt x="91796" y="145542"/>
                    </a:lnTo>
                    <a:lnTo>
                      <a:pt x="93752" y="142875"/>
                    </a:lnTo>
                    <a:lnTo>
                      <a:pt x="95606" y="140462"/>
                    </a:lnTo>
                    <a:lnTo>
                      <a:pt x="97054" y="137921"/>
                    </a:lnTo>
                    <a:lnTo>
                      <a:pt x="98286" y="135508"/>
                    </a:lnTo>
                    <a:lnTo>
                      <a:pt x="99416" y="132969"/>
                    </a:lnTo>
                    <a:lnTo>
                      <a:pt x="100242" y="130682"/>
                    </a:lnTo>
                    <a:lnTo>
                      <a:pt x="100750" y="128269"/>
                    </a:lnTo>
                    <a:lnTo>
                      <a:pt x="101169" y="125857"/>
                    </a:lnTo>
                    <a:lnTo>
                      <a:pt x="101372" y="123570"/>
                    </a:lnTo>
                    <a:lnTo>
                      <a:pt x="101372" y="121412"/>
                    </a:lnTo>
                    <a:lnTo>
                      <a:pt x="101067" y="119126"/>
                    </a:lnTo>
                    <a:lnTo>
                      <a:pt x="100648" y="116839"/>
                    </a:lnTo>
                    <a:lnTo>
                      <a:pt x="100140" y="114681"/>
                    </a:lnTo>
                    <a:lnTo>
                      <a:pt x="99314" y="112649"/>
                    </a:lnTo>
                    <a:lnTo>
                      <a:pt x="98489" y="110617"/>
                    </a:lnTo>
                    <a:lnTo>
                      <a:pt x="97359" y="108457"/>
                    </a:lnTo>
                    <a:lnTo>
                      <a:pt x="96025" y="106552"/>
                    </a:lnTo>
                    <a:lnTo>
                      <a:pt x="94577" y="104520"/>
                    </a:lnTo>
                    <a:lnTo>
                      <a:pt x="93041" y="102615"/>
                    </a:lnTo>
                    <a:lnTo>
                      <a:pt x="91288" y="100711"/>
                    </a:lnTo>
                    <a:lnTo>
                      <a:pt x="89536" y="98932"/>
                    </a:lnTo>
                    <a:lnTo>
                      <a:pt x="87580" y="97155"/>
                    </a:lnTo>
                    <a:lnTo>
                      <a:pt x="85421" y="95250"/>
                    </a:lnTo>
                    <a:lnTo>
                      <a:pt x="83160" y="93599"/>
                    </a:lnTo>
                    <a:lnTo>
                      <a:pt x="80988" y="91947"/>
                    </a:lnTo>
                    <a:lnTo>
                      <a:pt x="78525" y="90424"/>
                    </a:lnTo>
                    <a:lnTo>
                      <a:pt x="75947" y="88772"/>
                    </a:lnTo>
                    <a:lnTo>
                      <a:pt x="73381" y="87376"/>
                    </a:lnTo>
                    <a:lnTo>
                      <a:pt x="70600" y="85978"/>
                    </a:lnTo>
                    <a:lnTo>
                      <a:pt x="67920" y="84582"/>
                    </a:lnTo>
                    <a:lnTo>
                      <a:pt x="64936" y="83312"/>
                    </a:lnTo>
                    <a:lnTo>
                      <a:pt x="62053" y="82042"/>
                    </a:lnTo>
                    <a:lnTo>
                      <a:pt x="64008" y="89026"/>
                    </a:lnTo>
                    <a:lnTo>
                      <a:pt x="64732" y="91694"/>
                    </a:lnTo>
                    <a:lnTo>
                      <a:pt x="64936" y="93980"/>
                    </a:lnTo>
                    <a:lnTo>
                      <a:pt x="65139" y="96265"/>
                    </a:lnTo>
                    <a:lnTo>
                      <a:pt x="64936" y="98425"/>
                    </a:lnTo>
                    <a:lnTo>
                      <a:pt x="64529" y="100330"/>
                    </a:lnTo>
                    <a:lnTo>
                      <a:pt x="64008" y="102107"/>
                    </a:lnTo>
                    <a:lnTo>
                      <a:pt x="63297" y="103886"/>
                    </a:lnTo>
                    <a:lnTo>
                      <a:pt x="62370" y="105282"/>
                    </a:lnTo>
                    <a:lnTo>
                      <a:pt x="61443" y="106807"/>
                    </a:lnTo>
                    <a:lnTo>
                      <a:pt x="60211" y="108076"/>
                    </a:lnTo>
                    <a:lnTo>
                      <a:pt x="58865" y="109346"/>
                    </a:lnTo>
                    <a:lnTo>
                      <a:pt x="57633" y="110617"/>
                    </a:lnTo>
                    <a:lnTo>
                      <a:pt x="54750" y="112776"/>
                    </a:lnTo>
                    <a:lnTo>
                      <a:pt x="51867" y="115062"/>
                    </a:lnTo>
                    <a:lnTo>
                      <a:pt x="48984" y="117220"/>
                    </a:lnTo>
                    <a:lnTo>
                      <a:pt x="47753" y="118363"/>
                    </a:lnTo>
                    <a:lnTo>
                      <a:pt x="46419" y="119507"/>
                    </a:lnTo>
                    <a:lnTo>
                      <a:pt x="45289" y="120776"/>
                    </a:lnTo>
                    <a:lnTo>
                      <a:pt x="44362" y="122046"/>
                    </a:lnTo>
                    <a:lnTo>
                      <a:pt x="43333" y="123444"/>
                    </a:lnTo>
                    <a:lnTo>
                      <a:pt x="42711" y="124968"/>
                    </a:lnTo>
                    <a:lnTo>
                      <a:pt x="42088" y="126492"/>
                    </a:lnTo>
                    <a:lnTo>
                      <a:pt x="41682" y="128269"/>
                    </a:lnTo>
                    <a:lnTo>
                      <a:pt x="41580" y="130175"/>
                    </a:lnTo>
                    <a:lnTo>
                      <a:pt x="41682" y="132080"/>
                    </a:lnTo>
                    <a:lnTo>
                      <a:pt x="41987" y="134365"/>
                    </a:lnTo>
                    <a:lnTo>
                      <a:pt x="42711" y="136651"/>
                    </a:lnTo>
                    <a:lnTo>
                      <a:pt x="43638" y="139319"/>
                    </a:lnTo>
                    <a:lnTo>
                      <a:pt x="44870" y="141986"/>
                    </a:lnTo>
                    <a:lnTo>
                      <a:pt x="41987" y="139700"/>
                    </a:lnTo>
                    <a:lnTo>
                      <a:pt x="39523" y="137287"/>
                    </a:lnTo>
                    <a:lnTo>
                      <a:pt x="37148" y="135001"/>
                    </a:lnTo>
                    <a:lnTo>
                      <a:pt x="35192" y="132714"/>
                    </a:lnTo>
                    <a:lnTo>
                      <a:pt x="33452" y="130556"/>
                    </a:lnTo>
                    <a:lnTo>
                      <a:pt x="31903" y="128396"/>
                    </a:lnTo>
                    <a:lnTo>
                      <a:pt x="30569" y="126238"/>
                    </a:lnTo>
                    <a:lnTo>
                      <a:pt x="29439" y="124078"/>
                    </a:lnTo>
                    <a:lnTo>
                      <a:pt x="28614" y="122046"/>
                    </a:lnTo>
                    <a:lnTo>
                      <a:pt x="27890" y="120014"/>
                    </a:lnTo>
                    <a:lnTo>
                      <a:pt x="27382" y="118109"/>
                    </a:lnTo>
                    <a:lnTo>
                      <a:pt x="27064" y="116077"/>
                    </a:lnTo>
                    <a:lnTo>
                      <a:pt x="26963" y="114172"/>
                    </a:lnTo>
                    <a:lnTo>
                      <a:pt x="27064" y="112268"/>
                    </a:lnTo>
                    <a:lnTo>
                      <a:pt x="27267" y="110363"/>
                    </a:lnTo>
                    <a:lnTo>
                      <a:pt x="27686" y="108457"/>
                    </a:lnTo>
                    <a:lnTo>
                      <a:pt x="28194" y="106680"/>
                    </a:lnTo>
                    <a:lnTo>
                      <a:pt x="28918" y="104901"/>
                    </a:lnTo>
                    <a:lnTo>
                      <a:pt x="29744" y="103124"/>
                    </a:lnTo>
                    <a:lnTo>
                      <a:pt x="30569" y="101345"/>
                    </a:lnTo>
                    <a:lnTo>
                      <a:pt x="31598" y="99568"/>
                    </a:lnTo>
                    <a:lnTo>
                      <a:pt x="32728" y="97789"/>
                    </a:lnTo>
                    <a:lnTo>
                      <a:pt x="33960" y="96265"/>
                    </a:lnTo>
                    <a:lnTo>
                      <a:pt x="35408" y="94361"/>
                    </a:lnTo>
                    <a:lnTo>
                      <a:pt x="38278" y="91058"/>
                    </a:lnTo>
                    <a:lnTo>
                      <a:pt x="41377" y="87757"/>
                    </a:lnTo>
                    <a:lnTo>
                      <a:pt x="44768" y="84582"/>
                    </a:lnTo>
                    <a:lnTo>
                      <a:pt x="48273" y="81152"/>
                    </a:lnTo>
                    <a:lnTo>
                      <a:pt x="55474" y="74676"/>
                    </a:lnTo>
                    <a:lnTo>
                      <a:pt x="58865" y="71374"/>
                    </a:lnTo>
                    <a:lnTo>
                      <a:pt x="62370" y="67944"/>
                    </a:lnTo>
                    <a:lnTo>
                      <a:pt x="65558" y="64515"/>
                    </a:lnTo>
                    <a:lnTo>
                      <a:pt x="68542" y="61087"/>
                    </a:lnTo>
                    <a:lnTo>
                      <a:pt x="69978" y="59436"/>
                    </a:lnTo>
                    <a:lnTo>
                      <a:pt x="71222" y="57657"/>
                    </a:lnTo>
                    <a:lnTo>
                      <a:pt x="72454" y="55880"/>
                    </a:lnTo>
                    <a:lnTo>
                      <a:pt x="73483" y="53975"/>
                    </a:lnTo>
                    <a:lnTo>
                      <a:pt x="74511" y="52196"/>
                    </a:lnTo>
                    <a:lnTo>
                      <a:pt x="75337" y="50292"/>
                    </a:lnTo>
                    <a:lnTo>
                      <a:pt x="75947" y="48387"/>
                    </a:lnTo>
                    <a:lnTo>
                      <a:pt x="76569" y="46608"/>
                    </a:lnTo>
                    <a:lnTo>
                      <a:pt x="76975" y="44576"/>
                    </a:lnTo>
                    <a:lnTo>
                      <a:pt x="77293" y="42544"/>
                    </a:lnTo>
                    <a:lnTo>
                      <a:pt x="77394" y="40639"/>
                    </a:lnTo>
                    <a:lnTo>
                      <a:pt x="77394" y="38481"/>
                    </a:lnTo>
                    <a:lnTo>
                      <a:pt x="77293" y="36449"/>
                    </a:lnTo>
                    <a:lnTo>
                      <a:pt x="76874" y="34289"/>
                    </a:lnTo>
                    <a:lnTo>
                      <a:pt x="76162" y="32257"/>
                    </a:lnTo>
                    <a:lnTo>
                      <a:pt x="75337" y="29971"/>
                    </a:lnTo>
                    <a:lnTo>
                      <a:pt x="74308" y="27686"/>
                    </a:lnTo>
                    <a:lnTo>
                      <a:pt x="73064" y="25400"/>
                    </a:lnTo>
                    <a:lnTo>
                      <a:pt x="71730" y="23113"/>
                    </a:lnTo>
                    <a:lnTo>
                      <a:pt x="70079" y="20827"/>
                    </a:lnTo>
                    <a:lnTo>
                      <a:pt x="72454" y="22606"/>
                    </a:lnTo>
                    <a:lnTo>
                      <a:pt x="74715" y="24383"/>
                    </a:lnTo>
                    <a:lnTo>
                      <a:pt x="77077" y="26415"/>
                    </a:lnTo>
                    <a:lnTo>
                      <a:pt x="79452" y="28447"/>
                    </a:lnTo>
                    <a:lnTo>
                      <a:pt x="82639" y="31622"/>
                    </a:lnTo>
                    <a:lnTo>
                      <a:pt x="85421" y="34670"/>
                    </a:lnTo>
                    <a:lnTo>
                      <a:pt x="87681" y="37592"/>
                    </a:lnTo>
                    <a:lnTo>
                      <a:pt x="89739" y="40513"/>
                    </a:lnTo>
                    <a:lnTo>
                      <a:pt x="90564" y="41909"/>
                    </a:lnTo>
                    <a:lnTo>
                      <a:pt x="91288" y="43433"/>
                    </a:lnTo>
                    <a:lnTo>
                      <a:pt x="91999" y="44831"/>
                    </a:lnTo>
                    <a:lnTo>
                      <a:pt x="92520" y="46227"/>
                    </a:lnTo>
                    <a:lnTo>
                      <a:pt x="93041" y="47625"/>
                    </a:lnTo>
                    <a:lnTo>
                      <a:pt x="93345" y="49149"/>
                    </a:lnTo>
                    <a:lnTo>
                      <a:pt x="93752" y="50419"/>
                    </a:lnTo>
                    <a:lnTo>
                      <a:pt x="93955" y="51943"/>
                    </a:lnTo>
                    <a:lnTo>
                      <a:pt x="94069" y="53339"/>
                    </a:lnTo>
                    <a:lnTo>
                      <a:pt x="94171" y="54863"/>
                    </a:lnTo>
                    <a:lnTo>
                      <a:pt x="93955" y="57784"/>
                    </a:lnTo>
                    <a:lnTo>
                      <a:pt x="93447" y="60706"/>
                    </a:lnTo>
                    <a:lnTo>
                      <a:pt x="92622" y="63753"/>
                    </a:lnTo>
                    <a:lnTo>
                      <a:pt x="91593" y="66928"/>
                    </a:lnTo>
                    <a:lnTo>
                      <a:pt x="90158" y="70103"/>
                    </a:lnTo>
                    <a:lnTo>
                      <a:pt x="88507" y="73532"/>
                    </a:lnTo>
                    <a:lnTo>
                      <a:pt x="86653" y="76962"/>
                    </a:lnTo>
                    <a:lnTo>
                      <a:pt x="93041" y="75183"/>
                    </a:lnTo>
                    <a:lnTo>
                      <a:pt x="99518" y="73532"/>
                    </a:lnTo>
                    <a:lnTo>
                      <a:pt x="102705" y="72770"/>
                    </a:lnTo>
                    <a:lnTo>
                      <a:pt x="106007" y="72008"/>
                    </a:lnTo>
                    <a:lnTo>
                      <a:pt x="109500" y="71374"/>
                    </a:lnTo>
                    <a:lnTo>
                      <a:pt x="112789" y="70865"/>
                    </a:lnTo>
                    <a:lnTo>
                      <a:pt x="110529" y="73406"/>
                    </a:lnTo>
                    <a:lnTo>
                      <a:pt x="108471" y="75945"/>
                    </a:lnTo>
                    <a:lnTo>
                      <a:pt x="106719" y="78486"/>
                    </a:lnTo>
                    <a:lnTo>
                      <a:pt x="105182" y="81026"/>
                    </a:lnTo>
                    <a:lnTo>
                      <a:pt x="103937" y="83438"/>
                    </a:lnTo>
                    <a:lnTo>
                      <a:pt x="102909" y="86106"/>
                    </a:lnTo>
                    <a:lnTo>
                      <a:pt x="102197" y="88519"/>
                    </a:lnTo>
                    <a:lnTo>
                      <a:pt x="101575" y="91058"/>
                    </a:lnTo>
                    <a:lnTo>
                      <a:pt x="101474" y="93726"/>
                    </a:lnTo>
                    <a:lnTo>
                      <a:pt x="101575" y="96519"/>
                    </a:lnTo>
                    <a:lnTo>
                      <a:pt x="102197" y="99313"/>
                    </a:lnTo>
                    <a:lnTo>
                      <a:pt x="103023" y="102107"/>
                    </a:lnTo>
                    <a:lnTo>
                      <a:pt x="104153" y="105156"/>
                    </a:lnTo>
                    <a:lnTo>
                      <a:pt x="105588" y="108076"/>
                    </a:lnTo>
                    <a:lnTo>
                      <a:pt x="107544" y="111378"/>
                    </a:lnTo>
                    <a:lnTo>
                      <a:pt x="109703" y="114681"/>
                    </a:lnTo>
                    <a:lnTo>
                      <a:pt x="111049" y="116332"/>
                    </a:lnTo>
                    <a:lnTo>
                      <a:pt x="111976" y="117856"/>
                    </a:lnTo>
                    <a:lnTo>
                      <a:pt x="112789" y="119507"/>
                    </a:lnTo>
                    <a:lnTo>
                      <a:pt x="113513" y="120903"/>
                    </a:lnTo>
                    <a:lnTo>
                      <a:pt x="114034" y="122427"/>
                    </a:lnTo>
                    <a:lnTo>
                      <a:pt x="114440" y="123951"/>
                    </a:lnTo>
                    <a:lnTo>
                      <a:pt x="114745" y="125349"/>
                    </a:lnTo>
                    <a:lnTo>
                      <a:pt x="114961" y="126619"/>
                    </a:lnTo>
                    <a:lnTo>
                      <a:pt x="114961" y="128015"/>
                    </a:lnTo>
                    <a:lnTo>
                      <a:pt x="114961" y="129158"/>
                    </a:lnTo>
                    <a:lnTo>
                      <a:pt x="114847" y="130428"/>
                    </a:lnTo>
                    <a:lnTo>
                      <a:pt x="114542" y="131699"/>
                    </a:lnTo>
                    <a:lnTo>
                      <a:pt x="114135" y="132714"/>
                    </a:lnTo>
                    <a:lnTo>
                      <a:pt x="113615" y="133857"/>
                    </a:lnTo>
                    <a:lnTo>
                      <a:pt x="113107" y="134874"/>
                    </a:lnTo>
                    <a:lnTo>
                      <a:pt x="112383" y="135889"/>
                    </a:lnTo>
                    <a:lnTo>
                      <a:pt x="111557" y="136778"/>
                    </a:lnTo>
                    <a:lnTo>
                      <a:pt x="110732" y="137794"/>
                    </a:lnTo>
                    <a:lnTo>
                      <a:pt x="109703" y="138557"/>
                    </a:lnTo>
                    <a:lnTo>
                      <a:pt x="108776" y="139319"/>
                    </a:lnTo>
                    <a:lnTo>
                      <a:pt x="107646" y="140207"/>
                    </a:lnTo>
                    <a:lnTo>
                      <a:pt x="106617" y="140969"/>
                    </a:lnTo>
                    <a:lnTo>
                      <a:pt x="105385" y="141605"/>
                    </a:lnTo>
                    <a:lnTo>
                      <a:pt x="103937" y="142239"/>
                    </a:lnTo>
                    <a:lnTo>
                      <a:pt x="102604" y="142875"/>
                    </a:lnTo>
                    <a:lnTo>
                      <a:pt x="101169" y="143382"/>
                    </a:lnTo>
                    <a:lnTo>
                      <a:pt x="98286" y="144271"/>
                    </a:lnTo>
                    <a:lnTo>
                      <a:pt x="95200" y="144907"/>
                    </a:lnTo>
                    <a:lnTo>
                      <a:pt x="91796" y="145542"/>
                    </a:lnTo>
                    <a:close/>
                    <a:moveTo>
                      <a:pt x="2369058" y="3508247"/>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584" name="Rectangle 1555">
                <a:extLst>
                  <a:ext uri="{FF2B5EF4-FFF2-40B4-BE49-F238E27FC236}">
                    <a16:creationId xmlns:a16="http://schemas.microsoft.com/office/drawing/2014/main" id="{D5C6B960-7BAD-4A46-ADCA-13BE0340BB13}"/>
                  </a:ext>
                </a:extLst>
              </p:cNvPr>
              <p:cNvSpPr/>
              <p:nvPr/>
            </p:nvSpPr>
            <p:spPr>
              <a:xfrm>
                <a:off x="875364" y="3532553"/>
                <a:ext cx="381515" cy="15478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Waste</a:t>
                </a:r>
              </a:p>
            </p:txBody>
          </p:sp>
          <p:sp>
            <p:nvSpPr>
              <p:cNvPr id="585" name="Freeform 1327">
                <a:extLst>
                  <a:ext uri="{FF2B5EF4-FFF2-40B4-BE49-F238E27FC236}">
                    <a16:creationId xmlns:a16="http://schemas.microsoft.com/office/drawing/2014/main" id="{E79B619C-A7D9-4A45-BD90-B198C96427BB}"/>
                  </a:ext>
                </a:extLst>
              </p:cNvPr>
              <p:cNvSpPr/>
              <p:nvPr/>
            </p:nvSpPr>
            <p:spPr>
              <a:xfrm>
                <a:off x="1130538" y="3176052"/>
                <a:ext cx="57881" cy="118809"/>
              </a:xfrm>
              <a:custGeom>
                <a:avLst/>
                <a:gdLst/>
                <a:ahLst/>
                <a:cxnLst/>
                <a:rect l="0" t="0" r="0" b="0"/>
                <a:pathLst>
                  <a:path w="57911" h="118871">
                    <a:moveTo>
                      <a:pt x="52247" y="0"/>
                    </a:moveTo>
                    <a:lnTo>
                      <a:pt x="5664" y="0"/>
                    </a:lnTo>
                    <a:lnTo>
                      <a:pt x="0" y="118871"/>
                    </a:lnTo>
                    <a:lnTo>
                      <a:pt x="57911" y="118871"/>
                    </a:lnTo>
                    <a:lnTo>
                      <a:pt x="52247" y="0"/>
                    </a:lnTo>
                    <a:close/>
                    <a:moveTo>
                      <a:pt x="2578607" y="3697223"/>
                    </a:moveTo>
                    <a:moveTo>
                      <a:pt x="12585" y="91566"/>
                    </a:moveTo>
                    <a:lnTo>
                      <a:pt x="16471" y="8001"/>
                    </a:lnTo>
                    <a:lnTo>
                      <a:pt x="41338" y="8001"/>
                    </a:lnTo>
                    <a:lnTo>
                      <a:pt x="46062" y="108839"/>
                    </a:lnTo>
                    <a:lnTo>
                      <a:pt x="12585" y="91566"/>
                    </a:lnTo>
                    <a:close/>
                    <a:moveTo>
                      <a:pt x="2487041" y="3697223"/>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grpSp>
      </p:grpSp>
      <p:grpSp>
        <p:nvGrpSpPr>
          <p:cNvPr id="3" name="Group 2">
            <a:extLst>
              <a:ext uri="{FF2B5EF4-FFF2-40B4-BE49-F238E27FC236}">
                <a16:creationId xmlns:a16="http://schemas.microsoft.com/office/drawing/2014/main" id="{ACC693B1-64ED-4C6F-A2DE-43B416C34687}"/>
              </a:ext>
            </a:extLst>
          </p:cNvPr>
          <p:cNvGrpSpPr/>
          <p:nvPr/>
        </p:nvGrpSpPr>
        <p:grpSpPr>
          <a:xfrm>
            <a:off x="2988628" y="1533597"/>
            <a:ext cx="1848210" cy="1856328"/>
            <a:chOff x="2988628" y="1533597"/>
            <a:chExt cx="1848210" cy="1856328"/>
          </a:xfrm>
        </p:grpSpPr>
        <p:pic>
          <p:nvPicPr>
            <p:cNvPr id="1362" name="Picture 1362"/>
            <p:cNvPicPr>
              <a:picLocks noChangeArrowheads="1"/>
            </p:cNvPicPr>
            <p:nvPr/>
          </p:nvPicPr>
          <p:blipFill>
            <a:blip r:embed="rId33">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a:xfrm>
              <a:off x="3111182" y="2164636"/>
              <a:ext cx="740527" cy="1225289"/>
            </a:xfrm>
            <a:prstGeom prst="rect">
              <a:avLst/>
            </a:prstGeom>
            <a:noFill/>
          </p:spPr>
        </p:pic>
        <p:grpSp>
          <p:nvGrpSpPr>
            <p:cNvPr id="595" name="2. H2 Generation - Power">
              <a:extLst>
                <a:ext uri="{FF2B5EF4-FFF2-40B4-BE49-F238E27FC236}">
                  <a16:creationId xmlns:a16="http://schemas.microsoft.com/office/drawing/2014/main" id="{67848AD1-9735-45FF-B29A-11E2391F5990}"/>
                </a:ext>
              </a:extLst>
            </p:cNvPr>
            <p:cNvGrpSpPr/>
            <p:nvPr/>
          </p:nvGrpSpPr>
          <p:grpSpPr>
            <a:xfrm>
              <a:off x="2988628" y="1533597"/>
              <a:ext cx="1848210" cy="1847195"/>
              <a:chOff x="2990184" y="1532609"/>
              <a:chExt cx="1849173" cy="1848157"/>
            </a:xfrm>
          </p:grpSpPr>
          <p:sp>
            <p:nvSpPr>
              <p:cNvPr id="596" name="Freeform 1530">
                <a:extLst>
                  <a:ext uri="{FF2B5EF4-FFF2-40B4-BE49-F238E27FC236}">
                    <a16:creationId xmlns:a16="http://schemas.microsoft.com/office/drawing/2014/main" id="{445A181A-E451-45A1-9487-064C80EF9ADA}"/>
                  </a:ext>
                </a:extLst>
              </p:cNvPr>
              <p:cNvSpPr/>
              <p:nvPr/>
            </p:nvSpPr>
            <p:spPr>
              <a:xfrm>
                <a:off x="2990184" y="1532609"/>
                <a:ext cx="1849173" cy="1696465"/>
              </a:xfrm>
              <a:custGeom>
                <a:avLst/>
                <a:gdLst/>
                <a:ahLst/>
                <a:cxnLst/>
                <a:rect l="0" t="0" r="0" b="0"/>
                <a:pathLst>
                  <a:path w="1850136" h="4014216">
                    <a:moveTo>
                      <a:pt x="0" y="4014216"/>
                    </a:moveTo>
                    <a:lnTo>
                      <a:pt x="1850136" y="4014216"/>
                    </a:lnTo>
                    <a:lnTo>
                      <a:pt x="1850136" y="0"/>
                    </a:lnTo>
                    <a:lnTo>
                      <a:pt x="0" y="0"/>
                    </a:lnTo>
                    <a:lnTo>
                      <a:pt x="0" y="4014216"/>
                    </a:lnTo>
                    <a:close/>
                  </a:path>
                </a:pathLst>
              </a:custGeom>
              <a:noFill/>
              <a:ln w="9525" cap="flat" cmpd="sng">
                <a:solidFill>
                  <a:srgbClr val="C00000"/>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597" name="Freeform 1306">
                <a:extLst>
                  <a:ext uri="{FF2B5EF4-FFF2-40B4-BE49-F238E27FC236}">
                    <a16:creationId xmlns:a16="http://schemas.microsoft.com/office/drawing/2014/main" id="{BB84823E-219D-4CEB-85E1-2AB7225A88EA}"/>
                  </a:ext>
                </a:extLst>
              </p:cNvPr>
              <p:cNvSpPr/>
              <p:nvPr/>
            </p:nvSpPr>
            <p:spPr>
              <a:xfrm>
                <a:off x="3198861" y="1601153"/>
                <a:ext cx="453916" cy="344245"/>
              </a:xfrm>
              <a:custGeom>
                <a:avLst/>
                <a:gdLst/>
                <a:ahLst/>
                <a:cxnLst/>
                <a:rect l="0" t="0" r="0" b="0"/>
                <a:pathLst>
                  <a:path w="454152" h="344424">
                    <a:moveTo>
                      <a:pt x="212726" y="45847"/>
                    </a:moveTo>
                    <a:lnTo>
                      <a:pt x="212726" y="45847"/>
                    </a:lnTo>
                    <a:lnTo>
                      <a:pt x="212852" y="44831"/>
                    </a:lnTo>
                    <a:lnTo>
                      <a:pt x="212979" y="43942"/>
                    </a:lnTo>
                    <a:lnTo>
                      <a:pt x="213233" y="43054"/>
                    </a:lnTo>
                    <a:lnTo>
                      <a:pt x="213488" y="42165"/>
                    </a:lnTo>
                    <a:lnTo>
                      <a:pt x="213741" y="41275"/>
                    </a:lnTo>
                    <a:lnTo>
                      <a:pt x="214122" y="40386"/>
                    </a:lnTo>
                    <a:lnTo>
                      <a:pt x="214758" y="39497"/>
                    </a:lnTo>
                    <a:lnTo>
                      <a:pt x="215265" y="38735"/>
                    </a:lnTo>
                    <a:lnTo>
                      <a:pt x="216663" y="37211"/>
                    </a:lnTo>
                    <a:lnTo>
                      <a:pt x="218187" y="35687"/>
                    </a:lnTo>
                    <a:lnTo>
                      <a:pt x="220091" y="34291"/>
                    </a:lnTo>
                    <a:lnTo>
                      <a:pt x="222124" y="33021"/>
                    </a:lnTo>
                    <a:lnTo>
                      <a:pt x="224409" y="31878"/>
                    </a:lnTo>
                    <a:lnTo>
                      <a:pt x="226822" y="30735"/>
                    </a:lnTo>
                    <a:lnTo>
                      <a:pt x="229363" y="29846"/>
                    </a:lnTo>
                    <a:lnTo>
                      <a:pt x="232283" y="29084"/>
                    </a:lnTo>
                    <a:lnTo>
                      <a:pt x="235204" y="28448"/>
                    </a:lnTo>
                    <a:lnTo>
                      <a:pt x="238126" y="27941"/>
                    </a:lnTo>
                    <a:lnTo>
                      <a:pt x="241301" y="27814"/>
                    </a:lnTo>
                    <a:lnTo>
                      <a:pt x="244602" y="27686"/>
                    </a:lnTo>
                    <a:lnTo>
                      <a:pt x="246762" y="27686"/>
                    </a:lnTo>
                    <a:lnTo>
                      <a:pt x="248794" y="27814"/>
                    </a:lnTo>
                    <a:lnTo>
                      <a:pt x="249175" y="26671"/>
                    </a:lnTo>
                    <a:lnTo>
                      <a:pt x="249683" y="25654"/>
                    </a:lnTo>
                    <a:lnTo>
                      <a:pt x="250190" y="24511"/>
                    </a:lnTo>
                    <a:lnTo>
                      <a:pt x="250952" y="23368"/>
                    </a:lnTo>
                    <a:lnTo>
                      <a:pt x="251714" y="22479"/>
                    </a:lnTo>
                    <a:lnTo>
                      <a:pt x="252603" y="21464"/>
                    </a:lnTo>
                    <a:lnTo>
                      <a:pt x="253620" y="20447"/>
                    </a:lnTo>
                    <a:lnTo>
                      <a:pt x="254635" y="19431"/>
                    </a:lnTo>
                    <a:lnTo>
                      <a:pt x="256921" y="17654"/>
                    </a:lnTo>
                    <a:lnTo>
                      <a:pt x="259462" y="15875"/>
                    </a:lnTo>
                    <a:lnTo>
                      <a:pt x="262128" y="14352"/>
                    </a:lnTo>
                    <a:lnTo>
                      <a:pt x="265177" y="12828"/>
                    </a:lnTo>
                    <a:lnTo>
                      <a:pt x="268478" y="11558"/>
                    </a:lnTo>
                    <a:lnTo>
                      <a:pt x="271908" y="10415"/>
                    </a:lnTo>
                    <a:lnTo>
                      <a:pt x="275590" y="9272"/>
                    </a:lnTo>
                    <a:lnTo>
                      <a:pt x="279401" y="8510"/>
                    </a:lnTo>
                    <a:lnTo>
                      <a:pt x="283464" y="7747"/>
                    </a:lnTo>
                    <a:lnTo>
                      <a:pt x="287528" y="7240"/>
                    </a:lnTo>
                    <a:lnTo>
                      <a:pt x="291720" y="6985"/>
                    </a:lnTo>
                    <a:lnTo>
                      <a:pt x="296164" y="6985"/>
                    </a:lnTo>
                    <a:lnTo>
                      <a:pt x="299975" y="6985"/>
                    </a:lnTo>
                    <a:lnTo>
                      <a:pt x="303784" y="7240"/>
                    </a:lnTo>
                    <a:lnTo>
                      <a:pt x="306325" y="5589"/>
                    </a:lnTo>
                    <a:lnTo>
                      <a:pt x="308991" y="4191"/>
                    </a:lnTo>
                    <a:lnTo>
                      <a:pt x="311785" y="2922"/>
                    </a:lnTo>
                    <a:lnTo>
                      <a:pt x="314707" y="1905"/>
                    </a:lnTo>
                    <a:lnTo>
                      <a:pt x="317882" y="1143"/>
                    </a:lnTo>
                    <a:lnTo>
                      <a:pt x="321057" y="381"/>
                    </a:lnTo>
                    <a:lnTo>
                      <a:pt x="324485" y="128"/>
                    </a:lnTo>
                    <a:lnTo>
                      <a:pt x="328041" y="0"/>
                    </a:lnTo>
                    <a:lnTo>
                      <a:pt x="329693" y="0"/>
                    </a:lnTo>
                    <a:lnTo>
                      <a:pt x="331470" y="128"/>
                    </a:lnTo>
                    <a:lnTo>
                      <a:pt x="334900" y="381"/>
                    </a:lnTo>
                    <a:lnTo>
                      <a:pt x="338202" y="1143"/>
                    </a:lnTo>
                    <a:lnTo>
                      <a:pt x="341377" y="1905"/>
                    </a:lnTo>
                    <a:lnTo>
                      <a:pt x="344297" y="3048"/>
                    </a:lnTo>
                    <a:lnTo>
                      <a:pt x="347219" y="4318"/>
                    </a:lnTo>
                    <a:lnTo>
                      <a:pt x="349758" y="5716"/>
                    </a:lnTo>
                    <a:lnTo>
                      <a:pt x="352299" y="7366"/>
                    </a:lnTo>
                    <a:lnTo>
                      <a:pt x="353441" y="8255"/>
                    </a:lnTo>
                    <a:lnTo>
                      <a:pt x="354458" y="9145"/>
                    </a:lnTo>
                    <a:lnTo>
                      <a:pt x="355474" y="10034"/>
                    </a:lnTo>
                    <a:lnTo>
                      <a:pt x="356489" y="11177"/>
                    </a:lnTo>
                    <a:lnTo>
                      <a:pt x="357506" y="12066"/>
                    </a:lnTo>
                    <a:lnTo>
                      <a:pt x="358140" y="13209"/>
                    </a:lnTo>
                    <a:lnTo>
                      <a:pt x="359029" y="14224"/>
                    </a:lnTo>
                    <a:lnTo>
                      <a:pt x="359664" y="15367"/>
                    </a:lnTo>
                    <a:lnTo>
                      <a:pt x="360427" y="16510"/>
                    </a:lnTo>
                    <a:lnTo>
                      <a:pt x="360934" y="17654"/>
                    </a:lnTo>
                    <a:lnTo>
                      <a:pt x="361315" y="18923"/>
                    </a:lnTo>
                    <a:lnTo>
                      <a:pt x="361824" y="20066"/>
                    </a:lnTo>
                    <a:lnTo>
                      <a:pt x="362077" y="21464"/>
                    </a:lnTo>
                    <a:lnTo>
                      <a:pt x="362332" y="22606"/>
                    </a:lnTo>
                    <a:lnTo>
                      <a:pt x="362458" y="23877"/>
                    </a:lnTo>
                    <a:lnTo>
                      <a:pt x="362458" y="25147"/>
                    </a:lnTo>
                    <a:lnTo>
                      <a:pt x="364999" y="24639"/>
                    </a:lnTo>
                    <a:lnTo>
                      <a:pt x="367539" y="24004"/>
                    </a:lnTo>
                    <a:lnTo>
                      <a:pt x="370206" y="23622"/>
                    </a:lnTo>
                    <a:lnTo>
                      <a:pt x="372872" y="23115"/>
                    </a:lnTo>
                    <a:lnTo>
                      <a:pt x="375666" y="22734"/>
                    </a:lnTo>
                    <a:lnTo>
                      <a:pt x="378588" y="22606"/>
                    </a:lnTo>
                    <a:lnTo>
                      <a:pt x="381508" y="22479"/>
                    </a:lnTo>
                    <a:lnTo>
                      <a:pt x="384429" y="22479"/>
                    </a:lnTo>
                    <a:lnTo>
                      <a:pt x="388875" y="22606"/>
                    </a:lnTo>
                    <a:lnTo>
                      <a:pt x="393320" y="22734"/>
                    </a:lnTo>
                    <a:lnTo>
                      <a:pt x="397383" y="23368"/>
                    </a:lnTo>
                    <a:lnTo>
                      <a:pt x="401320" y="24004"/>
                    </a:lnTo>
                    <a:lnTo>
                      <a:pt x="405258" y="24892"/>
                    </a:lnTo>
                    <a:lnTo>
                      <a:pt x="408687" y="25909"/>
                    </a:lnTo>
                    <a:lnTo>
                      <a:pt x="412115" y="27179"/>
                    </a:lnTo>
                    <a:lnTo>
                      <a:pt x="415290" y="28448"/>
                    </a:lnTo>
                    <a:lnTo>
                      <a:pt x="418084" y="29846"/>
                    </a:lnTo>
                    <a:lnTo>
                      <a:pt x="419354" y="30608"/>
                    </a:lnTo>
                    <a:lnTo>
                      <a:pt x="420497" y="31497"/>
                    </a:lnTo>
                    <a:lnTo>
                      <a:pt x="421640" y="32259"/>
                    </a:lnTo>
                    <a:lnTo>
                      <a:pt x="422783" y="33021"/>
                    </a:lnTo>
                    <a:lnTo>
                      <a:pt x="423672" y="33910"/>
                    </a:lnTo>
                    <a:lnTo>
                      <a:pt x="424562" y="34798"/>
                    </a:lnTo>
                    <a:lnTo>
                      <a:pt x="425324" y="35815"/>
                    </a:lnTo>
                    <a:lnTo>
                      <a:pt x="426085" y="36704"/>
                    </a:lnTo>
                    <a:lnTo>
                      <a:pt x="426594" y="37720"/>
                    </a:lnTo>
                    <a:lnTo>
                      <a:pt x="427102" y="38735"/>
                    </a:lnTo>
                    <a:lnTo>
                      <a:pt x="427483" y="39752"/>
                    </a:lnTo>
                    <a:lnTo>
                      <a:pt x="427737" y="40641"/>
                    </a:lnTo>
                    <a:lnTo>
                      <a:pt x="427864" y="41784"/>
                    </a:lnTo>
                    <a:lnTo>
                      <a:pt x="427864" y="42799"/>
                    </a:lnTo>
                    <a:lnTo>
                      <a:pt x="427864" y="43561"/>
                    </a:lnTo>
                    <a:lnTo>
                      <a:pt x="427864" y="44450"/>
                    </a:lnTo>
                    <a:lnTo>
                      <a:pt x="427737" y="45212"/>
                    </a:lnTo>
                    <a:lnTo>
                      <a:pt x="427356" y="46102"/>
                    </a:lnTo>
                    <a:lnTo>
                      <a:pt x="426720" y="47625"/>
                    </a:lnTo>
                    <a:lnTo>
                      <a:pt x="425832" y="49149"/>
                    </a:lnTo>
                    <a:lnTo>
                      <a:pt x="424562" y="50673"/>
                    </a:lnTo>
                    <a:lnTo>
                      <a:pt x="423164" y="52197"/>
                    </a:lnTo>
                    <a:lnTo>
                      <a:pt x="421514" y="53467"/>
                    </a:lnTo>
                    <a:lnTo>
                      <a:pt x="419608" y="54610"/>
                    </a:lnTo>
                    <a:lnTo>
                      <a:pt x="384557" y="54610"/>
                    </a:lnTo>
                    <a:lnTo>
                      <a:pt x="384938" y="56516"/>
                    </a:lnTo>
                    <a:lnTo>
                      <a:pt x="384938" y="58293"/>
                    </a:lnTo>
                    <a:lnTo>
                      <a:pt x="384938" y="59691"/>
                    </a:lnTo>
                    <a:lnTo>
                      <a:pt x="384810" y="60960"/>
                    </a:lnTo>
                    <a:lnTo>
                      <a:pt x="384557" y="62230"/>
                    </a:lnTo>
                    <a:lnTo>
                      <a:pt x="384176" y="63500"/>
                    </a:lnTo>
                    <a:lnTo>
                      <a:pt x="383921" y="64771"/>
                    </a:lnTo>
                    <a:lnTo>
                      <a:pt x="383414" y="65914"/>
                    </a:lnTo>
                    <a:lnTo>
                      <a:pt x="382906" y="67056"/>
                    </a:lnTo>
                    <a:lnTo>
                      <a:pt x="382144" y="68327"/>
                    </a:lnTo>
                    <a:lnTo>
                      <a:pt x="381508" y="69470"/>
                    </a:lnTo>
                    <a:lnTo>
                      <a:pt x="380746" y="70485"/>
                    </a:lnTo>
                    <a:lnTo>
                      <a:pt x="379984" y="71629"/>
                    </a:lnTo>
                    <a:lnTo>
                      <a:pt x="379095" y="72645"/>
                    </a:lnTo>
                    <a:lnTo>
                      <a:pt x="378079" y="73660"/>
                    </a:lnTo>
                    <a:lnTo>
                      <a:pt x="377064" y="74677"/>
                    </a:lnTo>
                    <a:lnTo>
                      <a:pt x="375920" y="75439"/>
                    </a:lnTo>
                    <a:lnTo>
                      <a:pt x="374777" y="76454"/>
                    </a:lnTo>
                    <a:lnTo>
                      <a:pt x="372364" y="77979"/>
                    </a:lnTo>
                    <a:lnTo>
                      <a:pt x="369697" y="79503"/>
                    </a:lnTo>
                    <a:lnTo>
                      <a:pt x="366777" y="80772"/>
                    </a:lnTo>
                    <a:lnTo>
                      <a:pt x="363856" y="81916"/>
                    </a:lnTo>
                    <a:lnTo>
                      <a:pt x="360681" y="82678"/>
                    </a:lnTo>
                    <a:lnTo>
                      <a:pt x="357252" y="83440"/>
                    </a:lnTo>
                    <a:lnTo>
                      <a:pt x="355601" y="83566"/>
                    </a:lnTo>
                    <a:lnTo>
                      <a:pt x="353950" y="83693"/>
                    </a:lnTo>
                    <a:lnTo>
                      <a:pt x="352171" y="83821"/>
                    </a:lnTo>
                    <a:lnTo>
                      <a:pt x="350394" y="83821"/>
                    </a:lnTo>
                    <a:lnTo>
                      <a:pt x="348615" y="83821"/>
                    </a:lnTo>
                    <a:lnTo>
                      <a:pt x="346838" y="83693"/>
                    </a:lnTo>
                    <a:lnTo>
                      <a:pt x="345187" y="83566"/>
                    </a:lnTo>
                    <a:lnTo>
                      <a:pt x="343408" y="83440"/>
                    </a:lnTo>
                    <a:lnTo>
                      <a:pt x="340233" y="82678"/>
                    </a:lnTo>
                    <a:lnTo>
                      <a:pt x="337058" y="81916"/>
                    </a:lnTo>
                    <a:lnTo>
                      <a:pt x="334010" y="80772"/>
                    </a:lnTo>
                    <a:lnTo>
                      <a:pt x="331089" y="79503"/>
                    </a:lnTo>
                    <a:lnTo>
                      <a:pt x="328422" y="77979"/>
                    </a:lnTo>
                    <a:lnTo>
                      <a:pt x="326009" y="76454"/>
                    </a:lnTo>
                    <a:lnTo>
                      <a:pt x="324866" y="75439"/>
                    </a:lnTo>
                    <a:lnTo>
                      <a:pt x="323724" y="74677"/>
                    </a:lnTo>
                    <a:lnTo>
                      <a:pt x="322834" y="73660"/>
                    </a:lnTo>
                    <a:lnTo>
                      <a:pt x="321819" y="72645"/>
                    </a:lnTo>
                    <a:lnTo>
                      <a:pt x="320802" y="71629"/>
                    </a:lnTo>
                    <a:lnTo>
                      <a:pt x="320168" y="70485"/>
                    </a:lnTo>
                    <a:lnTo>
                      <a:pt x="319278" y="69470"/>
                    </a:lnTo>
                    <a:lnTo>
                      <a:pt x="318644" y="68327"/>
                    </a:lnTo>
                    <a:lnTo>
                      <a:pt x="317882" y="67056"/>
                    </a:lnTo>
                    <a:lnTo>
                      <a:pt x="317374" y="65914"/>
                    </a:lnTo>
                    <a:lnTo>
                      <a:pt x="316993" y="64771"/>
                    </a:lnTo>
                    <a:lnTo>
                      <a:pt x="316612" y="63500"/>
                    </a:lnTo>
                    <a:lnTo>
                      <a:pt x="316231" y="62230"/>
                    </a:lnTo>
                    <a:lnTo>
                      <a:pt x="316103" y="60960"/>
                    </a:lnTo>
                    <a:lnTo>
                      <a:pt x="315977" y="59691"/>
                    </a:lnTo>
                    <a:lnTo>
                      <a:pt x="315850" y="58293"/>
                    </a:lnTo>
                    <a:lnTo>
                      <a:pt x="315977" y="56516"/>
                    </a:lnTo>
                    <a:lnTo>
                      <a:pt x="313690" y="57023"/>
                    </a:lnTo>
                    <a:lnTo>
                      <a:pt x="311277" y="57531"/>
                    </a:lnTo>
                    <a:lnTo>
                      <a:pt x="308864" y="57912"/>
                    </a:lnTo>
                    <a:lnTo>
                      <a:pt x="306452" y="58166"/>
                    </a:lnTo>
                    <a:lnTo>
                      <a:pt x="304039" y="58547"/>
                    </a:lnTo>
                    <a:lnTo>
                      <a:pt x="301371" y="58547"/>
                    </a:lnTo>
                    <a:lnTo>
                      <a:pt x="298832" y="58674"/>
                    </a:lnTo>
                    <a:lnTo>
                      <a:pt x="296164" y="58802"/>
                    </a:lnTo>
                    <a:lnTo>
                      <a:pt x="292863" y="58674"/>
                    </a:lnTo>
                    <a:lnTo>
                      <a:pt x="289560" y="58547"/>
                    </a:lnTo>
                    <a:lnTo>
                      <a:pt x="286513" y="58293"/>
                    </a:lnTo>
                    <a:lnTo>
                      <a:pt x="283338" y="57912"/>
                    </a:lnTo>
                    <a:lnTo>
                      <a:pt x="280289" y="57278"/>
                    </a:lnTo>
                    <a:lnTo>
                      <a:pt x="277369" y="56770"/>
                    </a:lnTo>
                    <a:lnTo>
                      <a:pt x="274447" y="56008"/>
                    </a:lnTo>
                    <a:lnTo>
                      <a:pt x="271781" y="55246"/>
                    </a:lnTo>
                    <a:lnTo>
                      <a:pt x="270764" y="56135"/>
                    </a:lnTo>
                    <a:lnTo>
                      <a:pt x="269495" y="57023"/>
                    </a:lnTo>
                    <a:lnTo>
                      <a:pt x="268225" y="57912"/>
                    </a:lnTo>
                    <a:lnTo>
                      <a:pt x="266701" y="58802"/>
                    </a:lnTo>
                    <a:lnTo>
                      <a:pt x="265303" y="59564"/>
                    </a:lnTo>
                    <a:lnTo>
                      <a:pt x="263779" y="60325"/>
                    </a:lnTo>
                    <a:lnTo>
                      <a:pt x="262128" y="60960"/>
                    </a:lnTo>
                    <a:lnTo>
                      <a:pt x="260477" y="61596"/>
                    </a:lnTo>
                    <a:lnTo>
                      <a:pt x="258700" y="62104"/>
                    </a:lnTo>
                    <a:lnTo>
                      <a:pt x="256795" y="62611"/>
                    </a:lnTo>
                    <a:lnTo>
                      <a:pt x="254889" y="63120"/>
                    </a:lnTo>
                    <a:lnTo>
                      <a:pt x="252984" y="63373"/>
                    </a:lnTo>
                    <a:lnTo>
                      <a:pt x="250952" y="63500"/>
                    </a:lnTo>
                    <a:lnTo>
                      <a:pt x="248794" y="63754"/>
                    </a:lnTo>
                    <a:lnTo>
                      <a:pt x="246762" y="63881"/>
                    </a:lnTo>
                    <a:lnTo>
                      <a:pt x="244602" y="64009"/>
                    </a:lnTo>
                    <a:lnTo>
                      <a:pt x="241301" y="63881"/>
                    </a:lnTo>
                    <a:lnTo>
                      <a:pt x="238126" y="63500"/>
                    </a:lnTo>
                    <a:lnTo>
                      <a:pt x="235204" y="63120"/>
                    </a:lnTo>
                    <a:lnTo>
                      <a:pt x="232283" y="62485"/>
                    </a:lnTo>
                    <a:lnTo>
                      <a:pt x="229363" y="61722"/>
                    </a:lnTo>
                    <a:lnTo>
                      <a:pt x="226822" y="60834"/>
                    </a:lnTo>
                    <a:lnTo>
                      <a:pt x="224409" y="59817"/>
                    </a:lnTo>
                    <a:lnTo>
                      <a:pt x="222124" y="58547"/>
                    </a:lnTo>
                    <a:lnTo>
                      <a:pt x="220091" y="57404"/>
                    </a:lnTo>
                    <a:lnTo>
                      <a:pt x="218187" y="56008"/>
                    </a:lnTo>
                    <a:lnTo>
                      <a:pt x="216663" y="54484"/>
                    </a:lnTo>
                    <a:lnTo>
                      <a:pt x="215265" y="52833"/>
                    </a:lnTo>
                    <a:lnTo>
                      <a:pt x="214758" y="51943"/>
                    </a:lnTo>
                    <a:lnTo>
                      <a:pt x="214122" y="51309"/>
                    </a:lnTo>
                    <a:lnTo>
                      <a:pt x="213741" y="50420"/>
                    </a:lnTo>
                    <a:lnTo>
                      <a:pt x="213488" y="49530"/>
                    </a:lnTo>
                    <a:lnTo>
                      <a:pt x="213233" y="48515"/>
                    </a:lnTo>
                    <a:lnTo>
                      <a:pt x="212979" y="47625"/>
                    </a:lnTo>
                    <a:lnTo>
                      <a:pt x="212852" y="46736"/>
                    </a:lnTo>
                    <a:lnTo>
                      <a:pt x="212726" y="45847"/>
                    </a:lnTo>
                    <a:close/>
                    <a:moveTo>
                      <a:pt x="2014602" y="5257800"/>
                    </a:moveTo>
                    <a:moveTo>
                      <a:pt x="176531" y="198374"/>
                    </a:moveTo>
                    <a:lnTo>
                      <a:pt x="176531" y="234823"/>
                    </a:lnTo>
                    <a:lnTo>
                      <a:pt x="0" y="234823"/>
                    </a:lnTo>
                    <a:lnTo>
                      <a:pt x="0" y="198374"/>
                    </a:lnTo>
                    <a:lnTo>
                      <a:pt x="176531" y="198374"/>
                    </a:lnTo>
                    <a:close/>
                    <a:moveTo>
                      <a:pt x="1862075" y="5257800"/>
                    </a:moveTo>
                    <a:moveTo>
                      <a:pt x="278893" y="303404"/>
                    </a:moveTo>
                    <a:lnTo>
                      <a:pt x="306959" y="344424"/>
                    </a:lnTo>
                    <a:lnTo>
                      <a:pt x="296164" y="344424"/>
                    </a:lnTo>
                    <a:lnTo>
                      <a:pt x="270510" y="306705"/>
                    </a:lnTo>
                    <a:lnTo>
                      <a:pt x="270257" y="306833"/>
                    </a:lnTo>
                    <a:lnTo>
                      <a:pt x="270257" y="306324"/>
                    </a:lnTo>
                    <a:lnTo>
                      <a:pt x="265303" y="299212"/>
                    </a:lnTo>
                    <a:lnTo>
                      <a:pt x="267844" y="298450"/>
                    </a:lnTo>
                    <a:lnTo>
                      <a:pt x="270257" y="297689"/>
                    </a:lnTo>
                    <a:lnTo>
                      <a:pt x="272162" y="296927"/>
                    </a:lnTo>
                    <a:lnTo>
                      <a:pt x="273939" y="296165"/>
                    </a:lnTo>
                    <a:lnTo>
                      <a:pt x="277114" y="294641"/>
                    </a:lnTo>
                    <a:lnTo>
                      <a:pt x="280035" y="292862"/>
                    </a:lnTo>
                    <a:lnTo>
                      <a:pt x="282957" y="290958"/>
                    </a:lnTo>
                    <a:lnTo>
                      <a:pt x="285496" y="288925"/>
                    </a:lnTo>
                    <a:lnTo>
                      <a:pt x="288037" y="286512"/>
                    </a:lnTo>
                    <a:lnTo>
                      <a:pt x="290450" y="284099"/>
                    </a:lnTo>
                    <a:lnTo>
                      <a:pt x="292482" y="281560"/>
                    </a:lnTo>
                    <a:lnTo>
                      <a:pt x="294514" y="278892"/>
                    </a:lnTo>
                    <a:lnTo>
                      <a:pt x="296164" y="275845"/>
                    </a:lnTo>
                    <a:lnTo>
                      <a:pt x="297815" y="272797"/>
                    </a:lnTo>
                    <a:lnTo>
                      <a:pt x="299085" y="269748"/>
                    </a:lnTo>
                    <a:lnTo>
                      <a:pt x="300356" y="266573"/>
                    </a:lnTo>
                    <a:lnTo>
                      <a:pt x="301245" y="263272"/>
                    </a:lnTo>
                    <a:lnTo>
                      <a:pt x="301879" y="259842"/>
                    </a:lnTo>
                    <a:lnTo>
                      <a:pt x="302260" y="256286"/>
                    </a:lnTo>
                    <a:lnTo>
                      <a:pt x="302388" y="252730"/>
                    </a:lnTo>
                    <a:lnTo>
                      <a:pt x="302388" y="250064"/>
                    </a:lnTo>
                    <a:lnTo>
                      <a:pt x="302133" y="247397"/>
                    </a:lnTo>
                    <a:lnTo>
                      <a:pt x="301879" y="244729"/>
                    </a:lnTo>
                    <a:lnTo>
                      <a:pt x="301245" y="242190"/>
                    </a:lnTo>
                    <a:lnTo>
                      <a:pt x="300737" y="239904"/>
                    </a:lnTo>
                    <a:lnTo>
                      <a:pt x="299975" y="237617"/>
                    </a:lnTo>
                    <a:lnTo>
                      <a:pt x="299085" y="235331"/>
                    </a:lnTo>
                    <a:lnTo>
                      <a:pt x="298196" y="233172"/>
                    </a:lnTo>
                    <a:lnTo>
                      <a:pt x="297308" y="231267"/>
                    </a:lnTo>
                    <a:lnTo>
                      <a:pt x="296164" y="229109"/>
                    </a:lnTo>
                    <a:lnTo>
                      <a:pt x="294895" y="227330"/>
                    </a:lnTo>
                    <a:lnTo>
                      <a:pt x="293625" y="225553"/>
                    </a:lnTo>
                    <a:lnTo>
                      <a:pt x="292354" y="223902"/>
                    </a:lnTo>
                    <a:lnTo>
                      <a:pt x="290831" y="222250"/>
                    </a:lnTo>
                    <a:lnTo>
                      <a:pt x="289433" y="220599"/>
                    </a:lnTo>
                    <a:lnTo>
                      <a:pt x="287909" y="219203"/>
                    </a:lnTo>
                    <a:lnTo>
                      <a:pt x="286385" y="217805"/>
                    </a:lnTo>
                    <a:lnTo>
                      <a:pt x="284862" y="216535"/>
                    </a:lnTo>
                    <a:lnTo>
                      <a:pt x="283210" y="215266"/>
                    </a:lnTo>
                    <a:lnTo>
                      <a:pt x="281559" y="214249"/>
                    </a:lnTo>
                    <a:lnTo>
                      <a:pt x="279908" y="213106"/>
                    </a:lnTo>
                    <a:lnTo>
                      <a:pt x="278258" y="211964"/>
                    </a:lnTo>
                    <a:lnTo>
                      <a:pt x="274956" y="210312"/>
                    </a:lnTo>
                    <a:lnTo>
                      <a:pt x="271653" y="208661"/>
                    </a:lnTo>
                    <a:lnTo>
                      <a:pt x="268478" y="207518"/>
                    </a:lnTo>
                    <a:lnTo>
                      <a:pt x="265558" y="206503"/>
                    </a:lnTo>
                    <a:lnTo>
                      <a:pt x="262890" y="205741"/>
                    </a:lnTo>
                    <a:lnTo>
                      <a:pt x="262128" y="205486"/>
                    </a:lnTo>
                    <a:lnTo>
                      <a:pt x="261494" y="205105"/>
                    </a:lnTo>
                    <a:lnTo>
                      <a:pt x="260985" y="204724"/>
                    </a:lnTo>
                    <a:lnTo>
                      <a:pt x="260477" y="204216"/>
                    </a:lnTo>
                    <a:lnTo>
                      <a:pt x="260096" y="203709"/>
                    </a:lnTo>
                    <a:lnTo>
                      <a:pt x="259715" y="203073"/>
                    </a:lnTo>
                    <a:lnTo>
                      <a:pt x="259589" y="202311"/>
                    </a:lnTo>
                    <a:lnTo>
                      <a:pt x="259462" y="201549"/>
                    </a:lnTo>
                    <a:lnTo>
                      <a:pt x="259462" y="193548"/>
                    </a:lnTo>
                    <a:lnTo>
                      <a:pt x="246000" y="193548"/>
                    </a:lnTo>
                    <a:lnTo>
                      <a:pt x="246000" y="201549"/>
                    </a:lnTo>
                    <a:lnTo>
                      <a:pt x="245872" y="202185"/>
                    </a:lnTo>
                    <a:lnTo>
                      <a:pt x="245619" y="202820"/>
                    </a:lnTo>
                    <a:lnTo>
                      <a:pt x="245364" y="203454"/>
                    </a:lnTo>
                    <a:lnTo>
                      <a:pt x="244857" y="204090"/>
                    </a:lnTo>
                    <a:lnTo>
                      <a:pt x="244349" y="204597"/>
                    </a:lnTo>
                    <a:lnTo>
                      <a:pt x="243840" y="205105"/>
                    </a:lnTo>
                    <a:lnTo>
                      <a:pt x="243078" y="205486"/>
                    </a:lnTo>
                    <a:lnTo>
                      <a:pt x="242444" y="205741"/>
                    </a:lnTo>
                    <a:lnTo>
                      <a:pt x="240412" y="206248"/>
                    </a:lnTo>
                    <a:lnTo>
                      <a:pt x="238379" y="206756"/>
                    </a:lnTo>
                    <a:lnTo>
                      <a:pt x="236347" y="207518"/>
                    </a:lnTo>
                    <a:lnTo>
                      <a:pt x="234315" y="208154"/>
                    </a:lnTo>
                    <a:lnTo>
                      <a:pt x="232283" y="209042"/>
                    </a:lnTo>
                    <a:lnTo>
                      <a:pt x="230506" y="209804"/>
                    </a:lnTo>
                    <a:lnTo>
                      <a:pt x="228474" y="210693"/>
                    </a:lnTo>
                    <a:lnTo>
                      <a:pt x="226822" y="211836"/>
                    </a:lnTo>
                    <a:lnTo>
                      <a:pt x="225045" y="212853"/>
                    </a:lnTo>
                    <a:lnTo>
                      <a:pt x="223266" y="213996"/>
                    </a:lnTo>
                    <a:lnTo>
                      <a:pt x="221615" y="215266"/>
                    </a:lnTo>
                    <a:lnTo>
                      <a:pt x="220091" y="216535"/>
                    </a:lnTo>
                    <a:lnTo>
                      <a:pt x="218568" y="217805"/>
                    </a:lnTo>
                    <a:lnTo>
                      <a:pt x="216916" y="219203"/>
                    </a:lnTo>
                    <a:lnTo>
                      <a:pt x="215646" y="220727"/>
                    </a:lnTo>
                    <a:lnTo>
                      <a:pt x="214377" y="222250"/>
                    </a:lnTo>
                    <a:lnTo>
                      <a:pt x="212979" y="223902"/>
                    </a:lnTo>
                    <a:lnTo>
                      <a:pt x="211709" y="225553"/>
                    </a:lnTo>
                    <a:lnTo>
                      <a:pt x="210566" y="227077"/>
                    </a:lnTo>
                    <a:lnTo>
                      <a:pt x="209424" y="228854"/>
                    </a:lnTo>
                    <a:lnTo>
                      <a:pt x="208534" y="230633"/>
                    </a:lnTo>
                    <a:lnTo>
                      <a:pt x="207645" y="232537"/>
                    </a:lnTo>
                    <a:lnTo>
                      <a:pt x="206757" y="234316"/>
                    </a:lnTo>
                    <a:lnTo>
                      <a:pt x="205995" y="236347"/>
                    </a:lnTo>
                    <a:lnTo>
                      <a:pt x="205359" y="238253"/>
                    </a:lnTo>
                    <a:lnTo>
                      <a:pt x="204725" y="240285"/>
                    </a:lnTo>
                    <a:lnTo>
                      <a:pt x="204216" y="242190"/>
                    </a:lnTo>
                    <a:lnTo>
                      <a:pt x="203708" y="244222"/>
                    </a:lnTo>
                    <a:lnTo>
                      <a:pt x="203454" y="246380"/>
                    </a:lnTo>
                    <a:lnTo>
                      <a:pt x="203201" y="248412"/>
                    </a:lnTo>
                    <a:lnTo>
                      <a:pt x="203074" y="250572"/>
                    </a:lnTo>
                    <a:lnTo>
                      <a:pt x="203074" y="252730"/>
                    </a:lnTo>
                    <a:lnTo>
                      <a:pt x="203074" y="255271"/>
                    </a:lnTo>
                    <a:lnTo>
                      <a:pt x="203201" y="257684"/>
                    </a:lnTo>
                    <a:lnTo>
                      <a:pt x="203582" y="260223"/>
                    </a:lnTo>
                    <a:lnTo>
                      <a:pt x="204089" y="262764"/>
                    </a:lnTo>
                    <a:lnTo>
                      <a:pt x="194057" y="255143"/>
                    </a:lnTo>
                    <a:lnTo>
                      <a:pt x="194057" y="252730"/>
                    </a:lnTo>
                    <a:lnTo>
                      <a:pt x="194057" y="250317"/>
                    </a:lnTo>
                    <a:lnTo>
                      <a:pt x="194183" y="247904"/>
                    </a:lnTo>
                    <a:lnTo>
                      <a:pt x="194438" y="245491"/>
                    </a:lnTo>
                    <a:lnTo>
                      <a:pt x="194819" y="243079"/>
                    </a:lnTo>
                    <a:lnTo>
                      <a:pt x="195327" y="240920"/>
                    </a:lnTo>
                    <a:lnTo>
                      <a:pt x="195834" y="238506"/>
                    </a:lnTo>
                    <a:lnTo>
                      <a:pt x="196470" y="236347"/>
                    </a:lnTo>
                    <a:lnTo>
                      <a:pt x="197232" y="234189"/>
                    </a:lnTo>
                    <a:lnTo>
                      <a:pt x="198120" y="232029"/>
                    </a:lnTo>
                    <a:lnTo>
                      <a:pt x="199009" y="229871"/>
                    </a:lnTo>
                    <a:lnTo>
                      <a:pt x="199899" y="227839"/>
                    </a:lnTo>
                    <a:lnTo>
                      <a:pt x="201041" y="225806"/>
                    </a:lnTo>
                    <a:lnTo>
                      <a:pt x="202312" y="223774"/>
                    </a:lnTo>
                    <a:lnTo>
                      <a:pt x="203582" y="221870"/>
                    </a:lnTo>
                    <a:lnTo>
                      <a:pt x="204725" y="219965"/>
                    </a:lnTo>
                    <a:lnTo>
                      <a:pt x="206249" y="218186"/>
                    </a:lnTo>
                    <a:lnTo>
                      <a:pt x="207645" y="216281"/>
                    </a:lnTo>
                    <a:lnTo>
                      <a:pt x="209296" y="214758"/>
                    </a:lnTo>
                    <a:lnTo>
                      <a:pt x="210820" y="212979"/>
                    </a:lnTo>
                    <a:lnTo>
                      <a:pt x="212471" y="211455"/>
                    </a:lnTo>
                    <a:lnTo>
                      <a:pt x="214377" y="209931"/>
                    </a:lnTo>
                    <a:lnTo>
                      <a:pt x="216027" y="208408"/>
                    </a:lnTo>
                    <a:lnTo>
                      <a:pt x="217806" y="207137"/>
                    </a:lnTo>
                    <a:lnTo>
                      <a:pt x="219838" y="205741"/>
                    </a:lnTo>
                    <a:lnTo>
                      <a:pt x="221870" y="204471"/>
                    </a:lnTo>
                    <a:lnTo>
                      <a:pt x="223902" y="203328"/>
                    </a:lnTo>
                    <a:lnTo>
                      <a:pt x="225933" y="202311"/>
                    </a:lnTo>
                    <a:lnTo>
                      <a:pt x="228093" y="201296"/>
                    </a:lnTo>
                    <a:lnTo>
                      <a:pt x="230252" y="200279"/>
                    </a:lnTo>
                    <a:lnTo>
                      <a:pt x="232538" y="199645"/>
                    </a:lnTo>
                    <a:lnTo>
                      <a:pt x="234696" y="198755"/>
                    </a:lnTo>
                    <a:lnTo>
                      <a:pt x="237109" y="198121"/>
                    </a:lnTo>
                    <a:lnTo>
                      <a:pt x="237109" y="189230"/>
                    </a:lnTo>
                    <a:lnTo>
                      <a:pt x="237237" y="188341"/>
                    </a:lnTo>
                    <a:lnTo>
                      <a:pt x="237364" y="187453"/>
                    </a:lnTo>
                    <a:lnTo>
                      <a:pt x="237871" y="186817"/>
                    </a:lnTo>
                    <a:lnTo>
                      <a:pt x="238379" y="186183"/>
                    </a:lnTo>
                    <a:lnTo>
                      <a:pt x="239014" y="185674"/>
                    </a:lnTo>
                    <a:lnTo>
                      <a:pt x="239777" y="185166"/>
                    </a:lnTo>
                    <a:lnTo>
                      <a:pt x="240665" y="184912"/>
                    </a:lnTo>
                    <a:lnTo>
                      <a:pt x="241554" y="184785"/>
                    </a:lnTo>
                    <a:lnTo>
                      <a:pt x="263907" y="184785"/>
                    </a:lnTo>
                    <a:lnTo>
                      <a:pt x="264922" y="184912"/>
                    </a:lnTo>
                    <a:lnTo>
                      <a:pt x="265558" y="185166"/>
                    </a:lnTo>
                    <a:lnTo>
                      <a:pt x="266446" y="185674"/>
                    </a:lnTo>
                    <a:lnTo>
                      <a:pt x="267082" y="186183"/>
                    </a:lnTo>
                    <a:lnTo>
                      <a:pt x="267589" y="186817"/>
                    </a:lnTo>
                    <a:lnTo>
                      <a:pt x="268097" y="187453"/>
                    </a:lnTo>
                    <a:lnTo>
                      <a:pt x="268352" y="188341"/>
                    </a:lnTo>
                    <a:lnTo>
                      <a:pt x="268478" y="189230"/>
                    </a:lnTo>
                    <a:lnTo>
                      <a:pt x="268478" y="198121"/>
                    </a:lnTo>
                    <a:lnTo>
                      <a:pt x="270764" y="198755"/>
                    </a:lnTo>
                    <a:lnTo>
                      <a:pt x="273051" y="199645"/>
                    </a:lnTo>
                    <a:lnTo>
                      <a:pt x="275337" y="200279"/>
                    </a:lnTo>
                    <a:lnTo>
                      <a:pt x="277369" y="201296"/>
                    </a:lnTo>
                    <a:lnTo>
                      <a:pt x="279527" y="202311"/>
                    </a:lnTo>
                    <a:lnTo>
                      <a:pt x="281687" y="203328"/>
                    </a:lnTo>
                    <a:lnTo>
                      <a:pt x="283719" y="204471"/>
                    </a:lnTo>
                    <a:lnTo>
                      <a:pt x="285496" y="205741"/>
                    </a:lnTo>
                    <a:lnTo>
                      <a:pt x="287528" y="207137"/>
                    </a:lnTo>
                    <a:lnTo>
                      <a:pt x="289433" y="208408"/>
                    </a:lnTo>
                    <a:lnTo>
                      <a:pt x="291212" y="209931"/>
                    </a:lnTo>
                    <a:lnTo>
                      <a:pt x="292989" y="211455"/>
                    </a:lnTo>
                    <a:lnTo>
                      <a:pt x="294640" y="212979"/>
                    </a:lnTo>
                    <a:lnTo>
                      <a:pt x="296164" y="214758"/>
                    </a:lnTo>
                    <a:lnTo>
                      <a:pt x="297815" y="216281"/>
                    </a:lnTo>
                    <a:lnTo>
                      <a:pt x="299213" y="218186"/>
                    </a:lnTo>
                    <a:lnTo>
                      <a:pt x="300737" y="219965"/>
                    </a:lnTo>
                    <a:lnTo>
                      <a:pt x="302007" y="221870"/>
                    </a:lnTo>
                    <a:lnTo>
                      <a:pt x="303150" y="223774"/>
                    </a:lnTo>
                    <a:lnTo>
                      <a:pt x="304420" y="225806"/>
                    </a:lnTo>
                    <a:lnTo>
                      <a:pt x="305563" y="227839"/>
                    </a:lnTo>
                    <a:lnTo>
                      <a:pt x="306578" y="229871"/>
                    </a:lnTo>
                    <a:lnTo>
                      <a:pt x="307468" y="232029"/>
                    </a:lnTo>
                    <a:lnTo>
                      <a:pt x="308229" y="234189"/>
                    </a:lnTo>
                    <a:lnTo>
                      <a:pt x="308991" y="236347"/>
                    </a:lnTo>
                    <a:lnTo>
                      <a:pt x="309753" y="238506"/>
                    </a:lnTo>
                    <a:lnTo>
                      <a:pt x="310134" y="240920"/>
                    </a:lnTo>
                    <a:lnTo>
                      <a:pt x="310643" y="243079"/>
                    </a:lnTo>
                    <a:lnTo>
                      <a:pt x="311024" y="245491"/>
                    </a:lnTo>
                    <a:lnTo>
                      <a:pt x="311277" y="247904"/>
                    </a:lnTo>
                    <a:lnTo>
                      <a:pt x="311532" y="250317"/>
                    </a:lnTo>
                    <a:lnTo>
                      <a:pt x="311532" y="252730"/>
                    </a:lnTo>
                    <a:lnTo>
                      <a:pt x="311532" y="254890"/>
                    </a:lnTo>
                    <a:lnTo>
                      <a:pt x="311277" y="256795"/>
                    </a:lnTo>
                    <a:lnTo>
                      <a:pt x="311151" y="258827"/>
                    </a:lnTo>
                    <a:lnTo>
                      <a:pt x="310896" y="260859"/>
                    </a:lnTo>
                    <a:lnTo>
                      <a:pt x="310643" y="262891"/>
                    </a:lnTo>
                    <a:lnTo>
                      <a:pt x="310134" y="264922"/>
                    </a:lnTo>
                    <a:lnTo>
                      <a:pt x="309753" y="266828"/>
                    </a:lnTo>
                    <a:lnTo>
                      <a:pt x="309119" y="268733"/>
                    </a:lnTo>
                    <a:lnTo>
                      <a:pt x="308357" y="270637"/>
                    </a:lnTo>
                    <a:lnTo>
                      <a:pt x="307721" y="272416"/>
                    </a:lnTo>
                    <a:lnTo>
                      <a:pt x="307087" y="274321"/>
                    </a:lnTo>
                    <a:lnTo>
                      <a:pt x="306325" y="276098"/>
                    </a:lnTo>
                    <a:lnTo>
                      <a:pt x="305435" y="277877"/>
                    </a:lnTo>
                    <a:lnTo>
                      <a:pt x="304546" y="279528"/>
                    </a:lnTo>
                    <a:lnTo>
                      <a:pt x="303531" y="281305"/>
                    </a:lnTo>
                    <a:lnTo>
                      <a:pt x="302388" y="282829"/>
                    </a:lnTo>
                    <a:lnTo>
                      <a:pt x="301371" y="284608"/>
                    </a:lnTo>
                    <a:lnTo>
                      <a:pt x="300228" y="286131"/>
                    </a:lnTo>
                    <a:lnTo>
                      <a:pt x="298832" y="287655"/>
                    </a:lnTo>
                    <a:lnTo>
                      <a:pt x="297689" y="289179"/>
                    </a:lnTo>
                    <a:lnTo>
                      <a:pt x="296291" y="290577"/>
                    </a:lnTo>
                    <a:lnTo>
                      <a:pt x="295021" y="291973"/>
                    </a:lnTo>
                    <a:lnTo>
                      <a:pt x="293625" y="293371"/>
                    </a:lnTo>
                    <a:lnTo>
                      <a:pt x="292227" y="294641"/>
                    </a:lnTo>
                    <a:lnTo>
                      <a:pt x="290703" y="296037"/>
                    </a:lnTo>
                    <a:lnTo>
                      <a:pt x="289052" y="297180"/>
                    </a:lnTo>
                    <a:lnTo>
                      <a:pt x="287528" y="298323"/>
                    </a:lnTo>
                    <a:lnTo>
                      <a:pt x="285877" y="299466"/>
                    </a:lnTo>
                    <a:lnTo>
                      <a:pt x="284227" y="300483"/>
                    </a:lnTo>
                    <a:lnTo>
                      <a:pt x="282449" y="301625"/>
                    </a:lnTo>
                    <a:lnTo>
                      <a:pt x="280797" y="302515"/>
                    </a:lnTo>
                    <a:lnTo>
                      <a:pt x="278893" y="303404"/>
                    </a:lnTo>
                    <a:close/>
                    <a:moveTo>
                      <a:pt x="1757045" y="5257800"/>
                    </a:moveTo>
                    <a:moveTo>
                      <a:pt x="17907" y="304166"/>
                    </a:moveTo>
                    <a:lnTo>
                      <a:pt x="55500" y="304166"/>
                    </a:lnTo>
                    <a:lnTo>
                      <a:pt x="55753" y="262510"/>
                    </a:lnTo>
                    <a:lnTo>
                      <a:pt x="55881" y="261874"/>
                    </a:lnTo>
                    <a:lnTo>
                      <a:pt x="55881" y="260985"/>
                    </a:lnTo>
                    <a:lnTo>
                      <a:pt x="56134" y="260350"/>
                    </a:lnTo>
                    <a:lnTo>
                      <a:pt x="56389" y="259842"/>
                    </a:lnTo>
                    <a:lnTo>
                      <a:pt x="56770" y="259335"/>
                    </a:lnTo>
                    <a:lnTo>
                      <a:pt x="57024" y="258827"/>
                    </a:lnTo>
                    <a:lnTo>
                      <a:pt x="57532" y="258446"/>
                    </a:lnTo>
                    <a:lnTo>
                      <a:pt x="58039" y="258318"/>
                    </a:lnTo>
                    <a:lnTo>
                      <a:pt x="58420" y="258065"/>
                    </a:lnTo>
                    <a:lnTo>
                      <a:pt x="59056" y="257937"/>
                    </a:lnTo>
                    <a:lnTo>
                      <a:pt x="59690" y="257937"/>
                    </a:lnTo>
                    <a:lnTo>
                      <a:pt x="60326" y="258065"/>
                    </a:lnTo>
                    <a:lnTo>
                      <a:pt x="60960" y="258191"/>
                    </a:lnTo>
                    <a:lnTo>
                      <a:pt x="61595" y="258446"/>
                    </a:lnTo>
                    <a:lnTo>
                      <a:pt x="62358" y="258827"/>
                    </a:lnTo>
                    <a:lnTo>
                      <a:pt x="62993" y="259208"/>
                    </a:lnTo>
                    <a:lnTo>
                      <a:pt x="114174" y="298323"/>
                    </a:lnTo>
                    <a:lnTo>
                      <a:pt x="114174" y="262764"/>
                    </a:lnTo>
                    <a:lnTo>
                      <a:pt x="114301" y="261874"/>
                    </a:lnTo>
                    <a:lnTo>
                      <a:pt x="114427" y="260985"/>
                    </a:lnTo>
                    <a:lnTo>
                      <a:pt x="114554" y="260350"/>
                    </a:lnTo>
                    <a:lnTo>
                      <a:pt x="114808" y="259842"/>
                    </a:lnTo>
                    <a:lnTo>
                      <a:pt x="115189" y="259335"/>
                    </a:lnTo>
                    <a:lnTo>
                      <a:pt x="115570" y="258827"/>
                    </a:lnTo>
                    <a:lnTo>
                      <a:pt x="115952" y="258446"/>
                    </a:lnTo>
                    <a:lnTo>
                      <a:pt x="116459" y="258318"/>
                    </a:lnTo>
                    <a:lnTo>
                      <a:pt x="116968" y="258065"/>
                    </a:lnTo>
                    <a:lnTo>
                      <a:pt x="117602" y="257937"/>
                    </a:lnTo>
                    <a:lnTo>
                      <a:pt x="118238" y="257937"/>
                    </a:lnTo>
                    <a:lnTo>
                      <a:pt x="118872" y="258065"/>
                    </a:lnTo>
                    <a:lnTo>
                      <a:pt x="119508" y="258191"/>
                    </a:lnTo>
                    <a:lnTo>
                      <a:pt x="120143" y="258446"/>
                    </a:lnTo>
                    <a:lnTo>
                      <a:pt x="120904" y="258827"/>
                    </a:lnTo>
                    <a:lnTo>
                      <a:pt x="121539" y="259208"/>
                    </a:lnTo>
                    <a:lnTo>
                      <a:pt x="147828" y="279400"/>
                    </a:lnTo>
                    <a:lnTo>
                      <a:pt x="147828" y="243460"/>
                    </a:lnTo>
                    <a:lnTo>
                      <a:pt x="165735" y="243460"/>
                    </a:lnTo>
                    <a:lnTo>
                      <a:pt x="165735" y="292990"/>
                    </a:lnTo>
                    <a:lnTo>
                      <a:pt x="172720" y="298323"/>
                    </a:lnTo>
                    <a:lnTo>
                      <a:pt x="172720" y="262764"/>
                    </a:lnTo>
                    <a:lnTo>
                      <a:pt x="172847" y="261874"/>
                    </a:lnTo>
                    <a:lnTo>
                      <a:pt x="172975" y="260985"/>
                    </a:lnTo>
                    <a:lnTo>
                      <a:pt x="172975" y="260350"/>
                    </a:lnTo>
                    <a:lnTo>
                      <a:pt x="173356" y="259842"/>
                    </a:lnTo>
                    <a:lnTo>
                      <a:pt x="173737" y="259335"/>
                    </a:lnTo>
                    <a:lnTo>
                      <a:pt x="174118" y="258827"/>
                    </a:lnTo>
                    <a:lnTo>
                      <a:pt x="174499" y="258446"/>
                    </a:lnTo>
                    <a:lnTo>
                      <a:pt x="175007" y="258318"/>
                    </a:lnTo>
                    <a:lnTo>
                      <a:pt x="175514" y="258065"/>
                    </a:lnTo>
                    <a:lnTo>
                      <a:pt x="176150" y="257937"/>
                    </a:lnTo>
                    <a:lnTo>
                      <a:pt x="176658" y="257937"/>
                    </a:lnTo>
                    <a:lnTo>
                      <a:pt x="177293" y="258065"/>
                    </a:lnTo>
                    <a:lnTo>
                      <a:pt x="177927" y="258191"/>
                    </a:lnTo>
                    <a:lnTo>
                      <a:pt x="178689" y="258446"/>
                    </a:lnTo>
                    <a:lnTo>
                      <a:pt x="179325" y="258827"/>
                    </a:lnTo>
                    <a:lnTo>
                      <a:pt x="179959" y="259208"/>
                    </a:lnTo>
                    <a:lnTo>
                      <a:pt x="227712" y="295529"/>
                    </a:lnTo>
                    <a:lnTo>
                      <a:pt x="262637" y="295529"/>
                    </a:lnTo>
                    <a:lnTo>
                      <a:pt x="262637" y="344424"/>
                    </a:lnTo>
                    <a:lnTo>
                      <a:pt x="0" y="344424"/>
                    </a:lnTo>
                    <a:lnTo>
                      <a:pt x="0" y="243460"/>
                    </a:lnTo>
                    <a:lnTo>
                      <a:pt x="17907" y="243460"/>
                    </a:lnTo>
                    <a:lnTo>
                      <a:pt x="17907" y="304166"/>
                    </a:lnTo>
                    <a:close/>
                    <a:moveTo>
                      <a:pt x="1756283" y="5257800"/>
                    </a:moveTo>
                    <a:moveTo>
                      <a:pt x="230252" y="308610"/>
                    </a:moveTo>
                    <a:lnTo>
                      <a:pt x="181610" y="271527"/>
                    </a:lnTo>
                    <a:lnTo>
                      <a:pt x="181610" y="307086"/>
                    </a:lnTo>
                    <a:lnTo>
                      <a:pt x="181610" y="307975"/>
                    </a:lnTo>
                    <a:lnTo>
                      <a:pt x="181610" y="308610"/>
                    </a:lnTo>
                    <a:lnTo>
                      <a:pt x="181357" y="309372"/>
                    </a:lnTo>
                    <a:lnTo>
                      <a:pt x="181102" y="309880"/>
                    </a:lnTo>
                    <a:lnTo>
                      <a:pt x="180849" y="310516"/>
                    </a:lnTo>
                    <a:lnTo>
                      <a:pt x="180340" y="310897"/>
                    </a:lnTo>
                    <a:lnTo>
                      <a:pt x="179959" y="311278"/>
                    </a:lnTo>
                    <a:lnTo>
                      <a:pt x="179452" y="311531"/>
                    </a:lnTo>
                    <a:lnTo>
                      <a:pt x="178816" y="311785"/>
                    </a:lnTo>
                    <a:lnTo>
                      <a:pt x="178308" y="311912"/>
                    </a:lnTo>
                    <a:lnTo>
                      <a:pt x="177801" y="311912"/>
                    </a:lnTo>
                    <a:lnTo>
                      <a:pt x="177039" y="311785"/>
                    </a:lnTo>
                    <a:lnTo>
                      <a:pt x="176403" y="311659"/>
                    </a:lnTo>
                    <a:lnTo>
                      <a:pt x="175895" y="311404"/>
                    </a:lnTo>
                    <a:lnTo>
                      <a:pt x="175260" y="311023"/>
                    </a:lnTo>
                    <a:lnTo>
                      <a:pt x="174371" y="310642"/>
                    </a:lnTo>
                    <a:lnTo>
                      <a:pt x="123190" y="271527"/>
                    </a:lnTo>
                    <a:lnTo>
                      <a:pt x="123190" y="307086"/>
                    </a:lnTo>
                    <a:lnTo>
                      <a:pt x="123190" y="307975"/>
                    </a:lnTo>
                    <a:lnTo>
                      <a:pt x="123064" y="308610"/>
                    </a:lnTo>
                    <a:lnTo>
                      <a:pt x="122809" y="309372"/>
                    </a:lnTo>
                    <a:lnTo>
                      <a:pt x="122683" y="309880"/>
                    </a:lnTo>
                    <a:lnTo>
                      <a:pt x="122302" y="310516"/>
                    </a:lnTo>
                    <a:lnTo>
                      <a:pt x="121794" y="310897"/>
                    </a:lnTo>
                    <a:lnTo>
                      <a:pt x="121413" y="311278"/>
                    </a:lnTo>
                    <a:lnTo>
                      <a:pt x="120904" y="311531"/>
                    </a:lnTo>
                    <a:lnTo>
                      <a:pt x="120396" y="311785"/>
                    </a:lnTo>
                    <a:lnTo>
                      <a:pt x="119762" y="311912"/>
                    </a:lnTo>
                    <a:lnTo>
                      <a:pt x="119253" y="311912"/>
                    </a:lnTo>
                    <a:lnTo>
                      <a:pt x="118619" y="311785"/>
                    </a:lnTo>
                    <a:lnTo>
                      <a:pt x="117983" y="311659"/>
                    </a:lnTo>
                    <a:lnTo>
                      <a:pt x="117349" y="311404"/>
                    </a:lnTo>
                    <a:lnTo>
                      <a:pt x="116587" y="311023"/>
                    </a:lnTo>
                    <a:lnTo>
                      <a:pt x="115952" y="310642"/>
                    </a:lnTo>
                    <a:lnTo>
                      <a:pt x="64897" y="271527"/>
                    </a:lnTo>
                    <a:lnTo>
                      <a:pt x="64897" y="307214"/>
                    </a:lnTo>
                    <a:lnTo>
                      <a:pt x="64770" y="308356"/>
                    </a:lnTo>
                    <a:lnTo>
                      <a:pt x="64516" y="309627"/>
                    </a:lnTo>
                    <a:lnTo>
                      <a:pt x="64008" y="310516"/>
                    </a:lnTo>
                    <a:lnTo>
                      <a:pt x="63374" y="311404"/>
                    </a:lnTo>
                    <a:lnTo>
                      <a:pt x="62612" y="312040"/>
                    </a:lnTo>
                    <a:lnTo>
                      <a:pt x="61722" y="312421"/>
                    </a:lnTo>
                    <a:lnTo>
                      <a:pt x="60833" y="312802"/>
                    </a:lnTo>
                    <a:lnTo>
                      <a:pt x="59945" y="312802"/>
                    </a:lnTo>
                    <a:lnTo>
                      <a:pt x="17907" y="312802"/>
                    </a:lnTo>
                    <a:lnTo>
                      <a:pt x="17907" y="327153"/>
                    </a:lnTo>
                    <a:lnTo>
                      <a:pt x="18288" y="327153"/>
                    </a:lnTo>
                    <a:lnTo>
                      <a:pt x="247396" y="327153"/>
                    </a:lnTo>
                    <a:lnTo>
                      <a:pt x="247396" y="308610"/>
                    </a:lnTo>
                    <a:lnTo>
                      <a:pt x="230252" y="308610"/>
                    </a:lnTo>
                    <a:close/>
                    <a:moveTo>
                      <a:pt x="1751839" y="5257800"/>
                    </a:moveTo>
                    <a:moveTo>
                      <a:pt x="393954" y="189739"/>
                    </a:moveTo>
                    <a:lnTo>
                      <a:pt x="398272" y="63120"/>
                    </a:lnTo>
                    <a:lnTo>
                      <a:pt x="418339" y="63120"/>
                    </a:lnTo>
                    <a:lnTo>
                      <a:pt x="422529" y="189739"/>
                    </a:lnTo>
                    <a:lnTo>
                      <a:pt x="393954" y="189739"/>
                    </a:lnTo>
                    <a:close/>
                    <a:moveTo>
                      <a:pt x="1870710" y="5257800"/>
                    </a:moveTo>
                    <a:moveTo>
                      <a:pt x="407035" y="71755"/>
                    </a:moveTo>
                    <a:lnTo>
                      <a:pt x="403607" y="172974"/>
                    </a:lnTo>
                    <a:lnTo>
                      <a:pt x="412751" y="164211"/>
                    </a:lnTo>
                    <a:lnTo>
                      <a:pt x="409576" y="71755"/>
                    </a:lnTo>
                    <a:lnTo>
                      <a:pt x="407035" y="71755"/>
                    </a:lnTo>
                    <a:close/>
                    <a:moveTo>
                      <a:pt x="1988694" y="5257800"/>
                    </a:moveTo>
                    <a:moveTo>
                      <a:pt x="432435" y="211710"/>
                    </a:moveTo>
                    <a:lnTo>
                      <a:pt x="439166" y="211710"/>
                    </a:lnTo>
                    <a:lnTo>
                      <a:pt x="439166" y="234316"/>
                    </a:lnTo>
                    <a:lnTo>
                      <a:pt x="454152" y="234316"/>
                    </a:lnTo>
                    <a:lnTo>
                      <a:pt x="454152" y="344424"/>
                    </a:lnTo>
                    <a:lnTo>
                      <a:pt x="331597" y="344424"/>
                    </a:lnTo>
                    <a:lnTo>
                      <a:pt x="331597" y="234316"/>
                    </a:lnTo>
                    <a:lnTo>
                      <a:pt x="374396" y="234316"/>
                    </a:lnTo>
                    <a:lnTo>
                      <a:pt x="374396" y="211710"/>
                    </a:lnTo>
                    <a:lnTo>
                      <a:pt x="382397" y="211710"/>
                    </a:lnTo>
                    <a:lnTo>
                      <a:pt x="382397" y="198374"/>
                    </a:lnTo>
                    <a:lnTo>
                      <a:pt x="432435" y="198374"/>
                    </a:lnTo>
                    <a:lnTo>
                      <a:pt x="432435" y="211710"/>
                    </a:lnTo>
                    <a:close/>
                    <a:moveTo>
                      <a:pt x="1848739" y="5257800"/>
                    </a:moveTo>
                    <a:moveTo>
                      <a:pt x="400304" y="228981"/>
                    </a:moveTo>
                    <a:lnTo>
                      <a:pt x="392303" y="228981"/>
                    </a:lnTo>
                    <a:lnTo>
                      <a:pt x="392303" y="251587"/>
                    </a:lnTo>
                    <a:lnTo>
                      <a:pt x="349632" y="251587"/>
                    </a:lnTo>
                    <a:lnTo>
                      <a:pt x="349632" y="327153"/>
                    </a:lnTo>
                    <a:lnTo>
                      <a:pt x="436245" y="327153"/>
                    </a:lnTo>
                    <a:lnTo>
                      <a:pt x="436245" y="251587"/>
                    </a:lnTo>
                    <a:lnTo>
                      <a:pt x="421133" y="251587"/>
                    </a:lnTo>
                    <a:lnTo>
                      <a:pt x="421133" y="228981"/>
                    </a:lnTo>
                    <a:lnTo>
                      <a:pt x="414528" y="228981"/>
                    </a:lnTo>
                    <a:lnTo>
                      <a:pt x="414528" y="215647"/>
                    </a:lnTo>
                    <a:lnTo>
                      <a:pt x="400304" y="215647"/>
                    </a:lnTo>
                    <a:lnTo>
                      <a:pt x="400304" y="228981"/>
                    </a:lnTo>
                    <a:close/>
                    <a:moveTo>
                      <a:pt x="1831468" y="5257800"/>
                    </a:moveTo>
                    <a:moveTo>
                      <a:pt x="362713" y="294260"/>
                    </a:moveTo>
                    <a:lnTo>
                      <a:pt x="392303" y="294260"/>
                    </a:lnTo>
                    <a:lnTo>
                      <a:pt x="392303" y="302896"/>
                    </a:lnTo>
                    <a:lnTo>
                      <a:pt x="362713" y="302896"/>
                    </a:lnTo>
                    <a:lnTo>
                      <a:pt x="362713" y="294260"/>
                    </a:lnTo>
                    <a:close/>
                    <a:moveTo>
                      <a:pt x="1766189" y="5257800"/>
                    </a:moveTo>
                    <a:moveTo>
                      <a:pt x="362713" y="264034"/>
                    </a:moveTo>
                    <a:lnTo>
                      <a:pt x="392303" y="264034"/>
                    </a:lnTo>
                    <a:lnTo>
                      <a:pt x="392303" y="272670"/>
                    </a:lnTo>
                    <a:lnTo>
                      <a:pt x="362713" y="272670"/>
                    </a:lnTo>
                    <a:lnTo>
                      <a:pt x="362713" y="264034"/>
                    </a:lnTo>
                    <a:close/>
                    <a:moveTo>
                      <a:pt x="1796415" y="5257800"/>
                    </a:moveTo>
                    <a:moveTo>
                      <a:pt x="362713" y="279147"/>
                    </a:moveTo>
                    <a:lnTo>
                      <a:pt x="392303" y="279147"/>
                    </a:lnTo>
                    <a:lnTo>
                      <a:pt x="392303" y="287783"/>
                    </a:lnTo>
                    <a:lnTo>
                      <a:pt x="362713" y="287783"/>
                    </a:lnTo>
                    <a:lnTo>
                      <a:pt x="362713" y="279147"/>
                    </a:lnTo>
                    <a:close/>
                    <a:moveTo>
                      <a:pt x="1781302" y="5257800"/>
                    </a:moveTo>
                    <a:moveTo>
                      <a:pt x="115952" y="71755"/>
                    </a:moveTo>
                    <a:lnTo>
                      <a:pt x="112650" y="172974"/>
                    </a:lnTo>
                    <a:lnTo>
                      <a:pt x="121794" y="164211"/>
                    </a:lnTo>
                    <a:lnTo>
                      <a:pt x="118619" y="71755"/>
                    </a:lnTo>
                    <a:lnTo>
                      <a:pt x="115952" y="71755"/>
                    </a:lnTo>
                    <a:close/>
                    <a:moveTo>
                      <a:pt x="1988694" y="5257800"/>
                    </a:moveTo>
                    <a:moveTo>
                      <a:pt x="103125" y="189739"/>
                    </a:moveTo>
                    <a:lnTo>
                      <a:pt x="107315" y="63120"/>
                    </a:lnTo>
                    <a:lnTo>
                      <a:pt x="127254" y="63120"/>
                    </a:lnTo>
                    <a:lnTo>
                      <a:pt x="131572" y="189739"/>
                    </a:lnTo>
                    <a:lnTo>
                      <a:pt x="103125" y="189739"/>
                    </a:lnTo>
                    <a:close/>
                    <a:moveTo>
                      <a:pt x="1870710" y="5257800"/>
                    </a:moveTo>
                    <a:moveTo>
                      <a:pt x="76074" y="71755"/>
                    </a:moveTo>
                    <a:lnTo>
                      <a:pt x="72771" y="172974"/>
                    </a:lnTo>
                    <a:lnTo>
                      <a:pt x="81789" y="164211"/>
                    </a:lnTo>
                    <a:lnTo>
                      <a:pt x="78740" y="71755"/>
                    </a:lnTo>
                    <a:lnTo>
                      <a:pt x="76074" y="71755"/>
                    </a:lnTo>
                    <a:close/>
                    <a:moveTo>
                      <a:pt x="1988694" y="5257800"/>
                    </a:moveTo>
                    <a:moveTo>
                      <a:pt x="63246" y="189739"/>
                    </a:moveTo>
                    <a:lnTo>
                      <a:pt x="67438" y="63120"/>
                    </a:lnTo>
                    <a:lnTo>
                      <a:pt x="87377" y="63120"/>
                    </a:lnTo>
                    <a:lnTo>
                      <a:pt x="91695" y="189739"/>
                    </a:lnTo>
                    <a:lnTo>
                      <a:pt x="63246" y="189739"/>
                    </a:lnTo>
                    <a:close/>
                    <a:moveTo>
                      <a:pt x="1870710" y="5257800"/>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598" name="Freeform 1307">
                <a:extLst>
                  <a:ext uri="{FF2B5EF4-FFF2-40B4-BE49-F238E27FC236}">
                    <a16:creationId xmlns:a16="http://schemas.microsoft.com/office/drawing/2014/main" id="{F36B9A1F-41B2-44AA-B666-766C2488312D}"/>
                  </a:ext>
                </a:extLst>
              </p:cNvPr>
              <p:cNvSpPr/>
              <p:nvPr/>
            </p:nvSpPr>
            <p:spPr>
              <a:xfrm>
                <a:off x="4137158" y="1570691"/>
                <a:ext cx="523983" cy="386893"/>
              </a:xfrm>
              <a:custGeom>
                <a:avLst/>
                <a:gdLst/>
                <a:ahLst/>
                <a:cxnLst/>
                <a:rect l="0" t="0" r="0" b="0"/>
                <a:pathLst>
                  <a:path w="524256" h="387095">
                    <a:moveTo>
                      <a:pt x="76328" y="142747"/>
                    </a:moveTo>
                    <a:lnTo>
                      <a:pt x="76328" y="171195"/>
                    </a:lnTo>
                    <a:lnTo>
                      <a:pt x="99315" y="171195"/>
                    </a:lnTo>
                    <a:lnTo>
                      <a:pt x="99315" y="142747"/>
                    </a:lnTo>
                    <a:lnTo>
                      <a:pt x="76328" y="142747"/>
                    </a:lnTo>
                    <a:close/>
                    <a:moveTo>
                      <a:pt x="1009397" y="5288279"/>
                    </a:moveTo>
                    <a:moveTo>
                      <a:pt x="123444" y="142747"/>
                    </a:moveTo>
                    <a:lnTo>
                      <a:pt x="123444" y="171195"/>
                    </a:lnTo>
                    <a:lnTo>
                      <a:pt x="146559" y="171195"/>
                    </a:lnTo>
                    <a:lnTo>
                      <a:pt x="146559" y="142747"/>
                    </a:lnTo>
                    <a:lnTo>
                      <a:pt x="123444" y="142747"/>
                    </a:lnTo>
                    <a:close/>
                    <a:moveTo>
                      <a:pt x="1009397" y="5288279"/>
                    </a:moveTo>
                    <a:moveTo>
                      <a:pt x="170688" y="142747"/>
                    </a:moveTo>
                    <a:lnTo>
                      <a:pt x="170688" y="171195"/>
                    </a:lnTo>
                    <a:lnTo>
                      <a:pt x="193549" y="171195"/>
                    </a:lnTo>
                    <a:lnTo>
                      <a:pt x="193549" y="142747"/>
                    </a:lnTo>
                    <a:lnTo>
                      <a:pt x="170688" y="142747"/>
                    </a:lnTo>
                    <a:close/>
                    <a:moveTo>
                      <a:pt x="1009397" y="5288279"/>
                    </a:moveTo>
                    <a:moveTo>
                      <a:pt x="261112" y="166243"/>
                    </a:moveTo>
                    <a:lnTo>
                      <a:pt x="261112" y="166243"/>
                    </a:lnTo>
                    <a:lnTo>
                      <a:pt x="262510" y="166115"/>
                    </a:lnTo>
                    <a:lnTo>
                      <a:pt x="263780" y="165862"/>
                    </a:lnTo>
                    <a:lnTo>
                      <a:pt x="265049" y="165608"/>
                    </a:lnTo>
                    <a:lnTo>
                      <a:pt x="266193" y="165100"/>
                    </a:lnTo>
                    <a:lnTo>
                      <a:pt x="267336" y="164591"/>
                    </a:lnTo>
                    <a:lnTo>
                      <a:pt x="268479" y="163829"/>
                    </a:lnTo>
                    <a:lnTo>
                      <a:pt x="269494" y="163195"/>
                    </a:lnTo>
                    <a:lnTo>
                      <a:pt x="270511" y="162178"/>
                    </a:lnTo>
                    <a:lnTo>
                      <a:pt x="271273" y="161289"/>
                    </a:lnTo>
                    <a:lnTo>
                      <a:pt x="271907" y="160146"/>
                    </a:lnTo>
                    <a:lnTo>
                      <a:pt x="272543" y="159131"/>
                    </a:lnTo>
                    <a:lnTo>
                      <a:pt x="273178" y="157860"/>
                    </a:lnTo>
                    <a:lnTo>
                      <a:pt x="273559" y="156718"/>
                    </a:lnTo>
                    <a:lnTo>
                      <a:pt x="273940" y="155320"/>
                    </a:lnTo>
                    <a:lnTo>
                      <a:pt x="274193" y="153924"/>
                    </a:lnTo>
                    <a:lnTo>
                      <a:pt x="274193" y="152653"/>
                    </a:lnTo>
                    <a:lnTo>
                      <a:pt x="266066" y="152653"/>
                    </a:lnTo>
                    <a:lnTo>
                      <a:pt x="266066" y="153670"/>
                    </a:lnTo>
                    <a:lnTo>
                      <a:pt x="265685" y="154558"/>
                    </a:lnTo>
                    <a:lnTo>
                      <a:pt x="265176" y="155575"/>
                    </a:lnTo>
                    <a:lnTo>
                      <a:pt x="264542" y="156209"/>
                    </a:lnTo>
                    <a:lnTo>
                      <a:pt x="263906" y="156845"/>
                    </a:lnTo>
                    <a:lnTo>
                      <a:pt x="263144" y="157352"/>
                    </a:lnTo>
                    <a:lnTo>
                      <a:pt x="262129" y="157607"/>
                    </a:lnTo>
                    <a:lnTo>
                      <a:pt x="261112" y="157733"/>
                    </a:lnTo>
                    <a:lnTo>
                      <a:pt x="260224" y="157607"/>
                    </a:lnTo>
                    <a:lnTo>
                      <a:pt x="259207" y="157352"/>
                    </a:lnTo>
                    <a:lnTo>
                      <a:pt x="258318" y="156845"/>
                    </a:lnTo>
                    <a:lnTo>
                      <a:pt x="257684" y="156209"/>
                    </a:lnTo>
                    <a:lnTo>
                      <a:pt x="257049" y="155575"/>
                    </a:lnTo>
                    <a:lnTo>
                      <a:pt x="256541" y="154558"/>
                    </a:lnTo>
                    <a:lnTo>
                      <a:pt x="256286" y="153670"/>
                    </a:lnTo>
                    <a:lnTo>
                      <a:pt x="256286" y="152653"/>
                    </a:lnTo>
                    <a:lnTo>
                      <a:pt x="256286" y="140208"/>
                    </a:lnTo>
                    <a:lnTo>
                      <a:pt x="248031" y="140208"/>
                    </a:lnTo>
                    <a:lnTo>
                      <a:pt x="248031" y="152653"/>
                    </a:lnTo>
                    <a:lnTo>
                      <a:pt x="248031" y="153924"/>
                    </a:lnTo>
                    <a:lnTo>
                      <a:pt x="248286" y="155320"/>
                    </a:lnTo>
                    <a:lnTo>
                      <a:pt x="248540" y="156718"/>
                    </a:lnTo>
                    <a:lnTo>
                      <a:pt x="249048" y="157860"/>
                    </a:lnTo>
                    <a:lnTo>
                      <a:pt x="249682" y="159131"/>
                    </a:lnTo>
                    <a:lnTo>
                      <a:pt x="250318" y="160146"/>
                    </a:lnTo>
                    <a:lnTo>
                      <a:pt x="251080" y="161289"/>
                    </a:lnTo>
                    <a:lnTo>
                      <a:pt x="251842" y="162178"/>
                    </a:lnTo>
                    <a:lnTo>
                      <a:pt x="252857" y="163195"/>
                    </a:lnTo>
                    <a:lnTo>
                      <a:pt x="253747" y="163829"/>
                    </a:lnTo>
                    <a:lnTo>
                      <a:pt x="254890" y="164591"/>
                    </a:lnTo>
                    <a:lnTo>
                      <a:pt x="256032" y="165100"/>
                    </a:lnTo>
                    <a:lnTo>
                      <a:pt x="257175" y="165608"/>
                    </a:lnTo>
                    <a:lnTo>
                      <a:pt x="258573" y="165862"/>
                    </a:lnTo>
                    <a:lnTo>
                      <a:pt x="259843" y="166115"/>
                    </a:lnTo>
                    <a:lnTo>
                      <a:pt x="261112" y="166243"/>
                    </a:lnTo>
                    <a:close/>
                    <a:moveTo>
                      <a:pt x="985901" y="5288279"/>
                    </a:moveTo>
                    <a:moveTo>
                      <a:pt x="233426" y="108839"/>
                    </a:moveTo>
                    <a:lnTo>
                      <a:pt x="233426" y="97027"/>
                    </a:lnTo>
                    <a:lnTo>
                      <a:pt x="222886" y="97027"/>
                    </a:lnTo>
                    <a:lnTo>
                      <a:pt x="222886" y="74168"/>
                    </a:lnTo>
                    <a:lnTo>
                      <a:pt x="99187" y="74168"/>
                    </a:lnTo>
                    <a:lnTo>
                      <a:pt x="99187" y="97027"/>
                    </a:lnTo>
                    <a:lnTo>
                      <a:pt x="90932" y="97027"/>
                    </a:lnTo>
                    <a:lnTo>
                      <a:pt x="90932" y="60197"/>
                    </a:lnTo>
                    <a:lnTo>
                      <a:pt x="66041" y="72135"/>
                    </a:lnTo>
                    <a:lnTo>
                      <a:pt x="66041" y="97027"/>
                    </a:lnTo>
                    <a:lnTo>
                      <a:pt x="30735" y="97027"/>
                    </a:lnTo>
                    <a:lnTo>
                      <a:pt x="35053" y="108839"/>
                    </a:lnTo>
                    <a:lnTo>
                      <a:pt x="233426" y="108839"/>
                    </a:lnTo>
                    <a:close/>
                    <a:moveTo>
                      <a:pt x="1043305" y="5288279"/>
                    </a:moveTo>
                    <a:moveTo>
                      <a:pt x="35053" y="202945"/>
                    </a:moveTo>
                    <a:lnTo>
                      <a:pt x="35053" y="210565"/>
                    </a:lnTo>
                    <a:lnTo>
                      <a:pt x="222886" y="210565"/>
                    </a:lnTo>
                    <a:lnTo>
                      <a:pt x="222886" y="141351"/>
                    </a:lnTo>
                    <a:lnTo>
                      <a:pt x="232537" y="132460"/>
                    </a:lnTo>
                    <a:lnTo>
                      <a:pt x="232537" y="120522"/>
                    </a:lnTo>
                    <a:lnTo>
                      <a:pt x="66168" y="120522"/>
                    </a:lnTo>
                    <a:lnTo>
                      <a:pt x="66168" y="132333"/>
                    </a:lnTo>
                    <a:lnTo>
                      <a:pt x="215774" y="132333"/>
                    </a:lnTo>
                    <a:lnTo>
                      <a:pt x="211710" y="136016"/>
                    </a:lnTo>
                    <a:lnTo>
                      <a:pt x="211710" y="200151"/>
                    </a:lnTo>
                    <a:lnTo>
                      <a:pt x="58801" y="200151"/>
                    </a:lnTo>
                    <a:lnTo>
                      <a:pt x="58801" y="137414"/>
                    </a:lnTo>
                    <a:lnTo>
                      <a:pt x="52579" y="120522"/>
                    </a:lnTo>
                    <a:lnTo>
                      <a:pt x="39498" y="120522"/>
                    </a:lnTo>
                    <a:lnTo>
                      <a:pt x="47753" y="140208"/>
                    </a:lnTo>
                    <a:lnTo>
                      <a:pt x="47753" y="200151"/>
                    </a:lnTo>
                    <a:lnTo>
                      <a:pt x="35053" y="202945"/>
                    </a:lnTo>
                    <a:close/>
                    <a:moveTo>
                      <a:pt x="949199" y="5288279"/>
                    </a:moveTo>
                    <a:moveTo>
                      <a:pt x="460375" y="197993"/>
                    </a:moveTo>
                    <a:lnTo>
                      <a:pt x="460375" y="152145"/>
                    </a:lnTo>
                    <a:lnTo>
                      <a:pt x="492761" y="152145"/>
                    </a:lnTo>
                    <a:lnTo>
                      <a:pt x="492761" y="108584"/>
                    </a:lnTo>
                    <a:lnTo>
                      <a:pt x="475869" y="108584"/>
                    </a:lnTo>
                    <a:lnTo>
                      <a:pt x="475869" y="130175"/>
                    </a:lnTo>
                    <a:lnTo>
                      <a:pt x="411354" y="130175"/>
                    </a:lnTo>
                    <a:lnTo>
                      <a:pt x="411354" y="98678"/>
                    </a:lnTo>
                    <a:lnTo>
                      <a:pt x="492761" y="98678"/>
                    </a:lnTo>
                    <a:lnTo>
                      <a:pt x="492761" y="84201"/>
                    </a:lnTo>
                    <a:lnTo>
                      <a:pt x="417068" y="84201"/>
                    </a:lnTo>
                    <a:lnTo>
                      <a:pt x="248286" y="0"/>
                    </a:lnTo>
                    <a:lnTo>
                      <a:pt x="248286" y="130175"/>
                    </a:lnTo>
                    <a:lnTo>
                      <a:pt x="255779" y="130175"/>
                    </a:lnTo>
                    <a:lnTo>
                      <a:pt x="255779" y="53594"/>
                    </a:lnTo>
                    <a:lnTo>
                      <a:pt x="409956" y="152145"/>
                    </a:lnTo>
                    <a:lnTo>
                      <a:pt x="437516" y="152145"/>
                    </a:lnTo>
                    <a:lnTo>
                      <a:pt x="437516" y="197993"/>
                    </a:lnTo>
                    <a:lnTo>
                      <a:pt x="307341" y="197993"/>
                    </a:lnTo>
                    <a:lnTo>
                      <a:pt x="307341" y="347218"/>
                    </a:lnTo>
                    <a:lnTo>
                      <a:pt x="316738" y="347218"/>
                    </a:lnTo>
                    <a:lnTo>
                      <a:pt x="316738" y="207645"/>
                    </a:lnTo>
                    <a:lnTo>
                      <a:pt x="524256" y="207645"/>
                    </a:lnTo>
                    <a:lnTo>
                      <a:pt x="524256" y="197993"/>
                    </a:lnTo>
                    <a:lnTo>
                      <a:pt x="460375" y="197993"/>
                    </a:lnTo>
                    <a:close/>
                    <a:moveTo>
                      <a:pt x="954151" y="5288279"/>
                    </a:moveTo>
                    <a:moveTo>
                      <a:pt x="273686" y="43814"/>
                    </a:moveTo>
                    <a:lnTo>
                      <a:pt x="265685" y="38734"/>
                    </a:lnTo>
                    <a:lnTo>
                      <a:pt x="265685" y="28956"/>
                    </a:lnTo>
                    <a:lnTo>
                      <a:pt x="273686" y="33020"/>
                    </a:lnTo>
                    <a:lnTo>
                      <a:pt x="273686" y="43814"/>
                    </a:lnTo>
                    <a:close/>
                    <a:moveTo>
                      <a:pt x="1108330" y="5288279"/>
                    </a:moveTo>
                    <a:moveTo>
                      <a:pt x="280036" y="36195"/>
                    </a:moveTo>
                    <a:lnTo>
                      <a:pt x="292355" y="42418"/>
                    </a:lnTo>
                    <a:lnTo>
                      <a:pt x="280036" y="45846"/>
                    </a:lnTo>
                    <a:lnTo>
                      <a:pt x="280036" y="36195"/>
                    </a:lnTo>
                    <a:close/>
                    <a:moveTo>
                      <a:pt x="1115949" y="5288279"/>
                    </a:moveTo>
                    <a:moveTo>
                      <a:pt x="308865" y="65785"/>
                    </a:moveTo>
                    <a:lnTo>
                      <a:pt x="285497" y="51181"/>
                    </a:lnTo>
                    <a:lnTo>
                      <a:pt x="300991" y="46735"/>
                    </a:lnTo>
                    <a:lnTo>
                      <a:pt x="308865" y="50419"/>
                    </a:lnTo>
                    <a:lnTo>
                      <a:pt x="308865" y="65785"/>
                    </a:lnTo>
                    <a:close/>
                    <a:moveTo>
                      <a:pt x="1086359" y="5288279"/>
                    </a:moveTo>
                    <a:moveTo>
                      <a:pt x="315087" y="69722"/>
                    </a:moveTo>
                    <a:lnTo>
                      <a:pt x="315087" y="53720"/>
                    </a:lnTo>
                    <a:lnTo>
                      <a:pt x="338836" y="65658"/>
                    </a:lnTo>
                    <a:lnTo>
                      <a:pt x="317628" y="71501"/>
                    </a:lnTo>
                    <a:lnTo>
                      <a:pt x="315087" y="69722"/>
                    </a:lnTo>
                    <a:close/>
                    <a:moveTo>
                      <a:pt x="1082422" y="5288279"/>
                    </a:moveTo>
                    <a:moveTo>
                      <a:pt x="325120" y="76072"/>
                    </a:moveTo>
                    <a:lnTo>
                      <a:pt x="347599" y="69976"/>
                    </a:lnTo>
                    <a:lnTo>
                      <a:pt x="350648" y="71501"/>
                    </a:lnTo>
                    <a:lnTo>
                      <a:pt x="350648" y="92201"/>
                    </a:lnTo>
                    <a:lnTo>
                      <a:pt x="325120" y="76072"/>
                    </a:lnTo>
                    <a:close/>
                    <a:moveTo>
                      <a:pt x="1076072" y="5288279"/>
                    </a:moveTo>
                    <a:moveTo>
                      <a:pt x="356870" y="96139"/>
                    </a:moveTo>
                    <a:lnTo>
                      <a:pt x="356870" y="74549"/>
                    </a:lnTo>
                    <a:lnTo>
                      <a:pt x="390780" y="91566"/>
                    </a:lnTo>
                    <a:lnTo>
                      <a:pt x="361697" y="99440"/>
                    </a:lnTo>
                    <a:lnTo>
                      <a:pt x="356870" y="96139"/>
                    </a:lnTo>
                    <a:close/>
                    <a:moveTo>
                      <a:pt x="1056005" y="5288279"/>
                    </a:moveTo>
                    <a:moveTo>
                      <a:pt x="369317" y="104139"/>
                    </a:moveTo>
                    <a:lnTo>
                      <a:pt x="399797" y="96012"/>
                    </a:lnTo>
                    <a:lnTo>
                      <a:pt x="403734" y="98044"/>
                    </a:lnTo>
                    <a:lnTo>
                      <a:pt x="403734" y="125857"/>
                    </a:lnTo>
                    <a:lnTo>
                      <a:pt x="369317" y="104139"/>
                    </a:lnTo>
                    <a:close/>
                    <a:moveTo>
                      <a:pt x="1048005" y="5288279"/>
                    </a:moveTo>
                    <a:moveTo>
                      <a:pt x="456311" y="100457"/>
                    </a:moveTo>
                    <a:lnTo>
                      <a:pt x="426720" y="115315"/>
                    </a:lnTo>
                    <a:lnTo>
                      <a:pt x="429387" y="121284"/>
                    </a:lnTo>
                    <a:lnTo>
                      <a:pt x="459105" y="106426"/>
                    </a:lnTo>
                    <a:lnTo>
                      <a:pt x="456311" y="100457"/>
                    </a:lnTo>
                    <a:close/>
                    <a:moveTo>
                      <a:pt x="1051687" y="5288279"/>
                    </a:moveTo>
                    <a:moveTo>
                      <a:pt x="52705" y="303529"/>
                    </a:moveTo>
                    <a:lnTo>
                      <a:pt x="52705" y="303529"/>
                    </a:lnTo>
                    <a:lnTo>
                      <a:pt x="59944" y="305943"/>
                    </a:lnTo>
                    <a:lnTo>
                      <a:pt x="66803" y="307975"/>
                    </a:lnTo>
                    <a:lnTo>
                      <a:pt x="73534" y="309499"/>
                    </a:lnTo>
                    <a:lnTo>
                      <a:pt x="80011" y="310641"/>
                    </a:lnTo>
                    <a:lnTo>
                      <a:pt x="86361" y="311531"/>
                    </a:lnTo>
                    <a:lnTo>
                      <a:pt x="92584" y="312039"/>
                    </a:lnTo>
                    <a:lnTo>
                      <a:pt x="98680" y="312293"/>
                    </a:lnTo>
                    <a:lnTo>
                      <a:pt x="104649" y="312293"/>
                    </a:lnTo>
                    <a:lnTo>
                      <a:pt x="110363" y="311912"/>
                    </a:lnTo>
                    <a:lnTo>
                      <a:pt x="116079" y="311150"/>
                    </a:lnTo>
                    <a:lnTo>
                      <a:pt x="121667" y="310514"/>
                    </a:lnTo>
                    <a:lnTo>
                      <a:pt x="127255" y="309499"/>
                    </a:lnTo>
                    <a:lnTo>
                      <a:pt x="132843" y="308483"/>
                    </a:lnTo>
                    <a:lnTo>
                      <a:pt x="138176" y="307085"/>
                    </a:lnTo>
                    <a:lnTo>
                      <a:pt x="148591" y="304419"/>
                    </a:lnTo>
                    <a:lnTo>
                      <a:pt x="169545" y="298576"/>
                    </a:lnTo>
                    <a:lnTo>
                      <a:pt x="179960" y="296037"/>
                    </a:lnTo>
                    <a:lnTo>
                      <a:pt x="185167" y="294894"/>
                    </a:lnTo>
                    <a:lnTo>
                      <a:pt x="190628" y="293877"/>
                    </a:lnTo>
                    <a:lnTo>
                      <a:pt x="195835" y="292989"/>
                    </a:lnTo>
                    <a:lnTo>
                      <a:pt x="201423" y="292226"/>
                    </a:lnTo>
                    <a:lnTo>
                      <a:pt x="206884" y="291719"/>
                    </a:lnTo>
                    <a:lnTo>
                      <a:pt x="212472" y="291591"/>
                    </a:lnTo>
                    <a:lnTo>
                      <a:pt x="218186" y="291719"/>
                    </a:lnTo>
                    <a:lnTo>
                      <a:pt x="224029" y="292100"/>
                    </a:lnTo>
                    <a:lnTo>
                      <a:pt x="230124" y="292734"/>
                    </a:lnTo>
                    <a:lnTo>
                      <a:pt x="236220" y="293877"/>
                    </a:lnTo>
                    <a:lnTo>
                      <a:pt x="238506" y="286512"/>
                    </a:lnTo>
                    <a:lnTo>
                      <a:pt x="240411" y="279272"/>
                    </a:lnTo>
                    <a:lnTo>
                      <a:pt x="242190" y="272288"/>
                    </a:lnTo>
                    <a:lnTo>
                      <a:pt x="243841" y="265683"/>
                    </a:lnTo>
                    <a:lnTo>
                      <a:pt x="246507" y="253238"/>
                    </a:lnTo>
                    <a:lnTo>
                      <a:pt x="248540" y="242189"/>
                    </a:lnTo>
                    <a:lnTo>
                      <a:pt x="250191" y="233171"/>
                    </a:lnTo>
                    <a:lnTo>
                      <a:pt x="251206" y="226059"/>
                    </a:lnTo>
                    <a:lnTo>
                      <a:pt x="251842" y="220090"/>
                    </a:lnTo>
                    <a:lnTo>
                      <a:pt x="136906" y="220090"/>
                    </a:lnTo>
                    <a:lnTo>
                      <a:pt x="136906" y="292734"/>
                    </a:lnTo>
                    <a:lnTo>
                      <a:pt x="127255" y="292734"/>
                    </a:lnTo>
                    <a:lnTo>
                      <a:pt x="127255" y="220090"/>
                    </a:lnTo>
                    <a:lnTo>
                      <a:pt x="12193" y="220090"/>
                    </a:lnTo>
                    <a:lnTo>
                      <a:pt x="13081" y="226314"/>
                    </a:lnTo>
                    <a:lnTo>
                      <a:pt x="14098" y="233679"/>
                    </a:lnTo>
                    <a:lnTo>
                      <a:pt x="15494" y="242951"/>
                    </a:lnTo>
                    <a:lnTo>
                      <a:pt x="17654" y="254381"/>
                    </a:lnTo>
                    <a:lnTo>
                      <a:pt x="18924" y="260731"/>
                    </a:lnTo>
                    <a:lnTo>
                      <a:pt x="20574" y="267334"/>
                    </a:lnTo>
                    <a:lnTo>
                      <a:pt x="22225" y="274193"/>
                    </a:lnTo>
                    <a:lnTo>
                      <a:pt x="24004" y="281432"/>
                    </a:lnTo>
                    <a:lnTo>
                      <a:pt x="26162" y="288670"/>
                    </a:lnTo>
                    <a:lnTo>
                      <a:pt x="28194" y="296418"/>
                    </a:lnTo>
                    <a:lnTo>
                      <a:pt x="34291" y="297941"/>
                    </a:lnTo>
                    <a:lnTo>
                      <a:pt x="40386" y="299846"/>
                    </a:lnTo>
                    <a:lnTo>
                      <a:pt x="52705" y="303529"/>
                    </a:lnTo>
                    <a:close/>
                    <a:moveTo>
                      <a:pt x="848615" y="5288279"/>
                    </a:moveTo>
                    <a:moveTo>
                      <a:pt x="445643" y="124714"/>
                    </a:moveTo>
                    <a:lnTo>
                      <a:pt x="457581" y="118364"/>
                    </a:lnTo>
                    <a:lnTo>
                      <a:pt x="454787" y="112521"/>
                    </a:lnTo>
                    <a:lnTo>
                      <a:pt x="442976" y="118745"/>
                    </a:lnTo>
                    <a:lnTo>
                      <a:pt x="445643" y="124714"/>
                    </a:lnTo>
                    <a:close/>
                    <a:moveTo>
                      <a:pt x="1027430" y="5288279"/>
                    </a:moveTo>
                    <a:moveTo>
                      <a:pt x="245999" y="318008"/>
                    </a:moveTo>
                    <a:lnTo>
                      <a:pt x="245999" y="318008"/>
                    </a:lnTo>
                    <a:lnTo>
                      <a:pt x="239268" y="316357"/>
                    </a:lnTo>
                    <a:lnTo>
                      <a:pt x="232792" y="314959"/>
                    </a:lnTo>
                    <a:lnTo>
                      <a:pt x="226568" y="314070"/>
                    </a:lnTo>
                    <a:lnTo>
                      <a:pt x="220345" y="313563"/>
                    </a:lnTo>
                    <a:lnTo>
                      <a:pt x="214249" y="313435"/>
                    </a:lnTo>
                    <a:lnTo>
                      <a:pt x="208280" y="313563"/>
                    </a:lnTo>
                    <a:lnTo>
                      <a:pt x="202566" y="313944"/>
                    </a:lnTo>
                    <a:lnTo>
                      <a:pt x="196850" y="314578"/>
                    </a:lnTo>
                    <a:lnTo>
                      <a:pt x="191136" y="315468"/>
                    </a:lnTo>
                    <a:lnTo>
                      <a:pt x="185548" y="316610"/>
                    </a:lnTo>
                    <a:lnTo>
                      <a:pt x="179960" y="317881"/>
                    </a:lnTo>
                    <a:lnTo>
                      <a:pt x="174625" y="319277"/>
                    </a:lnTo>
                    <a:lnTo>
                      <a:pt x="163704" y="322071"/>
                    </a:lnTo>
                    <a:lnTo>
                      <a:pt x="152655" y="325246"/>
                    </a:lnTo>
                    <a:lnTo>
                      <a:pt x="141732" y="328040"/>
                    </a:lnTo>
                    <a:lnTo>
                      <a:pt x="136272" y="329438"/>
                    </a:lnTo>
                    <a:lnTo>
                      <a:pt x="130303" y="330708"/>
                    </a:lnTo>
                    <a:lnTo>
                      <a:pt x="124587" y="331851"/>
                    </a:lnTo>
                    <a:lnTo>
                      <a:pt x="118873" y="332739"/>
                    </a:lnTo>
                    <a:lnTo>
                      <a:pt x="112904" y="333375"/>
                    </a:lnTo>
                    <a:lnTo>
                      <a:pt x="106807" y="333883"/>
                    </a:lnTo>
                    <a:lnTo>
                      <a:pt x="100711" y="334009"/>
                    </a:lnTo>
                    <a:lnTo>
                      <a:pt x="94361" y="334009"/>
                    </a:lnTo>
                    <a:lnTo>
                      <a:pt x="88011" y="333501"/>
                    </a:lnTo>
                    <a:lnTo>
                      <a:pt x="81280" y="332866"/>
                    </a:lnTo>
                    <a:lnTo>
                      <a:pt x="74423" y="331724"/>
                    </a:lnTo>
                    <a:lnTo>
                      <a:pt x="67437" y="329945"/>
                    </a:lnTo>
                    <a:lnTo>
                      <a:pt x="60325" y="327914"/>
                    </a:lnTo>
                    <a:lnTo>
                      <a:pt x="52705" y="325374"/>
                    </a:lnTo>
                    <a:lnTo>
                      <a:pt x="39498" y="321309"/>
                    </a:lnTo>
                    <a:lnTo>
                      <a:pt x="33020" y="319404"/>
                    </a:lnTo>
                    <a:lnTo>
                      <a:pt x="26670" y="317753"/>
                    </a:lnTo>
                    <a:lnTo>
                      <a:pt x="20067" y="316102"/>
                    </a:lnTo>
                    <a:lnTo>
                      <a:pt x="13590" y="314959"/>
                    </a:lnTo>
                    <a:lnTo>
                      <a:pt x="6859" y="314070"/>
                    </a:lnTo>
                    <a:lnTo>
                      <a:pt x="0" y="313435"/>
                    </a:lnTo>
                    <a:lnTo>
                      <a:pt x="0" y="326770"/>
                    </a:lnTo>
                    <a:lnTo>
                      <a:pt x="6350" y="327278"/>
                    </a:lnTo>
                    <a:lnTo>
                      <a:pt x="12574" y="328295"/>
                    </a:lnTo>
                    <a:lnTo>
                      <a:pt x="18669" y="329438"/>
                    </a:lnTo>
                    <a:lnTo>
                      <a:pt x="24638" y="330834"/>
                    </a:lnTo>
                    <a:lnTo>
                      <a:pt x="30480" y="332358"/>
                    </a:lnTo>
                    <a:lnTo>
                      <a:pt x="36576" y="334264"/>
                    </a:lnTo>
                    <a:lnTo>
                      <a:pt x="48895" y="337946"/>
                    </a:lnTo>
                    <a:lnTo>
                      <a:pt x="53594" y="339725"/>
                    </a:lnTo>
                    <a:lnTo>
                      <a:pt x="58674" y="341249"/>
                    </a:lnTo>
                    <a:lnTo>
                      <a:pt x="63755" y="342772"/>
                    </a:lnTo>
                    <a:lnTo>
                      <a:pt x="69088" y="344170"/>
                    </a:lnTo>
                    <a:lnTo>
                      <a:pt x="74804" y="345313"/>
                    </a:lnTo>
                    <a:lnTo>
                      <a:pt x="80518" y="346201"/>
                    </a:lnTo>
                    <a:lnTo>
                      <a:pt x="86742" y="346964"/>
                    </a:lnTo>
                    <a:lnTo>
                      <a:pt x="92965" y="347471"/>
                    </a:lnTo>
                    <a:lnTo>
                      <a:pt x="99442" y="347726"/>
                    </a:lnTo>
                    <a:lnTo>
                      <a:pt x="106299" y="347726"/>
                    </a:lnTo>
                    <a:lnTo>
                      <a:pt x="113285" y="347218"/>
                    </a:lnTo>
                    <a:lnTo>
                      <a:pt x="120524" y="346456"/>
                    </a:lnTo>
                    <a:lnTo>
                      <a:pt x="128017" y="345313"/>
                    </a:lnTo>
                    <a:lnTo>
                      <a:pt x="136018" y="343662"/>
                    </a:lnTo>
                    <a:lnTo>
                      <a:pt x="144018" y="341502"/>
                    </a:lnTo>
                    <a:lnTo>
                      <a:pt x="152274" y="338963"/>
                    </a:lnTo>
                    <a:lnTo>
                      <a:pt x="161799" y="335914"/>
                    </a:lnTo>
                    <a:lnTo>
                      <a:pt x="170688" y="333375"/>
                    </a:lnTo>
                    <a:lnTo>
                      <a:pt x="178690" y="331215"/>
                    </a:lnTo>
                    <a:lnTo>
                      <a:pt x="185801" y="329310"/>
                    </a:lnTo>
                    <a:lnTo>
                      <a:pt x="192660" y="327914"/>
                    </a:lnTo>
                    <a:lnTo>
                      <a:pt x="199136" y="327025"/>
                    </a:lnTo>
                    <a:lnTo>
                      <a:pt x="205232" y="326516"/>
                    </a:lnTo>
                    <a:lnTo>
                      <a:pt x="211201" y="326389"/>
                    </a:lnTo>
                    <a:lnTo>
                      <a:pt x="216917" y="326516"/>
                    </a:lnTo>
                    <a:lnTo>
                      <a:pt x="222759" y="327278"/>
                    </a:lnTo>
                    <a:lnTo>
                      <a:pt x="228855" y="328040"/>
                    </a:lnTo>
                    <a:lnTo>
                      <a:pt x="235205" y="329438"/>
                    </a:lnTo>
                    <a:lnTo>
                      <a:pt x="241681" y="331215"/>
                    </a:lnTo>
                    <a:lnTo>
                      <a:pt x="248920" y="332994"/>
                    </a:lnTo>
                    <a:lnTo>
                      <a:pt x="265176" y="337946"/>
                    </a:lnTo>
                    <a:lnTo>
                      <a:pt x="272035" y="340359"/>
                    </a:lnTo>
                    <a:lnTo>
                      <a:pt x="279400" y="342645"/>
                    </a:lnTo>
                    <a:lnTo>
                      <a:pt x="283337" y="343408"/>
                    </a:lnTo>
                    <a:lnTo>
                      <a:pt x="287274" y="344424"/>
                    </a:lnTo>
                    <a:lnTo>
                      <a:pt x="291338" y="345185"/>
                    </a:lnTo>
                    <a:lnTo>
                      <a:pt x="295403" y="345947"/>
                    </a:lnTo>
                    <a:lnTo>
                      <a:pt x="295403" y="332485"/>
                    </a:lnTo>
                    <a:lnTo>
                      <a:pt x="289180" y="331343"/>
                    </a:lnTo>
                    <a:lnTo>
                      <a:pt x="282703" y="329564"/>
                    </a:lnTo>
                    <a:lnTo>
                      <a:pt x="275972" y="327787"/>
                    </a:lnTo>
                    <a:lnTo>
                      <a:pt x="269113" y="325374"/>
                    </a:lnTo>
                    <a:lnTo>
                      <a:pt x="257175" y="321564"/>
                    </a:lnTo>
                    <a:lnTo>
                      <a:pt x="251461" y="319785"/>
                    </a:lnTo>
                    <a:lnTo>
                      <a:pt x="245999" y="318008"/>
                    </a:lnTo>
                    <a:close/>
                    <a:moveTo>
                      <a:pt x="834136" y="5288279"/>
                    </a:moveTo>
                    <a:moveTo>
                      <a:pt x="51309" y="364744"/>
                    </a:moveTo>
                    <a:lnTo>
                      <a:pt x="51309" y="364744"/>
                    </a:lnTo>
                    <a:lnTo>
                      <a:pt x="38990" y="361060"/>
                    </a:lnTo>
                    <a:lnTo>
                      <a:pt x="33020" y="359156"/>
                    </a:lnTo>
                    <a:lnTo>
                      <a:pt x="27051" y="357632"/>
                    </a:lnTo>
                    <a:lnTo>
                      <a:pt x="27051" y="371220"/>
                    </a:lnTo>
                    <a:lnTo>
                      <a:pt x="37085" y="374141"/>
                    </a:lnTo>
                    <a:lnTo>
                      <a:pt x="47372" y="377316"/>
                    </a:lnTo>
                    <a:lnTo>
                      <a:pt x="52070" y="378968"/>
                    </a:lnTo>
                    <a:lnTo>
                      <a:pt x="57150" y="380619"/>
                    </a:lnTo>
                    <a:lnTo>
                      <a:pt x="62230" y="382015"/>
                    </a:lnTo>
                    <a:lnTo>
                      <a:pt x="67565" y="383285"/>
                    </a:lnTo>
                    <a:lnTo>
                      <a:pt x="73280" y="384556"/>
                    </a:lnTo>
                    <a:lnTo>
                      <a:pt x="78994" y="385571"/>
                    </a:lnTo>
                    <a:lnTo>
                      <a:pt x="85218" y="386207"/>
                    </a:lnTo>
                    <a:lnTo>
                      <a:pt x="91441" y="386714"/>
                    </a:lnTo>
                    <a:lnTo>
                      <a:pt x="98044" y="387095"/>
                    </a:lnTo>
                    <a:lnTo>
                      <a:pt x="104903" y="386969"/>
                    </a:lnTo>
                    <a:lnTo>
                      <a:pt x="111887" y="386588"/>
                    </a:lnTo>
                    <a:lnTo>
                      <a:pt x="118999" y="385699"/>
                    </a:lnTo>
                    <a:lnTo>
                      <a:pt x="126619" y="384556"/>
                    </a:lnTo>
                    <a:lnTo>
                      <a:pt x="134620" y="383032"/>
                    </a:lnTo>
                    <a:lnTo>
                      <a:pt x="142622" y="381000"/>
                    </a:lnTo>
                    <a:lnTo>
                      <a:pt x="150749" y="378459"/>
                    </a:lnTo>
                    <a:lnTo>
                      <a:pt x="164974" y="374014"/>
                    </a:lnTo>
                    <a:lnTo>
                      <a:pt x="171324" y="372109"/>
                    </a:lnTo>
                    <a:lnTo>
                      <a:pt x="177166" y="370332"/>
                    </a:lnTo>
                    <a:lnTo>
                      <a:pt x="177166" y="357377"/>
                    </a:lnTo>
                    <a:lnTo>
                      <a:pt x="170054" y="359283"/>
                    </a:lnTo>
                    <a:lnTo>
                      <a:pt x="162942" y="361188"/>
                    </a:lnTo>
                    <a:lnTo>
                      <a:pt x="148972" y="365125"/>
                    </a:lnTo>
                    <a:lnTo>
                      <a:pt x="141732" y="367157"/>
                    </a:lnTo>
                    <a:lnTo>
                      <a:pt x="134620" y="368808"/>
                    </a:lnTo>
                    <a:lnTo>
                      <a:pt x="127000" y="370332"/>
                    </a:lnTo>
                    <a:lnTo>
                      <a:pt x="119507" y="371728"/>
                    </a:lnTo>
                    <a:lnTo>
                      <a:pt x="111887" y="372745"/>
                    </a:lnTo>
                    <a:lnTo>
                      <a:pt x="107950" y="373126"/>
                    </a:lnTo>
                    <a:lnTo>
                      <a:pt x="104013" y="373252"/>
                    </a:lnTo>
                    <a:lnTo>
                      <a:pt x="100076" y="373507"/>
                    </a:lnTo>
                    <a:lnTo>
                      <a:pt x="96012" y="373507"/>
                    </a:lnTo>
                    <a:lnTo>
                      <a:pt x="91949" y="373252"/>
                    </a:lnTo>
                    <a:lnTo>
                      <a:pt x="87757" y="372999"/>
                    </a:lnTo>
                    <a:lnTo>
                      <a:pt x="83440" y="372618"/>
                    </a:lnTo>
                    <a:lnTo>
                      <a:pt x="78994" y="372109"/>
                    </a:lnTo>
                    <a:lnTo>
                      <a:pt x="74676" y="371220"/>
                    </a:lnTo>
                    <a:lnTo>
                      <a:pt x="70231" y="370332"/>
                    </a:lnTo>
                    <a:lnTo>
                      <a:pt x="65660" y="369189"/>
                    </a:lnTo>
                    <a:lnTo>
                      <a:pt x="60961" y="368045"/>
                    </a:lnTo>
                    <a:lnTo>
                      <a:pt x="56135" y="366521"/>
                    </a:lnTo>
                    <a:lnTo>
                      <a:pt x="51309" y="364744"/>
                    </a:lnTo>
                    <a:close/>
                    <a:moveTo>
                      <a:pt x="787400" y="5288279"/>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pic>
            <p:nvPicPr>
              <p:cNvPr id="599" name="Picture 1336">
                <a:extLst>
                  <a:ext uri="{FF2B5EF4-FFF2-40B4-BE49-F238E27FC236}">
                    <a16:creationId xmlns:a16="http://schemas.microsoft.com/office/drawing/2014/main" id="{D68B069F-A329-4C03-8875-D13E928633F1}"/>
                  </a:ext>
                </a:extLst>
              </p:cNvPr>
              <p:cNvPicPr>
                <a:picLocks noChangeArrowheads="1"/>
              </p:cNvPicPr>
              <p:nvPr/>
            </p:nvPicPr>
            <p:blipFill>
              <a:blip r:embed="rId34">
                <a:duotone>
                  <a:prstClr val="black"/>
                  <a:srgbClr val="C00000">
                    <a:tint val="45000"/>
                    <a:satMod val="400000"/>
                  </a:srgbClr>
                </a:duotone>
                <a:extLst>
                  <a:ext uri="{28A0092B-C50C-407E-A947-70E740481C1C}">
                    <a14:useLocalDpi xmlns:a14="http://schemas.microsoft.com/office/drawing/2010/main" val="0"/>
                  </a:ext>
                </a:extLst>
              </a:blip>
              <a:srcRect/>
              <a:stretch>
                <a:fillRect/>
              </a:stretch>
            </p:blipFill>
            <p:spPr>
              <a:xfrm>
                <a:off x="4028502" y="2154839"/>
                <a:ext cx="411900" cy="1225927"/>
              </a:xfrm>
              <a:prstGeom prst="rect">
                <a:avLst/>
              </a:prstGeom>
              <a:noFill/>
            </p:spPr>
          </p:pic>
          <p:sp>
            <p:nvSpPr>
              <p:cNvPr id="600" name="Freeform 1440">
                <a:extLst>
                  <a:ext uri="{FF2B5EF4-FFF2-40B4-BE49-F238E27FC236}">
                    <a16:creationId xmlns:a16="http://schemas.microsoft.com/office/drawing/2014/main" id="{3EFEFD6E-CFA4-403F-9668-DB8D2B1B56B9}"/>
                  </a:ext>
                </a:extLst>
              </p:cNvPr>
              <p:cNvSpPr/>
              <p:nvPr/>
            </p:nvSpPr>
            <p:spPr>
              <a:xfrm>
                <a:off x="3122702" y="2536401"/>
                <a:ext cx="581865" cy="475240"/>
              </a:xfrm>
              <a:custGeom>
                <a:avLst/>
                <a:gdLst/>
                <a:ahLst/>
                <a:cxnLst/>
                <a:rect l="0" t="0" r="0" b="0"/>
                <a:pathLst>
                  <a:path w="582168" h="475488">
                    <a:moveTo>
                      <a:pt x="0" y="475488"/>
                    </a:moveTo>
                    <a:lnTo>
                      <a:pt x="582168" y="475488"/>
                    </a:lnTo>
                    <a:lnTo>
                      <a:pt x="582168" y="0"/>
                    </a:lnTo>
                    <a:lnTo>
                      <a:pt x="0" y="0"/>
                    </a:lnTo>
                    <a:lnTo>
                      <a:pt x="0" y="475488"/>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pic>
            <p:nvPicPr>
              <p:cNvPr id="601" name="Picture 1441">
                <a:extLst>
                  <a:ext uri="{FF2B5EF4-FFF2-40B4-BE49-F238E27FC236}">
                    <a16:creationId xmlns:a16="http://schemas.microsoft.com/office/drawing/2014/main" id="{F65258D1-45BE-4847-B7BF-20DF3DBEE304}"/>
                  </a:ext>
                </a:extLst>
              </p:cNvPr>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a:xfrm>
                <a:off x="3122702" y="2536403"/>
                <a:ext cx="581865" cy="475239"/>
              </a:xfrm>
              <a:prstGeom prst="rect">
                <a:avLst/>
              </a:prstGeom>
              <a:noFill/>
            </p:spPr>
          </p:pic>
          <p:sp>
            <p:nvSpPr>
              <p:cNvPr id="602" name="Rectangle 1549">
                <a:extLst>
                  <a:ext uri="{FF2B5EF4-FFF2-40B4-BE49-F238E27FC236}">
                    <a16:creationId xmlns:a16="http://schemas.microsoft.com/office/drawing/2014/main" id="{98AFEAE0-D4BC-4D5E-B2FC-1C188CE3EB9A}"/>
                  </a:ext>
                </a:extLst>
              </p:cNvPr>
              <p:cNvSpPr/>
              <p:nvPr/>
            </p:nvSpPr>
            <p:spPr>
              <a:xfrm>
                <a:off x="3073324" y="1946981"/>
                <a:ext cx="1558654" cy="154705"/>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1147059" algn="l"/>
                  </a:tabLst>
                  <a:defRPr/>
                </a:pPr>
                <a:r>
                  <a:rPr kumimoji="0" lang="en-US" sz="1005" b="1" i="0" u="none" strike="noStrike" kern="1200" cap="none" spc="0" normalizeH="0" baseline="0" noProof="0" dirty="0">
                    <a:ln>
                      <a:noFill/>
                    </a:ln>
                    <a:solidFill>
                      <a:srgbClr val="FF0000"/>
                    </a:solidFill>
                    <a:effectLst/>
                    <a:uLnTx/>
                    <a:uFillTx/>
                    <a:latin typeface="EYInterstate-LightBold"/>
                    <a:ea typeface="+mn-ea"/>
                    <a:cs typeface="+mn-cs"/>
                  </a:rPr>
                  <a:t>By-product	</a:t>
                </a:r>
                <a:r>
                  <a:rPr kumimoji="0" lang="en-US" sz="1005" b="1" i="0" u="none" strike="noStrike" kern="1200" cap="none" spc="-12" normalizeH="0" baseline="0" noProof="0" dirty="0">
                    <a:ln>
                      <a:noFill/>
                    </a:ln>
                    <a:solidFill>
                      <a:srgbClr val="FF0000"/>
                    </a:solidFill>
                    <a:effectLst/>
                    <a:uLnTx/>
                    <a:uFillTx/>
                    <a:latin typeface="EYInterstate-LightBold"/>
                    <a:ea typeface="+mn-ea"/>
                    <a:cs typeface="+mn-cs"/>
                  </a:rPr>
                  <a:t>I</a:t>
                </a:r>
                <a:r>
                  <a:rPr kumimoji="0" lang="en-US" sz="1005" b="1" i="0" u="none" strike="noStrike" kern="1200" cap="none" spc="0" normalizeH="0" baseline="0" noProof="0" dirty="0">
                    <a:ln>
                      <a:noFill/>
                    </a:ln>
                    <a:solidFill>
                      <a:srgbClr val="FF0000"/>
                    </a:solidFill>
                    <a:effectLst/>
                    <a:uLnTx/>
                    <a:uFillTx/>
                    <a:latin typeface="EYInterstate-LightBold"/>
                    <a:ea typeface="+mn-ea"/>
                    <a:cs typeface="+mn-cs"/>
                  </a:rPr>
                  <a:t>mport</a:t>
                </a:r>
              </a:p>
            </p:txBody>
          </p:sp>
          <p:sp>
            <p:nvSpPr>
              <p:cNvPr id="603" name="Rectangle 1575">
                <a:extLst>
                  <a:ext uri="{FF2B5EF4-FFF2-40B4-BE49-F238E27FC236}">
                    <a16:creationId xmlns:a16="http://schemas.microsoft.com/office/drawing/2014/main" id="{5708110E-3006-44D1-9D16-7AF790E003DB}"/>
                  </a:ext>
                </a:extLst>
              </p:cNvPr>
              <p:cNvSpPr/>
              <p:nvPr/>
            </p:nvSpPr>
            <p:spPr>
              <a:xfrm>
                <a:off x="3058092" y="2989869"/>
                <a:ext cx="727956" cy="15478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FF0000"/>
                    </a:solidFill>
                    <a:effectLst/>
                    <a:uLnTx/>
                    <a:uFillTx/>
                    <a:latin typeface="EYInterstate-LightBold"/>
                    <a:ea typeface="+mn-ea"/>
                    <a:cs typeface="+mn-cs"/>
                  </a:rPr>
                  <a:t>Electrol</a:t>
                </a:r>
                <a:r>
                  <a:rPr kumimoji="0" lang="en-US" sz="1005" b="1" i="0" u="none" strike="noStrike" kern="1200" cap="none" spc="-11" normalizeH="0" baseline="0" noProof="0" dirty="0">
                    <a:ln>
                      <a:noFill/>
                    </a:ln>
                    <a:solidFill>
                      <a:srgbClr val="FF0000"/>
                    </a:solidFill>
                    <a:effectLst/>
                    <a:uLnTx/>
                    <a:uFillTx/>
                    <a:latin typeface="EYInterstate-LightBold"/>
                    <a:ea typeface="+mn-ea"/>
                    <a:cs typeface="+mn-cs"/>
                  </a:rPr>
                  <a:t>y</a:t>
                </a:r>
                <a:r>
                  <a:rPr kumimoji="0" lang="en-US" sz="1005" b="1" i="0" u="none" strike="noStrike" kern="1200" cap="none" spc="0" normalizeH="0" baseline="0" noProof="0" dirty="0">
                    <a:ln>
                      <a:noFill/>
                    </a:ln>
                    <a:solidFill>
                      <a:srgbClr val="FF0000"/>
                    </a:solidFill>
                    <a:effectLst/>
                    <a:uLnTx/>
                    <a:uFillTx/>
                    <a:latin typeface="EYInterstate-LightBold"/>
                    <a:ea typeface="+mn-ea"/>
                    <a:cs typeface="+mn-cs"/>
                  </a:rPr>
                  <a:t>sis</a:t>
                </a:r>
              </a:p>
            </p:txBody>
          </p:sp>
        </p:grpSp>
      </p:grpSp>
      <p:grpSp>
        <p:nvGrpSpPr>
          <p:cNvPr id="604" name="1. Source - Power">
            <a:extLst>
              <a:ext uri="{FF2B5EF4-FFF2-40B4-BE49-F238E27FC236}">
                <a16:creationId xmlns:a16="http://schemas.microsoft.com/office/drawing/2014/main" id="{F5E12915-D513-4EC4-A1EA-DC741086A9F2}"/>
              </a:ext>
            </a:extLst>
          </p:cNvPr>
          <p:cNvGrpSpPr/>
          <p:nvPr/>
        </p:nvGrpSpPr>
        <p:grpSpPr>
          <a:xfrm>
            <a:off x="815882" y="1525870"/>
            <a:ext cx="2105901" cy="1634070"/>
            <a:chOff x="822660" y="1540126"/>
            <a:chExt cx="2106998" cy="1634921"/>
          </a:xfrm>
        </p:grpSpPr>
        <p:pic>
          <p:nvPicPr>
            <p:cNvPr id="605" name="Picture 1360">
              <a:extLst>
                <a:ext uri="{FF2B5EF4-FFF2-40B4-BE49-F238E27FC236}">
                  <a16:creationId xmlns:a16="http://schemas.microsoft.com/office/drawing/2014/main" id="{67551555-0645-415E-B301-FC6796016B41}"/>
                </a:ext>
              </a:extLst>
            </p:cNvPr>
            <p:cNvPicPr>
              <a:picLocks noChangeArrowheads="1"/>
            </p:cNvPicPr>
            <p:nvPr/>
          </p:nvPicPr>
          <p:blipFill>
            <a:blip r:embed="rId36">
              <a:duotone>
                <a:prstClr val="black"/>
                <a:srgbClr val="C00000">
                  <a:tint val="45000"/>
                  <a:satMod val="400000"/>
                </a:srgbClr>
              </a:duotone>
              <a:extLst>
                <a:ext uri="{28A0092B-C50C-407E-A947-70E740481C1C}">
                  <a14:useLocalDpi xmlns:a14="http://schemas.microsoft.com/office/drawing/2010/main" val="0"/>
                </a:ext>
              </a:extLst>
            </a:blip>
            <a:srcRect/>
            <a:stretch>
              <a:fillRect/>
            </a:stretch>
          </p:blipFill>
          <p:spPr>
            <a:xfrm>
              <a:off x="2595061" y="2813413"/>
              <a:ext cx="330789" cy="361634"/>
            </a:xfrm>
            <a:prstGeom prst="rect">
              <a:avLst/>
            </a:prstGeom>
            <a:noFill/>
          </p:spPr>
        </p:pic>
        <p:pic>
          <p:nvPicPr>
            <p:cNvPr id="606" name="Picture 1361">
              <a:extLst>
                <a:ext uri="{FF2B5EF4-FFF2-40B4-BE49-F238E27FC236}">
                  <a16:creationId xmlns:a16="http://schemas.microsoft.com/office/drawing/2014/main" id="{BAACEE71-9105-46AE-8F77-95B2A6248750}"/>
                </a:ext>
              </a:extLst>
            </p:cNvPr>
            <p:cNvPicPr>
              <a:picLocks noChangeArrowheads="1"/>
            </p:cNvPicPr>
            <p:nvPr/>
          </p:nvPicPr>
          <p:blipFill>
            <a:blip r:embed="rId37">
              <a:duotone>
                <a:prstClr val="black"/>
                <a:srgbClr val="C00000">
                  <a:tint val="45000"/>
                  <a:satMod val="400000"/>
                </a:srgbClr>
              </a:duotone>
              <a:extLst>
                <a:ext uri="{28A0092B-C50C-407E-A947-70E740481C1C}">
                  <a14:useLocalDpi xmlns:a14="http://schemas.microsoft.com/office/drawing/2010/main" val="0"/>
                </a:ext>
              </a:extLst>
            </a:blip>
            <a:srcRect/>
            <a:stretch>
              <a:fillRect/>
            </a:stretch>
          </p:blipFill>
          <p:spPr>
            <a:xfrm>
              <a:off x="2595060" y="1801489"/>
              <a:ext cx="334598" cy="750051"/>
            </a:xfrm>
            <a:prstGeom prst="rect">
              <a:avLst/>
            </a:prstGeom>
            <a:noFill/>
          </p:spPr>
        </p:pic>
        <p:sp>
          <p:nvSpPr>
            <p:cNvPr id="607" name="Freeform 1271">
              <a:extLst>
                <a:ext uri="{FF2B5EF4-FFF2-40B4-BE49-F238E27FC236}">
                  <a16:creationId xmlns:a16="http://schemas.microsoft.com/office/drawing/2014/main" id="{ADDFAF30-B4B9-4BCB-84F7-7AFB2EAE79E8}"/>
                </a:ext>
              </a:extLst>
            </p:cNvPr>
            <p:cNvSpPr/>
            <p:nvPr/>
          </p:nvSpPr>
          <p:spPr>
            <a:xfrm>
              <a:off x="822660" y="1738144"/>
              <a:ext cx="313781" cy="158412"/>
            </a:xfrm>
            <a:custGeom>
              <a:avLst/>
              <a:gdLst/>
              <a:ahLst/>
              <a:cxnLst/>
              <a:rect l="0" t="0" r="0" b="0"/>
              <a:pathLst>
                <a:path w="313944" h="158495">
                  <a:moveTo>
                    <a:pt x="309398" y="158495"/>
                  </a:moveTo>
                  <a:lnTo>
                    <a:pt x="4547" y="158495"/>
                  </a:lnTo>
                  <a:lnTo>
                    <a:pt x="2274" y="158495"/>
                  </a:lnTo>
                  <a:lnTo>
                    <a:pt x="1144" y="156590"/>
                  </a:lnTo>
                  <a:lnTo>
                    <a:pt x="0" y="155701"/>
                  </a:lnTo>
                  <a:lnTo>
                    <a:pt x="0" y="153796"/>
                  </a:lnTo>
                  <a:lnTo>
                    <a:pt x="35268" y="3809"/>
                  </a:lnTo>
                  <a:lnTo>
                    <a:pt x="37542" y="889"/>
                  </a:lnTo>
                  <a:lnTo>
                    <a:pt x="39815" y="0"/>
                  </a:lnTo>
                  <a:lnTo>
                    <a:pt x="273000" y="0"/>
                  </a:lnTo>
                  <a:lnTo>
                    <a:pt x="276403" y="889"/>
                  </a:lnTo>
                  <a:lnTo>
                    <a:pt x="278677" y="3809"/>
                  </a:lnTo>
                  <a:lnTo>
                    <a:pt x="313944" y="153796"/>
                  </a:lnTo>
                  <a:lnTo>
                    <a:pt x="313944" y="155701"/>
                  </a:lnTo>
                  <a:lnTo>
                    <a:pt x="312802" y="156590"/>
                  </a:lnTo>
                  <a:lnTo>
                    <a:pt x="311671" y="158495"/>
                  </a:lnTo>
                  <a:lnTo>
                    <a:pt x="309398" y="158495"/>
                  </a:lnTo>
                  <a:close/>
                  <a:moveTo>
                    <a:pt x="4157473" y="5135879"/>
                  </a:moveTo>
                  <a:moveTo>
                    <a:pt x="11380" y="149987"/>
                  </a:moveTo>
                  <a:lnTo>
                    <a:pt x="302565" y="149987"/>
                  </a:lnTo>
                  <a:lnTo>
                    <a:pt x="269583" y="8508"/>
                  </a:lnTo>
                  <a:lnTo>
                    <a:pt x="44362" y="8508"/>
                  </a:lnTo>
                  <a:lnTo>
                    <a:pt x="11380" y="149987"/>
                  </a:lnTo>
                  <a:close/>
                  <a:moveTo>
                    <a:pt x="4165981" y="5135879"/>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08" name="Freeform 1272">
              <a:extLst>
                <a:ext uri="{FF2B5EF4-FFF2-40B4-BE49-F238E27FC236}">
                  <a16:creationId xmlns:a16="http://schemas.microsoft.com/office/drawing/2014/main" id="{069DF73C-150B-4EB7-97B5-3D0FC2AD7886}"/>
                </a:ext>
              </a:extLst>
            </p:cNvPr>
            <p:cNvSpPr/>
            <p:nvPr/>
          </p:nvSpPr>
          <p:spPr>
            <a:xfrm>
              <a:off x="974981" y="1738145"/>
              <a:ext cx="9139" cy="194969"/>
            </a:xfrm>
            <a:custGeom>
              <a:avLst/>
              <a:gdLst/>
              <a:ahLst/>
              <a:cxnLst/>
              <a:rect l="0" t="0" r="0" b="0"/>
              <a:pathLst>
                <a:path w="9144" h="195071">
                  <a:moveTo>
                    <a:pt x="5080" y="195071"/>
                  </a:moveTo>
                  <a:lnTo>
                    <a:pt x="5080" y="195071"/>
                  </a:lnTo>
                  <a:lnTo>
                    <a:pt x="3049" y="195071"/>
                  </a:lnTo>
                  <a:lnTo>
                    <a:pt x="2033" y="194183"/>
                  </a:lnTo>
                  <a:lnTo>
                    <a:pt x="1016" y="192277"/>
                  </a:lnTo>
                  <a:lnTo>
                    <a:pt x="0" y="191262"/>
                  </a:lnTo>
                  <a:lnTo>
                    <a:pt x="0" y="4699"/>
                  </a:lnTo>
                  <a:lnTo>
                    <a:pt x="1016" y="2794"/>
                  </a:lnTo>
                  <a:lnTo>
                    <a:pt x="2033" y="1904"/>
                  </a:lnTo>
                  <a:lnTo>
                    <a:pt x="3049" y="889"/>
                  </a:lnTo>
                  <a:lnTo>
                    <a:pt x="5080" y="0"/>
                  </a:lnTo>
                  <a:lnTo>
                    <a:pt x="7113" y="889"/>
                  </a:lnTo>
                  <a:lnTo>
                    <a:pt x="8128" y="1904"/>
                  </a:lnTo>
                  <a:lnTo>
                    <a:pt x="9144" y="2794"/>
                  </a:lnTo>
                  <a:lnTo>
                    <a:pt x="9144" y="4699"/>
                  </a:lnTo>
                  <a:lnTo>
                    <a:pt x="9144" y="191262"/>
                  </a:lnTo>
                  <a:lnTo>
                    <a:pt x="9144" y="192277"/>
                  </a:lnTo>
                  <a:lnTo>
                    <a:pt x="8128" y="194183"/>
                  </a:lnTo>
                  <a:lnTo>
                    <a:pt x="7113" y="195071"/>
                  </a:lnTo>
                  <a:lnTo>
                    <a:pt x="5080" y="195071"/>
                  </a:lnTo>
                  <a:close/>
                  <a:moveTo>
                    <a:pt x="3968497" y="5135879"/>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09" name="Freeform 1273">
              <a:extLst>
                <a:ext uri="{FF2B5EF4-FFF2-40B4-BE49-F238E27FC236}">
                  <a16:creationId xmlns:a16="http://schemas.microsoft.com/office/drawing/2014/main" id="{43709AF4-8A58-45BD-A534-0BBDE2C77BCE}"/>
                </a:ext>
              </a:extLst>
            </p:cNvPr>
            <p:cNvSpPr/>
            <p:nvPr/>
          </p:nvSpPr>
          <p:spPr>
            <a:xfrm>
              <a:off x="895775" y="1738144"/>
              <a:ext cx="30465" cy="158412"/>
            </a:xfrm>
            <a:custGeom>
              <a:avLst/>
              <a:gdLst/>
              <a:ahLst/>
              <a:cxnLst/>
              <a:rect l="0" t="0" r="0" b="0"/>
              <a:pathLst>
                <a:path w="30481" h="158495">
                  <a:moveTo>
                    <a:pt x="4522" y="158495"/>
                  </a:moveTo>
                  <a:lnTo>
                    <a:pt x="4522" y="158495"/>
                  </a:lnTo>
                  <a:lnTo>
                    <a:pt x="2261" y="157607"/>
                  </a:lnTo>
                  <a:lnTo>
                    <a:pt x="1131" y="156590"/>
                  </a:lnTo>
                  <a:lnTo>
                    <a:pt x="0" y="155701"/>
                  </a:lnTo>
                  <a:lnTo>
                    <a:pt x="0" y="153796"/>
                  </a:lnTo>
                  <a:lnTo>
                    <a:pt x="20320" y="3809"/>
                  </a:lnTo>
                  <a:lnTo>
                    <a:pt x="21451" y="1904"/>
                  </a:lnTo>
                  <a:lnTo>
                    <a:pt x="22581" y="889"/>
                  </a:lnTo>
                  <a:lnTo>
                    <a:pt x="24842" y="0"/>
                  </a:lnTo>
                  <a:lnTo>
                    <a:pt x="25959" y="0"/>
                  </a:lnTo>
                  <a:lnTo>
                    <a:pt x="28220" y="889"/>
                  </a:lnTo>
                  <a:lnTo>
                    <a:pt x="29350" y="1904"/>
                  </a:lnTo>
                  <a:lnTo>
                    <a:pt x="30481" y="2794"/>
                  </a:lnTo>
                  <a:lnTo>
                    <a:pt x="30481" y="4699"/>
                  </a:lnTo>
                  <a:lnTo>
                    <a:pt x="10161" y="154685"/>
                  </a:lnTo>
                  <a:lnTo>
                    <a:pt x="9030" y="156590"/>
                  </a:lnTo>
                  <a:lnTo>
                    <a:pt x="7900" y="157607"/>
                  </a:lnTo>
                  <a:lnTo>
                    <a:pt x="4522" y="158495"/>
                  </a:lnTo>
                  <a:close/>
                  <a:moveTo>
                    <a:pt x="4084321" y="5135879"/>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10" name="Freeform 1274">
              <a:extLst>
                <a:ext uri="{FF2B5EF4-FFF2-40B4-BE49-F238E27FC236}">
                  <a16:creationId xmlns:a16="http://schemas.microsoft.com/office/drawing/2014/main" id="{4B14D996-A7EC-4856-9C62-EADA556519FA}"/>
                </a:ext>
              </a:extLst>
            </p:cNvPr>
            <p:cNvSpPr/>
            <p:nvPr/>
          </p:nvSpPr>
          <p:spPr>
            <a:xfrm>
              <a:off x="1029816" y="1738144"/>
              <a:ext cx="33511" cy="158412"/>
            </a:xfrm>
            <a:custGeom>
              <a:avLst/>
              <a:gdLst/>
              <a:ahLst/>
              <a:cxnLst/>
              <a:rect l="0" t="0" r="0" b="0"/>
              <a:pathLst>
                <a:path w="33528" h="158495">
                  <a:moveTo>
                    <a:pt x="28741" y="158495"/>
                  </a:moveTo>
                  <a:lnTo>
                    <a:pt x="28741" y="158495"/>
                  </a:lnTo>
                  <a:lnTo>
                    <a:pt x="25147" y="157607"/>
                  </a:lnTo>
                  <a:lnTo>
                    <a:pt x="23953" y="156590"/>
                  </a:lnTo>
                  <a:lnTo>
                    <a:pt x="22746" y="154685"/>
                  </a:lnTo>
                  <a:lnTo>
                    <a:pt x="0" y="4699"/>
                  </a:lnTo>
                  <a:lnTo>
                    <a:pt x="1194" y="2794"/>
                  </a:lnTo>
                  <a:lnTo>
                    <a:pt x="1194" y="1904"/>
                  </a:lnTo>
                  <a:lnTo>
                    <a:pt x="3595" y="889"/>
                  </a:lnTo>
                  <a:lnTo>
                    <a:pt x="4788" y="0"/>
                  </a:lnTo>
                  <a:lnTo>
                    <a:pt x="7189" y="0"/>
                  </a:lnTo>
                  <a:lnTo>
                    <a:pt x="9576" y="889"/>
                  </a:lnTo>
                  <a:lnTo>
                    <a:pt x="10783" y="1904"/>
                  </a:lnTo>
                  <a:lnTo>
                    <a:pt x="10783" y="3809"/>
                  </a:lnTo>
                  <a:lnTo>
                    <a:pt x="33528" y="153796"/>
                  </a:lnTo>
                  <a:lnTo>
                    <a:pt x="33528" y="155701"/>
                  </a:lnTo>
                  <a:lnTo>
                    <a:pt x="32335" y="156590"/>
                  </a:lnTo>
                  <a:lnTo>
                    <a:pt x="31128" y="157607"/>
                  </a:lnTo>
                  <a:lnTo>
                    <a:pt x="28741" y="158495"/>
                  </a:lnTo>
                  <a:close/>
                  <a:moveTo>
                    <a:pt x="3950209" y="5135879"/>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11" name="Freeform 1275">
              <a:extLst>
                <a:ext uri="{FF2B5EF4-FFF2-40B4-BE49-F238E27FC236}">
                  <a16:creationId xmlns:a16="http://schemas.microsoft.com/office/drawing/2014/main" id="{5344F69B-EADD-4155-BB58-30D9F959C30D}"/>
                </a:ext>
              </a:extLst>
            </p:cNvPr>
            <p:cNvSpPr/>
            <p:nvPr/>
          </p:nvSpPr>
          <p:spPr>
            <a:xfrm>
              <a:off x="840939" y="1811258"/>
              <a:ext cx="274176" cy="9139"/>
            </a:xfrm>
            <a:custGeom>
              <a:avLst/>
              <a:gdLst/>
              <a:ahLst/>
              <a:cxnLst/>
              <a:rect l="0" t="0" r="0" b="0"/>
              <a:pathLst>
                <a:path w="274319" h="9144">
                  <a:moveTo>
                    <a:pt x="268605" y="9144"/>
                  </a:moveTo>
                  <a:lnTo>
                    <a:pt x="5714" y="9144"/>
                  </a:lnTo>
                  <a:lnTo>
                    <a:pt x="3428" y="9144"/>
                  </a:lnTo>
                  <a:lnTo>
                    <a:pt x="2286" y="8128"/>
                  </a:lnTo>
                  <a:lnTo>
                    <a:pt x="1142" y="6096"/>
                  </a:lnTo>
                  <a:lnTo>
                    <a:pt x="0" y="5081"/>
                  </a:lnTo>
                  <a:lnTo>
                    <a:pt x="1142" y="3049"/>
                  </a:lnTo>
                  <a:lnTo>
                    <a:pt x="2286" y="1017"/>
                  </a:lnTo>
                  <a:lnTo>
                    <a:pt x="3428" y="0"/>
                  </a:lnTo>
                  <a:lnTo>
                    <a:pt x="5714" y="0"/>
                  </a:lnTo>
                  <a:lnTo>
                    <a:pt x="268605" y="0"/>
                  </a:lnTo>
                  <a:lnTo>
                    <a:pt x="270891" y="0"/>
                  </a:lnTo>
                  <a:lnTo>
                    <a:pt x="273177" y="1017"/>
                  </a:lnTo>
                  <a:lnTo>
                    <a:pt x="274319" y="3049"/>
                  </a:lnTo>
                  <a:lnTo>
                    <a:pt x="274319" y="5081"/>
                  </a:lnTo>
                  <a:lnTo>
                    <a:pt x="274319" y="6096"/>
                  </a:lnTo>
                  <a:lnTo>
                    <a:pt x="273177" y="8128"/>
                  </a:lnTo>
                  <a:lnTo>
                    <a:pt x="270891" y="9144"/>
                  </a:lnTo>
                  <a:lnTo>
                    <a:pt x="268605" y="9144"/>
                  </a:lnTo>
                  <a:close/>
                  <a:moveTo>
                    <a:pt x="4215384" y="5062728"/>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12" name="Freeform 1276">
              <a:extLst>
                <a:ext uri="{FF2B5EF4-FFF2-40B4-BE49-F238E27FC236}">
                  <a16:creationId xmlns:a16="http://schemas.microsoft.com/office/drawing/2014/main" id="{095F4AE2-42A5-4D40-9880-A77241E53735}"/>
                </a:ext>
              </a:extLst>
            </p:cNvPr>
            <p:cNvSpPr/>
            <p:nvPr/>
          </p:nvSpPr>
          <p:spPr>
            <a:xfrm>
              <a:off x="941471" y="1923975"/>
              <a:ext cx="73115" cy="9139"/>
            </a:xfrm>
            <a:custGeom>
              <a:avLst/>
              <a:gdLst/>
              <a:ahLst/>
              <a:cxnLst/>
              <a:rect l="0" t="0" r="0" b="0"/>
              <a:pathLst>
                <a:path w="73153" h="9144">
                  <a:moveTo>
                    <a:pt x="68580" y="9144"/>
                  </a:moveTo>
                  <a:lnTo>
                    <a:pt x="4572" y="9144"/>
                  </a:lnTo>
                  <a:lnTo>
                    <a:pt x="2286" y="9144"/>
                  </a:lnTo>
                  <a:lnTo>
                    <a:pt x="1144" y="8129"/>
                  </a:lnTo>
                  <a:lnTo>
                    <a:pt x="0" y="6097"/>
                  </a:lnTo>
                  <a:lnTo>
                    <a:pt x="0" y="5081"/>
                  </a:lnTo>
                  <a:lnTo>
                    <a:pt x="0" y="3049"/>
                  </a:lnTo>
                  <a:lnTo>
                    <a:pt x="1144" y="2032"/>
                  </a:lnTo>
                  <a:lnTo>
                    <a:pt x="2286" y="1017"/>
                  </a:lnTo>
                  <a:lnTo>
                    <a:pt x="4572" y="0"/>
                  </a:lnTo>
                  <a:lnTo>
                    <a:pt x="68580" y="0"/>
                  </a:lnTo>
                  <a:lnTo>
                    <a:pt x="70867" y="1017"/>
                  </a:lnTo>
                  <a:lnTo>
                    <a:pt x="72009" y="2032"/>
                  </a:lnTo>
                  <a:lnTo>
                    <a:pt x="73153" y="3049"/>
                  </a:lnTo>
                  <a:lnTo>
                    <a:pt x="73153" y="5081"/>
                  </a:lnTo>
                  <a:lnTo>
                    <a:pt x="73153" y="6097"/>
                  </a:lnTo>
                  <a:lnTo>
                    <a:pt x="72009" y="8129"/>
                  </a:lnTo>
                  <a:lnTo>
                    <a:pt x="70867" y="9144"/>
                  </a:lnTo>
                  <a:lnTo>
                    <a:pt x="68580" y="9144"/>
                  </a:lnTo>
                  <a:close/>
                  <a:moveTo>
                    <a:pt x="4002025" y="4949952"/>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13" name="Freeform 1277">
              <a:extLst>
                <a:ext uri="{FF2B5EF4-FFF2-40B4-BE49-F238E27FC236}">
                  <a16:creationId xmlns:a16="http://schemas.microsoft.com/office/drawing/2014/main" id="{AAC617C0-442A-49E1-A80E-C45FAF6C696C}"/>
                </a:ext>
              </a:extLst>
            </p:cNvPr>
            <p:cNvSpPr/>
            <p:nvPr/>
          </p:nvSpPr>
          <p:spPr>
            <a:xfrm>
              <a:off x="1081606" y="1591916"/>
              <a:ext cx="143181" cy="118811"/>
            </a:xfrm>
            <a:custGeom>
              <a:avLst/>
              <a:gdLst/>
              <a:ahLst/>
              <a:cxnLst/>
              <a:rect l="0" t="0" r="0" b="0"/>
              <a:pathLst>
                <a:path w="143256" h="118873">
                  <a:moveTo>
                    <a:pt x="71628" y="118873"/>
                  </a:moveTo>
                  <a:lnTo>
                    <a:pt x="71628" y="118873"/>
                  </a:lnTo>
                  <a:lnTo>
                    <a:pt x="63666" y="118873"/>
                  </a:lnTo>
                  <a:lnTo>
                    <a:pt x="56846" y="117983"/>
                  </a:lnTo>
                  <a:lnTo>
                    <a:pt x="50026" y="116079"/>
                  </a:lnTo>
                  <a:lnTo>
                    <a:pt x="43206" y="114174"/>
                  </a:lnTo>
                  <a:lnTo>
                    <a:pt x="31839" y="108458"/>
                  </a:lnTo>
                  <a:lnTo>
                    <a:pt x="20460" y="101855"/>
                  </a:lnTo>
                  <a:lnTo>
                    <a:pt x="12510" y="92456"/>
                  </a:lnTo>
                  <a:lnTo>
                    <a:pt x="5690" y="83058"/>
                  </a:lnTo>
                  <a:lnTo>
                    <a:pt x="3417" y="77344"/>
                  </a:lnTo>
                  <a:lnTo>
                    <a:pt x="1144" y="71756"/>
                  </a:lnTo>
                  <a:lnTo>
                    <a:pt x="0" y="66040"/>
                  </a:lnTo>
                  <a:lnTo>
                    <a:pt x="0" y="59437"/>
                  </a:lnTo>
                  <a:lnTo>
                    <a:pt x="0" y="53721"/>
                  </a:lnTo>
                  <a:lnTo>
                    <a:pt x="1144" y="48133"/>
                  </a:lnTo>
                  <a:lnTo>
                    <a:pt x="3417" y="42419"/>
                  </a:lnTo>
                  <a:lnTo>
                    <a:pt x="5690" y="36831"/>
                  </a:lnTo>
                  <a:lnTo>
                    <a:pt x="12510" y="26417"/>
                  </a:lnTo>
                  <a:lnTo>
                    <a:pt x="20460" y="17907"/>
                  </a:lnTo>
                  <a:lnTo>
                    <a:pt x="31839" y="10414"/>
                  </a:lnTo>
                  <a:lnTo>
                    <a:pt x="43206" y="4700"/>
                  </a:lnTo>
                  <a:lnTo>
                    <a:pt x="50026" y="2794"/>
                  </a:lnTo>
                  <a:lnTo>
                    <a:pt x="56846" y="1906"/>
                  </a:lnTo>
                  <a:lnTo>
                    <a:pt x="63666" y="889"/>
                  </a:lnTo>
                  <a:lnTo>
                    <a:pt x="71628" y="0"/>
                  </a:lnTo>
                  <a:lnTo>
                    <a:pt x="78448" y="889"/>
                  </a:lnTo>
                  <a:lnTo>
                    <a:pt x="85268" y="1906"/>
                  </a:lnTo>
                  <a:lnTo>
                    <a:pt x="92088" y="2794"/>
                  </a:lnTo>
                  <a:lnTo>
                    <a:pt x="98921" y="4700"/>
                  </a:lnTo>
                  <a:lnTo>
                    <a:pt x="111418" y="10414"/>
                  </a:lnTo>
                  <a:lnTo>
                    <a:pt x="121654" y="17907"/>
                  </a:lnTo>
                  <a:lnTo>
                    <a:pt x="130747" y="26417"/>
                  </a:lnTo>
                  <a:lnTo>
                    <a:pt x="137567" y="36831"/>
                  </a:lnTo>
                  <a:lnTo>
                    <a:pt x="139840" y="42419"/>
                  </a:lnTo>
                  <a:lnTo>
                    <a:pt x="140983" y="48133"/>
                  </a:lnTo>
                  <a:lnTo>
                    <a:pt x="142114" y="53721"/>
                  </a:lnTo>
                  <a:lnTo>
                    <a:pt x="143256" y="59437"/>
                  </a:lnTo>
                  <a:lnTo>
                    <a:pt x="142114" y="66040"/>
                  </a:lnTo>
                  <a:lnTo>
                    <a:pt x="140983" y="71756"/>
                  </a:lnTo>
                  <a:lnTo>
                    <a:pt x="139840" y="77344"/>
                  </a:lnTo>
                  <a:lnTo>
                    <a:pt x="137567" y="83058"/>
                  </a:lnTo>
                  <a:lnTo>
                    <a:pt x="130747" y="92456"/>
                  </a:lnTo>
                  <a:lnTo>
                    <a:pt x="121654" y="101855"/>
                  </a:lnTo>
                  <a:lnTo>
                    <a:pt x="111418" y="108458"/>
                  </a:lnTo>
                  <a:lnTo>
                    <a:pt x="98921" y="114174"/>
                  </a:lnTo>
                  <a:lnTo>
                    <a:pt x="92088" y="116079"/>
                  </a:lnTo>
                  <a:lnTo>
                    <a:pt x="85268" y="117983"/>
                  </a:lnTo>
                  <a:lnTo>
                    <a:pt x="78448" y="118873"/>
                  </a:lnTo>
                  <a:lnTo>
                    <a:pt x="71628" y="118873"/>
                  </a:lnTo>
                  <a:close/>
                  <a:moveTo>
                    <a:pt x="4084320" y="5282184"/>
                  </a:moveTo>
                  <a:moveTo>
                    <a:pt x="71628" y="8509"/>
                  </a:moveTo>
                  <a:lnTo>
                    <a:pt x="71628" y="8509"/>
                  </a:lnTo>
                  <a:lnTo>
                    <a:pt x="59119" y="9399"/>
                  </a:lnTo>
                  <a:lnTo>
                    <a:pt x="47753" y="13208"/>
                  </a:lnTo>
                  <a:lnTo>
                    <a:pt x="37516" y="17907"/>
                  </a:lnTo>
                  <a:lnTo>
                    <a:pt x="28423" y="23623"/>
                  </a:lnTo>
                  <a:lnTo>
                    <a:pt x="20460" y="31115"/>
                  </a:lnTo>
                  <a:lnTo>
                    <a:pt x="14783" y="39625"/>
                  </a:lnTo>
                  <a:lnTo>
                    <a:pt x="11367" y="49023"/>
                  </a:lnTo>
                  <a:lnTo>
                    <a:pt x="10237" y="59437"/>
                  </a:lnTo>
                  <a:lnTo>
                    <a:pt x="11367" y="69850"/>
                  </a:lnTo>
                  <a:lnTo>
                    <a:pt x="14783" y="79249"/>
                  </a:lnTo>
                  <a:lnTo>
                    <a:pt x="20460" y="87757"/>
                  </a:lnTo>
                  <a:lnTo>
                    <a:pt x="28423" y="95250"/>
                  </a:lnTo>
                  <a:lnTo>
                    <a:pt x="37516" y="101855"/>
                  </a:lnTo>
                  <a:lnTo>
                    <a:pt x="47753" y="106554"/>
                  </a:lnTo>
                  <a:lnTo>
                    <a:pt x="59119" y="109475"/>
                  </a:lnTo>
                  <a:lnTo>
                    <a:pt x="71628" y="110363"/>
                  </a:lnTo>
                  <a:lnTo>
                    <a:pt x="84138" y="109475"/>
                  </a:lnTo>
                  <a:lnTo>
                    <a:pt x="95505" y="106554"/>
                  </a:lnTo>
                  <a:lnTo>
                    <a:pt x="105741" y="101855"/>
                  </a:lnTo>
                  <a:lnTo>
                    <a:pt x="114834" y="95250"/>
                  </a:lnTo>
                  <a:lnTo>
                    <a:pt x="121654" y="87757"/>
                  </a:lnTo>
                  <a:lnTo>
                    <a:pt x="127343" y="79249"/>
                  </a:lnTo>
                  <a:lnTo>
                    <a:pt x="131890" y="69850"/>
                  </a:lnTo>
                  <a:lnTo>
                    <a:pt x="133020" y="59437"/>
                  </a:lnTo>
                  <a:lnTo>
                    <a:pt x="131890" y="49023"/>
                  </a:lnTo>
                  <a:lnTo>
                    <a:pt x="127343" y="39625"/>
                  </a:lnTo>
                  <a:lnTo>
                    <a:pt x="121654" y="31115"/>
                  </a:lnTo>
                  <a:lnTo>
                    <a:pt x="114834" y="23623"/>
                  </a:lnTo>
                  <a:lnTo>
                    <a:pt x="105741" y="17907"/>
                  </a:lnTo>
                  <a:lnTo>
                    <a:pt x="95505" y="13208"/>
                  </a:lnTo>
                  <a:lnTo>
                    <a:pt x="84138" y="9399"/>
                  </a:lnTo>
                  <a:lnTo>
                    <a:pt x="71628" y="8509"/>
                  </a:lnTo>
                  <a:close/>
                  <a:moveTo>
                    <a:pt x="4194684" y="5282184"/>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14" name="Freeform 1278">
              <a:extLst>
                <a:ext uri="{FF2B5EF4-FFF2-40B4-BE49-F238E27FC236}">
                  <a16:creationId xmlns:a16="http://schemas.microsoft.com/office/drawing/2014/main" id="{8280848B-3B1E-4BA0-AAE9-3B130A92E5CB}"/>
                </a:ext>
              </a:extLst>
            </p:cNvPr>
            <p:cNvSpPr/>
            <p:nvPr/>
          </p:nvSpPr>
          <p:spPr>
            <a:xfrm>
              <a:off x="1145581" y="1552312"/>
              <a:ext cx="12185" cy="24372"/>
            </a:xfrm>
            <a:custGeom>
              <a:avLst/>
              <a:gdLst/>
              <a:ahLst/>
              <a:cxnLst/>
              <a:rect l="0" t="0" r="0" b="0"/>
              <a:pathLst>
                <a:path w="12191" h="24385">
                  <a:moveTo>
                    <a:pt x="6769" y="24385"/>
                  </a:moveTo>
                  <a:lnTo>
                    <a:pt x="6769" y="24385"/>
                  </a:lnTo>
                  <a:lnTo>
                    <a:pt x="4063" y="24385"/>
                  </a:lnTo>
                  <a:lnTo>
                    <a:pt x="2705" y="23495"/>
                  </a:lnTo>
                  <a:lnTo>
                    <a:pt x="1358" y="22606"/>
                  </a:lnTo>
                  <a:lnTo>
                    <a:pt x="0" y="20829"/>
                  </a:lnTo>
                  <a:lnTo>
                    <a:pt x="0" y="4573"/>
                  </a:lnTo>
                  <a:lnTo>
                    <a:pt x="1358" y="2668"/>
                  </a:lnTo>
                  <a:lnTo>
                    <a:pt x="2705" y="1779"/>
                  </a:lnTo>
                  <a:lnTo>
                    <a:pt x="4063" y="889"/>
                  </a:lnTo>
                  <a:lnTo>
                    <a:pt x="6769" y="0"/>
                  </a:lnTo>
                  <a:lnTo>
                    <a:pt x="9486" y="889"/>
                  </a:lnTo>
                  <a:lnTo>
                    <a:pt x="10833" y="1779"/>
                  </a:lnTo>
                  <a:lnTo>
                    <a:pt x="12191" y="2668"/>
                  </a:lnTo>
                  <a:lnTo>
                    <a:pt x="12191" y="4573"/>
                  </a:lnTo>
                  <a:lnTo>
                    <a:pt x="12191" y="20829"/>
                  </a:lnTo>
                  <a:lnTo>
                    <a:pt x="12191" y="22606"/>
                  </a:lnTo>
                  <a:lnTo>
                    <a:pt x="10833" y="23495"/>
                  </a:lnTo>
                  <a:lnTo>
                    <a:pt x="9486" y="24385"/>
                  </a:lnTo>
                  <a:lnTo>
                    <a:pt x="6769" y="24385"/>
                  </a:lnTo>
                  <a:close/>
                  <a:moveTo>
                    <a:pt x="4154423" y="5321808"/>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15" name="Freeform 1279">
              <a:extLst>
                <a:ext uri="{FF2B5EF4-FFF2-40B4-BE49-F238E27FC236}">
                  <a16:creationId xmlns:a16="http://schemas.microsoft.com/office/drawing/2014/main" id="{B5C7C250-A5E9-4892-B60F-EC56C8E442A8}"/>
                </a:ext>
              </a:extLst>
            </p:cNvPr>
            <p:cNvSpPr/>
            <p:nvPr/>
          </p:nvSpPr>
          <p:spPr>
            <a:xfrm>
              <a:off x="1145581" y="1725959"/>
              <a:ext cx="12185" cy="27417"/>
            </a:xfrm>
            <a:custGeom>
              <a:avLst/>
              <a:gdLst/>
              <a:ahLst/>
              <a:cxnLst/>
              <a:rect l="0" t="0" r="0" b="0"/>
              <a:pathLst>
                <a:path w="12191" h="27431">
                  <a:moveTo>
                    <a:pt x="6769" y="27431"/>
                  </a:moveTo>
                  <a:lnTo>
                    <a:pt x="6769" y="27431"/>
                  </a:lnTo>
                  <a:lnTo>
                    <a:pt x="4063" y="27431"/>
                  </a:lnTo>
                  <a:lnTo>
                    <a:pt x="2705" y="26416"/>
                  </a:lnTo>
                  <a:lnTo>
                    <a:pt x="1358" y="24383"/>
                  </a:lnTo>
                  <a:lnTo>
                    <a:pt x="0" y="23368"/>
                  </a:lnTo>
                  <a:lnTo>
                    <a:pt x="0" y="5080"/>
                  </a:lnTo>
                  <a:lnTo>
                    <a:pt x="1358" y="3048"/>
                  </a:lnTo>
                  <a:lnTo>
                    <a:pt x="2705" y="1016"/>
                  </a:lnTo>
                  <a:lnTo>
                    <a:pt x="4063" y="0"/>
                  </a:lnTo>
                  <a:lnTo>
                    <a:pt x="6769" y="0"/>
                  </a:lnTo>
                  <a:lnTo>
                    <a:pt x="9486" y="0"/>
                  </a:lnTo>
                  <a:lnTo>
                    <a:pt x="10833" y="1016"/>
                  </a:lnTo>
                  <a:lnTo>
                    <a:pt x="12191" y="3048"/>
                  </a:lnTo>
                  <a:lnTo>
                    <a:pt x="12191" y="5080"/>
                  </a:lnTo>
                  <a:lnTo>
                    <a:pt x="12191" y="23368"/>
                  </a:lnTo>
                  <a:lnTo>
                    <a:pt x="12191" y="24383"/>
                  </a:lnTo>
                  <a:lnTo>
                    <a:pt x="10833" y="26416"/>
                  </a:lnTo>
                  <a:lnTo>
                    <a:pt x="9486" y="27431"/>
                  </a:lnTo>
                  <a:lnTo>
                    <a:pt x="6769" y="27431"/>
                  </a:lnTo>
                  <a:close/>
                  <a:moveTo>
                    <a:pt x="3977640" y="5148071"/>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16" name="Freeform 1280">
              <a:extLst>
                <a:ext uri="{FF2B5EF4-FFF2-40B4-BE49-F238E27FC236}">
                  <a16:creationId xmlns:a16="http://schemas.microsoft.com/office/drawing/2014/main" id="{5199A694-11AD-46DE-8DC9-CB1514AD8742}"/>
                </a:ext>
              </a:extLst>
            </p:cNvPr>
            <p:cNvSpPr/>
            <p:nvPr/>
          </p:nvSpPr>
          <p:spPr>
            <a:xfrm>
              <a:off x="1243065" y="1649798"/>
              <a:ext cx="30464" cy="6092"/>
            </a:xfrm>
            <a:custGeom>
              <a:avLst/>
              <a:gdLst/>
              <a:ahLst/>
              <a:cxnLst/>
              <a:rect l="0" t="0" r="0" b="0"/>
              <a:pathLst>
                <a:path w="30480" h="6095">
                  <a:moveTo>
                    <a:pt x="24841" y="6095"/>
                  </a:moveTo>
                  <a:lnTo>
                    <a:pt x="4521" y="6095"/>
                  </a:lnTo>
                  <a:lnTo>
                    <a:pt x="2260" y="5461"/>
                  </a:lnTo>
                  <a:lnTo>
                    <a:pt x="1130" y="4699"/>
                  </a:lnTo>
                  <a:lnTo>
                    <a:pt x="0" y="4063"/>
                  </a:lnTo>
                  <a:lnTo>
                    <a:pt x="0" y="2667"/>
                  </a:lnTo>
                  <a:lnTo>
                    <a:pt x="0" y="1396"/>
                  </a:lnTo>
                  <a:lnTo>
                    <a:pt x="1130" y="635"/>
                  </a:lnTo>
                  <a:lnTo>
                    <a:pt x="2260" y="0"/>
                  </a:lnTo>
                  <a:lnTo>
                    <a:pt x="4521" y="0"/>
                  </a:lnTo>
                  <a:lnTo>
                    <a:pt x="24841" y="0"/>
                  </a:lnTo>
                  <a:lnTo>
                    <a:pt x="27089" y="0"/>
                  </a:lnTo>
                  <a:lnTo>
                    <a:pt x="28219" y="635"/>
                  </a:lnTo>
                  <a:lnTo>
                    <a:pt x="29349" y="1396"/>
                  </a:lnTo>
                  <a:lnTo>
                    <a:pt x="30480" y="2667"/>
                  </a:lnTo>
                  <a:lnTo>
                    <a:pt x="29349" y="4063"/>
                  </a:lnTo>
                  <a:lnTo>
                    <a:pt x="28219" y="4699"/>
                  </a:lnTo>
                  <a:lnTo>
                    <a:pt x="27089" y="5461"/>
                  </a:lnTo>
                  <a:lnTo>
                    <a:pt x="24841" y="6095"/>
                  </a:lnTo>
                  <a:close/>
                  <a:moveTo>
                    <a:pt x="3977640" y="5224271"/>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17" name="Freeform 1281">
              <a:extLst>
                <a:ext uri="{FF2B5EF4-FFF2-40B4-BE49-F238E27FC236}">
                  <a16:creationId xmlns:a16="http://schemas.microsoft.com/office/drawing/2014/main" id="{13F39287-1CC8-49B5-824B-BEE2353BEC58}"/>
                </a:ext>
              </a:extLst>
            </p:cNvPr>
            <p:cNvSpPr/>
            <p:nvPr/>
          </p:nvSpPr>
          <p:spPr>
            <a:xfrm>
              <a:off x="1032864" y="1649798"/>
              <a:ext cx="30463" cy="6092"/>
            </a:xfrm>
            <a:custGeom>
              <a:avLst/>
              <a:gdLst/>
              <a:ahLst/>
              <a:cxnLst/>
              <a:rect l="0" t="0" r="0" b="0"/>
              <a:pathLst>
                <a:path w="30479" h="6095">
                  <a:moveTo>
                    <a:pt x="24841" y="6095"/>
                  </a:moveTo>
                  <a:lnTo>
                    <a:pt x="4521" y="6095"/>
                  </a:lnTo>
                  <a:lnTo>
                    <a:pt x="3390" y="5461"/>
                  </a:lnTo>
                  <a:lnTo>
                    <a:pt x="1130" y="4699"/>
                  </a:lnTo>
                  <a:lnTo>
                    <a:pt x="0" y="4063"/>
                  </a:lnTo>
                  <a:lnTo>
                    <a:pt x="0" y="2667"/>
                  </a:lnTo>
                  <a:lnTo>
                    <a:pt x="0" y="1396"/>
                  </a:lnTo>
                  <a:lnTo>
                    <a:pt x="1130" y="635"/>
                  </a:lnTo>
                  <a:lnTo>
                    <a:pt x="3390" y="0"/>
                  </a:lnTo>
                  <a:lnTo>
                    <a:pt x="4521" y="0"/>
                  </a:lnTo>
                  <a:lnTo>
                    <a:pt x="24841" y="0"/>
                  </a:lnTo>
                  <a:lnTo>
                    <a:pt x="27089" y="0"/>
                  </a:lnTo>
                  <a:lnTo>
                    <a:pt x="29349" y="635"/>
                  </a:lnTo>
                  <a:lnTo>
                    <a:pt x="30479" y="1396"/>
                  </a:lnTo>
                  <a:lnTo>
                    <a:pt x="30479" y="2667"/>
                  </a:lnTo>
                  <a:lnTo>
                    <a:pt x="30479" y="4063"/>
                  </a:lnTo>
                  <a:lnTo>
                    <a:pt x="29349" y="4699"/>
                  </a:lnTo>
                  <a:lnTo>
                    <a:pt x="27089" y="5461"/>
                  </a:lnTo>
                  <a:lnTo>
                    <a:pt x="24841" y="6095"/>
                  </a:lnTo>
                  <a:close/>
                  <a:moveTo>
                    <a:pt x="4187952" y="5224271"/>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18" name="Freeform 1282">
              <a:extLst>
                <a:ext uri="{FF2B5EF4-FFF2-40B4-BE49-F238E27FC236}">
                  <a16:creationId xmlns:a16="http://schemas.microsoft.com/office/drawing/2014/main" id="{04ABD1FB-A5AF-4EB9-9308-936DB57334AC}"/>
                </a:ext>
              </a:extLst>
            </p:cNvPr>
            <p:cNvSpPr/>
            <p:nvPr/>
          </p:nvSpPr>
          <p:spPr>
            <a:xfrm>
              <a:off x="1215647" y="1579730"/>
              <a:ext cx="24372" cy="21325"/>
            </a:xfrm>
            <a:custGeom>
              <a:avLst/>
              <a:gdLst/>
              <a:ahLst/>
              <a:cxnLst/>
              <a:rect l="0" t="0" r="0" b="0"/>
              <a:pathLst>
                <a:path w="24385" h="21336">
                  <a:moveTo>
                    <a:pt x="5538" y="21336"/>
                  </a:moveTo>
                  <a:lnTo>
                    <a:pt x="5538" y="21336"/>
                  </a:lnTo>
                  <a:lnTo>
                    <a:pt x="3328" y="20321"/>
                  </a:lnTo>
                  <a:lnTo>
                    <a:pt x="2223" y="19431"/>
                  </a:lnTo>
                  <a:lnTo>
                    <a:pt x="1105" y="18416"/>
                  </a:lnTo>
                  <a:lnTo>
                    <a:pt x="0" y="16511"/>
                  </a:lnTo>
                  <a:lnTo>
                    <a:pt x="1105" y="15494"/>
                  </a:lnTo>
                  <a:lnTo>
                    <a:pt x="2223" y="13590"/>
                  </a:lnTo>
                  <a:lnTo>
                    <a:pt x="15520" y="1017"/>
                  </a:lnTo>
                  <a:lnTo>
                    <a:pt x="17730" y="0"/>
                  </a:lnTo>
                  <a:lnTo>
                    <a:pt x="18847" y="0"/>
                  </a:lnTo>
                  <a:lnTo>
                    <a:pt x="21057" y="0"/>
                  </a:lnTo>
                  <a:lnTo>
                    <a:pt x="23280" y="1017"/>
                  </a:lnTo>
                  <a:lnTo>
                    <a:pt x="24385" y="2922"/>
                  </a:lnTo>
                  <a:lnTo>
                    <a:pt x="24385" y="4826"/>
                  </a:lnTo>
                  <a:lnTo>
                    <a:pt x="24385" y="5842"/>
                  </a:lnTo>
                  <a:lnTo>
                    <a:pt x="23280" y="7748"/>
                  </a:lnTo>
                  <a:lnTo>
                    <a:pt x="8865" y="19431"/>
                  </a:lnTo>
                  <a:lnTo>
                    <a:pt x="6655" y="20321"/>
                  </a:lnTo>
                  <a:lnTo>
                    <a:pt x="5538" y="21336"/>
                  </a:lnTo>
                  <a:close/>
                  <a:moveTo>
                    <a:pt x="4059937" y="5294376"/>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19" name="Freeform 1283">
              <a:extLst>
                <a:ext uri="{FF2B5EF4-FFF2-40B4-BE49-F238E27FC236}">
                  <a16:creationId xmlns:a16="http://schemas.microsoft.com/office/drawing/2014/main" id="{4C995E7D-2E5A-4326-940F-F8A598E839D4}"/>
                </a:ext>
              </a:extLst>
            </p:cNvPr>
            <p:cNvSpPr/>
            <p:nvPr/>
          </p:nvSpPr>
          <p:spPr>
            <a:xfrm>
              <a:off x="1066374" y="1704632"/>
              <a:ext cx="24371" cy="18278"/>
            </a:xfrm>
            <a:custGeom>
              <a:avLst/>
              <a:gdLst/>
              <a:ahLst/>
              <a:cxnLst/>
              <a:rect l="0" t="0" r="0" b="0"/>
              <a:pathLst>
                <a:path w="24384" h="18288">
                  <a:moveTo>
                    <a:pt x="4648" y="18288"/>
                  </a:moveTo>
                  <a:lnTo>
                    <a:pt x="4648" y="18288"/>
                  </a:lnTo>
                  <a:lnTo>
                    <a:pt x="2324" y="18288"/>
                  </a:lnTo>
                  <a:lnTo>
                    <a:pt x="1155" y="17399"/>
                  </a:lnTo>
                  <a:lnTo>
                    <a:pt x="0" y="16511"/>
                  </a:lnTo>
                  <a:lnTo>
                    <a:pt x="0" y="14860"/>
                  </a:lnTo>
                  <a:lnTo>
                    <a:pt x="0" y="13081"/>
                  </a:lnTo>
                  <a:lnTo>
                    <a:pt x="1155" y="12193"/>
                  </a:lnTo>
                  <a:lnTo>
                    <a:pt x="16256" y="889"/>
                  </a:lnTo>
                  <a:lnTo>
                    <a:pt x="17411" y="0"/>
                  </a:lnTo>
                  <a:lnTo>
                    <a:pt x="19735" y="0"/>
                  </a:lnTo>
                  <a:lnTo>
                    <a:pt x="22059" y="0"/>
                  </a:lnTo>
                  <a:lnTo>
                    <a:pt x="23228" y="889"/>
                  </a:lnTo>
                  <a:lnTo>
                    <a:pt x="24384" y="1779"/>
                  </a:lnTo>
                  <a:lnTo>
                    <a:pt x="24384" y="3430"/>
                  </a:lnTo>
                  <a:lnTo>
                    <a:pt x="24384" y="5207"/>
                  </a:lnTo>
                  <a:lnTo>
                    <a:pt x="23228" y="6097"/>
                  </a:lnTo>
                  <a:lnTo>
                    <a:pt x="8128" y="17399"/>
                  </a:lnTo>
                  <a:lnTo>
                    <a:pt x="6972" y="18288"/>
                  </a:lnTo>
                  <a:lnTo>
                    <a:pt x="4648" y="18288"/>
                  </a:lnTo>
                  <a:close/>
                  <a:moveTo>
                    <a:pt x="4087368" y="5169408"/>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20" name="Freeform 1284">
              <a:extLst>
                <a:ext uri="{FF2B5EF4-FFF2-40B4-BE49-F238E27FC236}">
                  <a16:creationId xmlns:a16="http://schemas.microsoft.com/office/drawing/2014/main" id="{BF191728-F5DD-433C-B062-1DD3C8E9551B}"/>
                </a:ext>
              </a:extLst>
            </p:cNvPr>
            <p:cNvSpPr/>
            <p:nvPr/>
          </p:nvSpPr>
          <p:spPr>
            <a:xfrm>
              <a:off x="1066374" y="1579730"/>
              <a:ext cx="24371" cy="21325"/>
            </a:xfrm>
            <a:custGeom>
              <a:avLst/>
              <a:gdLst/>
              <a:ahLst/>
              <a:cxnLst/>
              <a:rect l="0" t="0" r="0" b="0"/>
              <a:pathLst>
                <a:path w="24384" h="21336">
                  <a:moveTo>
                    <a:pt x="19735" y="21336"/>
                  </a:moveTo>
                  <a:lnTo>
                    <a:pt x="19735" y="21336"/>
                  </a:lnTo>
                  <a:lnTo>
                    <a:pt x="17411" y="20321"/>
                  </a:lnTo>
                  <a:lnTo>
                    <a:pt x="16256" y="19431"/>
                  </a:lnTo>
                  <a:lnTo>
                    <a:pt x="1155" y="7748"/>
                  </a:lnTo>
                  <a:lnTo>
                    <a:pt x="0" y="5842"/>
                  </a:lnTo>
                  <a:lnTo>
                    <a:pt x="0" y="4826"/>
                  </a:lnTo>
                  <a:lnTo>
                    <a:pt x="0" y="2922"/>
                  </a:lnTo>
                  <a:lnTo>
                    <a:pt x="1155" y="1017"/>
                  </a:lnTo>
                  <a:lnTo>
                    <a:pt x="2324" y="0"/>
                  </a:lnTo>
                  <a:lnTo>
                    <a:pt x="4648" y="0"/>
                  </a:lnTo>
                  <a:lnTo>
                    <a:pt x="6972" y="0"/>
                  </a:lnTo>
                  <a:lnTo>
                    <a:pt x="8128" y="1017"/>
                  </a:lnTo>
                  <a:lnTo>
                    <a:pt x="23228" y="13590"/>
                  </a:lnTo>
                  <a:lnTo>
                    <a:pt x="24384" y="15494"/>
                  </a:lnTo>
                  <a:lnTo>
                    <a:pt x="24384" y="16511"/>
                  </a:lnTo>
                  <a:lnTo>
                    <a:pt x="24384" y="18416"/>
                  </a:lnTo>
                  <a:lnTo>
                    <a:pt x="23228" y="19431"/>
                  </a:lnTo>
                  <a:lnTo>
                    <a:pt x="22059" y="20321"/>
                  </a:lnTo>
                  <a:lnTo>
                    <a:pt x="19735" y="21336"/>
                  </a:lnTo>
                  <a:close/>
                  <a:moveTo>
                    <a:pt x="4209288" y="5294376"/>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21" name="Freeform 1285">
              <a:extLst>
                <a:ext uri="{FF2B5EF4-FFF2-40B4-BE49-F238E27FC236}">
                  <a16:creationId xmlns:a16="http://schemas.microsoft.com/office/drawing/2014/main" id="{A0795C2A-434B-4722-8CFF-F0F91145CCAE}"/>
                </a:ext>
              </a:extLst>
            </p:cNvPr>
            <p:cNvSpPr/>
            <p:nvPr/>
          </p:nvSpPr>
          <p:spPr>
            <a:xfrm>
              <a:off x="1215647" y="1704632"/>
              <a:ext cx="24372" cy="18278"/>
            </a:xfrm>
            <a:custGeom>
              <a:avLst/>
              <a:gdLst/>
              <a:ahLst/>
              <a:cxnLst/>
              <a:rect l="0" t="0" r="0" b="0"/>
              <a:pathLst>
                <a:path w="24385" h="18288">
                  <a:moveTo>
                    <a:pt x="19952" y="18288"/>
                  </a:moveTo>
                  <a:lnTo>
                    <a:pt x="19952" y="18288"/>
                  </a:lnTo>
                  <a:lnTo>
                    <a:pt x="17730" y="18288"/>
                  </a:lnTo>
                  <a:lnTo>
                    <a:pt x="15520" y="17399"/>
                  </a:lnTo>
                  <a:lnTo>
                    <a:pt x="2223" y="6097"/>
                  </a:lnTo>
                  <a:lnTo>
                    <a:pt x="1105" y="5207"/>
                  </a:lnTo>
                  <a:lnTo>
                    <a:pt x="0" y="3430"/>
                  </a:lnTo>
                  <a:lnTo>
                    <a:pt x="1105" y="1779"/>
                  </a:lnTo>
                  <a:lnTo>
                    <a:pt x="2223" y="889"/>
                  </a:lnTo>
                  <a:lnTo>
                    <a:pt x="3328" y="0"/>
                  </a:lnTo>
                  <a:lnTo>
                    <a:pt x="5538" y="0"/>
                  </a:lnTo>
                  <a:lnTo>
                    <a:pt x="6655" y="0"/>
                  </a:lnTo>
                  <a:lnTo>
                    <a:pt x="8865" y="889"/>
                  </a:lnTo>
                  <a:lnTo>
                    <a:pt x="23280" y="12193"/>
                  </a:lnTo>
                  <a:lnTo>
                    <a:pt x="24385" y="13081"/>
                  </a:lnTo>
                  <a:lnTo>
                    <a:pt x="24385" y="14860"/>
                  </a:lnTo>
                  <a:lnTo>
                    <a:pt x="24385" y="16511"/>
                  </a:lnTo>
                  <a:lnTo>
                    <a:pt x="23280" y="17399"/>
                  </a:lnTo>
                  <a:lnTo>
                    <a:pt x="21057" y="18288"/>
                  </a:lnTo>
                  <a:lnTo>
                    <a:pt x="19952" y="18288"/>
                  </a:lnTo>
                  <a:close/>
                  <a:moveTo>
                    <a:pt x="3938017" y="5169408"/>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22" name="Freeform 1286">
              <a:extLst>
                <a:ext uri="{FF2B5EF4-FFF2-40B4-BE49-F238E27FC236}">
                  <a16:creationId xmlns:a16="http://schemas.microsoft.com/office/drawing/2014/main" id="{E0071350-4AA8-4FF7-99CD-B795A8497BBB}"/>
                </a:ext>
              </a:extLst>
            </p:cNvPr>
            <p:cNvSpPr/>
            <p:nvPr/>
          </p:nvSpPr>
          <p:spPr>
            <a:xfrm>
              <a:off x="1593403" y="1677216"/>
              <a:ext cx="82253" cy="60929"/>
            </a:xfrm>
            <a:custGeom>
              <a:avLst/>
              <a:gdLst/>
              <a:ahLst/>
              <a:cxnLst/>
              <a:rect l="0" t="0" r="0" b="0"/>
              <a:pathLst>
                <a:path w="82296" h="60961">
                  <a:moveTo>
                    <a:pt x="41402" y="60961"/>
                  </a:moveTo>
                  <a:lnTo>
                    <a:pt x="41402" y="60961"/>
                  </a:lnTo>
                  <a:lnTo>
                    <a:pt x="32512" y="60580"/>
                  </a:lnTo>
                  <a:lnTo>
                    <a:pt x="25781" y="58420"/>
                  </a:lnTo>
                  <a:lnTo>
                    <a:pt x="18416" y="56007"/>
                  </a:lnTo>
                  <a:lnTo>
                    <a:pt x="12320" y="51817"/>
                  </a:lnTo>
                  <a:lnTo>
                    <a:pt x="6731" y="47244"/>
                  </a:lnTo>
                  <a:lnTo>
                    <a:pt x="3303" y="41911"/>
                  </a:lnTo>
                  <a:lnTo>
                    <a:pt x="508" y="36069"/>
                  </a:lnTo>
                  <a:lnTo>
                    <a:pt x="0" y="30226"/>
                  </a:lnTo>
                  <a:lnTo>
                    <a:pt x="508" y="24512"/>
                  </a:lnTo>
                  <a:lnTo>
                    <a:pt x="3303" y="18669"/>
                  </a:lnTo>
                  <a:lnTo>
                    <a:pt x="6731" y="13208"/>
                  </a:lnTo>
                  <a:lnTo>
                    <a:pt x="12320" y="8763"/>
                  </a:lnTo>
                  <a:lnTo>
                    <a:pt x="18416" y="5335"/>
                  </a:lnTo>
                  <a:lnTo>
                    <a:pt x="25781" y="2032"/>
                  </a:lnTo>
                  <a:lnTo>
                    <a:pt x="32512" y="889"/>
                  </a:lnTo>
                  <a:lnTo>
                    <a:pt x="41402" y="0"/>
                  </a:lnTo>
                  <a:lnTo>
                    <a:pt x="49277" y="889"/>
                  </a:lnTo>
                  <a:lnTo>
                    <a:pt x="57659" y="2032"/>
                  </a:lnTo>
                  <a:lnTo>
                    <a:pt x="64390" y="5335"/>
                  </a:lnTo>
                  <a:lnTo>
                    <a:pt x="70486" y="8763"/>
                  </a:lnTo>
                  <a:lnTo>
                    <a:pt x="75058" y="13208"/>
                  </a:lnTo>
                  <a:lnTo>
                    <a:pt x="79502" y="18669"/>
                  </a:lnTo>
                  <a:lnTo>
                    <a:pt x="81153" y="24512"/>
                  </a:lnTo>
                  <a:lnTo>
                    <a:pt x="82296" y="30226"/>
                  </a:lnTo>
                  <a:lnTo>
                    <a:pt x="81153" y="36069"/>
                  </a:lnTo>
                  <a:lnTo>
                    <a:pt x="79502" y="41911"/>
                  </a:lnTo>
                  <a:lnTo>
                    <a:pt x="75058" y="47244"/>
                  </a:lnTo>
                  <a:lnTo>
                    <a:pt x="70486" y="51817"/>
                  </a:lnTo>
                  <a:lnTo>
                    <a:pt x="64390" y="56007"/>
                  </a:lnTo>
                  <a:lnTo>
                    <a:pt x="57659" y="58420"/>
                  </a:lnTo>
                  <a:lnTo>
                    <a:pt x="49277" y="60580"/>
                  </a:lnTo>
                  <a:lnTo>
                    <a:pt x="41402" y="60961"/>
                  </a:lnTo>
                  <a:close/>
                  <a:moveTo>
                    <a:pt x="3544824" y="5196840"/>
                  </a:moveTo>
                  <a:moveTo>
                    <a:pt x="41402" y="7494"/>
                  </a:moveTo>
                  <a:lnTo>
                    <a:pt x="41402" y="7494"/>
                  </a:lnTo>
                  <a:lnTo>
                    <a:pt x="35306" y="7875"/>
                  </a:lnTo>
                  <a:lnTo>
                    <a:pt x="29083" y="9144"/>
                  </a:lnTo>
                  <a:lnTo>
                    <a:pt x="24131" y="11176"/>
                  </a:lnTo>
                  <a:lnTo>
                    <a:pt x="19558" y="13717"/>
                  </a:lnTo>
                  <a:lnTo>
                    <a:pt x="15622" y="17781"/>
                  </a:lnTo>
                  <a:lnTo>
                    <a:pt x="13462" y="21210"/>
                  </a:lnTo>
                  <a:lnTo>
                    <a:pt x="10669" y="25655"/>
                  </a:lnTo>
                  <a:lnTo>
                    <a:pt x="10669" y="30226"/>
                  </a:lnTo>
                  <a:lnTo>
                    <a:pt x="10669" y="34799"/>
                  </a:lnTo>
                  <a:lnTo>
                    <a:pt x="13462" y="39370"/>
                  </a:lnTo>
                  <a:lnTo>
                    <a:pt x="15622" y="43562"/>
                  </a:lnTo>
                  <a:lnTo>
                    <a:pt x="19558" y="46482"/>
                  </a:lnTo>
                  <a:lnTo>
                    <a:pt x="24131" y="49404"/>
                  </a:lnTo>
                  <a:lnTo>
                    <a:pt x="29083" y="51436"/>
                  </a:lnTo>
                  <a:lnTo>
                    <a:pt x="35306" y="52706"/>
                  </a:lnTo>
                  <a:lnTo>
                    <a:pt x="41402" y="53087"/>
                  </a:lnTo>
                  <a:lnTo>
                    <a:pt x="47625" y="52706"/>
                  </a:lnTo>
                  <a:lnTo>
                    <a:pt x="53214" y="51436"/>
                  </a:lnTo>
                  <a:lnTo>
                    <a:pt x="58167" y="49404"/>
                  </a:lnTo>
                  <a:lnTo>
                    <a:pt x="63881" y="46482"/>
                  </a:lnTo>
                  <a:lnTo>
                    <a:pt x="67184" y="43562"/>
                  </a:lnTo>
                  <a:lnTo>
                    <a:pt x="69977" y="39370"/>
                  </a:lnTo>
                  <a:lnTo>
                    <a:pt x="71628" y="34799"/>
                  </a:lnTo>
                  <a:lnTo>
                    <a:pt x="72264" y="30226"/>
                  </a:lnTo>
                  <a:lnTo>
                    <a:pt x="71628" y="25655"/>
                  </a:lnTo>
                  <a:lnTo>
                    <a:pt x="69977" y="21210"/>
                  </a:lnTo>
                  <a:lnTo>
                    <a:pt x="67184" y="17781"/>
                  </a:lnTo>
                  <a:lnTo>
                    <a:pt x="63881" y="13717"/>
                  </a:lnTo>
                  <a:lnTo>
                    <a:pt x="58167" y="11176"/>
                  </a:lnTo>
                  <a:lnTo>
                    <a:pt x="53214" y="9144"/>
                  </a:lnTo>
                  <a:lnTo>
                    <a:pt x="47625" y="7875"/>
                  </a:lnTo>
                  <a:lnTo>
                    <a:pt x="41402" y="7494"/>
                  </a:lnTo>
                  <a:close/>
                  <a:moveTo>
                    <a:pt x="3598291" y="5196840"/>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23" name="Freeform 1287">
              <a:extLst>
                <a:ext uri="{FF2B5EF4-FFF2-40B4-BE49-F238E27FC236}">
                  <a16:creationId xmlns:a16="http://schemas.microsoft.com/office/drawing/2014/main" id="{C35495DB-5F04-494A-8CBF-34B6C530E395}"/>
                </a:ext>
              </a:extLst>
            </p:cNvPr>
            <p:cNvSpPr/>
            <p:nvPr/>
          </p:nvSpPr>
          <p:spPr>
            <a:xfrm>
              <a:off x="1629961" y="1546220"/>
              <a:ext cx="9139" cy="134042"/>
            </a:xfrm>
            <a:custGeom>
              <a:avLst/>
              <a:gdLst/>
              <a:ahLst/>
              <a:cxnLst/>
              <a:rect l="0" t="0" r="0" b="0"/>
              <a:pathLst>
                <a:path w="9144" h="134112">
                  <a:moveTo>
                    <a:pt x="0" y="134112"/>
                  </a:moveTo>
                  <a:lnTo>
                    <a:pt x="9144" y="134112"/>
                  </a:lnTo>
                  <a:lnTo>
                    <a:pt x="9144" y="0"/>
                  </a:lnTo>
                  <a:lnTo>
                    <a:pt x="0" y="0"/>
                  </a:lnTo>
                  <a:lnTo>
                    <a:pt x="0" y="13411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24" name="Freeform 1288">
              <a:extLst>
                <a:ext uri="{FF2B5EF4-FFF2-40B4-BE49-F238E27FC236}">
                  <a16:creationId xmlns:a16="http://schemas.microsoft.com/office/drawing/2014/main" id="{C9B40739-BF3F-4A5E-A50E-B3DDAD4A6750}"/>
                </a:ext>
              </a:extLst>
            </p:cNvPr>
            <p:cNvSpPr/>
            <p:nvPr/>
          </p:nvSpPr>
          <p:spPr>
            <a:xfrm>
              <a:off x="1629961" y="1540126"/>
              <a:ext cx="51789" cy="121858"/>
            </a:xfrm>
            <a:custGeom>
              <a:avLst/>
              <a:gdLst/>
              <a:ahLst/>
              <a:cxnLst/>
              <a:rect l="0" t="0" r="0" b="0"/>
              <a:pathLst>
                <a:path w="51816" h="121921">
                  <a:moveTo>
                    <a:pt x="0" y="121921"/>
                  </a:moveTo>
                  <a:lnTo>
                    <a:pt x="0" y="0"/>
                  </a:lnTo>
                  <a:lnTo>
                    <a:pt x="21590" y="5335"/>
                  </a:lnTo>
                  <a:lnTo>
                    <a:pt x="25019" y="6604"/>
                  </a:lnTo>
                  <a:lnTo>
                    <a:pt x="26797" y="8636"/>
                  </a:lnTo>
                  <a:lnTo>
                    <a:pt x="28447" y="10287"/>
                  </a:lnTo>
                  <a:lnTo>
                    <a:pt x="29591" y="12447"/>
                  </a:lnTo>
                  <a:lnTo>
                    <a:pt x="51816" y="97155"/>
                  </a:lnTo>
                  <a:lnTo>
                    <a:pt x="51816" y="100458"/>
                  </a:lnTo>
                  <a:lnTo>
                    <a:pt x="50165" y="103379"/>
                  </a:lnTo>
                  <a:lnTo>
                    <a:pt x="47244" y="105791"/>
                  </a:lnTo>
                  <a:lnTo>
                    <a:pt x="43815" y="107823"/>
                  </a:lnTo>
                  <a:lnTo>
                    <a:pt x="0" y="121921"/>
                  </a:lnTo>
                  <a:close/>
                  <a:moveTo>
                    <a:pt x="3584447" y="5334000"/>
                  </a:moveTo>
                  <a:moveTo>
                    <a:pt x="9651" y="10287"/>
                  </a:moveTo>
                  <a:lnTo>
                    <a:pt x="9651" y="110364"/>
                  </a:lnTo>
                  <a:lnTo>
                    <a:pt x="40385" y="100458"/>
                  </a:lnTo>
                  <a:lnTo>
                    <a:pt x="41020" y="100077"/>
                  </a:lnTo>
                  <a:lnTo>
                    <a:pt x="41020" y="98806"/>
                  </a:lnTo>
                  <a:lnTo>
                    <a:pt x="19303" y="13590"/>
                  </a:lnTo>
                  <a:lnTo>
                    <a:pt x="19303" y="13209"/>
                  </a:lnTo>
                  <a:lnTo>
                    <a:pt x="17653" y="12447"/>
                  </a:lnTo>
                  <a:lnTo>
                    <a:pt x="9651" y="10287"/>
                  </a:lnTo>
                  <a:close/>
                  <a:moveTo>
                    <a:pt x="3696081" y="5334000"/>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25" name="Freeform 1289">
              <a:extLst>
                <a:ext uri="{FF2B5EF4-FFF2-40B4-BE49-F238E27FC236}">
                  <a16:creationId xmlns:a16="http://schemas.microsoft.com/office/drawing/2014/main" id="{3EDB26AE-B02F-4777-9799-1EC1A30B65EB}"/>
                </a:ext>
              </a:extLst>
            </p:cNvPr>
            <p:cNvSpPr/>
            <p:nvPr/>
          </p:nvSpPr>
          <p:spPr>
            <a:xfrm>
              <a:off x="1666516" y="1710726"/>
              <a:ext cx="161460" cy="76160"/>
            </a:xfrm>
            <a:custGeom>
              <a:avLst/>
              <a:gdLst/>
              <a:ahLst/>
              <a:cxnLst/>
              <a:rect l="0" t="0" r="0" b="0"/>
              <a:pathLst>
                <a:path w="161544" h="76200">
                  <a:moveTo>
                    <a:pt x="156084" y="76200"/>
                  </a:moveTo>
                  <a:lnTo>
                    <a:pt x="0" y="6603"/>
                  </a:lnTo>
                  <a:lnTo>
                    <a:pt x="5462" y="0"/>
                  </a:lnTo>
                  <a:lnTo>
                    <a:pt x="161544" y="70484"/>
                  </a:lnTo>
                  <a:lnTo>
                    <a:pt x="156084" y="76200"/>
                  </a:lnTo>
                  <a:close/>
                  <a:moveTo>
                    <a:pt x="3422904" y="5163311"/>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26" name="Freeform 1290">
              <a:extLst>
                <a:ext uri="{FF2B5EF4-FFF2-40B4-BE49-F238E27FC236}">
                  <a16:creationId xmlns:a16="http://schemas.microsoft.com/office/drawing/2014/main" id="{D73602C3-8EBB-4BDF-B220-E492C45F64A9}"/>
                </a:ext>
              </a:extLst>
            </p:cNvPr>
            <p:cNvSpPr/>
            <p:nvPr/>
          </p:nvSpPr>
          <p:spPr>
            <a:xfrm>
              <a:off x="1687841" y="1722912"/>
              <a:ext cx="146228" cy="73115"/>
            </a:xfrm>
            <a:custGeom>
              <a:avLst/>
              <a:gdLst/>
              <a:ahLst/>
              <a:cxnLst/>
              <a:rect l="0" t="0" r="0" b="0"/>
              <a:pathLst>
                <a:path w="146304" h="73153">
                  <a:moveTo>
                    <a:pt x="120776" y="73153"/>
                  </a:moveTo>
                  <a:lnTo>
                    <a:pt x="120776" y="73153"/>
                  </a:lnTo>
                  <a:lnTo>
                    <a:pt x="116332" y="72391"/>
                  </a:lnTo>
                  <a:lnTo>
                    <a:pt x="7747" y="43561"/>
                  </a:lnTo>
                  <a:lnTo>
                    <a:pt x="4445" y="41911"/>
                  </a:lnTo>
                  <a:lnTo>
                    <a:pt x="1651" y="39624"/>
                  </a:lnTo>
                  <a:lnTo>
                    <a:pt x="0" y="37211"/>
                  </a:lnTo>
                  <a:lnTo>
                    <a:pt x="0" y="34036"/>
                  </a:lnTo>
                  <a:lnTo>
                    <a:pt x="4953" y="0"/>
                  </a:lnTo>
                  <a:lnTo>
                    <a:pt x="146304" y="61215"/>
                  </a:lnTo>
                  <a:lnTo>
                    <a:pt x="128523" y="71120"/>
                  </a:lnTo>
                  <a:lnTo>
                    <a:pt x="125222" y="72391"/>
                  </a:lnTo>
                  <a:lnTo>
                    <a:pt x="120776" y="73153"/>
                  </a:lnTo>
                  <a:close/>
                  <a:moveTo>
                    <a:pt x="3392423" y="5151120"/>
                  </a:moveTo>
                  <a:moveTo>
                    <a:pt x="13842" y="11938"/>
                  </a:moveTo>
                  <a:lnTo>
                    <a:pt x="9398" y="35180"/>
                  </a:lnTo>
                  <a:lnTo>
                    <a:pt x="10541" y="35942"/>
                  </a:lnTo>
                  <a:lnTo>
                    <a:pt x="11683" y="36323"/>
                  </a:lnTo>
                  <a:lnTo>
                    <a:pt x="120269" y="65913"/>
                  </a:lnTo>
                  <a:lnTo>
                    <a:pt x="120776" y="65913"/>
                  </a:lnTo>
                  <a:lnTo>
                    <a:pt x="122428" y="65532"/>
                  </a:lnTo>
                  <a:lnTo>
                    <a:pt x="128523" y="61595"/>
                  </a:lnTo>
                  <a:lnTo>
                    <a:pt x="13842" y="11938"/>
                  </a:lnTo>
                  <a:close/>
                  <a:moveTo>
                    <a:pt x="3453638" y="5151120"/>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27" name="Freeform 1291">
              <a:extLst>
                <a:ext uri="{FF2B5EF4-FFF2-40B4-BE49-F238E27FC236}">
                  <a16:creationId xmlns:a16="http://schemas.microsoft.com/office/drawing/2014/main" id="{1FFC69E5-7F5E-4A93-B74F-A4858DF4045D}"/>
                </a:ext>
              </a:extLst>
            </p:cNvPr>
            <p:cNvSpPr/>
            <p:nvPr/>
          </p:nvSpPr>
          <p:spPr>
            <a:xfrm>
              <a:off x="1450221" y="1719865"/>
              <a:ext cx="161460" cy="76160"/>
            </a:xfrm>
            <a:custGeom>
              <a:avLst/>
              <a:gdLst/>
              <a:ahLst/>
              <a:cxnLst/>
              <a:rect l="0" t="0" r="0" b="0"/>
              <a:pathLst>
                <a:path w="161544" h="76200">
                  <a:moveTo>
                    <a:pt x="5588" y="76200"/>
                  </a:moveTo>
                  <a:lnTo>
                    <a:pt x="0" y="69722"/>
                  </a:lnTo>
                  <a:lnTo>
                    <a:pt x="156591" y="0"/>
                  </a:lnTo>
                  <a:lnTo>
                    <a:pt x="161544" y="6477"/>
                  </a:lnTo>
                  <a:lnTo>
                    <a:pt x="5588" y="76200"/>
                  </a:lnTo>
                  <a:close/>
                  <a:moveTo>
                    <a:pt x="3630167" y="5154167"/>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28" name="Freeform 1292">
              <a:extLst>
                <a:ext uri="{FF2B5EF4-FFF2-40B4-BE49-F238E27FC236}">
                  <a16:creationId xmlns:a16="http://schemas.microsoft.com/office/drawing/2014/main" id="{ECAE974F-92AE-4D31-80DF-A8302F70D3F0}"/>
                </a:ext>
              </a:extLst>
            </p:cNvPr>
            <p:cNvSpPr/>
            <p:nvPr/>
          </p:nvSpPr>
          <p:spPr>
            <a:xfrm>
              <a:off x="1444129" y="1713771"/>
              <a:ext cx="146229" cy="85300"/>
            </a:xfrm>
            <a:custGeom>
              <a:avLst/>
              <a:gdLst/>
              <a:ahLst/>
              <a:cxnLst/>
              <a:rect l="0" t="0" r="0" b="0"/>
              <a:pathLst>
                <a:path w="146305" h="85344">
                  <a:moveTo>
                    <a:pt x="5588" y="85344"/>
                  </a:moveTo>
                  <a:lnTo>
                    <a:pt x="1144" y="69088"/>
                  </a:lnTo>
                  <a:lnTo>
                    <a:pt x="0" y="66168"/>
                  </a:lnTo>
                  <a:lnTo>
                    <a:pt x="1144" y="64136"/>
                  </a:lnTo>
                  <a:lnTo>
                    <a:pt x="2794" y="61595"/>
                  </a:lnTo>
                  <a:lnTo>
                    <a:pt x="4446" y="60325"/>
                  </a:lnTo>
                  <a:lnTo>
                    <a:pt x="91822" y="2541"/>
                  </a:lnTo>
                  <a:lnTo>
                    <a:pt x="95124" y="381"/>
                  </a:lnTo>
                  <a:lnTo>
                    <a:pt x="98425" y="0"/>
                  </a:lnTo>
                  <a:lnTo>
                    <a:pt x="102871" y="381"/>
                  </a:lnTo>
                  <a:lnTo>
                    <a:pt x="106299" y="1651"/>
                  </a:lnTo>
                  <a:lnTo>
                    <a:pt x="146305" y="22099"/>
                  </a:lnTo>
                  <a:lnTo>
                    <a:pt x="5588" y="85344"/>
                  </a:lnTo>
                  <a:close/>
                  <a:moveTo>
                    <a:pt x="3633217" y="5160264"/>
                  </a:moveTo>
                  <a:moveTo>
                    <a:pt x="99569" y="7874"/>
                  </a:moveTo>
                  <a:lnTo>
                    <a:pt x="99569" y="7874"/>
                  </a:lnTo>
                  <a:lnTo>
                    <a:pt x="97918" y="7874"/>
                  </a:lnTo>
                  <a:lnTo>
                    <a:pt x="11685" y="65786"/>
                  </a:lnTo>
                  <a:lnTo>
                    <a:pt x="10541" y="66168"/>
                  </a:lnTo>
                  <a:lnTo>
                    <a:pt x="10541" y="67437"/>
                  </a:lnTo>
                  <a:lnTo>
                    <a:pt x="12193" y="73661"/>
                  </a:lnTo>
                  <a:lnTo>
                    <a:pt x="127382" y="21591"/>
                  </a:lnTo>
                  <a:lnTo>
                    <a:pt x="101219" y="7874"/>
                  </a:lnTo>
                  <a:lnTo>
                    <a:pt x="99569" y="7874"/>
                  </a:lnTo>
                  <a:close/>
                  <a:moveTo>
                    <a:pt x="3710687" y="5160264"/>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29" name="Freeform 1293">
              <a:extLst>
                <a:ext uri="{FF2B5EF4-FFF2-40B4-BE49-F238E27FC236}">
                  <a16:creationId xmlns:a16="http://schemas.microsoft.com/office/drawing/2014/main" id="{28DCC167-F31F-4BC7-9D67-9D36DFFDF40C}"/>
                </a:ext>
              </a:extLst>
            </p:cNvPr>
            <p:cNvSpPr/>
            <p:nvPr/>
          </p:nvSpPr>
          <p:spPr>
            <a:xfrm>
              <a:off x="1611682" y="1747283"/>
              <a:ext cx="51789" cy="185830"/>
            </a:xfrm>
            <a:custGeom>
              <a:avLst/>
              <a:gdLst/>
              <a:ahLst/>
              <a:cxnLst/>
              <a:rect l="0" t="0" r="0" b="0"/>
              <a:pathLst>
                <a:path w="51816" h="185927">
                  <a:moveTo>
                    <a:pt x="46228" y="185927"/>
                  </a:moveTo>
                  <a:lnTo>
                    <a:pt x="4444" y="185927"/>
                  </a:lnTo>
                  <a:lnTo>
                    <a:pt x="2286" y="185927"/>
                  </a:lnTo>
                  <a:lnTo>
                    <a:pt x="508" y="184657"/>
                  </a:lnTo>
                  <a:lnTo>
                    <a:pt x="0" y="183514"/>
                  </a:lnTo>
                  <a:lnTo>
                    <a:pt x="0" y="182245"/>
                  </a:lnTo>
                  <a:lnTo>
                    <a:pt x="21208" y="3301"/>
                  </a:lnTo>
                  <a:lnTo>
                    <a:pt x="21208" y="1651"/>
                  </a:lnTo>
                  <a:lnTo>
                    <a:pt x="21716" y="1270"/>
                  </a:lnTo>
                  <a:lnTo>
                    <a:pt x="23367" y="0"/>
                  </a:lnTo>
                  <a:lnTo>
                    <a:pt x="25019" y="0"/>
                  </a:lnTo>
                  <a:lnTo>
                    <a:pt x="27304" y="0"/>
                  </a:lnTo>
                  <a:lnTo>
                    <a:pt x="28956" y="1270"/>
                  </a:lnTo>
                  <a:lnTo>
                    <a:pt x="29591" y="1651"/>
                  </a:lnTo>
                  <a:lnTo>
                    <a:pt x="30607" y="3301"/>
                  </a:lnTo>
                  <a:lnTo>
                    <a:pt x="51816" y="182245"/>
                  </a:lnTo>
                  <a:lnTo>
                    <a:pt x="50673" y="183514"/>
                  </a:lnTo>
                  <a:lnTo>
                    <a:pt x="50164" y="184657"/>
                  </a:lnTo>
                  <a:lnTo>
                    <a:pt x="48513" y="185927"/>
                  </a:lnTo>
                  <a:lnTo>
                    <a:pt x="46228" y="185927"/>
                  </a:lnTo>
                  <a:close/>
                  <a:moveTo>
                    <a:pt x="3331464" y="5126735"/>
                  </a:moveTo>
                  <a:moveTo>
                    <a:pt x="10541" y="178943"/>
                  </a:moveTo>
                  <a:lnTo>
                    <a:pt x="41275" y="178943"/>
                  </a:lnTo>
                  <a:lnTo>
                    <a:pt x="25019" y="46355"/>
                  </a:lnTo>
                  <a:lnTo>
                    <a:pt x="10541" y="178943"/>
                  </a:lnTo>
                  <a:close/>
                  <a:moveTo>
                    <a:pt x="3338448" y="5126735"/>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30" name="Freeform 1294">
              <a:extLst>
                <a:ext uri="{FF2B5EF4-FFF2-40B4-BE49-F238E27FC236}">
                  <a16:creationId xmlns:a16="http://schemas.microsoft.com/office/drawing/2014/main" id="{6EB9A550-931F-41A1-B45A-E472993F47C2}"/>
                </a:ext>
              </a:extLst>
            </p:cNvPr>
            <p:cNvSpPr/>
            <p:nvPr/>
          </p:nvSpPr>
          <p:spPr>
            <a:xfrm>
              <a:off x="1693935" y="1783840"/>
              <a:ext cx="88347" cy="51788"/>
            </a:xfrm>
            <a:custGeom>
              <a:avLst/>
              <a:gdLst/>
              <a:ahLst/>
              <a:cxnLst/>
              <a:rect l="0" t="0" r="0" b="0"/>
              <a:pathLst>
                <a:path w="88393" h="51815">
                  <a:moveTo>
                    <a:pt x="4318" y="51815"/>
                  </a:moveTo>
                  <a:lnTo>
                    <a:pt x="4318" y="51815"/>
                  </a:lnTo>
                  <a:lnTo>
                    <a:pt x="2159" y="51434"/>
                  </a:lnTo>
                  <a:lnTo>
                    <a:pt x="0" y="49402"/>
                  </a:lnTo>
                  <a:lnTo>
                    <a:pt x="0" y="48132"/>
                  </a:lnTo>
                  <a:lnTo>
                    <a:pt x="0" y="46863"/>
                  </a:lnTo>
                  <a:lnTo>
                    <a:pt x="1143" y="45719"/>
                  </a:lnTo>
                  <a:lnTo>
                    <a:pt x="2668" y="44831"/>
                  </a:lnTo>
                  <a:lnTo>
                    <a:pt x="14225" y="41148"/>
                  </a:lnTo>
                  <a:lnTo>
                    <a:pt x="25146" y="37083"/>
                  </a:lnTo>
                  <a:lnTo>
                    <a:pt x="35434" y="32638"/>
                  </a:lnTo>
                  <a:lnTo>
                    <a:pt x="45340" y="26924"/>
                  </a:lnTo>
                  <a:lnTo>
                    <a:pt x="54611" y="21208"/>
                  </a:lnTo>
                  <a:lnTo>
                    <a:pt x="63881" y="15113"/>
                  </a:lnTo>
                  <a:lnTo>
                    <a:pt x="72009" y="8127"/>
                  </a:lnTo>
                  <a:lnTo>
                    <a:pt x="79630" y="1269"/>
                  </a:lnTo>
                  <a:lnTo>
                    <a:pt x="81281" y="0"/>
                  </a:lnTo>
                  <a:lnTo>
                    <a:pt x="82931" y="0"/>
                  </a:lnTo>
                  <a:lnTo>
                    <a:pt x="84583" y="0"/>
                  </a:lnTo>
                  <a:lnTo>
                    <a:pt x="86741" y="381"/>
                  </a:lnTo>
                  <a:lnTo>
                    <a:pt x="87250" y="1269"/>
                  </a:lnTo>
                  <a:lnTo>
                    <a:pt x="88393" y="2413"/>
                  </a:lnTo>
                  <a:lnTo>
                    <a:pt x="88393" y="4444"/>
                  </a:lnTo>
                  <a:lnTo>
                    <a:pt x="87250" y="5714"/>
                  </a:lnTo>
                  <a:lnTo>
                    <a:pt x="79630" y="13462"/>
                  </a:lnTo>
                  <a:lnTo>
                    <a:pt x="70993" y="20446"/>
                  </a:lnTo>
                  <a:lnTo>
                    <a:pt x="61596" y="26924"/>
                  </a:lnTo>
                  <a:lnTo>
                    <a:pt x="51309" y="32638"/>
                  </a:lnTo>
                  <a:lnTo>
                    <a:pt x="40894" y="38354"/>
                  </a:lnTo>
                  <a:lnTo>
                    <a:pt x="29465" y="43688"/>
                  </a:lnTo>
                  <a:lnTo>
                    <a:pt x="18543" y="48132"/>
                  </a:lnTo>
                  <a:lnTo>
                    <a:pt x="6605" y="51434"/>
                  </a:lnTo>
                  <a:lnTo>
                    <a:pt x="4318" y="51815"/>
                  </a:lnTo>
                  <a:close/>
                  <a:moveTo>
                    <a:pt x="3346705" y="5090159"/>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31" name="Freeform 1295">
              <a:extLst>
                <a:ext uri="{FF2B5EF4-FFF2-40B4-BE49-F238E27FC236}">
                  <a16:creationId xmlns:a16="http://schemas.microsoft.com/office/drawing/2014/main" id="{C2A28EF2-7EBC-4D04-91C0-EFF252448A16}"/>
                </a:ext>
              </a:extLst>
            </p:cNvPr>
            <p:cNvSpPr/>
            <p:nvPr/>
          </p:nvSpPr>
          <p:spPr>
            <a:xfrm>
              <a:off x="1654333" y="1573639"/>
              <a:ext cx="106623" cy="42649"/>
            </a:xfrm>
            <a:custGeom>
              <a:avLst/>
              <a:gdLst/>
              <a:ahLst/>
              <a:cxnLst/>
              <a:rect l="0" t="0" r="0" b="0"/>
              <a:pathLst>
                <a:path w="106679" h="42671">
                  <a:moveTo>
                    <a:pt x="101726" y="42671"/>
                  </a:moveTo>
                  <a:lnTo>
                    <a:pt x="101726" y="42671"/>
                  </a:lnTo>
                  <a:lnTo>
                    <a:pt x="99948" y="42291"/>
                  </a:lnTo>
                  <a:lnTo>
                    <a:pt x="98298" y="41401"/>
                  </a:lnTo>
                  <a:lnTo>
                    <a:pt x="88391" y="34925"/>
                  </a:lnTo>
                  <a:lnTo>
                    <a:pt x="77723" y="29082"/>
                  </a:lnTo>
                  <a:lnTo>
                    <a:pt x="66675" y="24256"/>
                  </a:lnTo>
                  <a:lnTo>
                    <a:pt x="54991" y="18923"/>
                  </a:lnTo>
                  <a:lnTo>
                    <a:pt x="42798" y="14731"/>
                  </a:lnTo>
                  <a:lnTo>
                    <a:pt x="30607" y="11937"/>
                  </a:lnTo>
                  <a:lnTo>
                    <a:pt x="17272" y="9906"/>
                  </a:lnTo>
                  <a:lnTo>
                    <a:pt x="3936" y="7746"/>
                  </a:lnTo>
                  <a:lnTo>
                    <a:pt x="2159" y="7366"/>
                  </a:lnTo>
                  <a:lnTo>
                    <a:pt x="507" y="6604"/>
                  </a:lnTo>
                  <a:lnTo>
                    <a:pt x="0" y="5333"/>
                  </a:lnTo>
                  <a:lnTo>
                    <a:pt x="0" y="3301"/>
                  </a:lnTo>
                  <a:lnTo>
                    <a:pt x="507" y="2031"/>
                  </a:lnTo>
                  <a:lnTo>
                    <a:pt x="1651" y="1269"/>
                  </a:lnTo>
                  <a:lnTo>
                    <a:pt x="3301" y="762"/>
                  </a:lnTo>
                  <a:lnTo>
                    <a:pt x="6095" y="0"/>
                  </a:lnTo>
                  <a:lnTo>
                    <a:pt x="19938" y="2031"/>
                  </a:lnTo>
                  <a:lnTo>
                    <a:pt x="33273" y="5333"/>
                  </a:lnTo>
                  <a:lnTo>
                    <a:pt x="46101" y="8636"/>
                  </a:lnTo>
                  <a:lnTo>
                    <a:pt x="59435" y="12318"/>
                  </a:lnTo>
                  <a:lnTo>
                    <a:pt x="71628" y="17652"/>
                  </a:lnTo>
                  <a:lnTo>
                    <a:pt x="83311" y="22606"/>
                  </a:lnTo>
                  <a:lnTo>
                    <a:pt x="94488" y="29082"/>
                  </a:lnTo>
                  <a:lnTo>
                    <a:pt x="105029" y="36575"/>
                  </a:lnTo>
                  <a:lnTo>
                    <a:pt x="106172" y="37718"/>
                  </a:lnTo>
                  <a:lnTo>
                    <a:pt x="106679" y="38988"/>
                  </a:lnTo>
                  <a:lnTo>
                    <a:pt x="106172" y="40258"/>
                  </a:lnTo>
                  <a:lnTo>
                    <a:pt x="105029" y="41401"/>
                  </a:lnTo>
                  <a:lnTo>
                    <a:pt x="103378" y="42291"/>
                  </a:lnTo>
                  <a:lnTo>
                    <a:pt x="101726" y="42671"/>
                  </a:lnTo>
                  <a:close/>
                  <a:moveTo>
                    <a:pt x="3605784" y="5300471"/>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32" name="Freeform 1296">
              <a:extLst>
                <a:ext uri="{FF2B5EF4-FFF2-40B4-BE49-F238E27FC236}">
                  <a16:creationId xmlns:a16="http://schemas.microsoft.com/office/drawing/2014/main" id="{6F129CA2-9CAA-4795-B45D-5C3C2DD84402}"/>
                </a:ext>
              </a:extLst>
            </p:cNvPr>
            <p:cNvSpPr/>
            <p:nvPr/>
          </p:nvSpPr>
          <p:spPr>
            <a:xfrm>
              <a:off x="1453267" y="1658938"/>
              <a:ext cx="24372" cy="106625"/>
            </a:xfrm>
            <a:custGeom>
              <a:avLst/>
              <a:gdLst/>
              <a:ahLst/>
              <a:cxnLst/>
              <a:rect l="0" t="0" r="0" b="0"/>
              <a:pathLst>
                <a:path w="24385" h="106681">
                  <a:moveTo>
                    <a:pt x="19050" y="106681"/>
                  </a:moveTo>
                  <a:lnTo>
                    <a:pt x="19050" y="106681"/>
                  </a:lnTo>
                  <a:lnTo>
                    <a:pt x="17019" y="105792"/>
                  </a:lnTo>
                  <a:lnTo>
                    <a:pt x="14860" y="104649"/>
                  </a:lnTo>
                  <a:lnTo>
                    <a:pt x="8510" y="90932"/>
                  </a:lnTo>
                  <a:lnTo>
                    <a:pt x="3175" y="77217"/>
                  </a:lnTo>
                  <a:lnTo>
                    <a:pt x="508" y="63500"/>
                  </a:lnTo>
                  <a:lnTo>
                    <a:pt x="0" y="49023"/>
                  </a:lnTo>
                  <a:lnTo>
                    <a:pt x="508" y="37338"/>
                  </a:lnTo>
                  <a:lnTo>
                    <a:pt x="2667" y="25274"/>
                  </a:lnTo>
                  <a:lnTo>
                    <a:pt x="5842" y="13717"/>
                  </a:lnTo>
                  <a:lnTo>
                    <a:pt x="10033" y="2540"/>
                  </a:lnTo>
                  <a:lnTo>
                    <a:pt x="11685" y="1270"/>
                  </a:lnTo>
                  <a:lnTo>
                    <a:pt x="12700" y="382"/>
                  </a:lnTo>
                  <a:lnTo>
                    <a:pt x="14860" y="0"/>
                  </a:lnTo>
                  <a:lnTo>
                    <a:pt x="17019" y="382"/>
                  </a:lnTo>
                  <a:lnTo>
                    <a:pt x="18542" y="1270"/>
                  </a:lnTo>
                  <a:lnTo>
                    <a:pt x="19050" y="2540"/>
                  </a:lnTo>
                  <a:lnTo>
                    <a:pt x="20194" y="3683"/>
                  </a:lnTo>
                  <a:lnTo>
                    <a:pt x="19050" y="4953"/>
                  </a:lnTo>
                  <a:lnTo>
                    <a:pt x="14860" y="15368"/>
                  </a:lnTo>
                  <a:lnTo>
                    <a:pt x="11685" y="26544"/>
                  </a:lnTo>
                  <a:lnTo>
                    <a:pt x="10033" y="37719"/>
                  </a:lnTo>
                  <a:lnTo>
                    <a:pt x="9017" y="49023"/>
                  </a:lnTo>
                  <a:lnTo>
                    <a:pt x="10033" y="62738"/>
                  </a:lnTo>
                  <a:lnTo>
                    <a:pt x="13208" y="75946"/>
                  </a:lnTo>
                  <a:lnTo>
                    <a:pt x="17527" y="88774"/>
                  </a:lnTo>
                  <a:lnTo>
                    <a:pt x="23369" y="101346"/>
                  </a:lnTo>
                  <a:lnTo>
                    <a:pt x="24385" y="102998"/>
                  </a:lnTo>
                  <a:lnTo>
                    <a:pt x="23369" y="104140"/>
                  </a:lnTo>
                  <a:lnTo>
                    <a:pt x="22733" y="105411"/>
                  </a:lnTo>
                  <a:lnTo>
                    <a:pt x="20702" y="105792"/>
                  </a:lnTo>
                  <a:lnTo>
                    <a:pt x="19050" y="106681"/>
                  </a:lnTo>
                  <a:close/>
                  <a:moveTo>
                    <a:pt x="3657600" y="5215128"/>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33" name="Freeform 1297">
              <a:extLst>
                <a:ext uri="{FF2B5EF4-FFF2-40B4-BE49-F238E27FC236}">
                  <a16:creationId xmlns:a16="http://schemas.microsoft.com/office/drawing/2014/main" id="{AD91CFB6-64D0-4043-96AA-1DD239215C88}"/>
                </a:ext>
              </a:extLst>
            </p:cNvPr>
            <p:cNvSpPr/>
            <p:nvPr/>
          </p:nvSpPr>
          <p:spPr>
            <a:xfrm>
              <a:off x="1678702" y="1561450"/>
              <a:ext cx="85300" cy="27418"/>
            </a:xfrm>
            <a:custGeom>
              <a:avLst/>
              <a:gdLst/>
              <a:ahLst/>
              <a:cxnLst/>
              <a:rect l="0" t="0" r="0" b="0"/>
              <a:pathLst>
                <a:path w="85344" h="27432">
                  <a:moveTo>
                    <a:pt x="77342" y="26670"/>
                  </a:moveTo>
                  <a:lnTo>
                    <a:pt x="77342" y="26670"/>
                  </a:lnTo>
                  <a:lnTo>
                    <a:pt x="76200" y="25528"/>
                  </a:lnTo>
                  <a:lnTo>
                    <a:pt x="75692" y="24385"/>
                  </a:lnTo>
                  <a:lnTo>
                    <a:pt x="75692" y="23242"/>
                  </a:lnTo>
                  <a:lnTo>
                    <a:pt x="76200" y="21972"/>
                  </a:lnTo>
                  <a:lnTo>
                    <a:pt x="77977" y="20829"/>
                  </a:lnTo>
                  <a:lnTo>
                    <a:pt x="79629" y="20067"/>
                  </a:lnTo>
                  <a:lnTo>
                    <a:pt x="81914" y="20067"/>
                  </a:lnTo>
                  <a:lnTo>
                    <a:pt x="83692" y="20829"/>
                  </a:lnTo>
                  <a:lnTo>
                    <a:pt x="84201" y="21972"/>
                  </a:lnTo>
                  <a:lnTo>
                    <a:pt x="85344" y="23242"/>
                  </a:lnTo>
                  <a:lnTo>
                    <a:pt x="85344" y="24385"/>
                  </a:lnTo>
                  <a:lnTo>
                    <a:pt x="84201" y="25528"/>
                  </a:lnTo>
                  <a:lnTo>
                    <a:pt x="82550" y="26670"/>
                  </a:lnTo>
                  <a:lnTo>
                    <a:pt x="80772" y="27432"/>
                  </a:lnTo>
                  <a:lnTo>
                    <a:pt x="77342" y="26670"/>
                  </a:lnTo>
                  <a:close/>
                  <a:moveTo>
                    <a:pt x="3609594" y="5312664"/>
                  </a:moveTo>
                  <a:moveTo>
                    <a:pt x="42164" y="13970"/>
                  </a:moveTo>
                  <a:lnTo>
                    <a:pt x="42164" y="13970"/>
                  </a:lnTo>
                  <a:lnTo>
                    <a:pt x="40385" y="13462"/>
                  </a:lnTo>
                  <a:lnTo>
                    <a:pt x="39242" y="11938"/>
                  </a:lnTo>
                  <a:lnTo>
                    <a:pt x="39242" y="10795"/>
                  </a:lnTo>
                  <a:lnTo>
                    <a:pt x="39242" y="9653"/>
                  </a:lnTo>
                  <a:lnTo>
                    <a:pt x="40385" y="8510"/>
                  </a:lnTo>
                  <a:lnTo>
                    <a:pt x="42164" y="7367"/>
                  </a:lnTo>
                  <a:lnTo>
                    <a:pt x="43814" y="7367"/>
                  </a:lnTo>
                  <a:lnTo>
                    <a:pt x="46608" y="7367"/>
                  </a:lnTo>
                  <a:lnTo>
                    <a:pt x="47751" y="8510"/>
                  </a:lnTo>
                  <a:lnTo>
                    <a:pt x="49529" y="9272"/>
                  </a:lnTo>
                  <a:lnTo>
                    <a:pt x="49529" y="10414"/>
                  </a:lnTo>
                  <a:lnTo>
                    <a:pt x="49529" y="11938"/>
                  </a:lnTo>
                  <a:lnTo>
                    <a:pt x="47751" y="13462"/>
                  </a:lnTo>
                  <a:lnTo>
                    <a:pt x="43814" y="13970"/>
                  </a:lnTo>
                  <a:lnTo>
                    <a:pt x="42164" y="13970"/>
                  </a:lnTo>
                  <a:close/>
                  <a:moveTo>
                    <a:pt x="3622294" y="5312664"/>
                  </a:moveTo>
                  <a:moveTo>
                    <a:pt x="4572" y="7367"/>
                  </a:moveTo>
                  <a:lnTo>
                    <a:pt x="4572" y="7367"/>
                  </a:lnTo>
                  <a:lnTo>
                    <a:pt x="1651" y="6605"/>
                  </a:lnTo>
                  <a:lnTo>
                    <a:pt x="507" y="5461"/>
                  </a:lnTo>
                  <a:lnTo>
                    <a:pt x="0" y="4192"/>
                  </a:lnTo>
                  <a:lnTo>
                    <a:pt x="0" y="3049"/>
                  </a:lnTo>
                  <a:lnTo>
                    <a:pt x="507" y="1905"/>
                  </a:lnTo>
                  <a:lnTo>
                    <a:pt x="1651" y="381"/>
                  </a:lnTo>
                  <a:lnTo>
                    <a:pt x="3429" y="381"/>
                  </a:lnTo>
                  <a:lnTo>
                    <a:pt x="5079" y="0"/>
                  </a:lnTo>
                  <a:lnTo>
                    <a:pt x="6857" y="381"/>
                  </a:lnTo>
                  <a:lnTo>
                    <a:pt x="9144" y="1905"/>
                  </a:lnTo>
                  <a:lnTo>
                    <a:pt x="9651" y="3049"/>
                  </a:lnTo>
                  <a:lnTo>
                    <a:pt x="9651" y="4192"/>
                  </a:lnTo>
                  <a:lnTo>
                    <a:pt x="9144" y="5461"/>
                  </a:lnTo>
                  <a:lnTo>
                    <a:pt x="8001" y="6224"/>
                  </a:lnTo>
                  <a:lnTo>
                    <a:pt x="6223" y="6605"/>
                  </a:lnTo>
                  <a:lnTo>
                    <a:pt x="4572" y="7367"/>
                  </a:lnTo>
                  <a:close/>
                  <a:moveTo>
                    <a:pt x="3628897" y="5312664"/>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34" name="Freeform 1298">
              <a:extLst>
                <a:ext uri="{FF2B5EF4-FFF2-40B4-BE49-F238E27FC236}">
                  <a16:creationId xmlns:a16="http://schemas.microsoft.com/office/drawing/2014/main" id="{77D74C1B-7F63-40D9-8C70-7CCEE6B33251}"/>
                </a:ext>
              </a:extLst>
            </p:cNvPr>
            <p:cNvSpPr/>
            <p:nvPr/>
          </p:nvSpPr>
          <p:spPr>
            <a:xfrm>
              <a:off x="1422803" y="1671123"/>
              <a:ext cx="24372" cy="94439"/>
            </a:xfrm>
            <a:custGeom>
              <a:avLst/>
              <a:gdLst/>
              <a:ahLst/>
              <a:cxnLst/>
              <a:rect l="0" t="0" r="0" b="0"/>
              <a:pathLst>
                <a:path w="24385" h="94488">
                  <a:moveTo>
                    <a:pt x="14860" y="92456"/>
                  </a:moveTo>
                  <a:lnTo>
                    <a:pt x="14860" y="92456"/>
                  </a:lnTo>
                  <a:lnTo>
                    <a:pt x="14352" y="90805"/>
                  </a:lnTo>
                  <a:lnTo>
                    <a:pt x="14860" y="89153"/>
                  </a:lnTo>
                  <a:lnTo>
                    <a:pt x="15875" y="87883"/>
                  </a:lnTo>
                  <a:lnTo>
                    <a:pt x="17527" y="87502"/>
                  </a:lnTo>
                  <a:lnTo>
                    <a:pt x="19050" y="87502"/>
                  </a:lnTo>
                  <a:lnTo>
                    <a:pt x="21210" y="87502"/>
                  </a:lnTo>
                  <a:lnTo>
                    <a:pt x="22733" y="87883"/>
                  </a:lnTo>
                  <a:lnTo>
                    <a:pt x="23369" y="89153"/>
                  </a:lnTo>
                  <a:lnTo>
                    <a:pt x="24385" y="90805"/>
                  </a:lnTo>
                  <a:lnTo>
                    <a:pt x="23369" y="92075"/>
                  </a:lnTo>
                  <a:lnTo>
                    <a:pt x="22733" y="93218"/>
                  </a:lnTo>
                  <a:lnTo>
                    <a:pt x="21210" y="93726"/>
                  </a:lnTo>
                  <a:lnTo>
                    <a:pt x="19050" y="94488"/>
                  </a:lnTo>
                  <a:lnTo>
                    <a:pt x="17019" y="93726"/>
                  </a:lnTo>
                  <a:lnTo>
                    <a:pt x="14860" y="92456"/>
                  </a:lnTo>
                  <a:close/>
                  <a:moveTo>
                    <a:pt x="3690112" y="5202935"/>
                  </a:moveTo>
                  <a:moveTo>
                    <a:pt x="3175" y="63119"/>
                  </a:moveTo>
                  <a:lnTo>
                    <a:pt x="3175" y="63119"/>
                  </a:lnTo>
                  <a:lnTo>
                    <a:pt x="3175" y="61849"/>
                  </a:lnTo>
                  <a:lnTo>
                    <a:pt x="3175" y="60706"/>
                  </a:lnTo>
                  <a:lnTo>
                    <a:pt x="4827" y="59435"/>
                  </a:lnTo>
                  <a:lnTo>
                    <a:pt x="6858" y="58546"/>
                  </a:lnTo>
                  <a:lnTo>
                    <a:pt x="8510" y="58546"/>
                  </a:lnTo>
                  <a:lnTo>
                    <a:pt x="10033" y="59435"/>
                  </a:lnTo>
                  <a:lnTo>
                    <a:pt x="11685" y="60706"/>
                  </a:lnTo>
                  <a:lnTo>
                    <a:pt x="12700" y="61849"/>
                  </a:lnTo>
                  <a:lnTo>
                    <a:pt x="12700" y="63119"/>
                  </a:lnTo>
                  <a:lnTo>
                    <a:pt x="11685" y="64389"/>
                  </a:lnTo>
                  <a:lnTo>
                    <a:pt x="10033" y="66039"/>
                  </a:lnTo>
                  <a:lnTo>
                    <a:pt x="8510" y="66039"/>
                  </a:lnTo>
                  <a:lnTo>
                    <a:pt x="7366" y="66420"/>
                  </a:lnTo>
                  <a:lnTo>
                    <a:pt x="5843" y="66039"/>
                  </a:lnTo>
                  <a:lnTo>
                    <a:pt x="4827" y="65151"/>
                  </a:lnTo>
                  <a:lnTo>
                    <a:pt x="3175" y="64389"/>
                  </a:lnTo>
                  <a:lnTo>
                    <a:pt x="3175" y="63119"/>
                  </a:lnTo>
                  <a:close/>
                  <a:moveTo>
                    <a:pt x="3719449" y="5202935"/>
                  </a:moveTo>
                  <a:moveTo>
                    <a:pt x="4191" y="36321"/>
                  </a:moveTo>
                  <a:lnTo>
                    <a:pt x="4191" y="36321"/>
                  </a:lnTo>
                  <a:lnTo>
                    <a:pt x="2668" y="36321"/>
                  </a:lnTo>
                  <a:lnTo>
                    <a:pt x="1016" y="35051"/>
                  </a:lnTo>
                  <a:lnTo>
                    <a:pt x="0" y="34670"/>
                  </a:lnTo>
                  <a:lnTo>
                    <a:pt x="0" y="32639"/>
                  </a:lnTo>
                  <a:lnTo>
                    <a:pt x="0" y="31369"/>
                  </a:lnTo>
                  <a:lnTo>
                    <a:pt x="1652" y="30099"/>
                  </a:lnTo>
                  <a:lnTo>
                    <a:pt x="2668" y="29337"/>
                  </a:lnTo>
                  <a:lnTo>
                    <a:pt x="4827" y="29337"/>
                  </a:lnTo>
                  <a:lnTo>
                    <a:pt x="6858" y="29337"/>
                  </a:lnTo>
                  <a:lnTo>
                    <a:pt x="8510" y="30480"/>
                  </a:lnTo>
                  <a:lnTo>
                    <a:pt x="9018" y="31369"/>
                  </a:lnTo>
                  <a:lnTo>
                    <a:pt x="9018" y="33401"/>
                  </a:lnTo>
                  <a:lnTo>
                    <a:pt x="9018" y="34670"/>
                  </a:lnTo>
                  <a:lnTo>
                    <a:pt x="8510" y="35940"/>
                  </a:lnTo>
                  <a:lnTo>
                    <a:pt x="6858" y="36321"/>
                  </a:lnTo>
                  <a:lnTo>
                    <a:pt x="4827" y="36321"/>
                  </a:lnTo>
                  <a:lnTo>
                    <a:pt x="4191" y="36321"/>
                  </a:lnTo>
                  <a:close/>
                  <a:moveTo>
                    <a:pt x="3746247" y="5202935"/>
                  </a:moveTo>
                  <a:moveTo>
                    <a:pt x="9018" y="6984"/>
                  </a:moveTo>
                  <a:lnTo>
                    <a:pt x="9018" y="6984"/>
                  </a:lnTo>
                  <a:lnTo>
                    <a:pt x="7366" y="6603"/>
                  </a:lnTo>
                  <a:lnTo>
                    <a:pt x="5843" y="5333"/>
                  </a:lnTo>
                  <a:lnTo>
                    <a:pt x="4827" y="3682"/>
                  </a:lnTo>
                  <a:lnTo>
                    <a:pt x="5843" y="2413"/>
                  </a:lnTo>
                  <a:lnTo>
                    <a:pt x="6858" y="1270"/>
                  </a:lnTo>
                  <a:lnTo>
                    <a:pt x="7366" y="762"/>
                  </a:lnTo>
                  <a:lnTo>
                    <a:pt x="9018" y="0"/>
                  </a:lnTo>
                  <a:lnTo>
                    <a:pt x="11685" y="0"/>
                  </a:lnTo>
                  <a:lnTo>
                    <a:pt x="13208" y="762"/>
                  </a:lnTo>
                  <a:lnTo>
                    <a:pt x="14352" y="2032"/>
                  </a:lnTo>
                  <a:lnTo>
                    <a:pt x="14860" y="3301"/>
                  </a:lnTo>
                  <a:lnTo>
                    <a:pt x="14860" y="4571"/>
                  </a:lnTo>
                  <a:lnTo>
                    <a:pt x="14352" y="5714"/>
                  </a:lnTo>
                  <a:lnTo>
                    <a:pt x="13208" y="6603"/>
                  </a:lnTo>
                  <a:lnTo>
                    <a:pt x="11685" y="6984"/>
                  </a:lnTo>
                  <a:lnTo>
                    <a:pt x="10033" y="6984"/>
                  </a:lnTo>
                  <a:lnTo>
                    <a:pt x="9018" y="6984"/>
                  </a:lnTo>
                  <a:close/>
                  <a:moveTo>
                    <a:pt x="3775584" y="5202935"/>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35" name="Freeform 1299">
              <a:extLst>
                <a:ext uri="{FF2B5EF4-FFF2-40B4-BE49-F238E27FC236}">
                  <a16:creationId xmlns:a16="http://schemas.microsoft.com/office/drawing/2014/main" id="{389A5022-3D8D-4777-AB22-99FA3CDCD2C8}"/>
                </a:ext>
              </a:extLst>
            </p:cNvPr>
            <p:cNvSpPr/>
            <p:nvPr/>
          </p:nvSpPr>
          <p:spPr>
            <a:xfrm>
              <a:off x="1727445" y="1802120"/>
              <a:ext cx="70069" cy="45695"/>
            </a:xfrm>
            <a:custGeom>
              <a:avLst/>
              <a:gdLst/>
              <a:ahLst/>
              <a:cxnLst/>
              <a:rect l="0" t="0" r="0" b="0"/>
              <a:pathLst>
                <a:path w="70105" h="45719">
                  <a:moveTo>
                    <a:pt x="0" y="44068"/>
                  </a:moveTo>
                  <a:lnTo>
                    <a:pt x="0" y="44068"/>
                  </a:lnTo>
                  <a:lnTo>
                    <a:pt x="0" y="42037"/>
                  </a:lnTo>
                  <a:lnTo>
                    <a:pt x="0" y="40767"/>
                  </a:lnTo>
                  <a:lnTo>
                    <a:pt x="509" y="39624"/>
                  </a:lnTo>
                  <a:lnTo>
                    <a:pt x="2287" y="38735"/>
                  </a:lnTo>
                  <a:lnTo>
                    <a:pt x="4446" y="38354"/>
                  </a:lnTo>
                  <a:lnTo>
                    <a:pt x="6224" y="38735"/>
                  </a:lnTo>
                  <a:lnTo>
                    <a:pt x="7875" y="39624"/>
                  </a:lnTo>
                  <a:lnTo>
                    <a:pt x="9525" y="40005"/>
                  </a:lnTo>
                  <a:lnTo>
                    <a:pt x="9525" y="41275"/>
                  </a:lnTo>
                  <a:lnTo>
                    <a:pt x="9525" y="43306"/>
                  </a:lnTo>
                  <a:lnTo>
                    <a:pt x="9018" y="44450"/>
                  </a:lnTo>
                  <a:lnTo>
                    <a:pt x="6731" y="45338"/>
                  </a:lnTo>
                  <a:lnTo>
                    <a:pt x="5081" y="45719"/>
                  </a:lnTo>
                  <a:lnTo>
                    <a:pt x="2287" y="45338"/>
                  </a:lnTo>
                  <a:lnTo>
                    <a:pt x="0" y="44068"/>
                  </a:lnTo>
                  <a:close/>
                  <a:moveTo>
                    <a:pt x="3302636" y="5071871"/>
                  </a:moveTo>
                  <a:moveTo>
                    <a:pt x="34163" y="27812"/>
                  </a:moveTo>
                  <a:lnTo>
                    <a:pt x="34163" y="27812"/>
                  </a:lnTo>
                  <a:lnTo>
                    <a:pt x="33656" y="26543"/>
                  </a:lnTo>
                  <a:lnTo>
                    <a:pt x="32512" y="25273"/>
                  </a:lnTo>
                  <a:lnTo>
                    <a:pt x="33656" y="24130"/>
                  </a:lnTo>
                  <a:lnTo>
                    <a:pt x="34163" y="22860"/>
                  </a:lnTo>
                  <a:lnTo>
                    <a:pt x="36450" y="22098"/>
                  </a:lnTo>
                  <a:lnTo>
                    <a:pt x="38100" y="22098"/>
                  </a:lnTo>
                  <a:lnTo>
                    <a:pt x="39878" y="22098"/>
                  </a:lnTo>
                  <a:lnTo>
                    <a:pt x="41530" y="22860"/>
                  </a:lnTo>
                  <a:lnTo>
                    <a:pt x="42672" y="24130"/>
                  </a:lnTo>
                  <a:lnTo>
                    <a:pt x="43181" y="26162"/>
                  </a:lnTo>
                  <a:lnTo>
                    <a:pt x="42672" y="27305"/>
                  </a:lnTo>
                  <a:lnTo>
                    <a:pt x="41530" y="27812"/>
                  </a:lnTo>
                  <a:lnTo>
                    <a:pt x="39878" y="28575"/>
                  </a:lnTo>
                  <a:lnTo>
                    <a:pt x="38100" y="28956"/>
                  </a:lnTo>
                  <a:lnTo>
                    <a:pt x="36450" y="28575"/>
                  </a:lnTo>
                  <a:lnTo>
                    <a:pt x="34163" y="27812"/>
                  </a:lnTo>
                  <a:close/>
                  <a:moveTo>
                    <a:pt x="3318892" y="5071871"/>
                  </a:moveTo>
                  <a:moveTo>
                    <a:pt x="61722" y="6476"/>
                  </a:moveTo>
                  <a:lnTo>
                    <a:pt x="61722" y="6476"/>
                  </a:lnTo>
                  <a:lnTo>
                    <a:pt x="61087" y="6095"/>
                  </a:lnTo>
                  <a:lnTo>
                    <a:pt x="60072" y="4063"/>
                  </a:lnTo>
                  <a:lnTo>
                    <a:pt x="60072" y="2793"/>
                  </a:lnTo>
                  <a:lnTo>
                    <a:pt x="61087" y="1269"/>
                  </a:lnTo>
                  <a:lnTo>
                    <a:pt x="62865" y="762"/>
                  </a:lnTo>
                  <a:lnTo>
                    <a:pt x="64516" y="0"/>
                  </a:lnTo>
                  <a:lnTo>
                    <a:pt x="66168" y="0"/>
                  </a:lnTo>
                  <a:lnTo>
                    <a:pt x="67818" y="762"/>
                  </a:lnTo>
                  <a:lnTo>
                    <a:pt x="70105" y="2031"/>
                  </a:lnTo>
                  <a:lnTo>
                    <a:pt x="70105" y="3301"/>
                  </a:lnTo>
                  <a:lnTo>
                    <a:pt x="70105" y="4444"/>
                  </a:lnTo>
                  <a:lnTo>
                    <a:pt x="68962" y="6095"/>
                  </a:lnTo>
                  <a:lnTo>
                    <a:pt x="67310" y="7366"/>
                  </a:lnTo>
                  <a:lnTo>
                    <a:pt x="65659" y="7366"/>
                  </a:lnTo>
                  <a:lnTo>
                    <a:pt x="61722" y="6476"/>
                  </a:lnTo>
                  <a:close/>
                  <a:moveTo>
                    <a:pt x="3340228" y="5071871"/>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36" name="Freeform 1300">
              <a:extLst>
                <a:ext uri="{FF2B5EF4-FFF2-40B4-BE49-F238E27FC236}">
                  <a16:creationId xmlns:a16="http://schemas.microsoft.com/office/drawing/2014/main" id="{D7B94C1A-80B6-4F6A-8A04-CE4FEEAE61FB}"/>
                </a:ext>
              </a:extLst>
            </p:cNvPr>
            <p:cNvSpPr/>
            <p:nvPr/>
          </p:nvSpPr>
          <p:spPr>
            <a:xfrm>
              <a:off x="1477640" y="2420539"/>
              <a:ext cx="332059" cy="380802"/>
            </a:xfrm>
            <a:custGeom>
              <a:avLst/>
              <a:gdLst/>
              <a:ahLst/>
              <a:cxnLst/>
              <a:rect l="0" t="0" r="0" b="0"/>
              <a:pathLst>
                <a:path w="332232" h="381000">
                  <a:moveTo>
                    <a:pt x="35179" y="371602"/>
                  </a:moveTo>
                  <a:lnTo>
                    <a:pt x="305688" y="371602"/>
                  </a:lnTo>
                  <a:lnTo>
                    <a:pt x="305688" y="381000"/>
                  </a:lnTo>
                  <a:lnTo>
                    <a:pt x="35179" y="381000"/>
                  </a:lnTo>
                  <a:lnTo>
                    <a:pt x="35179" y="371602"/>
                  </a:lnTo>
                  <a:close/>
                  <a:moveTo>
                    <a:pt x="2606294" y="4453128"/>
                  </a:moveTo>
                  <a:moveTo>
                    <a:pt x="133095" y="205359"/>
                  </a:moveTo>
                  <a:lnTo>
                    <a:pt x="165988" y="235077"/>
                  </a:lnTo>
                  <a:lnTo>
                    <a:pt x="198754" y="205359"/>
                  </a:lnTo>
                  <a:lnTo>
                    <a:pt x="133095" y="205359"/>
                  </a:lnTo>
                  <a:close/>
                  <a:moveTo>
                    <a:pt x="2772537" y="4453128"/>
                  </a:moveTo>
                  <a:moveTo>
                    <a:pt x="204216" y="282449"/>
                  </a:moveTo>
                  <a:lnTo>
                    <a:pt x="165988" y="248032"/>
                  </a:lnTo>
                  <a:lnTo>
                    <a:pt x="127762" y="282449"/>
                  </a:lnTo>
                  <a:lnTo>
                    <a:pt x="204216" y="282449"/>
                  </a:lnTo>
                  <a:close/>
                  <a:moveTo>
                    <a:pt x="2695447" y="4453128"/>
                  </a:moveTo>
                  <a:moveTo>
                    <a:pt x="165988" y="321564"/>
                  </a:moveTo>
                  <a:lnTo>
                    <a:pt x="198628" y="291846"/>
                  </a:lnTo>
                  <a:lnTo>
                    <a:pt x="133223" y="291846"/>
                  </a:lnTo>
                  <a:lnTo>
                    <a:pt x="165988" y="321564"/>
                  </a:lnTo>
                  <a:close/>
                  <a:moveTo>
                    <a:pt x="2656332" y="4453128"/>
                  </a:moveTo>
                  <a:moveTo>
                    <a:pt x="200025" y="182500"/>
                  </a:moveTo>
                  <a:lnTo>
                    <a:pt x="194056" y="131573"/>
                  </a:lnTo>
                  <a:lnTo>
                    <a:pt x="172593" y="153925"/>
                  </a:lnTo>
                  <a:lnTo>
                    <a:pt x="200025" y="182500"/>
                  </a:lnTo>
                  <a:close/>
                  <a:moveTo>
                    <a:pt x="2795396" y="4453128"/>
                  </a:moveTo>
                  <a:moveTo>
                    <a:pt x="210693" y="275463"/>
                  </a:moveTo>
                  <a:lnTo>
                    <a:pt x="203581" y="213995"/>
                  </a:lnTo>
                  <a:lnTo>
                    <a:pt x="172973" y="241427"/>
                  </a:lnTo>
                  <a:lnTo>
                    <a:pt x="210693" y="275463"/>
                  </a:lnTo>
                  <a:close/>
                  <a:moveTo>
                    <a:pt x="2702433" y="4453128"/>
                  </a:moveTo>
                  <a:moveTo>
                    <a:pt x="130556" y="216027"/>
                  </a:moveTo>
                  <a:lnTo>
                    <a:pt x="123951" y="272924"/>
                  </a:lnTo>
                  <a:lnTo>
                    <a:pt x="158750" y="241427"/>
                  </a:lnTo>
                  <a:lnTo>
                    <a:pt x="130556" y="216027"/>
                  </a:lnTo>
                  <a:close/>
                  <a:moveTo>
                    <a:pt x="2761869" y="4453128"/>
                  </a:moveTo>
                  <a:moveTo>
                    <a:pt x="132968" y="195326"/>
                  </a:moveTo>
                  <a:lnTo>
                    <a:pt x="132842" y="195962"/>
                  </a:lnTo>
                  <a:lnTo>
                    <a:pt x="199516" y="195962"/>
                  </a:lnTo>
                  <a:lnTo>
                    <a:pt x="165988" y="161037"/>
                  </a:lnTo>
                  <a:lnTo>
                    <a:pt x="132968" y="195326"/>
                  </a:lnTo>
                  <a:close/>
                  <a:moveTo>
                    <a:pt x="2782570" y="4453128"/>
                  </a:moveTo>
                  <a:moveTo>
                    <a:pt x="140207" y="133986"/>
                  </a:moveTo>
                  <a:lnTo>
                    <a:pt x="134746" y="179451"/>
                  </a:lnTo>
                  <a:lnTo>
                    <a:pt x="159257" y="153925"/>
                  </a:lnTo>
                  <a:lnTo>
                    <a:pt x="140207" y="133986"/>
                  </a:lnTo>
                  <a:close/>
                  <a:moveTo>
                    <a:pt x="2843910" y="4453128"/>
                  </a:moveTo>
                  <a:moveTo>
                    <a:pt x="141859" y="118745"/>
                  </a:moveTo>
                  <a:lnTo>
                    <a:pt x="141478" y="121667"/>
                  </a:lnTo>
                  <a:lnTo>
                    <a:pt x="165988" y="147067"/>
                  </a:lnTo>
                  <a:lnTo>
                    <a:pt x="192532" y="119253"/>
                  </a:lnTo>
                  <a:lnTo>
                    <a:pt x="192532" y="118745"/>
                  </a:lnTo>
                  <a:lnTo>
                    <a:pt x="141859" y="118745"/>
                  </a:lnTo>
                  <a:close/>
                  <a:moveTo>
                    <a:pt x="2859151" y="4453128"/>
                  </a:moveTo>
                  <a:moveTo>
                    <a:pt x="185800" y="61088"/>
                  </a:moveTo>
                  <a:lnTo>
                    <a:pt x="145287" y="89789"/>
                  </a:lnTo>
                  <a:lnTo>
                    <a:pt x="143001" y="109348"/>
                  </a:lnTo>
                  <a:lnTo>
                    <a:pt x="191388" y="109348"/>
                  </a:lnTo>
                  <a:lnTo>
                    <a:pt x="185800" y="61088"/>
                  </a:lnTo>
                  <a:close/>
                  <a:moveTo>
                    <a:pt x="2916808" y="4453128"/>
                  </a:moveTo>
                  <a:moveTo>
                    <a:pt x="211073" y="109348"/>
                  </a:moveTo>
                  <a:lnTo>
                    <a:pt x="260985" y="109348"/>
                  </a:lnTo>
                  <a:lnTo>
                    <a:pt x="208407" y="87250"/>
                  </a:lnTo>
                  <a:lnTo>
                    <a:pt x="211073" y="109348"/>
                  </a:lnTo>
                  <a:close/>
                  <a:moveTo>
                    <a:pt x="2868548" y="4453128"/>
                  </a:moveTo>
                  <a:moveTo>
                    <a:pt x="125856" y="87757"/>
                  </a:moveTo>
                  <a:lnTo>
                    <a:pt x="74676" y="109348"/>
                  </a:lnTo>
                  <a:lnTo>
                    <a:pt x="123317" y="109348"/>
                  </a:lnTo>
                  <a:lnTo>
                    <a:pt x="125856" y="87757"/>
                  </a:lnTo>
                  <a:close/>
                  <a:moveTo>
                    <a:pt x="2890139" y="4453128"/>
                  </a:moveTo>
                  <a:moveTo>
                    <a:pt x="118237" y="153036"/>
                  </a:moveTo>
                  <a:lnTo>
                    <a:pt x="25273" y="194183"/>
                  </a:lnTo>
                  <a:lnTo>
                    <a:pt x="113537" y="194183"/>
                  </a:lnTo>
                  <a:lnTo>
                    <a:pt x="118237" y="153036"/>
                  </a:lnTo>
                  <a:close/>
                  <a:moveTo>
                    <a:pt x="2824860" y="4453128"/>
                  </a:moveTo>
                  <a:moveTo>
                    <a:pt x="220853" y="194183"/>
                  </a:moveTo>
                  <a:lnTo>
                    <a:pt x="307213" y="194183"/>
                  </a:lnTo>
                  <a:lnTo>
                    <a:pt x="216153" y="154178"/>
                  </a:lnTo>
                  <a:lnTo>
                    <a:pt x="220853" y="194183"/>
                  </a:lnTo>
                  <a:close/>
                  <a:moveTo>
                    <a:pt x="2783713" y="4453128"/>
                  </a:moveTo>
                  <a:moveTo>
                    <a:pt x="312800" y="234569"/>
                  </a:moveTo>
                  <a:lnTo>
                    <a:pt x="312800" y="203708"/>
                  </a:lnTo>
                  <a:lnTo>
                    <a:pt x="221995" y="203708"/>
                  </a:lnTo>
                  <a:lnTo>
                    <a:pt x="240410" y="362332"/>
                  </a:lnTo>
                  <a:lnTo>
                    <a:pt x="220853" y="362332"/>
                  </a:lnTo>
                  <a:lnTo>
                    <a:pt x="212597" y="292227"/>
                  </a:lnTo>
                  <a:lnTo>
                    <a:pt x="172973" y="327914"/>
                  </a:lnTo>
                  <a:lnTo>
                    <a:pt x="211073" y="362332"/>
                  </a:lnTo>
                  <a:lnTo>
                    <a:pt x="196850" y="362332"/>
                  </a:lnTo>
                  <a:lnTo>
                    <a:pt x="165988" y="334392"/>
                  </a:lnTo>
                  <a:lnTo>
                    <a:pt x="135001" y="362332"/>
                  </a:lnTo>
                  <a:lnTo>
                    <a:pt x="120776" y="362332"/>
                  </a:lnTo>
                  <a:lnTo>
                    <a:pt x="158750" y="327914"/>
                  </a:lnTo>
                  <a:lnTo>
                    <a:pt x="121412" y="294259"/>
                  </a:lnTo>
                  <a:lnTo>
                    <a:pt x="113665" y="362332"/>
                  </a:lnTo>
                  <a:lnTo>
                    <a:pt x="93979" y="362332"/>
                  </a:lnTo>
                  <a:lnTo>
                    <a:pt x="112395" y="203708"/>
                  </a:lnTo>
                  <a:lnTo>
                    <a:pt x="19431" y="203708"/>
                  </a:lnTo>
                  <a:lnTo>
                    <a:pt x="19431" y="234569"/>
                  </a:lnTo>
                  <a:lnTo>
                    <a:pt x="0" y="234569"/>
                  </a:lnTo>
                  <a:lnTo>
                    <a:pt x="0" y="203708"/>
                  </a:lnTo>
                  <a:lnTo>
                    <a:pt x="0" y="195707"/>
                  </a:lnTo>
                  <a:lnTo>
                    <a:pt x="0" y="194564"/>
                  </a:lnTo>
                  <a:lnTo>
                    <a:pt x="119634" y="142113"/>
                  </a:lnTo>
                  <a:lnTo>
                    <a:pt x="122301" y="118745"/>
                  </a:lnTo>
                  <a:lnTo>
                    <a:pt x="68326" y="118745"/>
                  </a:lnTo>
                  <a:lnTo>
                    <a:pt x="68326" y="150750"/>
                  </a:lnTo>
                  <a:lnTo>
                    <a:pt x="48895" y="150750"/>
                  </a:lnTo>
                  <a:lnTo>
                    <a:pt x="48895" y="118745"/>
                  </a:lnTo>
                  <a:lnTo>
                    <a:pt x="48895" y="111888"/>
                  </a:lnTo>
                  <a:lnTo>
                    <a:pt x="48895" y="109728"/>
                  </a:lnTo>
                  <a:lnTo>
                    <a:pt x="127126" y="76836"/>
                  </a:lnTo>
                  <a:lnTo>
                    <a:pt x="130048" y="52198"/>
                  </a:lnTo>
                  <a:lnTo>
                    <a:pt x="135509" y="52198"/>
                  </a:lnTo>
                  <a:lnTo>
                    <a:pt x="195325" y="52198"/>
                  </a:lnTo>
                  <a:lnTo>
                    <a:pt x="204343" y="52198"/>
                  </a:lnTo>
                  <a:lnTo>
                    <a:pt x="207137" y="76327"/>
                  </a:lnTo>
                  <a:lnTo>
                    <a:pt x="287273" y="109728"/>
                  </a:lnTo>
                  <a:lnTo>
                    <a:pt x="287273" y="113538"/>
                  </a:lnTo>
                  <a:lnTo>
                    <a:pt x="287273" y="118745"/>
                  </a:lnTo>
                  <a:lnTo>
                    <a:pt x="287273" y="152527"/>
                  </a:lnTo>
                  <a:lnTo>
                    <a:pt x="267843" y="152527"/>
                  </a:lnTo>
                  <a:lnTo>
                    <a:pt x="267843" y="118745"/>
                  </a:lnTo>
                  <a:lnTo>
                    <a:pt x="212216" y="118745"/>
                  </a:lnTo>
                  <a:lnTo>
                    <a:pt x="215010" y="143130"/>
                  </a:lnTo>
                  <a:lnTo>
                    <a:pt x="332232" y="194564"/>
                  </a:lnTo>
                  <a:lnTo>
                    <a:pt x="332232" y="195707"/>
                  </a:lnTo>
                  <a:lnTo>
                    <a:pt x="332232" y="203708"/>
                  </a:lnTo>
                  <a:lnTo>
                    <a:pt x="332232" y="234569"/>
                  </a:lnTo>
                  <a:lnTo>
                    <a:pt x="312800" y="234569"/>
                  </a:lnTo>
                  <a:close/>
                  <a:moveTo>
                    <a:pt x="2743327" y="4453128"/>
                  </a:moveTo>
                  <a:moveTo>
                    <a:pt x="164845" y="10288"/>
                  </a:moveTo>
                  <a:lnTo>
                    <a:pt x="110109" y="33656"/>
                  </a:lnTo>
                  <a:lnTo>
                    <a:pt x="219837" y="33656"/>
                  </a:lnTo>
                  <a:lnTo>
                    <a:pt x="164845" y="10288"/>
                  </a:lnTo>
                  <a:close/>
                  <a:moveTo>
                    <a:pt x="2967608" y="4453128"/>
                  </a:moveTo>
                  <a:moveTo>
                    <a:pt x="84835" y="65532"/>
                  </a:moveTo>
                  <a:lnTo>
                    <a:pt x="84835" y="43053"/>
                  </a:lnTo>
                  <a:lnTo>
                    <a:pt x="84835" y="40132"/>
                  </a:lnTo>
                  <a:lnTo>
                    <a:pt x="84835" y="34163"/>
                  </a:lnTo>
                  <a:lnTo>
                    <a:pt x="164845" y="0"/>
                  </a:lnTo>
                  <a:lnTo>
                    <a:pt x="245110" y="34163"/>
                  </a:lnTo>
                  <a:lnTo>
                    <a:pt x="245110" y="40132"/>
                  </a:lnTo>
                  <a:lnTo>
                    <a:pt x="245110" y="43053"/>
                  </a:lnTo>
                  <a:lnTo>
                    <a:pt x="245110" y="65532"/>
                  </a:lnTo>
                  <a:lnTo>
                    <a:pt x="225297" y="65532"/>
                  </a:lnTo>
                  <a:lnTo>
                    <a:pt x="225297" y="43053"/>
                  </a:lnTo>
                  <a:lnTo>
                    <a:pt x="104648" y="43053"/>
                  </a:lnTo>
                  <a:lnTo>
                    <a:pt x="104648" y="65532"/>
                  </a:lnTo>
                  <a:lnTo>
                    <a:pt x="84835" y="65532"/>
                  </a:lnTo>
                  <a:close/>
                  <a:moveTo>
                    <a:pt x="2912364" y="4453128"/>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637" name="Freeform 1334">
              <a:extLst>
                <a:ext uri="{FF2B5EF4-FFF2-40B4-BE49-F238E27FC236}">
                  <a16:creationId xmlns:a16="http://schemas.microsoft.com/office/drawing/2014/main" id="{1BD4C7E2-2AA6-4697-9349-B406D019A8A7}"/>
                </a:ext>
              </a:extLst>
            </p:cNvPr>
            <p:cNvSpPr/>
            <p:nvPr/>
          </p:nvSpPr>
          <p:spPr>
            <a:xfrm>
              <a:off x="2074736" y="1661983"/>
              <a:ext cx="313781" cy="292456"/>
            </a:xfrm>
            <a:custGeom>
              <a:avLst/>
              <a:gdLst/>
              <a:ahLst/>
              <a:cxnLst/>
              <a:rect l="0" t="0" r="0" b="0"/>
              <a:pathLst>
                <a:path w="313944" h="292608">
                  <a:moveTo>
                    <a:pt x="111253" y="179324"/>
                  </a:moveTo>
                  <a:lnTo>
                    <a:pt x="111253" y="179324"/>
                  </a:lnTo>
                  <a:lnTo>
                    <a:pt x="112268" y="178053"/>
                  </a:lnTo>
                  <a:lnTo>
                    <a:pt x="113284" y="176657"/>
                  </a:lnTo>
                  <a:lnTo>
                    <a:pt x="114555" y="175259"/>
                  </a:lnTo>
                  <a:lnTo>
                    <a:pt x="115825" y="173863"/>
                  </a:lnTo>
                  <a:lnTo>
                    <a:pt x="117349" y="172465"/>
                  </a:lnTo>
                  <a:lnTo>
                    <a:pt x="119000" y="171069"/>
                  </a:lnTo>
                  <a:lnTo>
                    <a:pt x="120650" y="169671"/>
                  </a:lnTo>
                  <a:lnTo>
                    <a:pt x="122428" y="168275"/>
                  </a:lnTo>
                  <a:lnTo>
                    <a:pt x="126238" y="165734"/>
                  </a:lnTo>
                  <a:lnTo>
                    <a:pt x="130175" y="163321"/>
                  </a:lnTo>
                  <a:lnTo>
                    <a:pt x="134112" y="160782"/>
                  </a:lnTo>
                  <a:lnTo>
                    <a:pt x="138050" y="158750"/>
                  </a:lnTo>
                  <a:lnTo>
                    <a:pt x="138684" y="159765"/>
                  </a:lnTo>
                  <a:lnTo>
                    <a:pt x="139065" y="160782"/>
                  </a:lnTo>
                  <a:lnTo>
                    <a:pt x="139828" y="161925"/>
                  </a:lnTo>
                  <a:lnTo>
                    <a:pt x="140462" y="162814"/>
                  </a:lnTo>
                  <a:lnTo>
                    <a:pt x="141225" y="163829"/>
                  </a:lnTo>
                  <a:lnTo>
                    <a:pt x="141987" y="164845"/>
                  </a:lnTo>
                  <a:lnTo>
                    <a:pt x="142875" y="165608"/>
                  </a:lnTo>
                  <a:lnTo>
                    <a:pt x="143765" y="166496"/>
                  </a:lnTo>
                  <a:lnTo>
                    <a:pt x="145669" y="168020"/>
                  </a:lnTo>
                  <a:lnTo>
                    <a:pt x="147702" y="169290"/>
                  </a:lnTo>
                  <a:lnTo>
                    <a:pt x="148844" y="169926"/>
                  </a:lnTo>
                  <a:lnTo>
                    <a:pt x="150115" y="170307"/>
                  </a:lnTo>
                  <a:lnTo>
                    <a:pt x="151258" y="170814"/>
                  </a:lnTo>
                  <a:lnTo>
                    <a:pt x="152400" y="171322"/>
                  </a:lnTo>
                  <a:lnTo>
                    <a:pt x="149225" y="177164"/>
                  </a:lnTo>
                  <a:lnTo>
                    <a:pt x="145288" y="184150"/>
                  </a:lnTo>
                  <a:lnTo>
                    <a:pt x="139574" y="194183"/>
                  </a:lnTo>
                  <a:lnTo>
                    <a:pt x="137034" y="198501"/>
                  </a:lnTo>
                  <a:lnTo>
                    <a:pt x="135763" y="200406"/>
                  </a:lnTo>
                  <a:lnTo>
                    <a:pt x="134493" y="202183"/>
                  </a:lnTo>
                  <a:lnTo>
                    <a:pt x="133350" y="203708"/>
                  </a:lnTo>
                  <a:lnTo>
                    <a:pt x="132208" y="204977"/>
                  </a:lnTo>
                  <a:lnTo>
                    <a:pt x="130811" y="205994"/>
                  </a:lnTo>
                  <a:lnTo>
                    <a:pt x="129668" y="206883"/>
                  </a:lnTo>
                  <a:lnTo>
                    <a:pt x="129033" y="207264"/>
                  </a:lnTo>
                  <a:lnTo>
                    <a:pt x="128397" y="207518"/>
                  </a:lnTo>
                  <a:lnTo>
                    <a:pt x="127762" y="207518"/>
                  </a:lnTo>
                  <a:lnTo>
                    <a:pt x="127255" y="207518"/>
                  </a:lnTo>
                  <a:lnTo>
                    <a:pt x="126493" y="207518"/>
                  </a:lnTo>
                  <a:lnTo>
                    <a:pt x="125984" y="207518"/>
                  </a:lnTo>
                  <a:lnTo>
                    <a:pt x="125222" y="207390"/>
                  </a:lnTo>
                  <a:lnTo>
                    <a:pt x="124587" y="207009"/>
                  </a:lnTo>
                  <a:lnTo>
                    <a:pt x="123190" y="206247"/>
                  </a:lnTo>
                  <a:lnTo>
                    <a:pt x="121666" y="205485"/>
                  </a:lnTo>
                  <a:lnTo>
                    <a:pt x="120015" y="204343"/>
                  </a:lnTo>
                  <a:lnTo>
                    <a:pt x="118365" y="203326"/>
                  </a:lnTo>
                  <a:lnTo>
                    <a:pt x="116713" y="201929"/>
                  </a:lnTo>
                  <a:lnTo>
                    <a:pt x="115062" y="200533"/>
                  </a:lnTo>
                  <a:lnTo>
                    <a:pt x="113665" y="198882"/>
                  </a:lnTo>
                  <a:lnTo>
                    <a:pt x="112268" y="197231"/>
                  </a:lnTo>
                  <a:lnTo>
                    <a:pt x="110999" y="195452"/>
                  </a:lnTo>
                  <a:lnTo>
                    <a:pt x="110490" y="194437"/>
                  </a:lnTo>
                  <a:lnTo>
                    <a:pt x="109983" y="193420"/>
                  </a:lnTo>
                  <a:lnTo>
                    <a:pt x="109728" y="192404"/>
                  </a:lnTo>
                  <a:lnTo>
                    <a:pt x="109221" y="191389"/>
                  </a:lnTo>
                  <a:lnTo>
                    <a:pt x="109093" y="190372"/>
                  </a:lnTo>
                  <a:lnTo>
                    <a:pt x="108966" y="189229"/>
                  </a:lnTo>
                  <a:lnTo>
                    <a:pt x="108840" y="188214"/>
                  </a:lnTo>
                  <a:lnTo>
                    <a:pt x="108840" y="186944"/>
                  </a:lnTo>
                  <a:lnTo>
                    <a:pt x="108966" y="185674"/>
                  </a:lnTo>
                  <a:lnTo>
                    <a:pt x="109221" y="184531"/>
                  </a:lnTo>
                  <a:lnTo>
                    <a:pt x="109602" y="183260"/>
                  </a:lnTo>
                  <a:lnTo>
                    <a:pt x="109983" y="182118"/>
                  </a:lnTo>
                  <a:lnTo>
                    <a:pt x="110490" y="180720"/>
                  </a:lnTo>
                  <a:lnTo>
                    <a:pt x="111253" y="179324"/>
                  </a:lnTo>
                  <a:close/>
                  <a:moveTo>
                    <a:pt x="2960116" y="5212079"/>
                  </a:moveTo>
                  <a:moveTo>
                    <a:pt x="114300" y="117475"/>
                  </a:moveTo>
                  <a:lnTo>
                    <a:pt x="114300" y="117475"/>
                  </a:lnTo>
                  <a:lnTo>
                    <a:pt x="116206" y="117728"/>
                  </a:lnTo>
                  <a:lnTo>
                    <a:pt x="118111" y="118364"/>
                  </a:lnTo>
                  <a:lnTo>
                    <a:pt x="119888" y="118871"/>
                  </a:lnTo>
                  <a:lnTo>
                    <a:pt x="121793" y="119760"/>
                  </a:lnTo>
                  <a:lnTo>
                    <a:pt x="123825" y="120650"/>
                  </a:lnTo>
                  <a:lnTo>
                    <a:pt x="125731" y="121793"/>
                  </a:lnTo>
                  <a:lnTo>
                    <a:pt x="127762" y="122808"/>
                  </a:lnTo>
                  <a:lnTo>
                    <a:pt x="129794" y="123951"/>
                  </a:lnTo>
                  <a:lnTo>
                    <a:pt x="133731" y="126491"/>
                  </a:lnTo>
                  <a:lnTo>
                    <a:pt x="137541" y="129285"/>
                  </a:lnTo>
                  <a:lnTo>
                    <a:pt x="141352" y="132207"/>
                  </a:lnTo>
                  <a:lnTo>
                    <a:pt x="144908" y="135001"/>
                  </a:lnTo>
                  <a:lnTo>
                    <a:pt x="143130" y="136525"/>
                  </a:lnTo>
                  <a:lnTo>
                    <a:pt x="141606" y="138176"/>
                  </a:lnTo>
                  <a:lnTo>
                    <a:pt x="140081" y="140081"/>
                  </a:lnTo>
                  <a:lnTo>
                    <a:pt x="138938" y="141985"/>
                  </a:lnTo>
                  <a:lnTo>
                    <a:pt x="137922" y="144145"/>
                  </a:lnTo>
                  <a:lnTo>
                    <a:pt x="137287" y="146303"/>
                  </a:lnTo>
                  <a:lnTo>
                    <a:pt x="136780" y="148463"/>
                  </a:lnTo>
                  <a:lnTo>
                    <a:pt x="136653" y="149606"/>
                  </a:lnTo>
                  <a:lnTo>
                    <a:pt x="136653" y="150876"/>
                  </a:lnTo>
                  <a:lnTo>
                    <a:pt x="129033" y="149859"/>
                  </a:lnTo>
                  <a:lnTo>
                    <a:pt x="120015" y="148463"/>
                  </a:lnTo>
                  <a:lnTo>
                    <a:pt x="107824" y="146558"/>
                  </a:lnTo>
                  <a:lnTo>
                    <a:pt x="102490" y="145669"/>
                  </a:lnTo>
                  <a:lnTo>
                    <a:pt x="100077" y="145160"/>
                  </a:lnTo>
                  <a:lnTo>
                    <a:pt x="97918" y="144652"/>
                  </a:lnTo>
                  <a:lnTo>
                    <a:pt x="95886" y="144145"/>
                  </a:lnTo>
                  <a:lnTo>
                    <a:pt x="94234" y="143383"/>
                  </a:lnTo>
                  <a:lnTo>
                    <a:pt x="92584" y="142747"/>
                  </a:lnTo>
                  <a:lnTo>
                    <a:pt x="91440" y="141858"/>
                  </a:lnTo>
                  <a:lnTo>
                    <a:pt x="91059" y="141477"/>
                  </a:lnTo>
                  <a:lnTo>
                    <a:pt x="90552" y="141096"/>
                  </a:lnTo>
                  <a:lnTo>
                    <a:pt x="90171" y="140462"/>
                  </a:lnTo>
                  <a:lnTo>
                    <a:pt x="89916" y="139953"/>
                  </a:lnTo>
                  <a:lnTo>
                    <a:pt x="89790" y="139445"/>
                  </a:lnTo>
                  <a:lnTo>
                    <a:pt x="89790" y="138810"/>
                  </a:lnTo>
                  <a:lnTo>
                    <a:pt x="89790" y="138176"/>
                  </a:lnTo>
                  <a:lnTo>
                    <a:pt x="89790" y="137540"/>
                  </a:lnTo>
                  <a:lnTo>
                    <a:pt x="90043" y="136144"/>
                  </a:lnTo>
                  <a:lnTo>
                    <a:pt x="90552" y="134493"/>
                  </a:lnTo>
                  <a:lnTo>
                    <a:pt x="91187" y="132714"/>
                  </a:lnTo>
                  <a:lnTo>
                    <a:pt x="91694" y="130937"/>
                  </a:lnTo>
                  <a:lnTo>
                    <a:pt x="92584" y="129032"/>
                  </a:lnTo>
                  <a:lnTo>
                    <a:pt x="93600" y="127253"/>
                  </a:lnTo>
                  <a:lnTo>
                    <a:pt x="94743" y="125476"/>
                  </a:lnTo>
                  <a:lnTo>
                    <a:pt x="96140" y="123825"/>
                  </a:lnTo>
                  <a:lnTo>
                    <a:pt x="97663" y="122174"/>
                  </a:lnTo>
                  <a:lnTo>
                    <a:pt x="98425" y="121412"/>
                  </a:lnTo>
                  <a:lnTo>
                    <a:pt x="99315" y="120650"/>
                  </a:lnTo>
                  <a:lnTo>
                    <a:pt x="100331" y="120014"/>
                  </a:lnTo>
                  <a:lnTo>
                    <a:pt x="101346" y="119379"/>
                  </a:lnTo>
                  <a:lnTo>
                    <a:pt x="102362" y="118871"/>
                  </a:lnTo>
                  <a:lnTo>
                    <a:pt x="103378" y="118490"/>
                  </a:lnTo>
                  <a:lnTo>
                    <a:pt x="104521" y="117983"/>
                  </a:lnTo>
                  <a:lnTo>
                    <a:pt x="105791" y="117728"/>
                  </a:lnTo>
                  <a:lnTo>
                    <a:pt x="107062" y="117347"/>
                  </a:lnTo>
                  <a:lnTo>
                    <a:pt x="108459" y="117220"/>
                  </a:lnTo>
                  <a:lnTo>
                    <a:pt x="109728" y="117094"/>
                  </a:lnTo>
                  <a:lnTo>
                    <a:pt x="111253" y="117094"/>
                  </a:lnTo>
                  <a:lnTo>
                    <a:pt x="112777" y="117220"/>
                  </a:lnTo>
                  <a:lnTo>
                    <a:pt x="114300" y="117475"/>
                  </a:lnTo>
                  <a:close/>
                  <a:moveTo>
                    <a:pt x="3021965" y="5212079"/>
                  </a:moveTo>
                  <a:moveTo>
                    <a:pt x="179706" y="100964"/>
                  </a:moveTo>
                  <a:lnTo>
                    <a:pt x="179706" y="100964"/>
                  </a:lnTo>
                  <a:lnTo>
                    <a:pt x="179833" y="102615"/>
                  </a:lnTo>
                  <a:lnTo>
                    <a:pt x="179833" y="104394"/>
                  </a:lnTo>
                  <a:lnTo>
                    <a:pt x="179706" y="106171"/>
                  </a:lnTo>
                  <a:lnTo>
                    <a:pt x="179452" y="108076"/>
                  </a:lnTo>
                  <a:lnTo>
                    <a:pt x="179197" y="110108"/>
                  </a:lnTo>
                  <a:lnTo>
                    <a:pt x="178816" y="112140"/>
                  </a:lnTo>
                  <a:lnTo>
                    <a:pt x="178181" y="114172"/>
                  </a:lnTo>
                  <a:lnTo>
                    <a:pt x="177674" y="116332"/>
                  </a:lnTo>
                  <a:lnTo>
                    <a:pt x="176277" y="120522"/>
                  </a:lnTo>
                  <a:lnTo>
                    <a:pt x="174499" y="124840"/>
                  </a:lnTo>
                  <a:lnTo>
                    <a:pt x="172721" y="128904"/>
                  </a:lnTo>
                  <a:lnTo>
                    <a:pt x="170815" y="132969"/>
                  </a:lnTo>
                  <a:lnTo>
                    <a:pt x="169291" y="132207"/>
                  </a:lnTo>
                  <a:lnTo>
                    <a:pt x="167513" y="131571"/>
                  </a:lnTo>
                  <a:lnTo>
                    <a:pt x="165736" y="131064"/>
                  </a:lnTo>
                  <a:lnTo>
                    <a:pt x="163958" y="130556"/>
                  </a:lnTo>
                  <a:lnTo>
                    <a:pt x="162180" y="130301"/>
                  </a:lnTo>
                  <a:lnTo>
                    <a:pt x="160275" y="130175"/>
                  </a:lnTo>
                  <a:lnTo>
                    <a:pt x="158369" y="130301"/>
                  </a:lnTo>
                  <a:lnTo>
                    <a:pt x="156465" y="130301"/>
                  </a:lnTo>
                  <a:lnTo>
                    <a:pt x="154052" y="130809"/>
                  </a:lnTo>
                  <a:lnTo>
                    <a:pt x="152019" y="131318"/>
                  </a:lnTo>
                  <a:lnTo>
                    <a:pt x="150622" y="124206"/>
                  </a:lnTo>
                  <a:lnTo>
                    <a:pt x="149225" y="115443"/>
                  </a:lnTo>
                  <a:lnTo>
                    <a:pt x="147321" y="104266"/>
                  </a:lnTo>
                  <a:lnTo>
                    <a:pt x="146686" y="99314"/>
                  </a:lnTo>
                  <a:lnTo>
                    <a:pt x="146431" y="97154"/>
                  </a:lnTo>
                  <a:lnTo>
                    <a:pt x="146305" y="94995"/>
                  </a:lnTo>
                  <a:lnTo>
                    <a:pt x="146305" y="93090"/>
                  </a:lnTo>
                  <a:lnTo>
                    <a:pt x="146431" y="91313"/>
                  </a:lnTo>
                  <a:lnTo>
                    <a:pt x="146686" y="89915"/>
                  </a:lnTo>
                  <a:lnTo>
                    <a:pt x="147066" y="88645"/>
                  </a:lnTo>
                  <a:lnTo>
                    <a:pt x="147575" y="88010"/>
                  </a:lnTo>
                  <a:lnTo>
                    <a:pt x="147828" y="87502"/>
                  </a:lnTo>
                  <a:lnTo>
                    <a:pt x="148337" y="87121"/>
                  </a:lnTo>
                  <a:lnTo>
                    <a:pt x="148844" y="86740"/>
                  </a:lnTo>
                  <a:lnTo>
                    <a:pt x="149225" y="86359"/>
                  </a:lnTo>
                  <a:lnTo>
                    <a:pt x="149734" y="85978"/>
                  </a:lnTo>
                  <a:lnTo>
                    <a:pt x="150496" y="85978"/>
                  </a:lnTo>
                  <a:lnTo>
                    <a:pt x="151258" y="85725"/>
                  </a:lnTo>
                  <a:lnTo>
                    <a:pt x="152781" y="85597"/>
                  </a:lnTo>
                  <a:lnTo>
                    <a:pt x="154559" y="85470"/>
                  </a:lnTo>
                  <a:lnTo>
                    <a:pt x="156591" y="85344"/>
                  </a:lnTo>
                  <a:lnTo>
                    <a:pt x="158624" y="85470"/>
                  </a:lnTo>
                  <a:lnTo>
                    <a:pt x="160909" y="85597"/>
                  </a:lnTo>
                  <a:lnTo>
                    <a:pt x="163068" y="85978"/>
                  </a:lnTo>
                  <a:lnTo>
                    <a:pt x="165228" y="86359"/>
                  </a:lnTo>
                  <a:lnTo>
                    <a:pt x="167513" y="86995"/>
                  </a:lnTo>
                  <a:lnTo>
                    <a:pt x="169546" y="87883"/>
                  </a:lnTo>
                  <a:lnTo>
                    <a:pt x="170688" y="88264"/>
                  </a:lnTo>
                  <a:lnTo>
                    <a:pt x="171705" y="88900"/>
                  </a:lnTo>
                  <a:lnTo>
                    <a:pt x="172593" y="89408"/>
                  </a:lnTo>
                  <a:lnTo>
                    <a:pt x="173483" y="90170"/>
                  </a:lnTo>
                  <a:lnTo>
                    <a:pt x="174499" y="90932"/>
                  </a:lnTo>
                  <a:lnTo>
                    <a:pt x="175261" y="91694"/>
                  </a:lnTo>
                  <a:lnTo>
                    <a:pt x="176150" y="92583"/>
                  </a:lnTo>
                  <a:lnTo>
                    <a:pt x="176784" y="93471"/>
                  </a:lnTo>
                  <a:lnTo>
                    <a:pt x="177419" y="94488"/>
                  </a:lnTo>
                  <a:lnTo>
                    <a:pt x="178055" y="95631"/>
                  </a:lnTo>
                  <a:lnTo>
                    <a:pt x="178562" y="96901"/>
                  </a:lnTo>
                  <a:lnTo>
                    <a:pt x="179071" y="98170"/>
                  </a:lnTo>
                  <a:lnTo>
                    <a:pt x="179325" y="99440"/>
                  </a:lnTo>
                  <a:lnTo>
                    <a:pt x="179706" y="100964"/>
                  </a:lnTo>
                  <a:close/>
                  <a:moveTo>
                    <a:pt x="3038476" y="5212079"/>
                  </a:moveTo>
                  <a:moveTo>
                    <a:pt x="217043" y="152653"/>
                  </a:moveTo>
                  <a:lnTo>
                    <a:pt x="217043" y="152653"/>
                  </a:lnTo>
                  <a:lnTo>
                    <a:pt x="215393" y="153415"/>
                  </a:lnTo>
                  <a:lnTo>
                    <a:pt x="213615" y="153924"/>
                  </a:lnTo>
                  <a:lnTo>
                    <a:pt x="211709" y="154432"/>
                  </a:lnTo>
                  <a:lnTo>
                    <a:pt x="209805" y="154813"/>
                  </a:lnTo>
                  <a:lnTo>
                    <a:pt x="207646" y="155066"/>
                  </a:lnTo>
                  <a:lnTo>
                    <a:pt x="205487" y="155320"/>
                  </a:lnTo>
                  <a:lnTo>
                    <a:pt x="203200" y="155575"/>
                  </a:lnTo>
                  <a:lnTo>
                    <a:pt x="201041" y="155575"/>
                  </a:lnTo>
                  <a:lnTo>
                    <a:pt x="196343" y="155701"/>
                  </a:lnTo>
                  <a:lnTo>
                    <a:pt x="191643" y="155575"/>
                  </a:lnTo>
                  <a:lnTo>
                    <a:pt x="186818" y="155447"/>
                  </a:lnTo>
                  <a:lnTo>
                    <a:pt x="182246" y="154939"/>
                  </a:lnTo>
                  <a:lnTo>
                    <a:pt x="182500" y="153415"/>
                  </a:lnTo>
                  <a:lnTo>
                    <a:pt x="182627" y="151638"/>
                  </a:lnTo>
                  <a:lnTo>
                    <a:pt x="182500" y="150114"/>
                  </a:lnTo>
                  <a:lnTo>
                    <a:pt x="182372" y="148335"/>
                  </a:lnTo>
                  <a:lnTo>
                    <a:pt x="182118" y="146939"/>
                  </a:lnTo>
                  <a:lnTo>
                    <a:pt x="181737" y="145414"/>
                  </a:lnTo>
                  <a:lnTo>
                    <a:pt x="181230" y="144018"/>
                  </a:lnTo>
                  <a:lnTo>
                    <a:pt x="180594" y="142620"/>
                  </a:lnTo>
                  <a:lnTo>
                    <a:pt x="179959" y="141351"/>
                  </a:lnTo>
                  <a:lnTo>
                    <a:pt x="179197" y="140081"/>
                  </a:lnTo>
                  <a:lnTo>
                    <a:pt x="178181" y="138938"/>
                  </a:lnTo>
                  <a:lnTo>
                    <a:pt x="177293" y="137795"/>
                  </a:lnTo>
                  <a:lnTo>
                    <a:pt x="184150" y="134365"/>
                  </a:lnTo>
                  <a:lnTo>
                    <a:pt x="192533" y="130683"/>
                  </a:lnTo>
                  <a:lnTo>
                    <a:pt x="203581" y="125602"/>
                  </a:lnTo>
                  <a:lnTo>
                    <a:pt x="208534" y="123444"/>
                  </a:lnTo>
                  <a:lnTo>
                    <a:pt x="210693" y="122554"/>
                  </a:lnTo>
                  <a:lnTo>
                    <a:pt x="212725" y="121793"/>
                  </a:lnTo>
                  <a:lnTo>
                    <a:pt x="214758" y="121158"/>
                  </a:lnTo>
                  <a:lnTo>
                    <a:pt x="216662" y="120776"/>
                  </a:lnTo>
                  <a:lnTo>
                    <a:pt x="218313" y="120522"/>
                  </a:lnTo>
                  <a:lnTo>
                    <a:pt x="219711" y="120522"/>
                  </a:lnTo>
                  <a:lnTo>
                    <a:pt x="220472" y="120650"/>
                  </a:lnTo>
                  <a:lnTo>
                    <a:pt x="220981" y="120903"/>
                  </a:lnTo>
                  <a:lnTo>
                    <a:pt x="221615" y="121031"/>
                  </a:lnTo>
                  <a:lnTo>
                    <a:pt x="222250" y="121284"/>
                  </a:lnTo>
                  <a:lnTo>
                    <a:pt x="222759" y="121793"/>
                  </a:lnTo>
                  <a:lnTo>
                    <a:pt x="223140" y="122174"/>
                  </a:lnTo>
                  <a:lnTo>
                    <a:pt x="223647" y="122682"/>
                  </a:lnTo>
                  <a:lnTo>
                    <a:pt x="224028" y="123189"/>
                  </a:lnTo>
                  <a:lnTo>
                    <a:pt x="224663" y="124587"/>
                  </a:lnTo>
                  <a:lnTo>
                    <a:pt x="225299" y="126110"/>
                  </a:lnTo>
                  <a:lnTo>
                    <a:pt x="225934" y="127762"/>
                  </a:lnTo>
                  <a:lnTo>
                    <a:pt x="226568" y="129666"/>
                  </a:lnTo>
                  <a:lnTo>
                    <a:pt x="227077" y="131571"/>
                  </a:lnTo>
                  <a:lnTo>
                    <a:pt x="227458" y="133603"/>
                  </a:lnTo>
                  <a:lnTo>
                    <a:pt x="227712" y="135763"/>
                  </a:lnTo>
                  <a:lnTo>
                    <a:pt x="227712" y="137795"/>
                  </a:lnTo>
                  <a:lnTo>
                    <a:pt x="227458" y="139953"/>
                  </a:lnTo>
                  <a:lnTo>
                    <a:pt x="227331" y="140970"/>
                  </a:lnTo>
                  <a:lnTo>
                    <a:pt x="226950" y="141985"/>
                  </a:lnTo>
                  <a:lnTo>
                    <a:pt x="226696" y="143128"/>
                  </a:lnTo>
                  <a:lnTo>
                    <a:pt x="226315" y="144145"/>
                  </a:lnTo>
                  <a:lnTo>
                    <a:pt x="225806" y="145160"/>
                  </a:lnTo>
                  <a:lnTo>
                    <a:pt x="225299" y="146050"/>
                  </a:lnTo>
                  <a:lnTo>
                    <a:pt x="224537" y="147065"/>
                  </a:lnTo>
                  <a:lnTo>
                    <a:pt x="223775" y="147954"/>
                  </a:lnTo>
                  <a:lnTo>
                    <a:pt x="222886" y="148844"/>
                  </a:lnTo>
                  <a:lnTo>
                    <a:pt x="221996" y="149606"/>
                  </a:lnTo>
                  <a:lnTo>
                    <a:pt x="220853" y="150495"/>
                  </a:lnTo>
                  <a:lnTo>
                    <a:pt x="219584" y="151257"/>
                  </a:lnTo>
                  <a:lnTo>
                    <a:pt x="218313" y="152019"/>
                  </a:lnTo>
                  <a:lnTo>
                    <a:pt x="217043" y="152653"/>
                  </a:lnTo>
                  <a:close/>
                  <a:moveTo>
                    <a:pt x="2986787" y="5212079"/>
                  </a:moveTo>
                  <a:moveTo>
                    <a:pt x="174753" y="201168"/>
                  </a:moveTo>
                  <a:lnTo>
                    <a:pt x="174753" y="201168"/>
                  </a:lnTo>
                  <a:lnTo>
                    <a:pt x="173483" y="200025"/>
                  </a:lnTo>
                  <a:lnTo>
                    <a:pt x="172593" y="198627"/>
                  </a:lnTo>
                  <a:lnTo>
                    <a:pt x="171450" y="197231"/>
                  </a:lnTo>
                  <a:lnTo>
                    <a:pt x="170434" y="195707"/>
                  </a:lnTo>
                  <a:lnTo>
                    <a:pt x="169546" y="194056"/>
                  </a:lnTo>
                  <a:lnTo>
                    <a:pt x="168530" y="192151"/>
                  </a:lnTo>
                  <a:lnTo>
                    <a:pt x="167640" y="190372"/>
                  </a:lnTo>
                  <a:lnTo>
                    <a:pt x="166878" y="188468"/>
                  </a:lnTo>
                  <a:lnTo>
                    <a:pt x="165228" y="184531"/>
                  </a:lnTo>
                  <a:lnTo>
                    <a:pt x="163831" y="180466"/>
                  </a:lnTo>
                  <a:lnTo>
                    <a:pt x="162687" y="176276"/>
                  </a:lnTo>
                  <a:lnTo>
                    <a:pt x="161671" y="172212"/>
                  </a:lnTo>
                  <a:lnTo>
                    <a:pt x="162815" y="172084"/>
                  </a:lnTo>
                  <a:lnTo>
                    <a:pt x="164212" y="171958"/>
                  </a:lnTo>
                  <a:lnTo>
                    <a:pt x="165228" y="171703"/>
                  </a:lnTo>
                  <a:lnTo>
                    <a:pt x="167768" y="170941"/>
                  </a:lnTo>
                  <a:lnTo>
                    <a:pt x="169927" y="170052"/>
                  </a:lnTo>
                  <a:lnTo>
                    <a:pt x="172086" y="168909"/>
                  </a:lnTo>
                  <a:lnTo>
                    <a:pt x="173990" y="167639"/>
                  </a:lnTo>
                  <a:lnTo>
                    <a:pt x="175768" y="166115"/>
                  </a:lnTo>
                  <a:lnTo>
                    <a:pt x="177419" y="164591"/>
                  </a:lnTo>
                  <a:lnTo>
                    <a:pt x="178816" y="162814"/>
                  </a:lnTo>
                  <a:lnTo>
                    <a:pt x="184024" y="167513"/>
                  </a:lnTo>
                  <a:lnTo>
                    <a:pt x="190119" y="173101"/>
                  </a:lnTo>
                  <a:lnTo>
                    <a:pt x="198883" y="181228"/>
                  </a:lnTo>
                  <a:lnTo>
                    <a:pt x="202438" y="184784"/>
                  </a:lnTo>
                  <a:lnTo>
                    <a:pt x="204090" y="186435"/>
                  </a:lnTo>
                  <a:lnTo>
                    <a:pt x="205487" y="188087"/>
                  </a:lnTo>
                  <a:lnTo>
                    <a:pt x="206756" y="189610"/>
                  </a:lnTo>
                  <a:lnTo>
                    <a:pt x="207772" y="191008"/>
                  </a:lnTo>
                  <a:lnTo>
                    <a:pt x="208534" y="192404"/>
                  </a:lnTo>
                  <a:lnTo>
                    <a:pt x="208915" y="193675"/>
                  </a:lnTo>
                  <a:lnTo>
                    <a:pt x="209043" y="194309"/>
                  </a:lnTo>
                  <a:lnTo>
                    <a:pt x="209043" y="194945"/>
                  </a:lnTo>
                  <a:lnTo>
                    <a:pt x="209043" y="195452"/>
                  </a:lnTo>
                  <a:lnTo>
                    <a:pt x="208915" y="196214"/>
                  </a:lnTo>
                  <a:lnTo>
                    <a:pt x="208662" y="196595"/>
                  </a:lnTo>
                  <a:lnTo>
                    <a:pt x="208408" y="197231"/>
                  </a:lnTo>
                  <a:lnTo>
                    <a:pt x="208027" y="197612"/>
                  </a:lnTo>
                  <a:lnTo>
                    <a:pt x="207518" y="198246"/>
                  </a:lnTo>
                  <a:lnTo>
                    <a:pt x="206249" y="199135"/>
                  </a:lnTo>
                  <a:lnTo>
                    <a:pt x="204978" y="200151"/>
                  </a:lnTo>
                  <a:lnTo>
                    <a:pt x="203455" y="201421"/>
                  </a:lnTo>
                  <a:lnTo>
                    <a:pt x="201677" y="202438"/>
                  </a:lnTo>
                  <a:lnTo>
                    <a:pt x="199899" y="203453"/>
                  </a:lnTo>
                  <a:lnTo>
                    <a:pt x="197740" y="204470"/>
                  </a:lnTo>
                  <a:lnTo>
                    <a:pt x="195708" y="205358"/>
                  </a:lnTo>
                  <a:lnTo>
                    <a:pt x="193549" y="205866"/>
                  </a:lnTo>
                  <a:lnTo>
                    <a:pt x="191262" y="206375"/>
                  </a:lnTo>
                  <a:lnTo>
                    <a:pt x="190119" y="206628"/>
                  </a:lnTo>
                  <a:lnTo>
                    <a:pt x="188850" y="206628"/>
                  </a:lnTo>
                  <a:lnTo>
                    <a:pt x="187706" y="206628"/>
                  </a:lnTo>
                  <a:lnTo>
                    <a:pt x="186563" y="206628"/>
                  </a:lnTo>
                  <a:lnTo>
                    <a:pt x="185421" y="206501"/>
                  </a:lnTo>
                  <a:lnTo>
                    <a:pt x="184150" y="206375"/>
                  </a:lnTo>
                  <a:lnTo>
                    <a:pt x="183008" y="205994"/>
                  </a:lnTo>
                  <a:lnTo>
                    <a:pt x="181737" y="205613"/>
                  </a:lnTo>
                  <a:lnTo>
                    <a:pt x="180594" y="205232"/>
                  </a:lnTo>
                  <a:lnTo>
                    <a:pt x="179325" y="204596"/>
                  </a:lnTo>
                  <a:lnTo>
                    <a:pt x="178181" y="203834"/>
                  </a:lnTo>
                  <a:lnTo>
                    <a:pt x="177038" y="203200"/>
                  </a:lnTo>
                  <a:lnTo>
                    <a:pt x="175896" y="202183"/>
                  </a:lnTo>
                  <a:lnTo>
                    <a:pt x="174753" y="201168"/>
                  </a:lnTo>
                  <a:close/>
                  <a:moveTo>
                    <a:pt x="2938272" y="5212079"/>
                  </a:moveTo>
                  <a:moveTo>
                    <a:pt x="0" y="240791"/>
                  </a:moveTo>
                  <a:lnTo>
                    <a:pt x="0" y="240791"/>
                  </a:lnTo>
                  <a:lnTo>
                    <a:pt x="1906" y="240919"/>
                  </a:lnTo>
                  <a:lnTo>
                    <a:pt x="3684" y="241045"/>
                  </a:lnTo>
                  <a:lnTo>
                    <a:pt x="5462" y="241300"/>
                  </a:lnTo>
                  <a:lnTo>
                    <a:pt x="7240" y="241681"/>
                  </a:lnTo>
                  <a:lnTo>
                    <a:pt x="9018" y="242062"/>
                  </a:lnTo>
                  <a:lnTo>
                    <a:pt x="10796" y="242443"/>
                  </a:lnTo>
                  <a:lnTo>
                    <a:pt x="12574" y="243077"/>
                  </a:lnTo>
                  <a:lnTo>
                    <a:pt x="14225" y="243713"/>
                  </a:lnTo>
                  <a:lnTo>
                    <a:pt x="17527" y="245109"/>
                  </a:lnTo>
                  <a:lnTo>
                    <a:pt x="20956" y="246633"/>
                  </a:lnTo>
                  <a:lnTo>
                    <a:pt x="24258" y="248412"/>
                  </a:lnTo>
                  <a:lnTo>
                    <a:pt x="27433" y="250063"/>
                  </a:lnTo>
                  <a:lnTo>
                    <a:pt x="33656" y="253491"/>
                  </a:lnTo>
                  <a:lnTo>
                    <a:pt x="36703" y="255015"/>
                  </a:lnTo>
                  <a:lnTo>
                    <a:pt x="39752" y="256539"/>
                  </a:lnTo>
                  <a:lnTo>
                    <a:pt x="42672" y="257683"/>
                  </a:lnTo>
                  <a:lnTo>
                    <a:pt x="44196" y="258190"/>
                  </a:lnTo>
                  <a:lnTo>
                    <a:pt x="45593" y="258571"/>
                  </a:lnTo>
                  <a:lnTo>
                    <a:pt x="47118" y="258952"/>
                  </a:lnTo>
                  <a:lnTo>
                    <a:pt x="48641" y="259079"/>
                  </a:lnTo>
                  <a:lnTo>
                    <a:pt x="50165" y="259333"/>
                  </a:lnTo>
                  <a:lnTo>
                    <a:pt x="51562" y="259333"/>
                  </a:lnTo>
                  <a:lnTo>
                    <a:pt x="53087" y="259333"/>
                  </a:lnTo>
                  <a:lnTo>
                    <a:pt x="54611" y="259079"/>
                  </a:lnTo>
                  <a:lnTo>
                    <a:pt x="56134" y="258952"/>
                  </a:lnTo>
                  <a:lnTo>
                    <a:pt x="57659" y="258571"/>
                  </a:lnTo>
                  <a:lnTo>
                    <a:pt x="59183" y="258190"/>
                  </a:lnTo>
                  <a:lnTo>
                    <a:pt x="60580" y="257683"/>
                  </a:lnTo>
                  <a:lnTo>
                    <a:pt x="63755" y="256539"/>
                  </a:lnTo>
                  <a:lnTo>
                    <a:pt x="66930" y="255015"/>
                  </a:lnTo>
                  <a:lnTo>
                    <a:pt x="70105" y="253491"/>
                  </a:lnTo>
                  <a:lnTo>
                    <a:pt x="76581" y="250063"/>
                  </a:lnTo>
                  <a:lnTo>
                    <a:pt x="80011" y="248412"/>
                  </a:lnTo>
                  <a:lnTo>
                    <a:pt x="83312" y="246633"/>
                  </a:lnTo>
                  <a:lnTo>
                    <a:pt x="86741" y="245237"/>
                  </a:lnTo>
                  <a:lnTo>
                    <a:pt x="90043" y="243713"/>
                  </a:lnTo>
                  <a:lnTo>
                    <a:pt x="93600" y="242443"/>
                  </a:lnTo>
                  <a:lnTo>
                    <a:pt x="95505" y="242062"/>
                  </a:lnTo>
                  <a:lnTo>
                    <a:pt x="97156" y="241681"/>
                  </a:lnTo>
                  <a:lnTo>
                    <a:pt x="98934" y="241300"/>
                  </a:lnTo>
                  <a:lnTo>
                    <a:pt x="100838" y="241045"/>
                  </a:lnTo>
                  <a:lnTo>
                    <a:pt x="102743" y="240919"/>
                  </a:lnTo>
                  <a:lnTo>
                    <a:pt x="104394" y="240791"/>
                  </a:lnTo>
                  <a:lnTo>
                    <a:pt x="106300" y="240919"/>
                  </a:lnTo>
                  <a:lnTo>
                    <a:pt x="108078" y="241045"/>
                  </a:lnTo>
                  <a:lnTo>
                    <a:pt x="109983" y="241300"/>
                  </a:lnTo>
                  <a:lnTo>
                    <a:pt x="111761" y="241681"/>
                  </a:lnTo>
                  <a:lnTo>
                    <a:pt x="113538" y="242062"/>
                  </a:lnTo>
                  <a:lnTo>
                    <a:pt x="115190" y="242443"/>
                  </a:lnTo>
                  <a:lnTo>
                    <a:pt x="116968" y="243077"/>
                  </a:lnTo>
                  <a:lnTo>
                    <a:pt x="118746" y="243713"/>
                  </a:lnTo>
                  <a:lnTo>
                    <a:pt x="122047" y="245109"/>
                  </a:lnTo>
                  <a:lnTo>
                    <a:pt x="125350" y="246633"/>
                  </a:lnTo>
                  <a:lnTo>
                    <a:pt x="128652" y="248412"/>
                  </a:lnTo>
                  <a:lnTo>
                    <a:pt x="131700" y="250063"/>
                  </a:lnTo>
                  <a:lnTo>
                    <a:pt x="138050" y="253491"/>
                  </a:lnTo>
                  <a:lnTo>
                    <a:pt x="141097" y="255015"/>
                  </a:lnTo>
                  <a:lnTo>
                    <a:pt x="144146" y="256539"/>
                  </a:lnTo>
                  <a:lnTo>
                    <a:pt x="147066" y="257683"/>
                  </a:lnTo>
                  <a:lnTo>
                    <a:pt x="148463" y="258190"/>
                  </a:lnTo>
                  <a:lnTo>
                    <a:pt x="150115" y="258571"/>
                  </a:lnTo>
                  <a:lnTo>
                    <a:pt x="151512" y="258952"/>
                  </a:lnTo>
                  <a:lnTo>
                    <a:pt x="152909" y="259079"/>
                  </a:lnTo>
                  <a:lnTo>
                    <a:pt x="154433" y="259333"/>
                  </a:lnTo>
                  <a:lnTo>
                    <a:pt x="155956" y="259333"/>
                  </a:lnTo>
                  <a:lnTo>
                    <a:pt x="157353" y="259333"/>
                  </a:lnTo>
                  <a:lnTo>
                    <a:pt x="158878" y="259079"/>
                  </a:lnTo>
                  <a:lnTo>
                    <a:pt x="160402" y="258952"/>
                  </a:lnTo>
                  <a:lnTo>
                    <a:pt x="162053" y="258571"/>
                  </a:lnTo>
                  <a:lnTo>
                    <a:pt x="163577" y="258190"/>
                  </a:lnTo>
                  <a:lnTo>
                    <a:pt x="165100" y="257683"/>
                  </a:lnTo>
                  <a:lnTo>
                    <a:pt x="168149" y="256539"/>
                  </a:lnTo>
                  <a:lnTo>
                    <a:pt x="171324" y="255015"/>
                  </a:lnTo>
                  <a:lnTo>
                    <a:pt x="174499" y="253491"/>
                  </a:lnTo>
                  <a:lnTo>
                    <a:pt x="180975" y="250063"/>
                  </a:lnTo>
                  <a:lnTo>
                    <a:pt x="184278" y="248412"/>
                  </a:lnTo>
                  <a:lnTo>
                    <a:pt x="187580" y="246633"/>
                  </a:lnTo>
                  <a:lnTo>
                    <a:pt x="191009" y="245237"/>
                  </a:lnTo>
                  <a:lnTo>
                    <a:pt x="194565" y="243713"/>
                  </a:lnTo>
                  <a:lnTo>
                    <a:pt x="197993" y="242443"/>
                  </a:lnTo>
                  <a:lnTo>
                    <a:pt x="199771" y="242062"/>
                  </a:lnTo>
                  <a:lnTo>
                    <a:pt x="201550" y="241681"/>
                  </a:lnTo>
                  <a:lnTo>
                    <a:pt x="203455" y="241300"/>
                  </a:lnTo>
                  <a:lnTo>
                    <a:pt x="205106" y="241045"/>
                  </a:lnTo>
                  <a:lnTo>
                    <a:pt x="207011" y="240919"/>
                  </a:lnTo>
                  <a:lnTo>
                    <a:pt x="208788" y="240791"/>
                  </a:lnTo>
                  <a:lnTo>
                    <a:pt x="210693" y="240919"/>
                  </a:lnTo>
                  <a:lnTo>
                    <a:pt x="212599" y="241045"/>
                  </a:lnTo>
                  <a:lnTo>
                    <a:pt x="214377" y="241300"/>
                  </a:lnTo>
                  <a:lnTo>
                    <a:pt x="216155" y="241681"/>
                  </a:lnTo>
                  <a:lnTo>
                    <a:pt x="217933" y="242062"/>
                  </a:lnTo>
                  <a:lnTo>
                    <a:pt x="219584" y="242443"/>
                  </a:lnTo>
                  <a:lnTo>
                    <a:pt x="221362" y="243077"/>
                  </a:lnTo>
                  <a:lnTo>
                    <a:pt x="223140" y="243713"/>
                  </a:lnTo>
                  <a:lnTo>
                    <a:pt x="226568" y="245109"/>
                  </a:lnTo>
                  <a:lnTo>
                    <a:pt x="229743" y="246633"/>
                  </a:lnTo>
                  <a:lnTo>
                    <a:pt x="233046" y="248412"/>
                  </a:lnTo>
                  <a:lnTo>
                    <a:pt x="236347" y="250063"/>
                  </a:lnTo>
                  <a:lnTo>
                    <a:pt x="242443" y="253491"/>
                  </a:lnTo>
                  <a:lnTo>
                    <a:pt x="245618" y="255015"/>
                  </a:lnTo>
                  <a:lnTo>
                    <a:pt x="248666" y="256539"/>
                  </a:lnTo>
                  <a:lnTo>
                    <a:pt x="251715" y="257683"/>
                  </a:lnTo>
                  <a:lnTo>
                    <a:pt x="252984" y="258190"/>
                  </a:lnTo>
                  <a:lnTo>
                    <a:pt x="254636" y="258571"/>
                  </a:lnTo>
                  <a:lnTo>
                    <a:pt x="256159" y="258952"/>
                  </a:lnTo>
                  <a:lnTo>
                    <a:pt x="257556" y="259079"/>
                  </a:lnTo>
                  <a:lnTo>
                    <a:pt x="258953" y="259333"/>
                  </a:lnTo>
                  <a:lnTo>
                    <a:pt x="260605" y="259333"/>
                  </a:lnTo>
                  <a:lnTo>
                    <a:pt x="262002" y="259333"/>
                  </a:lnTo>
                  <a:lnTo>
                    <a:pt x="263525" y="259079"/>
                  </a:lnTo>
                  <a:lnTo>
                    <a:pt x="265050" y="258952"/>
                  </a:lnTo>
                  <a:lnTo>
                    <a:pt x="266574" y="258571"/>
                  </a:lnTo>
                  <a:lnTo>
                    <a:pt x="268097" y="258190"/>
                  </a:lnTo>
                  <a:lnTo>
                    <a:pt x="269621" y="257683"/>
                  </a:lnTo>
                  <a:lnTo>
                    <a:pt x="272796" y="256539"/>
                  </a:lnTo>
                  <a:lnTo>
                    <a:pt x="275971" y="255015"/>
                  </a:lnTo>
                  <a:lnTo>
                    <a:pt x="279019" y="253491"/>
                  </a:lnTo>
                  <a:lnTo>
                    <a:pt x="285624" y="250063"/>
                  </a:lnTo>
                  <a:lnTo>
                    <a:pt x="288799" y="248412"/>
                  </a:lnTo>
                  <a:lnTo>
                    <a:pt x="292228" y="246633"/>
                  </a:lnTo>
                  <a:lnTo>
                    <a:pt x="295656" y="245237"/>
                  </a:lnTo>
                  <a:lnTo>
                    <a:pt x="299086" y="243713"/>
                  </a:lnTo>
                  <a:lnTo>
                    <a:pt x="302515" y="242443"/>
                  </a:lnTo>
                  <a:lnTo>
                    <a:pt x="304419" y="242062"/>
                  </a:lnTo>
                  <a:lnTo>
                    <a:pt x="306197" y="241681"/>
                  </a:lnTo>
                  <a:lnTo>
                    <a:pt x="307849" y="241300"/>
                  </a:lnTo>
                  <a:lnTo>
                    <a:pt x="309753" y="241045"/>
                  </a:lnTo>
                  <a:lnTo>
                    <a:pt x="311531" y="240919"/>
                  </a:lnTo>
                  <a:lnTo>
                    <a:pt x="313309" y="240791"/>
                  </a:lnTo>
                  <a:lnTo>
                    <a:pt x="313944" y="240791"/>
                  </a:lnTo>
                  <a:lnTo>
                    <a:pt x="313818" y="249301"/>
                  </a:lnTo>
                  <a:lnTo>
                    <a:pt x="313309" y="249301"/>
                  </a:lnTo>
                  <a:lnTo>
                    <a:pt x="311912" y="249427"/>
                  </a:lnTo>
                  <a:lnTo>
                    <a:pt x="310134" y="249554"/>
                  </a:lnTo>
                  <a:lnTo>
                    <a:pt x="308737" y="249682"/>
                  </a:lnTo>
                  <a:lnTo>
                    <a:pt x="307213" y="250189"/>
                  </a:lnTo>
                  <a:lnTo>
                    <a:pt x="305562" y="250570"/>
                  </a:lnTo>
                  <a:lnTo>
                    <a:pt x="304038" y="251078"/>
                  </a:lnTo>
                  <a:lnTo>
                    <a:pt x="300990" y="252221"/>
                  </a:lnTo>
                  <a:lnTo>
                    <a:pt x="297688" y="253745"/>
                  </a:lnTo>
                  <a:lnTo>
                    <a:pt x="294513" y="255143"/>
                  </a:lnTo>
                  <a:lnTo>
                    <a:pt x="288037" y="258699"/>
                  </a:lnTo>
                  <a:lnTo>
                    <a:pt x="284734" y="260476"/>
                  </a:lnTo>
                  <a:lnTo>
                    <a:pt x="281306" y="262127"/>
                  </a:lnTo>
                  <a:lnTo>
                    <a:pt x="278003" y="263651"/>
                  </a:lnTo>
                  <a:lnTo>
                    <a:pt x="274575" y="265049"/>
                  </a:lnTo>
                  <a:lnTo>
                    <a:pt x="271018" y="266191"/>
                  </a:lnTo>
                  <a:lnTo>
                    <a:pt x="269368" y="266700"/>
                  </a:lnTo>
                  <a:lnTo>
                    <a:pt x="267590" y="267081"/>
                  </a:lnTo>
                  <a:lnTo>
                    <a:pt x="265812" y="267462"/>
                  </a:lnTo>
                  <a:lnTo>
                    <a:pt x="264161" y="267715"/>
                  </a:lnTo>
                  <a:lnTo>
                    <a:pt x="262256" y="267843"/>
                  </a:lnTo>
                  <a:lnTo>
                    <a:pt x="260605" y="267843"/>
                  </a:lnTo>
                  <a:lnTo>
                    <a:pt x="258700" y="267843"/>
                  </a:lnTo>
                  <a:lnTo>
                    <a:pt x="256921" y="267715"/>
                  </a:lnTo>
                  <a:lnTo>
                    <a:pt x="255143" y="267462"/>
                  </a:lnTo>
                  <a:lnTo>
                    <a:pt x="253493" y="267081"/>
                  </a:lnTo>
                  <a:lnTo>
                    <a:pt x="251715" y="266700"/>
                  </a:lnTo>
                  <a:lnTo>
                    <a:pt x="250063" y="266191"/>
                  </a:lnTo>
                  <a:lnTo>
                    <a:pt x="246634" y="265049"/>
                  </a:lnTo>
                  <a:lnTo>
                    <a:pt x="243333" y="263651"/>
                  </a:lnTo>
                  <a:lnTo>
                    <a:pt x="240158" y="262001"/>
                  </a:lnTo>
                  <a:lnTo>
                    <a:pt x="236983" y="260350"/>
                  </a:lnTo>
                  <a:lnTo>
                    <a:pt x="233681" y="258571"/>
                  </a:lnTo>
                  <a:lnTo>
                    <a:pt x="227458" y="255143"/>
                  </a:lnTo>
                  <a:lnTo>
                    <a:pt x="224409" y="253619"/>
                  </a:lnTo>
                  <a:lnTo>
                    <a:pt x="221362" y="252221"/>
                  </a:lnTo>
                  <a:lnTo>
                    <a:pt x="218187" y="251078"/>
                  </a:lnTo>
                  <a:lnTo>
                    <a:pt x="216662" y="250570"/>
                  </a:lnTo>
                  <a:lnTo>
                    <a:pt x="215138" y="250189"/>
                  </a:lnTo>
                  <a:lnTo>
                    <a:pt x="213487" y="249682"/>
                  </a:lnTo>
                  <a:lnTo>
                    <a:pt x="211963" y="249554"/>
                  </a:lnTo>
                  <a:lnTo>
                    <a:pt x="210312" y="249427"/>
                  </a:lnTo>
                  <a:lnTo>
                    <a:pt x="208788" y="249301"/>
                  </a:lnTo>
                  <a:lnTo>
                    <a:pt x="207265" y="249427"/>
                  </a:lnTo>
                  <a:lnTo>
                    <a:pt x="205613" y="249554"/>
                  </a:lnTo>
                  <a:lnTo>
                    <a:pt x="204216" y="249682"/>
                  </a:lnTo>
                  <a:lnTo>
                    <a:pt x="202565" y="250189"/>
                  </a:lnTo>
                  <a:lnTo>
                    <a:pt x="201041" y="250570"/>
                  </a:lnTo>
                  <a:lnTo>
                    <a:pt x="199390" y="251078"/>
                  </a:lnTo>
                  <a:lnTo>
                    <a:pt x="196343" y="252221"/>
                  </a:lnTo>
                  <a:lnTo>
                    <a:pt x="193168" y="253745"/>
                  </a:lnTo>
                  <a:lnTo>
                    <a:pt x="189865" y="255143"/>
                  </a:lnTo>
                  <a:lnTo>
                    <a:pt x="183515" y="258699"/>
                  </a:lnTo>
                  <a:lnTo>
                    <a:pt x="180087" y="260476"/>
                  </a:lnTo>
                  <a:lnTo>
                    <a:pt x="176784" y="262127"/>
                  </a:lnTo>
                  <a:lnTo>
                    <a:pt x="173483" y="263651"/>
                  </a:lnTo>
                  <a:lnTo>
                    <a:pt x="169927" y="265049"/>
                  </a:lnTo>
                  <a:lnTo>
                    <a:pt x="166625" y="266191"/>
                  </a:lnTo>
                  <a:lnTo>
                    <a:pt x="164846" y="266700"/>
                  </a:lnTo>
                  <a:lnTo>
                    <a:pt x="163068" y="267081"/>
                  </a:lnTo>
                  <a:lnTo>
                    <a:pt x="161290" y="267462"/>
                  </a:lnTo>
                  <a:lnTo>
                    <a:pt x="159512" y="267715"/>
                  </a:lnTo>
                  <a:lnTo>
                    <a:pt x="157734" y="267843"/>
                  </a:lnTo>
                  <a:lnTo>
                    <a:pt x="155956" y="267843"/>
                  </a:lnTo>
                  <a:lnTo>
                    <a:pt x="154052" y="267843"/>
                  </a:lnTo>
                  <a:lnTo>
                    <a:pt x="152400" y="267715"/>
                  </a:lnTo>
                  <a:lnTo>
                    <a:pt x="150622" y="267462"/>
                  </a:lnTo>
                  <a:lnTo>
                    <a:pt x="148844" y="267081"/>
                  </a:lnTo>
                  <a:lnTo>
                    <a:pt x="147066" y="266700"/>
                  </a:lnTo>
                  <a:lnTo>
                    <a:pt x="145543" y="266191"/>
                  </a:lnTo>
                  <a:lnTo>
                    <a:pt x="142113" y="265049"/>
                  </a:lnTo>
                  <a:lnTo>
                    <a:pt x="138812" y="263651"/>
                  </a:lnTo>
                  <a:lnTo>
                    <a:pt x="135637" y="262001"/>
                  </a:lnTo>
                  <a:lnTo>
                    <a:pt x="132462" y="260350"/>
                  </a:lnTo>
                  <a:lnTo>
                    <a:pt x="129287" y="258571"/>
                  </a:lnTo>
                  <a:lnTo>
                    <a:pt x="123063" y="255143"/>
                  </a:lnTo>
                  <a:lnTo>
                    <a:pt x="120015" y="253619"/>
                  </a:lnTo>
                  <a:lnTo>
                    <a:pt x="116840" y="252221"/>
                  </a:lnTo>
                  <a:lnTo>
                    <a:pt x="113793" y="251078"/>
                  </a:lnTo>
                  <a:lnTo>
                    <a:pt x="112268" y="250570"/>
                  </a:lnTo>
                  <a:lnTo>
                    <a:pt x="110744" y="250189"/>
                  </a:lnTo>
                  <a:lnTo>
                    <a:pt x="109221" y="249682"/>
                  </a:lnTo>
                  <a:lnTo>
                    <a:pt x="107569" y="249554"/>
                  </a:lnTo>
                  <a:lnTo>
                    <a:pt x="106046" y="249427"/>
                  </a:lnTo>
                  <a:lnTo>
                    <a:pt x="104394" y="249301"/>
                  </a:lnTo>
                  <a:lnTo>
                    <a:pt x="102871" y="249427"/>
                  </a:lnTo>
                  <a:lnTo>
                    <a:pt x="101346" y="249554"/>
                  </a:lnTo>
                  <a:lnTo>
                    <a:pt x="99696" y="249682"/>
                  </a:lnTo>
                  <a:lnTo>
                    <a:pt x="98299" y="250189"/>
                  </a:lnTo>
                  <a:lnTo>
                    <a:pt x="96647" y="250570"/>
                  </a:lnTo>
                  <a:lnTo>
                    <a:pt x="95124" y="251078"/>
                  </a:lnTo>
                  <a:lnTo>
                    <a:pt x="91949" y="252221"/>
                  </a:lnTo>
                  <a:lnTo>
                    <a:pt x="88646" y="253745"/>
                  </a:lnTo>
                  <a:lnTo>
                    <a:pt x="85471" y="255143"/>
                  </a:lnTo>
                  <a:lnTo>
                    <a:pt x="78994" y="258699"/>
                  </a:lnTo>
                  <a:lnTo>
                    <a:pt x="75819" y="260476"/>
                  </a:lnTo>
                  <a:lnTo>
                    <a:pt x="72390" y="262127"/>
                  </a:lnTo>
                  <a:lnTo>
                    <a:pt x="69088" y="263651"/>
                  </a:lnTo>
                  <a:lnTo>
                    <a:pt x="65659" y="265049"/>
                  </a:lnTo>
                  <a:lnTo>
                    <a:pt x="62231" y="266191"/>
                  </a:lnTo>
                  <a:lnTo>
                    <a:pt x="60453" y="266700"/>
                  </a:lnTo>
                  <a:lnTo>
                    <a:pt x="58675" y="267081"/>
                  </a:lnTo>
                  <a:lnTo>
                    <a:pt x="56896" y="267462"/>
                  </a:lnTo>
                  <a:lnTo>
                    <a:pt x="55246" y="267715"/>
                  </a:lnTo>
                  <a:lnTo>
                    <a:pt x="53340" y="267843"/>
                  </a:lnTo>
                  <a:lnTo>
                    <a:pt x="51562" y="267843"/>
                  </a:lnTo>
                  <a:lnTo>
                    <a:pt x="49658" y="267843"/>
                  </a:lnTo>
                  <a:lnTo>
                    <a:pt x="48006" y="267715"/>
                  </a:lnTo>
                  <a:lnTo>
                    <a:pt x="46228" y="267462"/>
                  </a:lnTo>
                  <a:lnTo>
                    <a:pt x="44450" y="267081"/>
                  </a:lnTo>
                  <a:lnTo>
                    <a:pt x="42927" y="266700"/>
                  </a:lnTo>
                  <a:lnTo>
                    <a:pt x="41149" y="266191"/>
                  </a:lnTo>
                  <a:lnTo>
                    <a:pt x="37719" y="265049"/>
                  </a:lnTo>
                  <a:lnTo>
                    <a:pt x="34418" y="263651"/>
                  </a:lnTo>
                  <a:lnTo>
                    <a:pt x="31243" y="262001"/>
                  </a:lnTo>
                  <a:lnTo>
                    <a:pt x="28068" y="260350"/>
                  </a:lnTo>
                  <a:lnTo>
                    <a:pt x="24893" y="258571"/>
                  </a:lnTo>
                  <a:lnTo>
                    <a:pt x="18669" y="255143"/>
                  </a:lnTo>
                  <a:lnTo>
                    <a:pt x="15494" y="253619"/>
                  </a:lnTo>
                  <a:lnTo>
                    <a:pt x="12446" y="252221"/>
                  </a:lnTo>
                  <a:lnTo>
                    <a:pt x="9271" y="251078"/>
                  </a:lnTo>
                  <a:lnTo>
                    <a:pt x="7747" y="250570"/>
                  </a:lnTo>
                  <a:lnTo>
                    <a:pt x="6224" y="250189"/>
                  </a:lnTo>
                  <a:lnTo>
                    <a:pt x="4572" y="249682"/>
                  </a:lnTo>
                  <a:lnTo>
                    <a:pt x="3175" y="249554"/>
                  </a:lnTo>
                  <a:lnTo>
                    <a:pt x="1525" y="249427"/>
                  </a:lnTo>
                  <a:lnTo>
                    <a:pt x="0" y="249301"/>
                  </a:lnTo>
                  <a:lnTo>
                    <a:pt x="0" y="240791"/>
                  </a:lnTo>
                  <a:close/>
                  <a:moveTo>
                    <a:pt x="2898649" y="5212079"/>
                  </a:moveTo>
                  <a:moveTo>
                    <a:pt x="0" y="224408"/>
                  </a:moveTo>
                  <a:lnTo>
                    <a:pt x="0" y="224408"/>
                  </a:lnTo>
                  <a:lnTo>
                    <a:pt x="1906" y="224535"/>
                  </a:lnTo>
                  <a:lnTo>
                    <a:pt x="3684" y="224663"/>
                  </a:lnTo>
                  <a:lnTo>
                    <a:pt x="5462" y="224789"/>
                  </a:lnTo>
                  <a:lnTo>
                    <a:pt x="7240" y="225170"/>
                  </a:lnTo>
                  <a:lnTo>
                    <a:pt x="9018" y="225551"/>
                  </a:lnTo>
                  <a:lnTo>
                    <a:pt x="10796" y="226059"/>
                  </a:lnTo>
                  <a:lnTo>
                    <a:pt x="12574" y="226568"/>
                  </a:lnTo>
                  <a:lnTo>
                    <a:pt x="14225" y="227202"/>
                  </a:lnTo>
                  <a:lnTo>
                    <a:pt x="17527" y="228600"/>
                  </a:lnTo>
                  <a:lnTo>
                    <a:pt x="20956" y="230251"/>
                  </a:lnTo>
                  <a:lnTo>
                    <a:pt x="24258" y="232028"/>
                  </a:lnTo>
                  <a:lnTo>
                    <a:pt x="27433" y="233679"/>
                  </a:lnTo>
                  <a:lnTo>
                    <a:pt x="33656" y="237108"/>
                  </a:lnTo>
                  <a:lnTo>
                    <a:pt x="36703" y="238633"/>
                  </a:lnTo>
                  <a:lnTo>
                    <a:pt x="39752" y="240029"/>
                  </a:lnTo>
                  <a:lnTo>
                    <a:pt x="42672" y="241300"/>
                  </a:lnTo>
                  <a:lnTo>
                    <a:pt x="44196" y="241681"/>
                  </a:lnTo>
                  <a:lnTo>
                    <a:pt x="45593" y="242189"/>
                  </a:lnTo>
                  <a:lnTo>
                    <a:pt x="47118" y="242443"/>
                  </a:lnTo>
                  <a:lnTo>
                    <a:pt x="48641" y="242696"/>
                  </a:lnTo>
                  <a:lnTo>
                    <a:pt x="50165" y="242951"/>
                  </a:lnTo>
                  <a:lnTo>
                    <a:pt x="51562" y="242951"/>
                  </a:lnTo>
                  <a:lnTo>
                    <a:pt x="53087" y="242951"/>
                  </a:lnTo>
                  <a:lnTo>
                    <a:pt x="54611" y="242696"/>
                  </a:lnTo>
                  <a:lnTo>
                    <a:pt x="56134" y="242443"/>
                  </a:lnTo>
                  <a:lnTo>
                    <a:pt x="57659" y="242189"/>
                  </a:lnTo>
                  <a:lnTo>
                    <a:pt x="59183" y="241681"/>
                  </a:lnTo>
                  <a:lnTo>
                    <a:pt x="60580" y="241300"/>
                  </a:lnTo>
                  <a:lnTo>
                    <a:pt x="63755" y="240029"/>
                  </a:lnTo>
                  <a:lnTo>
                    <a:pt x="66930" y="238633"/>
                  </a:lnTo>
                  <a:lnTo>
                    <a:pt x="70105" y="237108"/>
                  </a:lnTo>
                  <a:lnTo>
                    <a:pt x="76581" y="233679"/>
                  </a:lnTo>
                  <a:lnTo>
                    <a:pt x="80011" y="232028"/>
                  </a:lnTo>
                  <a:lnTo>
                    <a:pt x="83312" y="230251"/>
                  </a:lnTo>
                  <a:lnTo>
                    <a:pt x="86741" y="228726"/>
                  </a:lnTo>
                  <a:lnTo>
                    <a:pt x="90043" y="227202"/>
                  </a:lnTo>
                  <a:lnTo>
                    <a:pt x="93600" y="226059"/>
                  </a:lnTo>
                  <a:lnTo>
                    <a:pt x="95505" y="225551"/>
                  </a:lnTo>
                  <a:lnTo>
                    <a:pt x="97156" y="225170"/>
                  </a:lnTo>
                  <a:lnTo>
                    <a:pt x="98934" y="224789"/>
                  </a:lnTo>
                  <a:lnTo>
                    <a:pt x="100838" y="224663"/>
                  </a:lnTo>
                  <a:lnTo>
                    <a:pt x="102743" y="224535"/>
                  </a:lnTo>
                  <a:lnTo>
                    <a:pt x="104394" y="224408"/>
                  </a:lnTo>
                  <a:lnTo>
                    <a:pt x="106300" y="224535"/>
                  </a:lnTo>
                  <a:lnTo>
                    <a:pt x="108078" y="224663"/>
                  </a:lnTo>
                  <a:lnTo>
                    <a:pt x="109983" y="224789"/>
                  </a:lnTo>
                  <a:lnTo>
                    <a:pt x="111761" y="225170"/>
                  </a:lnTo>
                  <a:lnTo>
                    <a:pt x="113538" y="225551"/>
                  </a:lnTo>
                  <a:lnTo>
                    <a:pt x="115190" y="226059"/>
                  </a:lnTo>
                  <a:lnTo>
                    <a:pt x="116968" y="226568"/>
                  </a:lnTo>
                  <a:lnTo>
                    <a:pt x="118746" y="227202"/>
                  </a:lnTo>
                  <a:lnTo>
                    <a:pt x="122047" y="228600"/>
                  </a:lnTo>
                  <a:lnTo>
                    <a:pt x="125350" y="230251"/>
                  </a:lnTo>
                  <a:lnTo>
                    <a:pt x="128652" y="232028"/>
                  </a:lnTo>
                  <a:lnTo>
                    <a:pt x="131700" y="233679"/>
                  </a:lnTo>
                  <a:lnTo>
                    <a:pt x="138050" y="237108"/>
                  </a:lnTo>
                  <a:lnTo>
                    <a:pt x="141097" y="238633"/>
                  </a:lnTo>
                  <a:lnTo>
                    <a:pt x="144146" y="240029"/>
                  </a:lnTo>
                  <a:lnTo>
                    <a:pt x="147066" y="241300"/>
                  </a:lnTo>
                  <a:lnTo>
                    <a:pt x="148463" y="241681"/>
                  </a:lnTo>
                  <a:lnTo>
                    <a:pt x="150115" y="242189"/>
                  </a:lnTo>
                  <a:lnTo>
                    <a:pt x="151512" y="242443"/>
                  </a:lnTo>
                  <a:lnTo>
                    <a:pt x="152909" y="242696"/>
                  </a:lnTo>
                  <a:lnTo>
                    <a:pt x="154433" y="242951"/>
                  </a:lnTo>
                  <a:lnTo>
                    <a:pt x="155956" y="242951"/>
                  </a:lnTo>
                  <a:lnTo>
                    <a:pt x="157353" y="242951"/>
                  </a:lnTo>
                  <a:lnTo>
                    <a:pt x="158878" y="242696"/>
                  </a:lnTo>
                  <a:lnTo>
                    <a:pt x="160402" y="242443"/>
                  </a:lnTo>
                  <a:lnTo>
                    <a:pt x="162053" y="242189"/>
                  </a:lnTo>
                  <a:lnTo>
                    <a:pt x="163577" y="241681"/>
                  </a:lnTo>
                  <a:lnTo>
                    <a:pt x="165100" y="241300"/>
                  </a:lnTo>
                  <a:lnTo>
                    <a:pt x="168149" y="240029"/>
                  </a:lnTo>
                  <a:lnTo>
                    <a:pt x="171324" y="238633"/>
                  </a:lnTo>
                  <a:lnTo>
                    <a:pt x="174499" y="237108"/>
                  </a:lnTo>
                  <a:lnTo>
                    <a:pt x="180975" y="233679"/>
                  </a:lnTo>
                  <a:lnTo>
                    <a:pt x="184278" y="232028"/>
                  </a:lnTo>
                  <a:lnTo>
                    <a:pt x="187580" y="230251"/>
                  </a:lnTo>
                  <a:lnTo>
                    <a:pt x="191009" y="228726"/>
                  </a:lnTo>
                  <a:lnTo>
                    <a:pt x="194565" y="227202"/>
                  </a:lnTo>
                  <a:lnTo>
                    <a:pt x="197993" y="226059"/>
                  </a:lnTo>
                  <a:lnTo>
                    <a:pt x="199771" y="225551"/>
                  </a:lnTo>
                  <a:lnTo>
                    <a:pt x="201550" y="225170"/>
                  </a:lnTo>
                  <a:lnTo>
                    <a:pt x="203455" y="224789"/>
                  </a:lnTo>
                  <a:lnTo>
                    <a:pt x="205106" y="224663"/>
                  </a:lnTo>
                  <a:lnTo>
                    <a:pt x="207011" y="224535"/>
                  </a:lnTo>
                  <a:lnTo>
                    <a:pt x="208788" y="224408"/>
                  </a:lnTo>
                  <a:lnTo>
                    <a:pt x="210693" y="224535"/>
                  </a:lnTo>
                  <a:lnTo>
                    <a:pt x="212599" y="224663"/>
                  </a:lnTo>
                  <a:lnTo>
                    <a:pt x="214377" y="224789"/>
                  </a:lnTo>
                  <a:lnTo>
                    <a:pt x="216155" y="225170"/>
                  </a:lnTo>
                  <a:lnTo>
                    <a:pt x="217933" y="225551"/>
                  </a:lnTo>
                  <a:lnTo>
                    <a:pt x="219584" y="226059"/>
                  </a:lnTo>
                  <a:lnTo>
                    <a:pt x="221362" y="226568"/>
                  </a:lnTo>
                  <a:lnTo>
                    <a:pt x="223140" y="227202"/>
                  </a:lnTo>
                  <a:lnTo>
                    <a:pt x="226568" y="228600"/>
                  </a:lnTo>
                  <a:lnTo>
                    <a:pt x="229743" y="230251"/>
                  </a:lnTo>
                  <a:lnTo>
                    <a:pt x="233046" y="232028"/>
                  </a:lnTo>
                  <a:lnTo>
                    <a:pt x="236347" y="233679"/>
                  </a:lnTo>
                  <a:lnTo>
                    <a:pt x="242443" y="237108"/>
                  </a:lnTo>
                  <a:lnTo>
                    <a:pt x="245618" y="238633"/>
                  </a:lnTo>
                  <a:lnTo>
                    <a:pt x="248666" y="240029"/>
                  </a:lnTo>
                  <a:lnTo>
                    <a:pt x="251715" y="241300"/>
                  </a:lnTo>
                  <a:lnTo>
                    <a:pt x="252984" y="241681"/>
                  </a:lnTo>
                  <a:lnTo>
                    <a:pt x="254636" y="242189"/>
                  </a:lnTo>
                  <a:lnTo>
                    <a:pt x="256159" y="242443"/>
                  </a:lnTo>
                  <a:lnTo>
                    <a:pt x="257556" y="242696"/>
                  </a:lnTo>
                  <a:lnTo>
                    <a:pt x="258953" y="242951"/>
                  </a:lnTo>
                  <a:lnTo>
                    <a:pt x="260605" y="242951"/>
                  </a:lnTo>
                  <a:lnTo>
                    <a:pt x="262002" y="242951"/>
                  </a:lnTo>
                  <a:lnTo>
                    <a:pt x="263525" y="242696"/>
                  </a:lnTo>
                  <a:lnTo>
                    <a:pt x="265050" y="242443"/>
                  </a:lnTo>
                  <a:lnTo>
                    <a:pt x="266574" y="242189"/>
                  </a:lnTo>
                  <a:lnTo>
                    <a:pt x="268097" y="241681"/>
                  </a:lnTo>
                  <a:lnTo>
                    <a:pt x="269621" y="241300"/>
                  </a:lnTo>
                  <a:lnTo>
                    <a:pt x="272796" y="240029"/>
                  </a:lnTo>
                  <a:lnTo>
                    <a:pt x="275971" y="238633"/>
                  </a:lnTo>
                  <a:lnTo>
                    <a:pt x="279019" y="237108"/>
                  </a:lnTo>
                  <a:lnTo>
                    <a:pt x="285624" y="233679"/>
                  </a:lnTo>
                  <a:lnTo>
                    <a:pt x="288799" y="232028"/>
                  </a:lnTo>
                  <a:lnTo>
                    <a:pt x="292228" y="230251"/>
                  </a:lnTo>
                  <a:lnTo>
                    <a:pt x="295656" y="228726"/>
                  </a:lnTo>
                  <a:lnTo>
                    <a:pt x="299086" y="227202"/>
                  </a:lnTo>
                  <a:lnTo>
                    <a:pt x="302515" y="226059"/>
                  </a:lnTo>
                  <a:lnTo>
                    <a:pt x="304419" y="225551"/>
                  </a:lnTo>
                  <a:lnTo>
                    <a:pt x="306197" y="225170"/>
                  </a:lnTo>
                  <a:lnTo>
                    <a:pt x="307849" y="224789"/>
                  </a:lnTo>
                  <a:lnTo>
                    <a:pt x="309753" y="224663"/>
                  </a:lnTo>
                  <a:lnTo>
                    <a:pt x="311531" y="224535"/>
                  </a:lnTo>
                  <a:lnTo>
                    <a:pt x="313309" y="224408"/>
                  </a:lnTo>
                  <a:lnTo>
                    <a:pt x="313944" y="224408"/>
                  </a:lnTo>
                  <a:lnTo>
                    <a:pt x="313818" y="232918"/>
                  </a:lnTo>
                  <a:lnTo>
                    <a:pt x="313309" y="232918"/>
                  </a:lnTo>
                  <a:lnTo>
                    <a:pt x="311912" y="233045"/>
                  </a:lnTo>
                  <a:lnTo>
                    <a:pt x="310134" y="233171"/>
                  </a:lnTo>
                  <a:lnTo>
                    <a:pt x="308737" y="233299"/>
                  </a:lnTo>
                  <a:lnTo>
                    <a:pt x="307213" y="233807"/>
                  </a:lnTo>
                  <a:lnTo>
                    <a:pt x="305562" y="234188"/>
                  </a:lnTo>
                  <a:lnTo>
                    <a:pt x="304038" y="234569"/>
                  </a:lnTo>
                  <a:lnTo>
                    <a:pt x="300990" y="235839"/>
                  </a:lnTo>
                  <a:lnTo>
                    <a:pt x="297688" y="237235"/>
                  </a:lnTo>
                  <a:lnTo>
                    <a:pt x="294513" y="238759"/>
                  </a:lnTo>
                  <a:lnTo>
                    <a:pt x="288037" y="242189"/>
                  </a:lnTo>
                  <a:lnTo>
                    <a:pt x="284734" y="243966"/>
                  </a:lnTo>
                  <a:lnTo>
                    <a:pt x="281306" y="245618"/>
                  </a:lnTo>
                  <a:lnTo>
                    <a:pt x="278003" y="247269"/>
                  </a:lnTo>
                  <a:lnTo>
                    <a:pt x="274575" y="248539"/>
                  </a:lnTo>
                  <a:lnTo>
                    <a:pt x="271018" y="249682"/>
                  </a:lnTo>
                  <a:lnTo>
                    <a:pt x="269368" y="250316"/>
                  </a:lnTo>
                  <a:lnTo>
                    <a:pt x="267590" y="250697"/>
                  </a:lnTo>
                  <a:lnTo>
                    <a:pt x="265812" y="251078"/>
                  </a:lnTo>
                  <a:lnTo>
                    <a:pt x="264161" y="251206"/>
                  </a:lnTo>
                  <a:lnTo>
                    <a:pt x="262256" y="251459"/>
                  </a:lnTo>
                  <a:lnTo>
                    <a:pt x="260605" y="251459"/>
                  </a:lnTo>
                  <a:lnTo>
                    <a:pt x="258700" y="251459"/>
                  </a:lnTo>
                  <a:lnTo>
                    <a:pt x="256921" y="251206"/>
                  </a:lnTo>
                  <a:lnTo>
                    <a:pt x="255143" y="251078"/>
                  </a:lnTo>
                  <a:lnTo>
                    <a:pt x="253493" y="250570"/>
                  </a:lnTo>
                  <a:lnTo>
                    <a:pt x="251715" y="250189"/>
                  </a:lnTo>
                  <a:lnTo>
                    <a:pt x="250063" y="249682"/>
                  </a:lnTo>
                  <a:lnTo>
                    <a:pt x="246634" y="248539"/>
                  </a:lnTo>
                  <a:lnTo>
                    <a:pt x="243333" y="247141"/>
                  </a:lnTo>
                  <a:lnTo>
                    <a:pt x="240158" y="245618"/>
                  </a:lnTo>
                  <a:lnTo>
                    <a:pt x="236983" y="243839"/>
                  </a:lnTo>
                  <a:lnTo>
                    <a:pt x="233681" y="242189"/>
                  </a:lnTo>
                  <a:lnTo>
                    <a:pt x="227458" y="238759"/>
                  </a:lnTo>
                  <a:lnTo>
                    <a:pt x="224409" y="237235"/>
                  </a:lnTo>
                  <a:lnTo>
                    <a:pt x="221362" y="235839"/>
                  </a:lnTo>
                  <a:lnTo>
                    <a:pt x="218187" y="234569"/>
                  </a:lnTo>
                  <a:lnTo>
                    <a:pt x="216662" y="234060"/>
                  </a:lnTo>
                  <a:lnTo>
                    <a:pt x="215138" y="233679"/>
                  </a:lnTo>
                  <a:lnTo>
                    <a:pt x="213487" y="233299"/>
                  </a:lnTo>
                  <a:lnTo>
                    <a:pt x="211963" y="233171"/>
                  </a:lnTo>
                  <a:lnTo>
                    <a:pt x="210312" y="233045"/>
                  </a:lnTo>
                  <a:lnTo>
                    <a:pt x="208788" y="232918"/>
                  </a:lnTo>
                  <a:lnTo>
                    <a:pt x="207265" y="233045"/>
                  </a:lnTo>
                  <a:lnTo>
                    <a:pt x="205613" y="233171"/>
                  </a:lnTo>
                  <a:lnTo>
                    <a:pt x="204216" y="233299"/>
                  </a:lnTo>
                  <a:lnTo>
                    <a:pt x="202565" y="233807"/>
                  </a:lnTo>
                  <a:lnTo>
                    <a:pt x="201041" y="234188"/>
                  </a:lnTo>
                  <a:lnTo>
                    <a:pt x="199390" y="234569"/>
                  </a:lnTo>
                  <a:lnTo>
                    <a:pt x="196343" y="235839"/>
                  </a:lnTo>
                  <a:lnTo>
                    <a:pt x="193168" y="237235"/>
                  </a:lnTo>
                  <a:lnTo>
                    <a:pt x="189865" y="238759"/>
                  </a:lnTo>
                  <a:lnTo>
                    <a:pt x="183515" y="242189"/>
                  </a:lnTo>
                  <a:lnTo>
                    <a:pt x="180087" y="243966"/>
                  </a:lnTo>
                  <a:lnTo>
                    <a:pt x="176784" y="245618"/>
                  </a:lnTo>
                  <a:lnTo>
                    <a:pt x="173483" y="247269"/>
                  </a:lnTo>
                  <a:lnTo>
                    <a:pt x="169927" y="248539"/>
                  </a:lnTo>
                  <a:lnTo>
                    <a:pt x="166625" y="249682"/>
                  </a:lnTo>
                  <a:lnTo>
                    <a:pt x="164846" y="250316"/>
                  </a:lnTo>
                  <a:lnTo>
                    <a:pt x="163068" y="250697"/>
                  </a:lnTo>
                  <a:lnTo>
                    <a:pt x="161290" y="251078"/>
                  </a:lnTo>
                  <a:lnTo>
                    <a:pt x="159512" y="251206"/>
                  </a:lnTo>
                  <a:lnTo>
                    <a:pt x="157734" y="251459"/>
                  </a:lnTo>
                  <a:lnTo>
                    <a:pt x="155956" y="251459"/>
                  </a:lnTo>
                  <a:lnTo>
                    <a:pt x="154052" y="251459"/>
                  </a:lnTo>
                  <a:lnTo>
                    <a:pt x="152400" y="251206"/>
                  </a:lnTo>
                  <a:lnTo>
                    <a:pt x="150622" y="251078"/>
                  </a:lnTo>
                  <a:lnTo>
                    <a:pt x="148844" y="250570"/>
                  </a:lnTo>
                  <a:lnTo>
                    <a:pt x="147066" y="250189"/>
                  </a:lnTo>
                  <a:lnTo>
                    <a:pt x="145543" y="249682"/>
                  </a:lnTo>
                  <a:lnTo>
                    <a:pt x="142113" y="248539"/>
                  </a:lnTo>
                  <a:lnTo>
                    <a:pt x="138812" y="247141"/>
                  </a:lnTo>
                  <a:lnTo>
                    <a:pt x="135637" y="245618"/>
                  </a:lnTo>
                  <a:lnTo>
                    <a:pt x="132462" y="243839"/>
                  </a:lnTo>
                  <a:lnTo>
                    <a:pt x="129287" y="242189"/>
                  </a:lnTo>
                  <a:lnTo>
                    <a:pt x="123063" y="238759"/>
                  </a:lnTo>
                  <a:lnTo>
                    <a:pt x="120015" y="237235"/>
                  </a:lnTo>
                  <a:lnTo>
                    <a:pt x="116840" y="235839"/>
                  </a:lnTo>
                  <a:lnTo>
                    <a:pt x="113793" y="234569"/>
                  </a:lnTo>
                  <a:lnTo>
                    <a:pt x="112268" y="234060"/>
                  </a:lnTo>
                  <a:lnTo>
                    <a:pt x="110744" y="233679"/>
                  </a:lnTo>
                  <a:lnTo>
                    <a:pt x="109221" y="233299"/>
                  </a:lnTo>
                  <a:lnTo>
                    <a:pt x="107569" y="233171"/>
                  </a:lnTo>
                  <a:lnTo>
                    <a:pt x="106046" y="233045"/>
                  </a:lnTo>
                  <a:lnTo>
                    <a:pt x="104394" y="232918"/>
                  </a:lnTo>
                  <a:lnTo>
                    <a:pt x="102871" y="233045"/>
                  </a:lnTo>
                  <a:lnTo>
                    <a:pt x="101346" y="233171"/>
                  </a:lnTo>
                  <a:lnTo>
                    <a:pt x="99696" y="233299"/>
                  </a:lnTo>
                  <a:lnTo>
                    <a:pt x="98299" y="233807"/>
                  </a:lnTo>
                  <a:lnTo>
                    <a:pt x="96647" y="234188"/>
                  </a:lnTo>
                  <a:lnTo>
                    <a:pt x="95124" y="234569"/>
                  </a:lnTo>
                  <a:lnTo>
                    <a:pt x="91949" y="235839"/>
                  </a:lnTo>
                  <a:lnTo>
                    <a:pt x="88646" y="237235"/>
                  </a:lnTo>
                  <a:lnTo>
                    <a:pt x="85471" y="238759"/>
                  </a:lnTo>
                  <a:lnTo>
                    <a:pt x="78994" y="242189"/>
                  </a:lnTo>
                  <a:lnTo>
                    <a:pt x="75819" y="243966"/>
                  </a:lnTo>
                  <a:lnTo>
                    <a:pt x="72390" y="245618"/>
                  </a:lnTo>
                  <a:lnTo>
                    <a:pt x="69088" y="247269"/>
                  </a:lnTo>
                  <a:lnTo>
                    <a:pt x="65659" y="248539"/>
                  </a:lnTo>
                  <a:lnTo>
                    <a:pt x="62231" y="249682"/>
                  </a:lnTo>
                  <a:lnTo>
                    <a:pt x="60453" y="250316"/>
                  </a:lnTo>
                  <a:lnTo>
                    <a:pt x="58675" y="250697"/>
                  </a:lnTo>
                  <a:lnTo>
                    <a:pt x="56896" y="251078"/>
                  </a:lnTo>
                  <a:lnTo>
                    <a:pt x="55246" y="251206"/>
                  </a:lnTo>
                  <a:lnTo>
                    <a:pt x="53340" y="251459"/>
                  </a:lnTo>
                  <a:lnTo>
                    <a:pt x="51562" y="251459"/>
                  </a:lnTo>
                  <a:lnTo>
                    <a:pt x="49658" y="251459"/>
                  </a:lnTo>
                  <a:lnTo>
                    <a:pt x="48006" y="251206"/>
                  </a:lnTo>
                  <a:lnTo>
                    <a:pt x="46228" y="251078"/>
                  </a:lnTo>
                  <a:lnTo>
                    <a:pt x="44450" y="250570"/>
                  </a:lnTo>
                  <a:lnTo>
                    <a:pt x="42927" y="250189"/>
                  </a:lnTo>
                  <a:lnTo>
                    <a:pt x="41149" y="249682"/>
                  </a:lnTo>
                  <a:lnTo>
                    <a:pt x="37719" y="248539"/>
                  </a:lnTo>
                  <a:lnTo>
                    <a:pt x="34418" y="247141"/>
                  </a:lnTo>
                  <a:lnTo>
                    <a:pt x="31243" y="245618"/>
                  </a:lnTo>
                  <a:lnTo>
                    <a:pt x="28068" y="243839"/>
                  </a:lnTo>
                  <a:lnTo>
                    <a:pt x="24893" y="242189"/>
                  </a:lnTo>
                  <a:lnTo>
                    <a:pt x="18669" y="238759"/>
                  </a:lnTo>
                  <a:lnTo>
                    <a:pt x="15494" y="237235"/>
                  </a:lnTo>
                  <a:lnTo>
                    <a:pt x="12446" y="235839"/>
                  </a:lnTo>
                  <a:lnTo>
                    <a:pt x="9271" y="234569"/>
                  </a:lnTo>
                  <a:lnTo>
                    <a:pt x="7747" y="234060"/>
                  </a:lnTo>
                  <a:lnTo>
                    <a:pt x="6224" y="233679"/>
                  </a:lnTo>
                  <a:lnTo>
                    <a:pt x="4572" y="233299"/>
                  </a:lnTo>
                  <a:lnTo>
                    <a:pt x="3175" y="233171"/>
                  </a:lnTo>
                  <a:lnTo>
                    <a:pt x="1525" y="233045"/>
                  </a:lnTo>
                  <a:lnTo>
                    <a:pt x="0" y="232918"/>
                  </a:lnTo>
                  <a:lnTo>
                    <a:pt x="0" y="224408"/>
                  </a:lnTo>
                  <a:close/>
                  <a:moveTo>
                    <a:pt x="2915032" y="5212079"/>
                  </a:moveTo>
                  <a:moveTo>
                    <a:pt x="313944" y="292608"/>
                  </a:moveTo>
                  <a:lnTo>
                    <a:pt x="0" y="292608"/>
                  </a:lnTo>
                  <a:lnTo>
                    <a:pt x="0" y="284099"/>
                  </a:lnTo>
                  <a:lnTo>
                    <a:pt x="48006" y="284099"/>
                  </a:lnTo>
                  <a:lnTo>
                    <a:pt x="46356" y="283845"/>
                  </a:lnTo>
                  <a:lnTo>
                    <a:pt x="44705" y="283590"/>
                  </a:lnTo>
                  <a:lnTo>
                    <a:pt x="43053" y="283209"/>
                  </a:lnTo>
                  <a:lnTo>
                    <a:pt x="41403" y="282701"/>
                  </a:lnTo>
                  <a:lnTo>
                    <a:pt x="38355" y="281558"/>
                  </a:lnTo>
                  <a:lnTo>
                    <a:pt x="35306" y="280289"/>
                  </a:lnTo>
                  <a:lnTo>
                    <a:pt x="32259" y="279019"/>
                  </a:lnTo>
                  <a:lnTo>
                    <a:pt x="29211" y="277368"/>
                  </a:lnTo>
                  <a:lnTo>
                    <a:pt x="23241" y="274193"/>
                  </a:lnTo>
                  <a:lnTo>
                    <a:pt x="20447" y="272541"/>
                  </a:lnTo>
                  <a:lnTo>
                    <a:pt x="17400" y="271018"/>
                  </a:lnTo>
                  <a:lnTo>
                    <a:pt x="14606" y="269620"/>
                  </a:lnTo>
                  <a:lnTo>
                    <a:pt x="11684" y="268224"/>
                  </a:lnTo>
                  <a:lnTo>
                    <a:pt x="8763" y="267208"/>
                  </a:lnTo>
                  <a:lnTo>
                    <a:pt x="7366" y="266826"/>
                  </a:lnTo>
                  <a:lnTo>
                    <a:pt x="5843" y="266445"/>
                  </a:lnTo>
                  <a:lnTo>
                    <a:pt x="4446" y="266191"/>
                  </a:lnTo>
                  <a:lnTo>
                    <a:pt x="2921" y="265938"/>
                  </a:lnTo>
                  <a:lnTo>
                    <a:pt x="1397" y="265810"/>
                  </a:lnTo>
                  <a:lnTo>
                    <a:pt x="0" y="265810"/>
                  </a:lnTo>
                  <a:lnTo>
                    <a:pt x="0" y="257175"/>
                  </a:lnTo>
                  <a:lnTo>
                    <a:pt x="1906" y="257301"/>
                  </a:lnTo>
                  <a:lnTo>
                    <a:pt x="3684" y="257428"/>
                  </a:lnTo>
                  <a:lnTo>
                    <a:pt x="5462" y="257809"/>
                  </a:lnTo>
                  <a:lnTo>
                    <a:pt x="7240" y="258064"/>
                  </a:lnTo>
                  <a:lnTo>
                    <a:pt x="9018" y="258571"/>
                  </a:lnTo>
                  <a:lnTo>
                    <a:pt x="10796" y="258952"/>
                  </a:lnTo>
                  <a:lnTo>
                    <a:pt x="12574" y="259588"/>
                  </a:lnTo>
                  <a:lnTo>
                    <a:pt x="14225" y="260095"/>
                  </a:lnTo>
                  <a:lnTo>
                    <a:pt x="17527" y="261620"/>
                  </a:lnTo>
                  <a:lnTo>
                    <a:pt x="20956" y="263016"/>
                  </a:lnTo>
                  <a:lnTo>
                    <a:pt x="24258" y="264795"/>
                  </a:lnTo>
                  <a:lnTo>
                    <a:pt x="27433" y="266445"/>
                  </a:lnTo>
                  <a:lnTo>
                    <a:pt x="33656" y="269875"/>
                  </a:lnTo>
                  <a:lnTo>
                    <a:pt x="36703" y="271526"/>
                  </a:lnTo>
                  <a:lnTo>
                    <a:pt x="39752" y="272922"/>
                  </a:lnTo>
                  <a:lnTo>
                    <a:pt x="42672" y="274065"/>
                  </a:lnTo>
                  <a:lnTo>
                    <a:pt x="44196" y="274574"/>
                  </a:lnTo>
                  <a:lnTo>
                    <a:pt x="45593" y="275082"/>
                  </a:lnTo>
                  <a:lnTo>
                    <a:pt x="47118" y="275335"/>
                  </a:lnTo>
                  <a:lnTo>
                    <a:pt x="48641" y="275589"/>
                  </a:lnTo>
                  <a:lnTo>
                    <a:pt x="50165" y="275716"/>
                  </a:lnTo>
                  <a:lnTo>
                    <a:pt x="51562" y="275716"/>
                  </a:lnTo>
                  <a:lnTo>
                    <a:pt x="53087" y="275716"/>
                  </a:lnTo>
                  <a:lnTo>
                    <a:pt x="54611" y="275589"/>
                  </a:lnTo>
                  <a:lnTo>
                    <a:pt x="56134" y="275335"/>
                  </a:lnTo>
                  <a:lnTo>
                    <a:pt x="57659" y="275082"/>
                  </a:lnTo>
                  <a:lnTo>
                    <a:pt x="59183" y="274574"/>
                  </a:lnTo>
                  <a:lnTo>
                    <a:pt x="60580" y="274193"/>
                  </a:lnTo>
                  <a:lnTo>
                    <a:pt x="63755" y="272922"/>
                  </a:lnTo>
                  <a:lnTo>
                    <a:pt x="66930" y="271526"/>
                  </a:lnTo>
                  <a:lnTo>
                    <a:pt x="70105" y="270001"/>
                  </a:lnTo>
                  <a:lnTo>
                    <a:pt x="76581" y="266572"/>
                  </a:lnTo>
                  <a:lnTo>
                    <a:pt x="80011" y="264795"/>
                  </a:lnTo>
                  <a:lnTo>
                    <a:pt x="83312" y="263144"/>
                  </a:lnTo>
                  <a:lnTo>
                    <a:pt x="86741" y="261620"/>
                  </a:lnTo>
                  <a:lnTo>
                    <a:pt x="90043" y="260222"/>
                  </a:lnTo>
                  <a:lnTo>
                    <a:pt x="93600" y="258952"/>
                  </a:lnTo>
                  <a:lnTo>
                    <a:pt x="95505" y="258571"/>
                  </a:lnTo>
                  <a:lnTo>
                    <a:pt x="97156" y="258064"/>
                  </a:lnTo>
                  <a:lnTo>
                    <a:pt x="98934" y="257809"/>
                  </a:lnTo>
                  <a:lnTo>
                    <a:pt x="100838" y="257428"/>
                  </a:lnTo>
                  <a:lnTo>
                    <a:pt x="102743" y="257301"/>
                  </a:lnTo>
                  <a:lnTo>
                    <a:pt x="104394" y="257175"/>
                  </a:lnTo>
                  <a:lnTo>
                    <a:pt x="106300" y="257301"/>
                  </a:lnTo>
                  <a:lnTo>
                    <a:pt x="108078" y="257428"/>
                  </a:lnTo>
                  <a:lnTo>
                    <a:pt x="109983" y="257809"/>
                  </a:lnTo>
                  <a:lnTo>
                    <a:pt x="111761" y="258064"/>
                  </a:lnTo>
                  <a:lnTo>
                    <a:pt x="113538" y="258571"/>
                  </a:lnTo>
                  <a:lnTo>
                    <a:pt x="115190" y="258952"/>
                  </a:lnTo>
                  <a:lnTo>
                    <a:pt x="116968" y="259588"/>
                  </a:lnTo>
                  <a:lnTo>
                    <a:pt x="118746" y="260095"/>
                  </a:lnTo>
                  <a:lnTo>
                    <a:pt x="122047" y="261620"/>
                  </a:lnTo>
                  <a:lnTo>
                    <a:pt x="125350" y="263016"/>
                  </a:lnTo>
                  <a:lnTo>
                    <a:pt x="128652" y="264795"/>
                  </a:lnTo>
                  <a:lnTo>
                    <a:pt x="131700" y="266445"/>
                  </a:lnTo>
                  <a:lnTo>
                    <a:pt x="138050" y="269875"/>
                  </a:lnTo>
                  <a:lnTo>
                    <a:pt x="141097" y="271526"/>
                  </a:lnTo>
                  <a:lnTo>
                    <a:pt x="144146" y="272922"/>
                  </a:lnTo>
                  <a:lnTo>
                    <a:pt x="147066" y="274065"/>
                  </a:lnTo>
                  <a:lnTo>
                    <a:pt x="148463" y="274574"/>
                  </a:lnTo>
                  <a:lnTo>
                    <a:pt x="150115" y="275082"/>
                  </a:lnTo>
                  <a:lnTo>
                    <a:pt x="151512" y="275335"/>
                  </a:lnTo>
                  <a:lnTo>
                    <a:pt x="152909" y="275589"/>
                  </a:lnTo>
                  <a:lnTo>
                    <a:pt x="154433" y="275716"/>
                  </a:lnTo>
                  <a:lnTo>
                    <a:pt x="155956" y="275716"/>
                  </a:lnTo>
                  <a:lnTo>
                    <a:pt x="157353" y="275716"/>
                  </a:lnTo>
                  <a:lnTo>
                    <a:pt x="158878" y="275589"/>
                  </a:lnTo>
                  <a:lnTo>
                    <a:pt x="160402" y="275335"/>
                  </a:lnTo>
                  <a:lnTo>
                    <a:pt x="162053" y="275082"/>
                  </a:lnTo>
                  <a:lnTo>
                    <a:pt x="163577" y="274574"/>
                  </a:lnTo>
                  <a:lnTo>
                    <a:pt x="165100" y="274193"/>
                  </a:lnTo>
                  <a:lnTo>
                    <a:pt x="168149" y="272922"/>
                  </a:lnTo>
                  <a:lnTo>
                    <a:pt x="171324" y="271526"/>
                  </a:lnTo>
                  <a:lnTo>
                    <a:pt x="174499" y="270001"/>
                  </a:lnTo>
                  <a:lnTo>
                    <a:pt x="180975" y="266572"/>
                  </a:lnTo>
                  <a:lnTo>
                    <a:pt x="184278" y="264795"/>
                  </a:lnTo>
                  <a:lnTo>
                    <a:pt x="187580" y="263144"/>
                  </a:lnTo>
                  <a:lnTo>
                    <a:pt x="191009" y="261620"/>
                  </a:lnTo>
                  <a:lnTo>
                    <a:pt x="194565" y="260222"/>
                  </a:lnTo>
                  <a:lnTo>
                    <a:pt x="197993" y="258952"/>
                  </a:lnTo>
                  <a:lnTo>
                    <a:pt x="199771" y="258571"/>
                  </a:lnTo>
                  <a:lnTo>
                    <a:pt x="201550" y="258064"/>
                  </a:lnTo>
                  <a:lnTo>
                    <a:pt x="203455" y="257809"/>
                  </a:lnTo>
                  <a:lnTo>
                    <a:pt x="205106" y="257428"/>
                  </a:lnTo>
                  <a:lnTo>
                    <a:pt x="207011" y="257301"/>
                  </a:lnTo>
                  <a:lnTo>
                    <a:pt x="208788" y="257175"/>
                  </a:lnTo>
                  <a:lnTo>
                    <a:pt x="210693" y="257301"/>
                  </a:lnTo>
                  <a:lnTo>
                    <a:pt x="212599" y="257428"/>
                  </a:lnTo>
                  <a:lnTo>
                    <a:pt x="214377" y="257809"/>
                  </a:lnTo>
                  <a:lnTo>
                    <a:pt x="216155" y="258064"/>
                  </a:lnTo>
                  <a:lnTo>
                    <a:pt x="217933" y="258571"/>
                  </a:lnTo>
                  <a:lnTo>
                    <a:pt x="219584" y="258952"/>
                  </a:lnTo>
                  <a:lnTo>
                    <a:pt x="221362" y="259588"/>
                  </a:lnTo>
                  <a:lnTo>
                    <a:pt x="223140" y="260095"/>
                  </a:lnTo>
                  <a:lnTo>
                    <a:pt x="226568" y="261620"/>
                  </a:lnTo>
                  <a:lnTo>
                    <a:pt x="229743" y="263016"/>
                  </a:lnTo>
                  <a:lnTo>
                    <a:pt x="233046" y="264795"/>
                  </a:lnTo>
                  <a:lnTo>
                    <a:pt x="236347" y="266445"/>
                  </a:lnTo>
                  <a:lnTo>
                    <a:pt x="242443" y="269875"/>
                  </a:lnTo>
                  <a:lnTo>
                    <a:pt x="245618" y="271526"/>
                  </a:lnTo>
                  <a:lnTo>
                    <a:pt x="248666" y="272922"/>
                  </a:lnTo>
                  <a:lnTo>
                    <a:pt x="251715" y="274065"/>
                  </a:lnTo>
                  <a:lnTo>
                    <a:pt x="252984" y="274574"/>
                  </a:lnTo>
                  <a:lnTo>
                    <a:pt x="254636" y="275082"/>
                  </a:lnTo>
                  <a:lnTo>
                    <a:pt x="256159" y="275335"/>
                  </a:lnTo>
                  <a:lnTo>
                    <a:pt x="257556" y="275589"/>
                  </a:lnTo>
                  <a:lnTo>
                    <a:pt x="258953" y="275716"/>
                  </a:lnTo>
                  <a:lnTo>
                    <a:pt x="260605" y="275716"/>
                  </a:lnTo>
                  <a:lnTo>
                    <a:pt x="262002" y="275716"/>
                  </a:lnTo>
                  <a:lnTo>
                    <a:pt x="263525" y="275589"/>
                  </a:lnTo>
                  <a:lnTo>
                    <a:pt x="265050" y="275335"/>
                  </a:lnTo>
                  <a:lnTo>
                    <a:pt x="266574" y="275082"/>
                  </a:lnTo>
                  <a:lnTo>
                    <a:pt x="268097" y="274574"/>
                  </a:lnTo>
                  <a:lnTo>
                    <a:pt x="269621" y="274193"/>
                  </a:lnTo>
                  <a:lnTo>
                    <a:pt x="272796" y="272922"/>
                  </a:lnTo>
                  <a:lnTo>
                    <a:pt x="275971" y="271526"/>
                  </a:lnTo>
                  <a:lnTo>
                    <a:pt x="279019" y="270001"/>
                  </a:lnTo>
                  <a:lnTo>
                    <a:pt x="285624" y="266572"/>
                  </a:lnTo>
                  <a:lnTo>
                    <a:pt x="288799" y="264795"/>
                  </a:lnTo>
                  <a:lnTo>
                    <a:pt x="292228" y="263144"/>
                  </a:lnTo>
                  <a:lnTo>
                    <a:pt x="295656" y="261620"/>
                  </a:lnTo>
                  <a:lnTo>
                    <a:pt x="299086" y="260222"/>
                  </a:lnTo>
                  <a:lnTo>
                    <a:pt x="302515" y="258952"/>
                  </a:lnTo>
                  <a:lnTo>
                    <a:pt x="304419" y="258571"/>
                  </a:lnTo>
                  <a:lnTo>
                    <a:pt x="306197" y="258064"/>
                  </a:lnTo>
                  <a:lnTo>
                    <a:pt x="307849" y="257809"/>
                  </a:lnTo>
                  <a:lnTo>
                    <a:pt x="309753" y="257428"/>
                  </a:lnTo>
                  <a:lnTo>
                    <a:pt x="311531" y="257301"/>
                  </a:lnTo>
                  <a:lnTo>
                    <a:pt x="313309" y="257175"/>
                  </a:lnTo>
                  <a:lnTo>
                    <a:pt x="313944" y="257175"/>
                  </a:lnTo>
                  <a:lnTo>
                    <a:pt x="313818" y="265810"/>
                  </a:lnTo>
                  <a:lnTo>
                    <a:pt x="313309" y="265810"/>
                  </a:lnTo>
                  <a:lnTo>
                    <a:pt x="312040" y="265810"/>
                  </a:lnTo>
                  <a:lnTo>
                    <a:pt x="310515" y="265938"/>
                  </a:lnTo>
                  <a:lnTo>
                    <a:pt x="308991" y="266191"/>
                  </a:lnTo>
                  <a:lnTo>
                    <a:pt x="307594" y="266445"/>
                  </a:lnTo>
                  <a:lnTo>
                    <a:pt x="306197" y="266826"/>
                  </a:lnTo>
                  <a:lnTo>
                    <a:pt x="304674" y="267208"/>
                  </a:lnTo>
                  <a:lnTo>
                    <a:pt x="301753" y="268224"/>
                  </a:lnTo>
                  <a:lnTo>
                    <a:pt x="298705" y="269620"/>
                  </a:lnTo>
                  <a:lnTo>
                    <a:pt x="295784" y="271018"/>
                  </a:lnTo>
                  <a:lnTo>
                    <a:pt x="289687" y="274193"/>
                  </a:lnTo>
                  <a:lnTo>
                    <a:pt x="283591" y="277368"/>
                  </a:lnTo>
                  <a:lnTo>
                    <a:pt x="280543" y="279019"/>
                  </a:lnTo>
                  <a:lnTo>
                    <a:pt x="277241" y="280289"/>
                  </a:lnTo>
                  <a:lnTo>
                    <a:pt x="274193" y="281558"/>
                  </a:lnTo>
                  <a:lnTo>
                    <a:pt x="270891" y="282701"/>
                  </a:lnTo>
                  <a:lnTo>
                    <a:pt x="269240" y="283209"/>
                  </a:lnTo>
                  <a:lnTo>
                    <a:pt x="267590" y="283590"/>
                  </a:lnTo>
                  <a:lnTo>
                    <a:pt x="265938" y="283845"/>
                  </a:lnTo>
                  <a:lnTo>
                    <a:pt x="264415" y="284099"/>
                  </a:lnTo>
                  <a:lnTo>
                    <a:pt x="313944" y="284099"/>
                  </a:lnTo>
                  <a:lnTo>
                    <a:pt x="313944" y="292608"/>
                  </a:lnTo>
                  <a:close/>
                  <a:moveTo>
                    <a:pt x="2846832" y="5212079"/>
                  </a:moveTo>
                  <a:moveTo>
                    <a:pt x="55372" y="284099"/>
                  </a:moveTo>
                  <a:lnTo>
                    <a:pt x="152274" y="284099"/>
                  </a:lnTo>
                  <a:lnTo>
                    <a:pt x="150622" y="283845"/>
                  </a:lnTo>
                  <a:lnTo>
                    <a:pt x="148971" y="283590"/>
                  </a:lnTo>
                  <a:lnTo>
                    <a:pt x="147575" y="283209"/>
                  </a:lnTo>
                  <a:lnTo>
                    <a:pt x="145796" y="282701"/>
                  </a:lnTo>
                  <a:lnTo>
                    <a:pt x="142621" y="281558"/>
                  </a:lnTo>
                  <a:lnTo>
                    <a:pt x="139700" y="280289"/>
                  </a:lnTo>
                  <a:lnTo>
                    <a:pt x="136653" y="279019"/>
                  </a:lnTo>
                  <a:lnTo>
                    <a:pt x="133605" y="277368"/>
                  </a:lnTo>
                  <a:lnTo>
                    <a:pt x="127762" y="274193"/>
                  </a:lnTo>
                  <a:lnTo>
                    <a:pt x="124715" y="272541"/>
                  </a:lnTo>
                  <a:lnTo>
                    <a:pt x="121921" y="271018"/>
                  </a:lnTo>
                  <a:lnTo>
                    <a:pt x="119000" y="269620"/>
                  </a:lnTo>
                  <a:lnTo>
                    <a:pt x="116206" y="268224"/>
                  </a:lnTo>
                  <a:lnTo>
                    <a:pt x="113284" y="267208"/>
                  </a:lnTo>
                  <a:lnTo>
                    <a:pt x="111761" y="266826"/>
                  </a:lnTo>
                  <a:lnTo>
                    <a:pt x="110363" y="266445"/>
                  </a:lnTo>
                  <a:lnTo>
                    <a:pt x="108840" y="266191"/>
                  </a:lnTo>
                  <a:lnTo>
                    <a:pt x="107443" y="265938"/>
                  </a:lnTo>
                  <a:lnTo>
                    <a:pt x="105918" y="265810"/>
                  </a:lnTo>
                  <a:lnTo>
                    <a:pt x="104394" y="265810"/>
                  </a:lnTo>
                  <a:lnTo>
                    <a:pt x="102997" y="265810"/>
                  </a:lnTo>
                  <a:lnTo>
                    <a:pt x="101474" y="265938"/>
                  </a:lnTo>
                  <a:lnTo>
                    <a:pt x="100077" y="266191"/>
                  </a:lnTo>
                  <a:lnTo>
                    <a:pt x="98553" y="266445"/>
                  </a:lnTo>
                  <a:lnTo>
                    <a:pt x="97156" y="266826"/>
                  </a:lnTo>
                  <a:lnTo>
                    <a:pt x="95631" y="267208"/>
                  </a:lnTo>
                  <a:lnTo>
                    <a:pt x="92837" y="268224"/>
                  </a:lnTo>
                  <a:lnTo>
                    <a:pt x="89916" y="269620"/>
                  </a:lnTo>
                  <a:lnTo>
                    <a:pt x="86868" y="271018"/>
                  </a:lnTo>
                  <a:lnTo>
                    <a:pt x="80772" y="274193"/>
                  </a:lnTo>
                  <a:lnTo>
                    <a:pt x="74677" y="277368"/>
                  </a:lnTo>
                  <a:lnTo>
                    <a:pt x="71628" y="279019"/>
                  </a:lnTo>
                  <a:lnTo>
                    <a:pt x="68453" y="280289"/>
                  </a:lnTo>
                  <a:lnTo>
                    <a:pt x="65152" y="281558"/>
                  </a:lnTo>
                  <a:lnTo>
                    <a:pt x="62103" y="282701"/>
                  </a:lnTo>
                  <a:lnTo>
                    <a:pt x="60453" y="283209"/>
                  </a:lnTo>
                  <a:lnTo>
                    <a:pt x="58802" y="283590"/>
                  </a:lnTo>
                  <a:lnTo>
                    <a:pt x="57024" y="283845"/>
                  </a:lnTo>
                  <a:lnTo>
                    <a:pt x="55372" y="284099"/>
                  </a:lnTo>
                  <a:close/>
                  <a:moveTo>
                    <a:pt x="2855341" y="5212079"/>
                  </a:moveTo>
                  <a:moveTo>
                    <a:pt x="159893" y="284099"/>
                  </a:moveTo>
                  <a:lnTo>
                    <a:pt x="256921" y="284099"/>
                  </a:lnTo>
                  <a:lnTo>
                    <a:pt x="255271" y="283845"/>
                  </a:lnTo>
                  <a:lnTo>
                    <a:pt x="253619" y="283590"/>
                  </a:lnTo>
                  <a:lnTo>
                    <a:pt x="251968" y="283209"/>
                  </a:lnTo>
                  <a:lnTo>
                    <a:pt x="250444" y="282701"/>
                  </a:lnTo>
                  <a:lnTo>
                    <a:pt x="247269" y="281558"/>
                  </a:lnTo>
                  <a:lnTo>
                    <a:pt x="244221" y="280289"/>
                  </a:lnTo>
                  <a:lnTo>
                    <a:pt x="241046" y="279019"/>
                  </a:lnTo>
                  <a:lnTo>
                    <a:pt x="238125" y="277368"/>
                  </a:lnTo>
                  <a:lnTo>
                    <a:pt x="232284" y="274193"/>
                  </a:lnTo>
                  <a:lnTo>
                    <a:pt x="229236" y="272541"/>
                  </a:lnTo>
                  <a:lnTo>
                    <a:pt x="226315" y="271018"/>
                  </a:lnTo>
                  <a:lnTo>
                    <a:pt x="223393" y="269620"/>
                  </a:lnTo>
                  <a:lnTo>
                    <a:pt x="220472" y="268224"/>
                  </a:lnTo>
                  <a:lnTo>
                    <a:pt x="217552" y="267208"/>
                  </a:lnTo>
                  <a:lnTo>
                    <a:pt x="216155" y="266826"/>
                  </a:lnTo>
                  <a:lnTo>
                    <a:pt x="214631" y="266445"/>
                  </a:lnTo>
                  <a:lnTo>
                    <a:pt x="213234" y="266191"/>
                  </a:lnTo>
                  <a:lnTo>
                    <a:pt x="211709" y="265938"/>
                  </a:lnTo>
                  <a:lnTo>
                    <a:pt x="210186" y="265810"/>
                  </a:lnTo>
                  <a:lnTo>
                    <a:pt x="208788" y="265810"/>
                  </a:lnTo>
                  <a:lnTo>
                    <a:pt x="207391" y="265810"/>
                  </a:lnTo>
                  <a:lnTo>
                    <a:pt x="205994" y="265938"/>
                  </a:lnTo>
                  <a:lnTo>
                    <a:pt x="204343" y="266191"/>
                  </a:lnTo>
                  <a:lnTo>
                    <a:pt x="202946" y="266445"/>
                  </a:lnTo>
                  <a:lnTo>
                    <a:pt x="201550" y="266826"/>
                  </a:lnTo>
                  <a:lnTo>
                    <a:pt x="200153" y="267208"/>
                  </a:lnTo>
                  <a:lnTo>
                    <a:pt x="197231" y="268224"/>
                  </a:lnTo>
                  <a:lnTo>
                    <a:pt x="194184" y="269620"/>
                  </a:lnTo>
                  <a:lnTo>
                    <a:pt x="191262" y="271018"/>
                  </a:lnTo>
                  <a:lnTo>
                    <a:pt x="185166" y="274193"/>
                  </a:lnTo>
                  <a:lnTo>
                    <a:pt x="179071" y="277368"/>
                  </a:lnTo>
                  <a:lnTo>
                    <a:pt x="175896" y="279019"/>
                  </a:lnTo>
                  <a:lnTo>
                    <a:pt x="172721" y="280289"/>
                  </a:lnTo>
                  <a:lnTo>
                    <a:pt x="169546" y="281558"/>
                  </a:lnTo>
                  <a:lnTo>
                    <a:pt x="166371" y="282701"/>
                  </a:lnTo>
                  <a:lnTo>
                    <a:pt x="164719" y="283209"/>
                  </a:lnTo>
                  <a:lnTo>
                    <a:pt x="163068" y="283590"/>
                  </a:lnTo>
                  <a:lnTo>
                    <a:pt x="161418" y="283845"/>
                  </a:lnTo>
                  <a:lnTo>
                    <a:pt x="159893" y="284099"/>
                  </a:lnTo>
                  <a:close/>
                  <a:moveTo>
                    <a:pt x="2855341" y="5212079"/>
                  </a:moveTo>
                  <a:moveTo>
                    <a:pt x="282194" y="36576"/>
                  </a:moveTo>
                  <a:lnTo>
                    <a:pt x="282194" y="17018"/>
                  </a:lnTo>
                  <a:lnTo>
                    <a:pt x="36322" y="17018"/>
                  </a:lnTo>
                  <a:lnTo>
                    <a:pt x="36322" y="36576"/>
                  </a:lnTo>
                  <a:lnTo>
                    <a:pt x="282194" y="36576"/>
                  </a:lnTo>
                  <a:close/>
                  <a:moveTo>
                    <a:pt x="3102864" y="5212079"/>
                  </a:moveTo>
                  <a:moveTo>
                    <a:pt x="17653" y="45084"/>
                  </a:moveTo>
                  <a:lnTo>
                    <a:pt x="17653" y="0"/>
                  </a:lnTo>
                  <a:lnTo>
                    <a:pt x="300737" y="0"/>
                  </a:lnTo>
                  <a:lnTo>
                    <a:pt x="300737" y="45084"/>
                  </a:lnTo>
                  <a:lnTo>
                    <a:pt x="282194" y="45084"/>
                  </a:lnTo>
                  <a:lnTo>
                    <a:pt x="36322" y="45084"/>
                  </a:lnTo>
                  <a:lnTo>
                    <a:pt x="17653" y="45084"/>
                  </a:lnTo>
                  <a:close/>
                  <a:moveTo>
                    <a:pt x="3094356" y="5212079"/>
                  </a:moveTo>
                  <a:moveTo>
                    <a:pt x="300737" y="51943"/>
                  </a:moveTo>
                  <a:lnTo>
                    <a:pt x="300737" y="217551"/>
                  </a:lnTo>
                  <a:lnTo>
                    <a:pt x="298324" y="218439"/>
                  </a:lnTo>
                  <a:lnTo>
                    <a:pt x="296037" y="219328"/>
                  </a:lnTo>
                  <a:lnTo>
                    <a:pt x="293497" y="220471"/>
                  </a:lnTo>
                  <a:lnTo>
                    <a:pt x="291212" y="221614"/>
                  </a:lnTo>
                  <a:lnTo>
                    <a:pt x="286766" y="224027"/>
                  </a:lnTo>
                  <a:lnTo>
                    <a:pt x="282194" y="226314"/>
                  </a:lnTo>
                  <a:lnTo>
                    <a:pt x="282194" y="51943"/>
                  </a:lnTo>
                  <a:lnTo>
                    <a:pt x="300737" y="51943"/>
                  </a:lnTo>
                  <a:close/>
                  <a:moveTo>
                    <a:pt x="3087497" y="5212079"/>
                  </a:moveTo>
                  <a:moveTo>
                    <a:pt x="17653" y="219583"/>
                  </a:moveTo>
                  <a:lnTo>
                    <a:pt x="17653" y="51943"/>
                  </a:lnTo>
                  <a:lnTo>
                    <a:pt x="36322" y="51943"/>
                  </a:lnTo>
                  <a:lnTo>
                    <a:pt x="36322" y="229234"/>
                  </a:lnTo>
                  <a:lnTo>
                    <a:pt x="31750" y="226949"/>
                  </a:lnTo>
                  <a:lnTo>
                    <a:pt x="27178" y="224408"/>
                  </a:lnTo>
                  <a:lnTo>
                    <a:pt x="22480" y="221869"/>
                  </a:lnTo>
                  <a:lnTo>
                    <a:pt x="20066" y="220726"/>
                  </a:lnTo>
                  <a:lnTo>
                    <a:pt x="17653" y="219583"/>
                  </a:lnTo>
                  <a:close/>
                  <a:moveTo>
                    <a:pt x="2919857" y="5212079"/>
                  </a:moveTo>
                  <a:moveTo>
                    <a:pt x="169672" y="149987"/>
                  </a:moveTo>
                  <a:lnTo>
                    <a:pt x="169672" y="149987"/>
                  </a:lnTo>
                  <a:lnTo>
                    <a:pt x="169800" y="151002"/>
                  </a:lnTo>
                  <a:lnTo>
                    <a:pt x="169800" y="151891"/>
                  </a:lnTo>
                  <a:lnTo>
                    <a:pt x="169672" y="152781"/>
                  </a:lnTo>
                  <a:lnTo>
                    <a:pt x="169546" y="153670"/>
                  </a:lnTo>
                  <a:lnTo>
                    <a:pt x="169165" y="154558"/>
                  </a:lnTo>
                  <a:lnTo>
                    <a:pt x="168784" y="155320"/>
                  </a:lnTo>
                  <a:lnTo>
                    <a:pt x="168275" y="156209"/>
                  </a:lnTo>
                  <a:lnTo>
                    <a:pt x="167768" y="156845"/>
                  </a:lnTo>
                  <a:lnTo>
                    <a:pt x="167133" y="157607"/>
                  </a:lnTo>
                  <a:lnTo>
                    <a:pt x="166371" y="158241"/>
                  </a:lnTo>
                  <a:lnTo>
                    <a:pt x="165609" y="158750"/>
                  </a:lnTo>
                  <a:lnTo>
                    <a:pt x="164846" y="159258"/>
                  </a:lnTo>
                  <a:lnTo>
                    <a:pt x="163958" y="159639"/>
                  </a:lnTo>
                  <a:lnTo>
                    <a:pt x="163068" y="160146"/>
                  </a:lnTo>
                  <a:lnTo>
                    <a:pt x="162053" y="160401"/>
                  </a:lnTo>
                  <a:lnTo>
                    <a:pt x="161037" y="160527"/>
                  </a:lnTo>
                  <a:lnTo>
                    <a:pt x="159893" y="160654"/>
                  </a:lnTo>
                  <a:lnTo>
                    <a:pt x="159005" y="160654"/>
                  </a:lnTo>
                  <a:lnTo>
                    <a:pt x="157988" y="160527"/>
                  </a:lnTo>
                  <a:lnTo>
                    <a:pt x="157100" y="160401"/>
                  </a:lnTo>
                  <a:lnTo>
                    <a:pt x="156084" y="160020"/>
                  </a:lnTo>
                  <a:lnTo>
                    <a:pt x="155194" y="159639"/>
                  </a:lnTo>
                  <a:lnTo>
                    <a:pt x="154178" y="159258"/>
                  </a:lnTo>
                  <a:lnTo>
                    <a:pt x="153416" y="158750"/>
                  </a:lnTo>
                  <a:lnTo>
                    <a:pt x="152781" y="158241"/>
                  </a:lnTo>
                  <a:lnTo>
                    <a:pt x="152019" y="157607"/>
                  </a:lnTo>
                  <a:lnTo>
                    <a:pt x="151512" y="156718"/>
                  </a:lnTo>
                  <a:lnTo>
                    <a:pt x="150877" y="156083"/>
                  </a:lnTo>
                  <a:lnTo>
                    <a:pt x="150368" y="155194"/>
                  </a:lnTo>
                  <a:lnTo>
                    <a:pt x="150115" y="154432"/>
                  </a:lnTo>
                  <a:lnTo>
                    <a:pt x="149734" y="153543"/>
                  </a:lnTo>
                  <a:lnTo>
                    <a:pt x="149480" y="152526"/>
                  </a:lnTo>
                  <a:lnTo>
                    <a:pt x="149480" y="151510"/>
                  </a:lnTo>
                  <a:lnTo>
                    <a:pt x="149480" y="150621"/>
                  </a:lnTo>
                  <a:lnTo>
                    <a:pt x="149606" y="149733"/>
                  </a:lnTo>
                  <a:lnTo>
                    <a:pt x="149734" y="148844"/>
                  </a:lnTo>
                  <a:lnTo>
                    <a:pt x="150115" y="147954"/>
                  </a:lnTo>
                  <a:lnTo>
                    <a:pt x="150368" y="147193"/>
                  </a:lnTo>
                  <a:lnTo>
                    <a:pt x="150877" y="146303"/>
                  </a:lnTo>
                  <a:lnTo>
                    <a:pt x="151512" y="145541"/>
                  </a:lnTo>
                  <a:lnTo>
                    <a:pt x="152146" y="145033"/>
                  </a:lnTo>
                  <a:lnTo>
                    <a:pt x="152781" y="144271"/>
                  </a:lnTo>
                  <a:lnTo>
                    <a:pt x="153543" y="143637"/>
                  </a:lnTo>
                  <a:lnTo>
                    <a:pt x="154306" y="143256"/>
                  </a:lnTo>
                  <a:lnTo>
                    <a:pt x="155321" y="142875"/>
                  </a:lnTo>
                  <a:lnTo>
                    <a:pt x="156211" y="142366"/>
                  </a:lnTo>
                  <a:lnTo>
                    <a:pt x="157227" y="142239"/>
                  </a:lnTo>
                  <a:lnTo>
                    <a:pt x="158243" y="141985"/>
                  </a:lnTo>
                  <a:lnTo>
                    <a:pt x="159259" y="141858"/>
                  </a:lnTo>
                  <a:lnTo>
                    <a:pt x="160275" y="141858"/>
                  </a:lnTo>
                  <a:lnTo>
                    <a:pt x="161163" y="141985"/>
                  </a:lnTo>
                  <a:lnTo>
                    <a:pt x="162306" y="142239"/>
                  </a:lnTo>
                  <a:lnTo>
                    <a:pt x="163196" y="142494"/>
                  </a:lnTo>
                  <a:lnTo>
                    <a:pt x="164212" y="142875"/>
                  </a:lnTo>
                  <a:lnTo>
                    <a:pt x="164974" y="143256"/>
                  </a:lnTo>
                  <a:lnTo>
                    <a:pt x="165736" y="143764"/>
                  </a:lnTo>
                  <a:lnTo>
                    <a:pt x="166371" y="144271"/>
                  </a:lnTo>
                  <a:lnTo>
                    <a:pt x="167133" y="145033"/>
                  </a:lnTo>
                  <a:lnTo>
                    <a:pt x="167894" y="145669"/>
                  </a:lnTo>
                  <a:lnTo>
                    <a:pt x="168275" y="146431"/>
                  </a:lnTo>
                  <a:lnTo>
                    <a:pt x="168911" y="147193"/>
                  </a:lnTo>
                  <a:lnTo>
                    <a:pt x="169291" y="148208"/>
                  </a:lnTo>
                  <a:lnTo>
                    <a:pt x="169546" y="149097"/>
                  </a:lnTo>
                  <a:lnTo>
                    <a:pt x="169672" y="149987"/>
                  </a:lnTo>
                  <a:close/>
                  <a:moveTo>
                    <a:pt x="2989453" y="5212079"/>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pic>
          <p:nvPicPr>
            <p:cNvPr id="638" name="Picture 1356">
              <a:extLst>
                <a:ext uri="{FF2B5EF4-FFF2-40B4-BE49-F238E27FC236}">
                  <a16:creationId xmlns:a16="http://schemas.microsoft.com/office/drawing/2014/main" id="{C8DBFE6A-E3C5-4528-8986-3BDA78699899}"/>
                </a:ext>
              </a:extLst>
            </p:cNvPr>
            <p:cNvPicPr>
              <a:picLocks noChangeArrowheads="1"/>
            </p:cNvPicPr>
            <p:nvPr/>
          </p:nvPicPr>
          <p:blipFill>
            <a:blip r:embed="rId38">
              <a:duotone>
                <a:prstClr val="black"/>
                <a:srgbClr val="C00000">
                  <a:tint val="45000"/>
                  <a:satMod val="400000"/>
                </a:srgbClr>
              </a:duotone>
              <a:extLst>
                <a:ext uri="{28A0092B-C50C-407E-A947-70E740481C1C}">
                  <a14:useLocalDpi xmlns:a14="http://schemas.microsoft.com/office/drawing/2010/main" val="0"/>
                </a:ext>
              </a:extLst>
            </a:blip>
            <a:srcRect/>
            <a:stretch>
              <a:fillRect/>
            </a:stretch>
          </p:blipFill>
          <p:spPr>
            <a:xfrm>
              <a:off x="1041240" y="2659176"/>
              <a:ext cx="193840" cy="483618"/>
            </a:xfrm>
            <a:prstGeom prst="rect">
              <a:avLst/>
            </a:prstGeom>
            <a:noFill/>
          </p:spPr>
        </p:pic>
        <p:pic>
          <p:nvPicPr>
            <p:cNvPr id="639" name="Picture 1357">
              <a:extLst>
                <a:ext uri="{FF2B5EF4-FFF2-40B4-BE49-F238E27FC236}">
                  <a16:creationId xmlns:a16="http://schemas.microsoft.com/office/drawing/2014/main" id="{234B1BEC-E0A5-4479-913A-88BFFC5A3910}"/>
                </a:ext>
              </a:extLst>
            </p:cNvPr>
            <p:cNvPicPr>
              <a:picLocks noChangeArrowheads="1"/>
            </p:cNvPicPr>
            <p:nvPr/>
          </p:nvPicPr>
          <p:blipFill>
            <a:blip r:embed="rId39">
              <a:duotone>
                <a:prstClr val="black"/>
                <a:srgbClr val="C00000">
                  <a:tint val="45000"/>
                  <a:satMod val="400000"/>
                </a:srgbClr>
              </a:duotone>
              <a:extLst>
                <a:ext uri="{28A0092B-C50C-407E-A947-70E740481C1C}">
                  <a14:useLocalDpi xmlns:a14="http://schemas.microsoft.com/office/drawing/2010/main" val="0"/>
                </a:ext>
              </a:extLst>
            </a:blip>
            <a:srcRect/>
            <a:stretch>
              <a:fillRect/>
            </a:stretch>
          </p:blipFill>
          <p:spPr>
            <a:xfrm>
              <a:off x="1588326" y="2169971"/>
              <a:ext cx="646347" cy="246506"/>
            </a:xfrm>
            <a:prstGeom prst="rect">
              <a:avLst/>
            </a:prstGeom>
            <a:noFill/>
          </p:spPr>
        </p:pic>
        <p:pic>
          <p:nvPicPr>
            <p:cNvPr id="640" name="Picture 1358">
              <a:extLst>
                <a:ext uri="{FF2B5EF4-FFF2-40B4-BE49-F238E27FC236}">
                  <a16:creationId xmlns:a16="http://schemas.microsoft.com/office/drawing/2014/main" id="{55D1A1D2-7264-4181-87D9-3B41C6280478}"/>
                </a:ext>
              </a:extLst>
            </p:cNvPr>
            <p:cNvPicPr>
              <a:picLocks noChangeArrowheads="1"/>
            </p:cNvPicPr>
            <p:nvPr/>
          </p:nvPicPr>
          <p:blipFill>
            <a:blip r:embed="rId40">
              <a:duotone>
                <a:prstClr val="black"/>
                <a:srgbClr val="C00000">
                  <a:tint val="45000"/>
                  <a:satMod val="400000"/>
                </a:srgbClr>
              </a:duotone>
              <a:extLst>
                <a:ext uri="{28A0092B-C50C-407E-A947-70E740481C1C}">
                  <a14:useLocalDpi xmlns:a14="http://schemas.microsoft.com/office/drawing/2010/main" val="0"/>
                </a:ext>
              </a:extLst>
            </a:blip>
            <a:srcRect/>
            <a:stretch>
              <a:fillRect/>
            </a:stretch>
          </p:blipFill>
          <p:spPr>
            <a:xfrm>
              <a:off x="1029055" y="2169971"/>
              <a:ext cx="661325" cy="246506"/>
            </a:xfrm>
            <a:prstGeom prst="rect">
              <a:avLst/>
            </a:prstGeom>
            <a:noFill/>
          </p:spPr>
        </p:pic>
        <p:pic>
          <p:nvPicPr>
            <p:cNvPr id="641" name="Picture 1359">
              <a:extLst>
                <a:ext uri="{FF2B5EF4-FFF2-40B4-BE49-F238E27FC236}">
                  <a16:creationId xmlns:a16="http://schemas.microsoft.com/office/drawing/2014/main" id="{B8DDC502-DB55-411B-8528-2F2DFD562D46}"/>
                </a:ext>
              </a:extLst>
            </p:cNvPr>
            <p:cNvPicPr>
              <a:picLocks noChangeArrowheads="1"/>
            </p:cNvPicPr>
            <p:nvPr/>
          </p:nvPicPr>
          <p:blipFill>
            <a:blip r:embed="rId41">
              <a:extLst>
                <a:ext uri="{28A0092B-C50C-407E-A947-70E740481C1C}">
                  <a14:useLocalDpi xmlns:a14="http://schemas.microsoft.com/office/drawing/2010/main" val="0"/>
                </a:ext>
              </a:extLst>
            </a:blip>
            <a:srcRect/>
            <a:stretch>
              <a:fillRect/>
            </a:stretch>
          </p:blipFill>
          <p:spPr>
            <a:xfrm>
              <a:off x="1588325" y="2169973"/>
              <a:ext cx="101547" cy="246379"/>
            </a:xfrm>
            <a:prstGeom prst="rect">
              <a:avLst/>
            </a:prstGeom>
            <a:noFill/>
          </p:spPr>
        </p:pic>
        <p:pic>
          <p:nvPicPr>
            <p:cNvPr id="642" name="Picture 1418">
              <a:extLst>
                <a:ext uri="{FF2B5EF4-FFF2-40B4-BE49-F238E27FC236}">
                  <a16:creationId xmlns:a16="http://schemas.microsoft.com/office/drawing/2014/main" id="{9AF74D02-DA9D-4DEB-A97C-48A896452823}"/>
                </a:ext>
              </a:extLst>
            </p:cNvPr>
            <p:cNvPicPr>
              <a:picLocks noChangeArrowheads="1"/>
            </p:cNvPicPr>
            <p:nvPr/>
          </p:nvPicPr>
          <p:blipFill>
            <a:blip r:embed="rId42">
              <a:extLst>
                <a:ext uri="{28A0092B-C50C-407E-A947-70E740481C1C}">
                  <a14:useLocalDpi xmlns:a14="http://schemas.microsoft.com/office/drawing/2010/main" val="0"/>
                </a:ext>
              </a:extLst>
            </a:blip>
            <a:srcRect/>
            <a:stretch>
              <a:fillRect/>
            </a:stretch>
          </p:blipFill>
          <p:spPr>
            <a:xfrm>
              <a:off x="1938173" y="2604209"/>
              <a:ext cx="247647" cy="101547"/>
            </a:xfrm>
            <a:prstGeom prst="rect">
              <a:avLst/>
            </a:prstGeom>
            <a:noFill/>
          </p:spPr>
        </p:pic>
        <p:sp>
          <p:nvSpPr>
            <p:cNvPr id="643" name="Rectangle 1546">
              <a:extLst>
                <a:ext uri="{FF2B5EF4-FFF2-40B4-BE49-F238E27FC236}">
                  <a16:creationId xmlns:a16="http://schemas.microsoft.com/office/drawing/2014/main" id="{B6CC484B-8B30-4704-BE97-E5114204962A}"/>
                </a:ext>
              </a:extLst>
            </p:cNvPr>
            <p:cNvSpPr/>
            <p:nvPr/>
          </p:nvSpPr>
          <p:spPr>
            <a:xfrm>
              <a:off x="960663" y="1962115"/>
              <a:ext cx="830564" cy="154705"/>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533475" algn="l"/>
                </a:tabLst>
                <a:defRPr/>
              </a:pPr>
              <a:r>
                <a:rPr kumimoji="0" lang="en-US" sz="1005" b="1" i="0" u="none" strike="noStrike" kern="1200" cap="none" spc="-11" normalizeH="0" baseline="0" noProof="0" dirty="0">
                  <a:ln>
                    <a:noFill/>
                  </a:ln>
                  <a:solidFill>
                    <a:srgbClr val="FF0000"/>
                  </a:solidFill>
                  <a:effectLst/>
                  <a:uLnTx/>
                  <a:uFillTx/>
                  <a:latin typeface="EYInterstate-LightBold"/>
                  <a:ea typeface="+mn-ea"/>
                  <a:cs typeface="+mn-cs"/>
                </a:rPr>
                <a:t>P</a:t>
              </a:r>
              <a:r>
                <a:rPr kumimoji="0" lang="en-US" sz="1005" b="1" i="0" u="none" strike="noStrike" kern="1200" cap="none" spc="0" normalizeH="0" baseline="0" noProof="0" dirty="0">
                  <a:ln>
                    <a:noFill/>
                  </a:ln>
                  <a:solidFill>
                    <a:srgbClr val="FF0000"/>
                  </a:solidFill>
                  <a:effectLst/>
                  <a:uLnTx/>
                  <a:uFillTx/>
                  <a:latin typeface="EYInterstate-LightBold"/>
                  <a:ea typeface="+mn-ea"/>
                  <a:cs typeface="+mn-cs"/>
                </a:rPr>
                <a:t>V	Wind</a:t>
              </a:r>
            </a:p>
          </p:txBody>
        </p:sp>
        <p:sp>
          <p:nvSpPr>
            <p:cNvPr id="644" name="Rectangle 1547">
              <a:extLst>
                <a:ext uri="{FF2B5EF4-FFF2-40B4-BE49-F238E27FC236}">
                  <a16:creationId xmlns:a16="http://schemas.microsoft.com/office/drawing/2014/main" id="{AEBDB7FC-F3A5-4301-9073-B0EA4A001432}"/>
                </a:ext>
              </a:extLst>
            </p:cNvPr>
            <p:cNvSpPr/>
            <p:nvPr/>
          </p:nvSpPr>
          <p:spPr>
            <a:xfrm>
              <a:off x="1311610" y="2788961"/>
              <a:ext cx="659325" cy="154705"/>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11" normalizeH="0" baseline="0" noProof="0" dirty="0">
                  <a:ln>
                    <a:noFill/>
                  </a:ln>
                  <a:solidFill>
                    <a:srgbClr val="FF0000"/>
                  </a:solidFill>
                  <a:effectLst/>
                  <a:uLnTx/>
                  <a:uFillTx/>
                  <a:latin typeface="EYInterstate-LightBold"/>
                  <a:ea typeface="+mn-ea"/>
                  <a:cs typeface="+mn-cs"/>
                </a:rPr>
                <a:t>P</a:t>
              </a:r>
              <a:r>
                <a:rPr kumimoji="0" lang="en-US" sz="1005" b="1" i="0" u="none" strike="noStrike" kern="1200" cap="none" spc="0" normalizeH="0" baseline="0" noProof="0" dirty="0">
                  <a:ln>
                    <a:noFill/>
                  </a:ln>
                  <a:solidFill>
                    <a:srgbClr val="FF0000"/>
                  </a:solidFill>
                  <a:effectLst/>
                  <a:uLnTx/>
                  <a:uFillTx/>
                  <a:latin typeface="EYInterstate-LightBold"/>
                  <a:ea typeface="+mn-ea"/>
                  <a:cs typeface="+mn-cs"/>
                </a:rPr>
                <a:t>ower</a:t>
              </a:r>
              <a:r>
                <a:rPr kumimoji="0" lang="en-US" sz="1005" b="1" i="0" u="none" strike="noStrike" kern="1200" cap="none" spc="-33" normalizeH="0" baseline="0" noProof="0" dirty="0">
                  <a:ln>
                    <a:noFill/>
                  </a:ln>
                  <a:solidFill>
                    <a:srgbClr val="FF0000"/>
                  </a:solidFill>
                  <a:effectLst/>
                  <a:uLnTx/>
                  <a:uFillTx/>
                  <a:latin typeface="EYInterstate-LightBold"/>
                  <a:ea typeface="+mn-ea"/>
                  <a:cs typeface="+mn-cs"/>
                </a:rPr>
                <a:t> </a:t>
              </a:r>
              <a:r>
                <a:rPr kumimoji="0" lang="en-US" sz="1005" b="1" i="0" u="none" strike="noStrike" kern="1200" cap="none" spc="-12" normalizeH="0" baseline="0" noProof="0" dirty="0">
                  <a:ln>
                    <a:noFill/>
                  </a:ln>
                  <a:solidFill>
                    <a:srgbClr val="FF0000"/>
                  </a:solidFill>
                  <a:effectLst/>
                  <a:uLnTx/>
                  <a:uFillTx/>
                  <a:latin typeface="EYInterstate-LightBold"/>
                  <a:ea typeface="+mn-ea"/>
                  <a:cs typeface="+mn-cs"/>
                </a:rPr>
                <a:t>G</a:t>
              </a:r>
              <a:r>
                <a:rPr kumimoji="0" lang="en-US" sz="1005" b="1" i="0" u="none" strike="noStrike" kern="1200" cap="none" spc="0" normalizeH="0" baseline="0" noProof="0" dirty="0">
                  <a:ln>
                    <a:noFill/>
                  </a:ln>
                  <a:solidFill>
                    <a:srgbClr val="FF0000"/>
                  </a:solidFill>
                  <a:effectLst/>
                  <a:uLnTx/>
                  <a:uFillTx/>
                  <a:latin typeface="EYInterstate-LightBold"/>
                  <a:ea typeface="+mn-ea"/>
                  <a:cs typeface="+mn-cs"/>
                </a:rPr>
                <a:t>rid</a:t>
              </a:r>
            </a:p>
          </p:txBody>
        </p:sp>
        <p:sp>
          <p:nvSpPr>
            <p:cNvPr id="645" name="Rectangle 1556">
              <a:extLst>
                <a:ext uri="{FF2B5EF4-FFF2-40B4-BE49-F238E27FC236}">
                  <a16:creationId xmlns:a16="http://schemas.microsoft.com/office/drawing/2014/main" id="{56496C0E-D93D-45E7-B35A-BDA0B04A1873}"/>
                </a:ext>
              </a:extLst>
            </p:cNvPr>
            <p:cNvSpPr/>
            <p:nvPr/>
          </p:nvSpPr>
          <p:spPr>
            <a:xfrm>
              <a:off x="2034497" y="1962114"/>
              <a:ext cx="370294" cy="15478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FF0000"/>
                  </a:solidFill>
                  <a:effectLst/>
                  <a:uLnTx/>
                  <a:uFillTx/>
                  <a:latin typeface="EYInterstate-LightBold"/>
                  <a:ea typeface="+mn-ea"/>
                  <a:cs typeface="+mn-cs"/>
                </a:rPr>
                <a:t>Hydro</a:t>
              </a:r>
            </a:p>
          </p:txBody>
        </p:sp>
      </p:grpSp>
      <p:sp>
        <p:nvSpPr>
          <p:cNvPr id="448" name="Footer Placeholder 2">
            <a:extLst>
              <a:ext uri="{FF2B5EF4-FFF2-40B4-BE49-F238E27FC236}">
                <a16:creationId xmlns:a16="http://schemas.microsoft.com/office/drawing/2014/main" id="{62ABD1F3-8397-412D-9F17-2CF4FEAD5B5A}"/>
              </a:ext>
            </a:extLst>
          </p:cNvPr>
          <p:cNvSpPr txBox="1">
            <a:spLocks/>
          </p:cNvSpPr>
          <p:nvPr/>
        </p:nvSpPr>
        <p:spPr>
          <a:xfrm>
            <a:off x="4553753" y="6471244"/>
            <a:ext cx="3367734" cy="180000"/>
          </a:xfrm>
          <a:prstGeom prst="rect">
            <a:avLst/>
          </a:prstGeom>
        </p:spPr>
        <p:txBody>
          <a:bodyPr/>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Page </a:t>
            </a:r>
            <a:fld id="{F1BC30E3-FFE5-4B91-AA19-87A149EBB9EE}" type="slidenum">
              <a:rPr smtClean="0"/>
              <a:pPr/>
              <a:t>6</a:t>
            </a:fld>
            <a:r>
              <a:rPr lang="en-US" dirty="0"/>
              <a:t> | Draft</a:t>
            </a:r>
          </a:p>
        </p:txBody>
      </p:sp>
    </p:spTree>
    <p:extLst>
      <p:ext uri="{BB962C8B-B14F-4D97-AF65-F5344CB8AC3E}">
        <p14:creationId xmlns:p14="http://schemas.microsoft.com/office/powerpoint/2010/main" val="2602863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04"/>
                                        </p:tgtEl>
                                        <p:attrNameLst>
                                          <p:attrName>style.visibility</p:attrName>
                                        </p:attrNameLst>
                                      </p:cBhvr>
                                      <p:to>
                                        <p:strVal val="visible"/>
                                      </p:to>
                                    </p:set>
                                    <p:animEffect transition="in" filter="fade">
                                      <p:cBhvr>
                                        <p:cTn id="7" dur="500"/>
                                        <p:tgtEl>
                                          <p:spTgt spid="604"/>
                                        </p:tgtEl>
                                      </p:cBhvr>
                                    </p:animEffect>
                                  </p:childTnLst>
                                </p:cTn>
                              </p:par>
                              <p:par>
                                <p:cTn id="8" presetID="10" presetClass="entr" presetSubtype="0" fill="hold" nodeType="withEffect">
                                  <p:stCondLst>
                                    <p:cond delay="0"/>
                                  </p:stCondLst>
                                  <p:childTnLst>
                                    <p:set>
                                      <p:cBhvr>
                                        <p:cTn id="9" dur="1" fill="hold">
                                          <p:stCondLst>
                                            <p:cond delay="0"/>
                                          </p:stCondLst>
                                        </p:cTn>
                                        <p:tgtEl>
                                          <p:spTgt spid="1398"/>
                                        </p:tgtEl>
                                        <p:attrNameLst>
                                          <p:attrName>style.visibility</p:attrName>
                                        </p:attrNameLst>
                                      </p:cBhvr>
                                      <p:to>
                                        <p:strVal val="visible"/>
                                      </p:to>
                                    </p:set>
                                    <p:animEffect transition="in" filter="fade">
                                      <p:cBhvr>
                                        <p:cTn id="10" dur="500"/>
                                        <p:tgtEl>
                                          <p:spTgt spid="1398"/>
                                        </p:tgtEl>
                                      </p:cBhvr>
                                    </p:animEffect>
                                  </p:childTnLst>
                                </p:cTn>
                              </p:par>
                              <p:par>
                                <p:cTn id="11" presetID="10" presetClass="entr" presetSubtype="0" fill="hold" nodeType="withEffect">
                                  <p:stCondLst>
                                    <p:cond delay="0"/>
                                  </p:stCondLst>
                                  <p:childTnLst>
                                    <p:set>
                                      <p:cBhvr>
                                        <p:cTn id="12" dur="1" fill="hold">
                                          <p:stCondLst>
                                            <p:cond delay="0"/>
                                          </p:stCondLst>
                                        </p:cTn>
                                        <p:tgtEl>
                                          <p:spTgt spid="1399"/>
                                        </p:tgtEl>
                                        <p:attrNameLst>
                                          <p:attrName>style.visibility</p:attrName>
                                        </p:attrNameLst>
                                      </p:cBhvr>
                                      <p:to>
                                        <p:strVal val="visible"/>
                                      </p:to>
                                    </p:set>
                                    <p:animEffect transition="in" filter="fade">
                                      <p:cBhvr>
                                        <p:cTn id="13" dur="500"/>
                                        <p:tgtEl>
                                          <p:spTgt spid="1399"/>
                                        </p:tgtEl>
                                      </p:cBhvr>
                                    </p:animEffect>
                                  </p:childTnLst>
                                </p:cTn>
                              </p:par>
                              <p:par>
                                <p:cTn id="14" presetID="10" presetClass="entr" presetSubtype="0" fill="hold" nodeType="withEffect">
                                  <p:stCondLst>
                                    <p:cond delay="0"/>
                                  </p:stCondLst>
                                  <p:childTnLst>
                                    <p:set>
                                      <p:cBhvr>
                                        <p:cTn id="15" dur="1" fill="hold">
                                          <p:stCondLst>
                                            <p:cond delay="0"/>
                                          </p:stCondLst>
                                        </p:cTn>
                                        <p:tgtEl>
                                          <p:spTgt spid="1420"/>
                                        </p:tgtEl>
                                        <p:attrNameLst>
                                          <p:attrName>style.visibility</p:attrName>
                                        </p:attrNameLst>
                                      </p:cBhvr>
                                      <p:to>
                                        <p:strVal val="visible"/>
                                      </p:to>
                                    </p:set>
                                    <p:animEffect transition="in" filter="fade">
                                      <p:cBhvr>
                                        <p:cTn id="16" dur="500"/>
                                        <p:tgtEl>
                                          <p:spTgt spid="1420"/>
                                        </p:tgtEl>
                                      </p:cBhvr>
                                    </p:animEffect>
                                  </p:childTnLst>
                                </p:cTn>
                              </p:par>
                              <p:par>
                                <p:cTn id="17" presetID="10" presetClass="entr" presetSubtype="0" fill="hold" nodeType="withEffect">
                                  <p:stCondLst>
                                    <p:cond delay="0"/>
                                  </p:stCondLst>
                                  <p:childTnLst>
                                    <p:set>
                                      <p:cBhvr>
                                        <p:cTn id="18" dur="1" fill="hold">
                                          <p:stCondLst>
                                            <p:cond delay="0"/>
                                          </p:stCondLst>
                                        </p:cTn>
                                        <p:tgtEl>
                                          <p:spTgt spid="1421"/>
                                        </p:tgtEl>
                                        <p:attrNameLst>
                                          <p:attrName>style.visibility</p:attrName>
                                        </p:attrNameLst>
                                      </p:cBhvr>
                                      <p:to>
                                        <p:strVal val="visible"/>
                                      </p:to>
                                    </p:set>
                                    <p:animEffect transition="in" filter="fade">
                                      <p:cBhvr>
                                        <p:cTn id="19" dur="500"/>
                                        <p:tgtEl>
                                          <p:spTgt spid="1421"/>
                                        </p:tgtEl>
                                      </p:cBhvr>
                                    </p:animEffect>
                                  </p:childTnLst>
                                </p:cTn>
                              </p:par>
                              <p:par>
                                <p:cTn id="20" presetID="10" presetClass="entr" presetSubtype="0" fill="hold" nodeType="withEffect">
                                  <p:stCondLst>
                                    <p:cond delay="0"/>
                                  </p:stCondLst>
                                  <p:childTnLst>
                                    <p:set>
                                      <p:cBhvr>
                                        <p:cTn id="21" dur="1" fill="hold">
                                          <p:stCondLst>
                                            <p:cond delay="0"/>
                                          </p:stCondLst>
                                        </p:cTn>
                                        <p:tgtEl>
                                          <p:spTgt spid="1529"/>
                                        </p:tgtEl>
                                        <p:attrNameLst>
                                          <p:attrName>style.visibility</p:attrName>
                                        </p:attrNameLst>
                                      </p:cBhvr>
                                      <p:to>
                                        <p:strVal val="visible"/>
                                      </p:to>
                                    </p:set>
                                    <p:animEffect transition="in" filter="fade">
                                      <p:cBhvr>
                                        <p:cTn id="22" dur="500"/>
                                        <p:tgtEl>
                                          <p:spTgt spid="1529"/>
                                        </p:tgtEl>
                                      </p:cBhvr>
                                    </p:animEffect>
                                  </p:childTnLst>
                                </p:cTn>
                              </p:par>
                              <p:par>
                                <p:cTn id="23" presetID="10"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par>
                                <p:cTn id="26" presetID="10" presetClass="entr" presetSubtype="0" fill="hold"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500"/>
                                        <p:tgtEl>
                                          <p:spTgt spid="13"/>
                                        </p:tgtEl>
                                      </p:cBhvr>
                                    </p:animEffect>
                                  </p:childTnLst>
                                </p:cTn>
                              </p:par>
                              <p:par>
                                <p:cTn id="29" presetID="10"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567"/>
                                        </p:tgtEl>
                                        <p:attrNameLst>
                                          <p:attrName>style.visibility</p:attrName>
                                        </p:attrNameLst>
                                      </p:cBhvr>
                                      <p:to>
                                        <p:strVal val="visible"/>
                                      </p:to>
                                    </p:set>
                                    <p:animEffect transition="in" filter="fade">
                                      <p:cBhvr>
                                        <p:cTn id="34" dur="500"/>
                                        <p:tgtEl>
                                          <p:spTgt spid="156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569"/>
                                        </p:tgtEl>
                                        <p:attrNameLst>
                                          <p:attrName>style.visibility</p:attrName>
                                        </p:attrNameLst>
                                      </p:cBhvr>
                                      <p:to>
                                        <p:strVal val="visible"/>
                                      </p:to>
                                    </p:set>
                                    <p:animEffect transition="in" filter="fade">
                                      <p:cBhvr>
                                        <p:cTn id="37" dur="500"/>
                                        <p:tgtEl>
                                          <p:spTgt spid="1569"/>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570"/>
                                        </p:tgtEl>
                                        <p:attrNameLst>
                                          <p:attrName>style.visibility</p:attrName>
                                        </p:attrNameLst>
                                      </p:cBhvr>
                                      <p:to>
                                        <p:strVal val="visible"/>
                                      </p:to>
                                    </p:set>
                                    <p:animEffect transition="in" filter="fade">
                                      <p:cBhvr>
                                        <p:cTn id="40" dur="500"/>
                                        <p:tgtEl>
                                          <p:spTgt spid="1570"/>
                                        </p:tgtEl>
                                      </p:cBhvr>
                                    </p:animEffect>
                                  </p:childTnLst>
                                </p:cTn>
                              </p:par>
                              <p:par>
                                <p:cTn id="41" presetID="10" presetClass="entr" presetSubtype="0" fill="hold" nodeType="with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fade">
                                      <p:cBhvr>
                                        <p:cTn id="43" dur="500"/>
                                        <p:tgtEl>
                                          <p:spTgt spid="11"/>
                                        </p:tgtEl>
                                      </p:cBhvr>
                                    </p:animEffect>
                                  </p:childTnLst>
                                </p:cTn>
                              </p:par>
                              <p:par>
                                <p:cTn id="44" presetID="10" presetClass="entr" presetSubtype="0" fill="hold" nodeType="withEffect">
                                  <p:stCondLst>
                                    <p:cond delay="0"/>
                                  </p:stCondLst>
                                  <p:childTnLst>
                                    <p:set>
                                      <p:cBhvr>
                                        <p:cTn id="45" dur="1" fill="hold">
                                          <p:stCondLst>
                                            <p:cond delay="0"/>
                                          </p:stCondLst>
                                        </p:cTn>
                                        <p:tgtEl>
                                          <p:spTgt spid="10"/>
                                        </p:tgtEl>
                                        <p:attrNameLst>
                                          <p:attrName>style.visibility</p:attrName>
                                        </p:attrNameLst>
                                      </p:cBhvr>
                                      <p:to>
                                        <p:strVal val="visible"/>
                                      </p:to>
                                    </p:set>
                                    <p:animEffect transition="in" filter="fade">
                                      <p:cBhvr>
                                        <p:cTn id="46" dur="500"/>
                                        <p:tgtEl>
                                          <p:spTgt spid="10"/>
                                        </p:tgtEl>
                                      </p:cBhvr>
                                    </p:animEffect>
                                  </p:childTnLst>
                                </p:cTn>
                              </p:par>
                              <p:par>
                                <p:cTn id="47" presetID="10" presetClass="entr" presetSubtype="0" fill="hold" nodeType="with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500"/>
                                        <p:tgtEl>
                                          <p:spTgt spid="5"/>
                                        </p:tgtEl>
                                      </p:cBhvr>
                                    </p:animEffect>
                                  </p:childTnLst>
                                </p:cTn>
                              </p:par>
                              <p:par>
                                <p:cTn id="50" presetID="10" presetClass="entr" presetSubtype="0" fill="hold" nodeType="withEffect">
                                  <p:stCondLst>
                                    <p:cond delay="0"/>
                                  </p:stCondLst>
                                  <p:childTnLst>
                                    <p:set>
                                      <p:cBhvr>
                                        <p:cTn id="51" dur="1" fill="hold">
                                          <p:stCondLst>
                                            <p:cond delay="0"/>
                                          </p:stCondLst>
                                        </p:cTn>
                                        <p:tgtEl>
                                          <p:spTgt spid="51"/>
                                        </p:tgtEl>
                                        <p:attrNameLst>
                                          <p:attrName>style.visibility</p:attrName>
                                        </p:attrNameLst>
                                      </p:cBhvr>
                                      <p:to>
                                        <p:strVal val="visible"/>
                                      </p:to>
                                    </p:set>
                                    <p:animEffect transition="in" filter="fade">
                                      <p:cBhvr>
                                        <p:cTn id="52" dur="500"/>
                                        <p:tgtEl>
                                          <p:spTgt spid="5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590"/>
                                        </p:tgtEl>
                                        <p:attrNameLst>
                                          <p:attrName>style.visibility</p:attrName>
                                        </p:attrNameLst>
                                      </p:cBhvr>
                                      <p:to>
                                        <p:strVal val="visible"/>
                                      </p:to>
                                    </p:set>
                                    <p:animEffect transition="in" filter="fade">
                                      <p:cBhvr>
                                        <p:cTn id="55" dur="500"/>
                                        <p:tgtEl>
                                          <p:spTgt spid="1590"/>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591"/>
                                        </p:tgtEl>
                                        <p:attrNameLst>
                                          <p:attrName>style.visibility</p:attrName>
                                        </p:attrNameLst>
                                      </p:cBhvr>
                                      <p:to>
                                        <p:strVal val="visible"/>
                                      </p:to>
                                    </p:set>
                                    <p:animEffect transition="in" filter="fade">
                                      <p:cBhvr>
                                        <p:cTn id="58" dur="500"/>
                                        <p:tgtEl>
                                          <p:spTgt spid="159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592"/>
                                        </p:tgtEl>
                                        <p:attrNameLst>
                                          <p:attrName>style.visibility</p:attrName>
                                        </p:attrNameLst>
                                      </p:cBhvr>
                                      <p:to>
                                        <p:strVal val="visible"/>
                                      </p:to>
                                    </p:set>
                                    <p:animEffect transition="in" filter="fade">
                                      <p:cBhvr>
                                        <p:cTn id="61" dur="500"/>
                                        <p:tgtEl>
                                          <p:spTgt spid="1592"/>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593"/>
                                        </p:tgtEl>
                                        <p:attrNameLst>
                                          <p:attrName>style.visibility</p:attrName>
                                        </p:attrNameLst>
                                      </p:cBhvr>
                                      <p:to>
                                        <p:strVal val="visible"/>
                                      </p:to>
                                    </p:set>
                                    <p:animEffect transition="in" filter="fade">
                                      <p:cBhvr>
                                        <p:cTn id="64" dur="500"/>
                                        <p:tgtEl>
                                          <p:spTgt spid="159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568"/>
                                        </p:tgtEl>
                                        <p:attrNameLst>
                                          <p:attrName>style.visibility</p:attrName>
                                        </p:attrNameLst>
                                      </p:cBhvr>
                                      <p:to>
                                        <p:strVal val="visible"/>
                                      </p:to>
                                    </p:set>
                                    <p:animEffect transition="in" filter="fade">
                                      <p:cBhvr>
                                        <p:cTn id="67" dur="500"/>
                                        <p:tgtEl>
                                          <p:spTgt spid="1568"/>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565"/>
                                        </p:tgtEl>
                                        <p:attrNameLst>
                                          <p:attrName>style.visibility</p:attrName>
                                        </p:attrNameLst>
                                      </p:cBhvr>
                                      <p:to>
                                        <p:strVal val="visible"/>
                                      </p:to>
                                    </p:set>
                                    <p:animEffect transition="in" filter="fade">
                                      <p:cBhvr>
                                        <p:cTn id="70" dur="500"/>
                                        <p:tgtEl>
                                          <p:spTgt spid="1565"/>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52"/>
                                        </p:tgtEl>
                                        <p:attrNameLst>
                                          <p:attrName>style.visibility</p:attrName>
                                        </p:attrNameLst>
                                      </p:cBhvr>
                                      <p:to>
                                        <p:strVal val="visible"/>
                                      </p:to>
                                    </p:set>
                                    <p:animEffect transition="in" filter="fade">
                                      <p:cBhvr>
                                        <p:cTn id="73" dur="500"/>
                                        <p:tgtEl>
                                          <p:spTgt spid="452"/>
                                        </p:tgtEl>
                                      </p:cBhvr>
                                    </p:animEffect>
                                  </p:childTnLst>
                                </p:cTn>
                              </p:par>
                              <p:par>
                                <p:cTn id="74" presetID="10" presetClass="entr" presetSubtype="0" fill="hold" nodeType="withEffect">
                                  <p:stCondLst>
                                    <p:cond delay="0"/>
                                  </p:stCondLst>
                                  <p:childTnLst>
                                    <p:set>
                                      <p:cBhvr>
                                        <p:cTn id="75" dur="1" fill="hold">
                                          <p:stCondLst>
                                            <p:cond delay="0"/>
                                          </p:stCondLst>
                                        </p:cTn>
                                        <p:tgtEl>
                                          <p:spTgt spid="20"/>
                                        </p:tgtEl>
                                        <p:attrNameLst>
                                          <p:attrName>style.visibility</p:attrName>
                                        </p:attrNameLst>
                                      </p:cBhvr>
                                      <p:to>
                                        <p:strVal val="visible"/>
                                      </p:to>
                                    </p:set>
                                    <p:animEffect transition="in" filter="fade">
                                      <p:cBhvr>
                                        <p:cTn id="76" dur="500"/>
                                        <p:tgtEl>
                                          <p:spTgt spid="20"/>
                                        </p:tgtEl>
                                      </p:cBhvr>
                                    </p:animEffect>
                                  </p:childTnLst>
                                </p:cTn>
                              </p:par>
                              <p:par>
                                <p:cTn id="77" presetID="10" presetClass="entr" presetSubtype="0" fill="hold" nodeType="withEffect">
                                  <p:stCondLst>
                                    <p:cond delay="0"/>
                                  </p:stCondLst>
                                  <p:childTnLst>
                                    <p:set>
                                      <p:cBhvr>
                                        <p:cTn id="78" dur="1" fill="hold">
                                          <p:stCondLst>
                                            <p:cond delay="0"/>
                                          </p:stCondLst>
                                        </p:cTn>
                                        <p:tgtEl>
                                          <p:spTgt spid="25"/>
                                        </p:tgtEl>
                                        <p:attrNameLst>
                                          <p:attrName>style.visibility</p:attrName>
                                        </p:attrNameLst>
                                      </p:cBhvr>
                                      <p:to>
                                        <p:strVal val="visible"/>
                                      </p:to>
                                    </p:set>
                                    <p:animEffect transition="in" filter="fade">
                                      <p:cBhvr>
                                        <p:cTn id="79" dur="500"/>
                                        <p:tgtEl>
                                          <p:spTgt spid="25"/>
                                        </p:tgtEl>
                                      </p:cBhvr>
                                    </p:animEffect>
                                  </p:childTnLst>
                                </p:cTn>
                              </p:par>
                              <p:par>
                                <p:cTn id="80" presetID="10" presetClass="entr" presetSubtype="0" fill="hold" nodeType="withEffect">
                                  <p:stCondLst>
                                    <p:cond delay="0"/>
                                  </p:stCondLst>
                                  <p:childTnLst>
                                    <p:set>
                                      <p:cBhvr>
                                        <p:cTn id="81" dur="1" fill="hold">
                                          <p:stCondLst>
                                            <p:cond delay="0"/>
                                          </p:stCondLst>
                                        </p:cTn>
                                        <p:tgtEl>
                                          <p:spTgt spid="481"/>
                                        </p:tgtEl>
                                        <p:attrNameLst>
                                          <p:attrName>style.visibility</p:attrName>
                                        </p:attrNameLst>
                                      </p:cBhvr>
                                      <p:to>
                                        <p:strVal val="visible"/>
                                      </p:to>
                                    </p:set>
                                    <p:animEffect transition="in" filter="fade">
                                      <p:cBhvr>
                                        <p:cTn id="82" dur="500"/>
                                        <p:tgtEl>
                                          <p:spTgt spid="481"/>
                                        </p:tgtEl>
                                      </p:cBhvr>
                                    </p:animEffect>
                                  </p:childTnLst>
                                </p:cTn>
                              </p:par>
                              <p:par>
                                <p:cTn id="83" presetID="10" presetClass="entr" presetSubtype="0" fill="hold" nodeType="withEffect">
                                  <p:stCondLst>
                                    <p:cond delay="0"/>
                                  </p:stCondLst>
                                  <p:childTnLst>
                                    <p:set>
                                      <p:cBhvr>
                                        <p:cTn id="84" dur="1" fill="hold">
                                          <p:stCondLst>
                                            <p:cond delay="0"/>
                                          </p:stCondLst>
                                        </p:cTn>
                                        <p:tgtEl>
                                          <p:spTgt spid="9"/>
                                        </p:tgtEl>
                                        <p:attrNameLst>
                                          <p:attrName>style.visibility</p:attrName>
                                        </p:attrNameLst>
                                      </p:cBhvr>
                                      <p:to>
                                        <p:strVal val="visible"/>
                                      </p:to>
                                    </p:set>
                                    <p:animEffect transition="in" filter="fade">
                                      <p:cBhvr>
                                        <p:cTn id="85" dur="500"/>
                                        <p:tgtEl>
                                          <p:spTgt spid="9"/>
                                        </p:tgtEl>
                                      </p:cBhvr>
                                    </p:animEffect>
                                  </p:childTnLst>
                                </p:cTn>
                              </p:par>
                              <p:par>
                                <p:cTn id="86" presetID="10" presetClass="entr" presetSubtype="0" fill="hold" nodeType="withEffect">
                                  <p:stCondLst>
                                    <p:cond delay="0"/>
                                  </p:stCondLst>
                                  <p:childTnLst>
                                    <p:set>
                                      <p:cBhvr>
                                        <p:cTn id="87" dur="1" fill="hold">
                                          <p:stCondLst>
                                            <p:cond delay="0"/>
                                          </p:stCondLst>
                                        </p:cTn>
                                        <p:tgtEl>
                                          <p:spTgt spid="498"/>
                                        </p:tgtEl>
                                        <p:attrNameLst>
                                          <p:attrName>style.visibility</p:attrName>
                                        </p:attrNameLst>
                                      </p:cBhvr>
                                      <p:to>
                                        <p:strVal val="visible"/>
                                      </p:to>
                                    </p:set>
                                    <p:animEffect transition="in" filter="fade">
                                      <p:cBhvr>
                                        <p:cTn id="88" dur="500"/>
                                        <p:tgtEl>
                                          <p:spTgt spid="498"/>
                                        </p:tgtEl>
                                      </p:cBhvr>
                                    </p:animEffect>
                                  </p:childTnLst>
                                </p:cTn>
                              </p:par>
                              <p:par>
                                <p:cTn id="89" presetID="10" presetClass="entr" presetSubtype="0" fill="hold" nodeType="withEffect">
                                  <p:stCondLst>
                                    <p:cond delay="0"/>
                                  </p:stCondLst>
                                  <p:childTnLst>
                                    <p:set>
                                      <p:cBhvr>
                                        <p:cTn id="90" dur="1" fill="hold">
                                          <p:stCondLst>
                                            <p:cond delay="0"/>
                                          </p:stCondLst>
                                        </p:cTn>
                                        <p:tgtEl>
                                          <p:spTgt spid="3"/>
                                        </p:tgtEl>
                                        <p:attrNameLst>
                                          <p:attrName>style.visibility</p:attrName>
                                        </p:attrNameLst>
                                      </p:cBhvr>
                                      <p:to>
                                        <p:strVal val="visible"/>
                                      </p:to>
                                    </p:set>
                                    <p:animEffect transition="in" filter="fade">
                                      <p:cBhvr>
                                        <p:cTn id="91" dur="500"/>
                                        <p:tgtEl>
                                          <p:spTgt spid="3"/>
                                        </p:tgtEl>
                                      </p:cBhvr>
                                    </p:animEffect>
                                  </p:childTnLst>
                                </p:cTn>
                              </p:par>
                            </p:childTnLst>
                          </p:cTn>
                        </p:par>
                      </p:childTnLst>
                    </p:cTn>
                  </p:par>
                  <p:par>
                    <p:cTn id="92" fill="hold">
                      <p:stCondLst>
                        <p:cond delay="indefinite"/>
                      </p:stCondLst>
                      <p:childTnLst>
                        <p:par>
                          <p:cTn id="93" fill="hold">
                            <p:stCondLst>
                              <p:cond delay="0"/>
                            </p:stCondLst>
                            <p:childTnLst>
                              <p:par>
                                <p:cTn id="94" presetID="53" presetClass="exit" presetSubtype="32" fill="hold" nodeType="clickEffect">
                                  <p:stCondLst>
                                    <p:cond delay="0"/>
                                  </p:stCondLst>
                                  <p:childTnLst>
                                    <p:anim calcmode="lin" valueType="num">
                                      <p:cBhvr>
                                        <p:cTn id="95" dur="500"/>
                                        <p:tgtEl>
                                          <p:spTgt spid="604"/>
                                        </p:tgtEl>
                                        <p:attrNameLst>
                                          <p:attrName>ppt_w</p:attrName>
                                        </p:attrNameLst>
                                      </p:cBhvr>
                                      <p:tavLst>
                                        <p:tav tm="0">
                                          <p:val>
                                            <p:strVal val="ppt_w"/>
                                          </p:val>
                                        </p:tav>
                                        <p:tav tm="100000">
                                          <p:val>
                                            <p:fltVal val="0"/>
                                          </p:val>
                                        </p:tav>
                                      </p:tavLst>
                                    </p:anim>
                                    <p:anim calcmode="lin" valueType="num">
                                      <p:cBhvr>
                                        <p:cTn id="96" dur="500"/>
                                        <p:tgtEl>
                                          <p:spTgt spid="604"/>
                                        </p:tgtEl>
                                        <p:attrNameLst>
                                          <p:attrName>ppt_h</p:attrName>
                                        </p:attrNameLst>
                                      </p:cBhvr>
                                      <p:tavLst>
                                        <p:tav tm="0">
                                          <p:val>
                                            <p:strVal val="ppt_h"/>
                                          </p:val>
                                        </p:tav>
                                        <p:tav tm="100000">
                                          <p:val>
                                            <p:fltVal val="0"/>
                                          </p:val>
                                        </p:tav>
                                      </p:tavLst>
                                    </p:anim>
                                    <p:animEffect transition="out" filter="fade">
                                      <p:cBhvr>
                                        <p:cTn id="97" dur="500"/>
                                        <p:tgtEl>
                                          <p:spTgt spid="604"/>
                                        </p:tgtEl>
                                      </p:cBhvr>
                                    </p:animEffect>
                                    <p:set>
                                      <p:cBhvr>
                                        <p:cTn id="98" dur="1" fill="hold">
                                          <p:stCondLst>
                                            <p:cond delay="499"/>
                                          </p:stCondLst>
                                        </p:cTn>
                                        <p:tgtEl>
                                          <p:spTgt spid="604"/>
                                        </p:tgtEl>
                                        <p:attrNameLst>
                                          <p:attrName>style.visibility</p:attrName>
                                        </p:attrNameLst>
                                      </p:cBhvr>
                                      <p:to>
                                        <p:strVal val="hidden"/>
                                      </p:to>
                                    </p:set>
                                  </p:childTnLst>
                                </p:cTn>
                              </p:par>
                              <p:par>
                                <p:cTn id="99" presetID="53" presetClass="exit" presetSubtype="32" fill="hold" grpId="1" nodeType="withEffect">
                                  <p:stCondLst>
                                    <p:cond delay="0"/>
                                  </p:stCondLst>
                                  <p:childTnLst>
                                    <p:anim calcmode="lin" valueType="num">
                                      <p:cBhvr>
                                        <p:cTn id="100" dur="500"/>
                                        <p:tgtEl>
                                          <p:spTgt spid="1565"/>
                                        </p:tgtEl>
                                        <p:attrNameLst>
                                          <p:attrName>ppt_w</p:attrName>
                                        </p:attrNameLst>
                                      </p:cBhvr>
                                      <p:tavLst>
                                        <p:tav tm="0">
                                          <p:val>
                                            <p:strVal val="ppt_w"/>
                                          </p:val>
                                        </p:tav>
                                        <p:tav tm="100000">
                                          <p:val>
                                            <p:fltVal val="0"/>
                                          </p:val>
                                        </p:tav>
                                      </p:tavLst>
                                    </p:anim>
                                    <p:anim calcmode="lin" valueType="num">
                                      <p:cBhvr>
                                        <p:cTn id="101" dur="500"/>
                                        <p:tgtEl>
                                          <p:spTgt spid="1565"/>
                                        </p:tgtEl>
                                        <p:attrNameLst>
                                          <p:attrName>ppt_h</p:attrName>
                                        </p:attrNameLst>
                                      </p:cBhvr>
                                      <p:tavLst>
                                        <p:tav tm="0">
                                          <p:val>
                                            <p:strVal val="ppt_h"/>
                                          </p:val>
                                        </p:tav>
                                        <p:tav tm="100000">
                                          <p:val>
                                            <p:fltVal val="0"/>
                                          </p:val>
                                        </p:tav>
                                      </p:tavLst>
                                    </p:anim>
                                    <p:animEffect transition="out" filter="fade">
                                      <p:cBhvr>
                                        <p:cTn id="102" dur="500"/>
                                        <p:tgtEl>
                                          <p:spTgt spid="1565"/>
                                        </p:tgtEl>
                                      </p:cBhvr>
                                    </p:animEffect>
                                    <p:set>
                                      <p:cBhvr>
                                        <p:cTn id="103" dur="1" fill="hold">
                                          <p:stCondLst>
                                            <p:cond delay="499"/>
                                          </p:stCondLst>
                                        </p:cTn>
                                        <p:tgtEl>
                                          <p:spTgt spid="1565"/>
                                        </p:tgtEl>
                                        <p:attrNameLst>
                                          <p:attrName>style.visibility</p:attrName>
                                        </p:attrNameLst>
                                      </p:cBhvr>
                                      <p:to>
                                        <p:strVal val="hidden"/>
                                      </p:to>
                                    </p:set>
                                  </p:childTnLst>
                                </p:cTn>
                              </p:par>
                              <p:par>
                                <p:cTn id="104" presetID="53" presetClass="exit" presetSubtype="32" fill="hold" nodeType="withEffect">
                                  <p:stCondLst>
                                    <p:cond delay="0"/>
                                  </p:stCondLst>
                                  <p:childTnLst>
                                    <p:anim calcmode="lin" valueType="num">
                                      <p:cBhvr>
                                        <p:cTn id="105" dur="500"/>
                                        <p:tgtEl>
                                          <p:spTgt spid="3"/>
                                        </p:tgtEl>
                                        <p:attrNameLst>
                                          <p:attrName>ppt_w</p:attrName>
                                        </p:attrNameLst>
                                      </p:cBhvr>
                                      <p:tavLst>
                                        <p:tav tm="0">
                                          <p:val>
                                            <p:strVal val="ppt_w"/>
                                          </p:val>
                                        </p:tav>
                                        <p:tav tm="100000">
                                          <p:val>
                                            <p:fltVal val="0"/>
                                          </p:val>
                                        </p:tav>
                                      </p:tavLst>
                                    </p:anim>
                                    <p:anim calcmode="lin" valueType="num">
                                      <p:cBhvr>
                                        <p:cTn id="106" dur="500"/>
                                        <p:tgtEl>
                                          <p:spTgt spid="3"/>
                                        </p:tgtEl>
                                        <p:attrNameLst>
                                          <p:attrName>ppt_h</p:attrName>
                                        </p:attrNameLst>
                                      </p:cBhvr>
                                      <p:tavLst>
                                        <p:tav tm="0">
                                          <p:val>
                                            <p:strVal val="ppt_h"/>
                                          </p:val>
                                        </p:tav>
                                        <p:tav tm="100000">
                                          <p:val>
                                            <p:fltVal val="0"/>
                                          </p:val>
                                        </p:tav>
                                      </p:tavLst>
                                    </p:anim>
                                    <p:animEffect transition="out" filter="fade">
                                      <p:cBhvr>
                                        <p:cTn id="107" dur="500"/>
                                        <p:tgtEl>
                                          <p:spTgt spid="3"/>
                                        </p:tgtEl>
                                      </p:cBhvr>
                                    </p:animEffect>
                                    <p:set>
                                      <p:cBhvr>
                                        <p:cTn id="108" dur="1" fill="hold">
                                          <p:stCondLst>
                                            <p:cond delay="4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67" grpId="0" animBg="1"/>
      <p:bldP spid="1569" grpId="0" animBg="1"/>
      <p:bldP spid="1570" grpId="0"/>
      <p:bldP spid="1590" grpId="0"/>
      <p:bldP spid="1591" grpId="0"/>
      <p:bldP spid="1592" grpId="0"/>
      <p:bldP spid="1593" grpId="0"/>
      <p:bldP spid="1568" grpId="0"/>
      <p:bldP spid="1565" grpId="0"/>
      <p:bldP spid="1565" grpId="1"/>
      <p:bldP spid="45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6" name="Rectangle 1415">
            <a:extLst>
              <a:ext uri="{FF2B5EF4-FFF2-40B4-BE49-F238E27FC236}">
                <a16:creationId xmlns:a16="http://schemas.microsoft.com/office/drawing/2014/main" id="{48B21425-B775-4F39-99F4-AEF5E1204C75}"/>
              </a:ext>
            </a:extLst>
          </p:cNvPr>
          <p:cNvSpPr/>
          <p:nvPr/>
        </p:nvSpPr>
        <p:spPr>
          <a:xfrm>
            <a:off x="3071724" y="3982597"/>
            <a:ext cx="557483" cy="576823"/>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446" name="Freeform 1446"/>
          <p:cNvSpPr/>
          <p:nvPr/>
        </p:nvSpPr>
        <p:spPr>
          <a:xfrm>
            <a:off x="612139" y="1230636"/>
            <a:ext cx="2225769" cy="252720"/>
          </a:xfrm>
          <a:custGeom>
            <a:avLst/>
            <a:gdLst/>
            <a:ahLst/>
            <a:cxnLst/>
            <a:rect l="0" t="0" r="0" b="0"/>
            <a:pathLst>
              <a:path w="2228088" h="252984">
                <a:moveTo>
                  <a:pt x="0" y="0"/>
                </a:moveTo>
                <a:lnTo>
                  <a:pt x="2161794" y="0"/>
                </a:lnTo>
                <a:lnTo>
                  <a:pt x="2228088" y="126491"/>
                </a:lnTo>
                <a:lnTo>
                  <a:pt x="2161794" y="252984"/>
                </a:lnTo>
                <a:lnTo>
                  <a:pt x="0" y="252984"/>
                </a:lnTo>
                <a:close/>
                <a:moveTo>
                  <a:pt x="5020055" y="5629655"/>
                </a:moveTo>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447" name="Freeform 1447"/>
          <p:cNvSpPr/>
          <p:nvPr/>
        </p:nvSpPr>
        <p:spPr>
          <a:xfrm>
            <a:off x="2795280" y="1230636"/>
            <a:ext cx="2216634" cy="252720"/>
          </a:xfrm>
          <a:custGeom>
            <a:avLst/>
            <a:gdLst/>
            <a:ahLst/>
            <a:cxnLst/>
            <a:rect l="0" t="0" r="0" b="0"/>
            <a:pathLst>
              <a:path w="2218943" h="252984">
                <a:moveTo>
                  <a:pt x="0" y="0"/>
                </a:moveTo>
                <a:lnTo>
                  <a:pt x="2160524" y="0"/>
                </a:lnTo>
                <a:lnTo>
                  <a:pt x="2218943" y="126491"/>
                </a:lnTo>
                <a:lnTo>
                  <a:pt x="2160524" y="252984"/>
                </a:lnTo>
                <a:lnTo>
                  <a:pt x="0" y="252984"/>
                </a:lnTo>
                <a:lnTo>
                  <a:pt x="58419" y="126491"/>
                </a:lnTo>
                <a:close/>
                <a:moveTo>
                  <a:pt x="2834639" y="5629655"/>
                </a:moveTo>
              </a:path>
            </a:pathLst>
          </a:custGeom>
          <a:solidFill>
            <a:srgbClr val="188CE5"/>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449" name="Freeform 1449"/>
          <p:cNvSpPr/>
          <p:nvPr/>
        </p:nvSpPr>
        <p:spPr>
          <a:xfrm>
            <a:off x="7170697" y="1230636"/>
            <a:ext cx="2225769" cy="252720"/>
          </a:xfrm>
          <a:custGeom>
            <a:avLst/>
            <a:gdLst/>
            <a:ahLst/>
            <a:cxnLst/>
            <a:rect l="0" t="0" r="0" b="0"/>
            <a:pathLst>
              <a:path w="2228088" h="252984">
                <a:moveTo>
                  <a:pt x="0" y="0"/>
                </a:moveTo>
                <a:lnTo>
                  <a:pt x="2161793" y="0"/>
                </a:lnTo>
                <a:lnTo>
                  <a:pt x="2228088" y="126491"/>
                </a:lnTo>
                <a:lnTo>
                  <a:pt x="2161793" y="252984"/>
                </a:lnTo>
                <a:lnTo>
                  <a:pt x="0" y="252984"/>
                </a:lnTo>
                <a:lnTo>
                  <a:pt x="66293" y="126491"/>
                </a:lnTo>
                <a:close/>
                <a:moveTo>
                  <a:pt x="-1545337" y="5629655"/>
                </a:moveTo>
              </a:path>
            </a:pathLst>
          </a:custGeom>
          <a:solidFill>
            <a:srgbClr val="FFF599">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450" name="Freeform 1450"/>
          <p:cNvSpPr/>
          <p:nvPr/>
        </p:nvSpPr>
        <p:spPr>
          <a:xfrm>
            <a:off x="9353839" y="1230636"/>
            <a:ext cx="2228814" cy="252720"/>
          </a:xfrm>
          <a:custGeom>
            <a:avLst/>
            <a:gdLst/>
            <a:ahLst/>
            <a:cxnLst/>
            <a:rect l="0" t="0" r="0" b="0"/>
            <a:pathLst>
              <a:path w="2231136" h="252984">
                <a:moveTo>
                  <a:pt x="0" y="0"/>
                </a:moveTo>
                <a:lnTo>
                  <a:pt x="2168779" y="0"/>
                </a:lnTo>
                <a:lnTo>
                  <a:pt x="2231136" y="126491"/>
                </a:lnTo>
                <a:lnTo>
                  <a:pt x="2168779" y="252984"/>
                </a:lnTo>
                <a:lnTo>
                  <a:pt x="0" y="252984"/>
                </a:lnTo>
                <a:lnTo>
                  <a:pt x="62358" y="126491"/>
                </a:lnTo>
                <a:close/>
                <a:moveTo>
                  <a:pt x="-3730752" y="5629655"/>
                </a:moveTo>
              </a:path>
            </a:pathLst>
          </a:custGeom>
          <a:solidFill>
            <a:srgbClr val="FFFACC">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529" name="Freeform 1529"/>
          <p:cNvSpPr/>
          <p:nvPr/>
        </p:nvSpPr>
        <p:spPr>
          <a:xfrm>
            <a:off x="7560434" y="2335907"/>
            <a:ext cx="1150945" cy="292304"/>
          </a:xfrm>
          <a:custGeom>
            <a:avLst/>
            <a:gdLst/>
            <a:ahLst/>
            <a:cxnLst/>
            <a:rect l="0" t="0" r="0" b="0"/>
            <a:pathLst>
              <a:path w="1152144" h="292608">
                <a:moveTo>
                  <a:pt x="0" y="292608"/>
                </a:moveTo>
                <a:lnTo>
                  <a:pt x="1152144" y="292608"/>
                </a:lnTo>
                <a:lnTo>
                  <a:pt x="1152144" y="0"/>
                </a:lnTo>
                <a:lnTo>
                  <a:pt x="0" y="0"/>
                </a:lnTo>
                <a:lnTo>
                  <a:pt x="0" y="292608"/>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grpSp>
        <p:nvGrpSpPr>
          <p:cNvPr id="14" name="5. End Use - Power and Heat">
            <a:extLst>
              <a:ext uri="{FF2B5EF4-FFF2-40B4-BE49-F238E27FC236}">
                <a16:creationId xmlns:a16="http://schemas.microsoft.com/office/drawing/2014/main" id="{01C63FB7-62B5-44CD-9AFD-915C6E4FBA3F}"/>
              </a:ext>
            </a:extLst>
          </p:cNvPr>
          <p:cNvGrpSpPr/>
          <p:nvPr/>
        </p:nvGrpSpPr>
        <p:grpSpPr>
          <a:xfrm>
            <a:off x="9525951" y="4888835"/>
            <a:ext cx="2230546" cy="873865"/>
            <a:chOff x="9378512" y="5194398"/>
            <a:chExt cx="2231708" cy="874320"/>
          </a:xfrm>
        </p:grpSpPr>
        <p:sp>
          <p:nvSpPr>
            <p:cNvPr id="1163" name="Freeform 1163"/>
            <p:cNvSpPr/>
            <p:nvPr/>
          </p:nvSpPr>
          <p:spPr>
            <a:xfrm>
              <a:off x="11070794" y="5375659"/>
              <a:ext cx="143182" cy="292456"/>
            </a:xfrm>
            <a:custGeom>
              <a:avLst/>
              <a:gdLst/>
              <a:ahLst/>
              <a:cxnLst/>
              <a:rect l="0" t="0" r="0" b="0"/>
              <a:pathLst>
                <a:path w="143257" h="292608">
                  <a:moveTo>
                    <a:pt x="143257" y="292608"/>
                  </a:moveTo>
                  <a:lnTo>
                    <a:pt x="0" y="292608"/>
                  </a:lnTo>
                  <a:lnTo>
                    <a:pt x="0" y="0"/>
                  </a:lnTo>
                  <a:lnTo>
                    <a:pt x="143257" y="0"/>
                  </a:lnTo>
                  <a:lnTo>
                    <a:pt x="143257" y="292608"/>
                  </a:lnTo>
                  <a:close/>
                  <a:moveTo>
                    <a:pt x="-9884664" y="1481327"/>
                  </a:moveTo>
                  <a:moveTo>
                    <a:pt x="10034" y="285495"/>
                  </a:moveTo>
                  <a:lnTo>
                    <a:pt x="133223" y="285495"/>
                  </a:lnTo>
                  <a:lnTo>
                    <a:pt x="133223" y="7111"/>
                  </a:lnTo>
                  <a:lnTo>
                    <a:pt x="10034" y="7111"/>
                  </a:lnTo>
                  <a:lnTo>
                    <a:pt x="10034" y="285495"/>
                  </a:lnTo>
                  <a:close/>
                  <a:moveTo>
                    <a:pt x="-9877551" y="1481327"/>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64" name="Freeform 1164"/>
            <p:cNvSpPr/>
            <p:nvPr/>
          </p:nvSpPr>
          <p:spPr>
            <a:xfrm>
              <a:off x="10933706" y="5515795"/>
              <a:ext cx="146229" cy="152321"/>
            </a:xfrm>
            <a:custGeom>
              <a:avLst/>
              <a:gdLst/>
              <a:ahLst/>
              <a:cxnLst/>
              <a:rect l="0" t="0" r="0" b="0"/>
              <a:pathLst>
                <a:path w="146305" h="152400">
                  <a:moveTo>
                    <a:pt x="146305" y="152400"/>
                  </a:moveTo>
                  <a:lnTo>
                    <a:pt x="0" y="152400"/>
                  </a:lnTo>
                  <a:lnTo>
                    <a:pt x="0" y="0"/>
                  </a:lnTo>
                  <a:lnTo>
                    <a:pt x="146305" y="0"/>
                  </a:lnTo>
                  <a:lnTo>
                    <a:pt x="146305" y="152400"/>
                  </a:lnTo>
                  <a:close/>
                  <a:moveTo>
                    <a:pt x="-9747504" y="1341119"/>
                  </a:moveTo>
                  <a:moveTo>
                    <a:pt x="10033" y="145287"/>
                  </a:moveTo>
                  <a:lnTo>
                    <a:pt x="136271" y="145287"/>
                  </a:lnTo>
                  <a:lnTo>
                    <a:pt x="136271" y="7111"/>
                  </a:lnTo>
                  <a:lnTo>
                    <a:pt x="10033" y="7111"/>
                  </a:lnTo>
                  <a:lnTo>
                    <a:pt x="10033" y="145287"/>
                  </a:lnTo>
                  <a:close/>
                  <a:moveTo>
                    <a:pt x="-9740391" y="1341119"/>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65" name="Freeform 1165"/>
            <p:cNvSpPr/>
            <p:nvPr/>
          </p:nvSpPr>
          <p:spPr>
            <a:xfrm>
              <a:off x="10961124" y="5537119"/>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66" name="Freeform 1166"/>
            <p:cNvSpPr/>
            <p:nvPr/>
          </p:nvSpPr>
          <p:spPr>
            <a:xfrm>
              <a:off x="10988542" y="5537119"/>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67" name="Freeform 1167"/>
            <p:cNvSpPr/>
            <p:nvPr/>
          </p:nvSpPr>
          <p:spPr>
            <a:xfrm>
              <a:off x="11015959" y="5537119"/>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68" name="Freeform 1168"/>
            <p:cNvSpPr/>
            <p:nvPr/>
          </p:nvSpPr>
          <p:spPr>
            <a:xfrm>
              <a:off x="11043378" y="5537119"/>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69" name="Freeform 1169"/>
            <p:cNvSpPr/>
            <p:nvPr/>
          </p:nvSpPr>
          <p:spPr>
            <a:xfrm>
              <a:off x="10961124" y="5558445"/>
              <a:ext cx="12186" cy="9139"/>
            </a:xfrm>
            <a:custGeom>
              <a:avLst/>
              <a:gdLst/>
              <a:ahLst/>
              <a:cxnLst/>
              <a:rect l="0" t="0" r="0" b="0"/>
              <a:pathLst>
                <a:path w="12192" h="9144">
                  <a:moveTo>
                    <a:pt x="0" y="9144"/>
                  </a:moveTo>
                  <a:lnTo>
                    <a:pt x="12192" y="9144"/>
                  </a:lnTo>
                  <a:lnTo>
                    <a:pt x="12192"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70" name="Freeform 1170"/>
            <p:cNvSpPr/>
            <p:nvPr/>
          </p:nvSpPr>
          <p:spPr>
            <a:xfrm>
              <a:off x="10988542" y="5558445"/>
              <a:ext cx="9138" cy="9139"/>
            </a:xfrm>
            <a:custGeom>
              <a:avLst/>
              <a:gdLst/>
              <a:ahLst/>
              <a:cxnLst/>
              <a:rect l="0" t="0" r="0" b="0"/>
              <a:pathLst>
                <a:path w="9143" h="9144">
                  <a:moveTo>
                    <a:pt x="0" y="9144"/>
                  </a:moveTo>
                  <a:lnTo>
                    <a:pt x="9143" y="9144"/>
                  </a:lnTo>
                  <a:lnTo>
                    <a:pt x="9143"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71" name="Freeform 1171"/>
            <p:cNvSpPr/>
            <p:nvPr/>
          </p:nvSpPr>
          <p:spPr>
            <a:xfrm>
              <a:off x="11015959" y="5558445"/>
              <a:ext cx="9139" cy="9139"/>
            </a:xfrm>
            <a:custGeom>
              <a:avLst/>
              <a:gdLst/>
              <a:ahLst/>
              <a:cxnLst/>
              <a:rect l="0" t="0" r="0" b="0"/>
              <a:pathLst>
                <a:path w="9144" h="9144">
                  <a:moveTo>
                    <a:pt x="0" y="9144"/>
                  </a:moveTo>
                  <a:lnTo>
                    <a:pt x="9144" y="9144"/>
                  </a:lnTo>
                  <a:lnTo>
                    <a:pt x="9144"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72" name="Freeform 1172"/>
            <p:cNvSpPr/>
            <p:nvPr/>
          </p:nvSpPr>
          <p:spPr>
            <a:xfrm>
              <a:off x="11043378" y="5558445"/>
              <a:ext cx="9138" cy="9139"/>
            </a:xfrm>
            <a:custGeom>
              <a:avLst/>
              <a:gdLst/>
              <a:ahLst/>
              <a:cxnLst/>
              <a:rect l="0" t="0" r="0" b="0"/>
              <a:pathLst>
                <a:path w="9143" h="9144">
                  <a:moveTo>
                    <a:pt x="0" y="9144"/>
                  </a:moveTo>
                  <a:lnTo>
                    <a:pt x="9143" y="9144"/>
                  </a:lnTo>
                  <a:lnTo>
                    <a:pt x="9143"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73" name="Freeform 1173"/>
            <p:cNvSpPr/>
            <p:nvPr/>
          </p:nvSpPr>
          <p:spPr>
            <a:xfrm>
              <a:off x="10961124" y="5576722"/>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74" name="Freeform 1174"/>
            <p:cNvSpPr/>
            <p:nvPr/>
          </p:nvSpPr>
          <p:spPr>
            <a:xfrm>
              <a:off x="10988542" y="5576722"/>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75" name="Freeform 1175"/>
            <p:cNvSpPr/>
            <p:nvPr/>
          </p:nvSpPr>
          <p:spPr>
            <a:xfrm>
              <a:off x="11015959" y="5576722"/>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76" name="Freeform 1176"/>
            <p:cNvSpPr/>
            <p:nvPr/>
          </p:nvSpPr>
          <p:spPr>
            <a:xfrm>
              <a:off x="11043378" y="5576722"/>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77" name="Freeform 1177"/>
            <p:cNvSpPr/>
            <p:nvPr/>
          </p:nvSpPr>
          <p:spPr>
            <a:xfrm>
              <a:off x="10961124" y="5595002"/>
              <a:ext cx="12186" cy="12185"/>
            </a:xfrm>
            <a:custGeom>
              <a:avLst/>
              <a:gdLst/>
              <a:ahLst/>
              <a:cxnLst/>
              <a:rect l="0" t="0" r="0" b="0"/>
              <a:pathLst>
                <a:path w="12192" h="12191">
                  <a:moveTo>
                    <a:pt x="0" y="12191"/>
                  </a:moveTo>
                  <a:lnTo>
                    <a:pt x="12192" y="12191"/>
                  </a:lnTo>
                  <a:lnTo>
                    <a:pt x="12192" y="0"/>
                  </a:lnTo>
                  <a:lnTo>
                    <a:pt x="0" y="0"/>
                  </a:lnTo>
                  <a:lnTo>
                    <a:pt x="0" y="12191"/>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78" name="Freeform 1178"/>
            <p:cNvSpPr/>
            <p:nvPr/>
          </p:nvSpPr>
          <p:spPr>
            <a:xfrm>
              <a:off x="10988542" y="5595002"/>
              <a:ext cx="9138" cy="12185"/>
            </a:xfrm>
            <a:custGeom>
              <a:avLst/>
              <a:gdLst/>
              <a:ahLst/>
              <a:cxnLst/>
              <a:rect l="0" t="0" r="0" b="0"/>
              <a:pathLst>
                <a:path w="9143" h="12191">
                  <a:moveTo>
                    <a:pt x="0" y="12191"/>
                  </a:moveTo>
                  <a:lnTo>
                    <a:pt x="9143" y="12191"/>
                  </a:lnTo>
                  <a:lnTo>
                    <a:pt x="9143" y="0"/>
                  </a:lnTo>
                  <a:lnTo>
                    <a:pt x="0" y="0"/>
                  </a:lnTo>
                  <a:lnTo>
                    <a:pt x="0" y="12191"/>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79" name="Freeform 1179"/>
            <p:cNvSpPr/>
            <p:nvPr/>
          </p:nvSpPr>
          <p:spPr>
            <a:xfrm>
              <a:off x="11015959" y="5595002"/>
              <a:ext cx="9139" cy="12185"/>
            </a:xfrm>
            <a:custGeom>
              <a:avLst/>
              <a:gdLst/>
              <a:ahLst/>
              <a:cxnLst/>
              <a:rect l="0" t="0" r="0" b="0"/>
              <a:pathLst>
                <a:path w="9144" h="12191">
                  <a:moveTo>
                    <a:pt x="0" y="12191"/>
                  </a:moveTo>
                  <a:lnTo>
                    <a:pt x="9144" y="12191"/>
                  </a:lnTo>
                  <a:lnTo>
                    <a:pt x="9144" y="0"/>
                  </a:lnTo>
                  <a:lnTo>
                    <a:pt x="0" y="0"/>
                  </a:lnTo>
                  <a:lnTo>
                    <a:pt x="0" y="12191"/>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80" name="Freeform 1180"/>
            <p:cNvSpPr/>
            <p:nvPr/>
          </p:nvSpPr>
          <p:spPr>
            <a:xfrm>
              <a:off x="11043378" y="5595002"/>
              <a:ext cx="9138" cy="12185"/>
            </a:xfrm>
            <a:custGeom>
              <a:avLst/>
              <a:gdLst/>
              <a:ahLst/>
              <a:cxnLst/>
              <a:rect l="0" t="0" r="0" b="0"/>
              <a:pathLst>
                <a:path w="9143" h="12191">
                  <a:moveTo>
                    <a:pt x="0" y="12191"/>
                  </a:moveTo>
                  <a:lnTo>
                    <a:pt x="9143" y="12191"/>
                  </a:lnTo>
                  <a:lnTo>
                    <a:pt x="9143" y="0"/>
                  </a:lnTo>
                  <a:lnTo>
                    <a:pt x="0" y="0"/>
                  </a:lnTo>
                  <a:lnTo>
                    <a:pt x="0" y="12191"/>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81" name="Freeform 1181"/>
            <p:cNvSpPr/>
            <p:nvPr/>
          </p:nvSpPr>
          <p:spPr>
            <a:xfrm>
              <a:off x="10961125" y="5616326"/>
              <a:ext cx="91391" cy="30465"/>
            </a:xfrm>
            <a:custGeom>
              <a:avLst/>
              <a:gdLst/>
              <a:ahLst/>
              <a:cxnLst/>
              <a:rect l="0" t="0" r="0" b="0"/>
              <a:pathLst>
                <a:path w="91439" h="30481">
                  <a:moveTo>
                    <a:pt x="91439" y="30481"/>
                  </a:moveTo>
                  <a:lnTo>
                    <a:pt x="0" y="30481"/>
                  </a:lnTo>
                  <a:lnTo>
                    <a:pt x="0" y="0"/>
                  </a:lnTo>
                  <a:lnTo>
                    <a:pt x="91439" y="0"/>
                  </a:lnTo>
                  <a:lnTo>
                    <a:pt x="91439" y="30481"/>
                  </a:lnTo>
                  <a:close/>
                  <a:moveTo>
                    <a:pt x="-9753601" y="1240536"/>
                  </a:moveTo>
                  <a:moveTo>
                    <a:pt x="10033" y="22861"/>
                  </a:moveTo>
                  <a:lnTo>
                    <a:pt x="81407" y="22861"/>
                  </a:lnTo>
                  <a:lnTo>
                    <a:pt x="81407" y="7620"/>
                  </a:lnTo>
                  <a:lnTo>
                    <a:pt x="10033" y="7620"/>
                  </a:lnTo>
                  <a:lnTo>
                    <a:pt x="10033" y="22861"/>
                  </a:lnTo>
                  <a:close/>
                  <a:moveTo>
                    <a:pt x="-9745981" y="1240536"/>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82" name="Freeform 1182"/>
            <p:cNvSpPr/>
            <p:nvPr/>
          </p:nvSpPr>
          <p:spPr>
            <a:xfrm>
              <a:off x="11201791" y="5470099"/>
              <a:ext cx="146229" cy="198017"/>
            </a:xfrm>
            <a:custGeom>
              <a:avLst/>
              <a:gdLst/>
              <a:ahLst/>
              <a:cxnLst/>
              <a:rect l="0" t="0" r="0" b="0"/>
              <a:pathLst>
                <a:path w="146305" h="198120">
                  <a:moveTo>
                    <a:pt x="146305" y="198120"/>
                  </a:moveTo>
                  <a:lnTo>
                    <a:pt x="0" y="198120"/>
                  </a:lnTo>
                  <a:lnTo>
                    <a:pt x="0" y="0"/>
                  </a:lnTo>
                  <a:lnTo>
                    <a:pt x="146305" y="0"/>
                  </a:lnTo>
                  <a:lnTo>
                    <a:pt x="146305" y="99059"/>
                  </a:lnTo>
                  <a:lnTo>
                    <a:pt x="136271" y="99059"/>
                  </a:lnTo>
                  <a:lnTo>
                    <a:pt x="136271" y="7112"/>
                  </a:lnTo>
                  <a:lnTo>
                    <a:pt x="10034" y="7112"/>
                  </a:lnTo>
                  <a:lnTo>
                    <a:pt x="10034" y="190982"/>
                  </a:lnTo>
                  <a:lnTo>
                    <a:pt x="146305" y="190982"/>
                  </a:lnTo>
                  <a:lnTo>
                    <a:pt x="146305" y="198120"/>
                  </a:lnTo>
                  <a:close/>
                  <a:moveTo>
                    <a:pt x="-10015728" y="1386839"/>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83" name="Freeform 1183"/>
            <p:cNvSpPr/>
            <p:nvPr/>
          </p:nvSpPr>
          <p:spPr>
            <a:xfrm>
              <a:off x="11229208" y="5537119"/>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84" name="Freeform 1184"/>
            <p:cNvSpPr/>
            <p:nvPr/>
          </p:nvSpPr>
          <p:spPr>
            <a:xfrm>
              <a:off x="11256626" y="5537119"/>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85" name="Freeform 1185"/>
            <p:cNvSpPr/>
            <p:nvPr/>
          </p:nvSpPr>
          <p:spPr>
            <a:xfrm>
              <a:off x="11284044" y="5537119"/>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86" name="Freeform 1186"/>
            <p:cNvSpPr/>
            <p:nvPr/>
          </p:nvSpPr>
          <p:spPr>
            <a:xfrm>
              <a:off x="11311462" y="5537119"/>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87" name="Freeform 1187"/>
            <p:cNvSpPr/>
            <p:nvPr/>
          </p:nvSpPr>
          <p:spPr>
            <a:xfrm>
              <a:off x="11229208" y="5515794"/>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88" name="Freeform 1188"/>
            <p:cNvSpPr/>
            <p:nvPr/>
          </p:nvSpPr>
          <p:spPr>
            <a:xfrm>
              <a:off x="11256626" y="5515794"/>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89" name="Freeform 1189"/>
            <p:cNvSpPr/>
            <p:nvPr/>
          </p:nvSpPr>
          <p:spPr>
            <a:xfrm>
              <a:off x="11284044" y="5515794"/>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90" name="Freeform 1190"/>
            <p:cNvSpPr/>
            <p:nvPr/>
          </p:nvSpPr>
          <p:spPr>
            <a:xfrm>
              <a:off x="11311462" y="5515794"/>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91" name="Freeform 1191"/>
            <p:cNvSpPr/>
            <p:nvPr/>
          </p:nvSpPr>
          <p:spPr>
            <a:xfrm>
              <a:off x="11229208" y="5494469"/>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92" name="Freeform 1192"/>
            <p:cNvSpPr/>
            <p:nvPr/>
          </p:nvSpPr>
          <p:spPr>
            <a:xfrm>
              <a:off x="11256626" y="5494469"/>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93" name="Freeform 1193"/>
            <p:cNvSpPr/>
            <p:nvPr/>
          </p:nvSpPr>
          <p:spPr>
            <a:xfrm>
              <a:off x="11284044" y="5494469"/>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94" name="Freeform 1194"/>
            <p:cNvSpPr/>
            <p:nvPr/>
          </p:nvSpPr>
          <p:spPr>
            <a:xfrm>
              <a:off x="11311462" y="5494469"/>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95" name="Freeform 1195"/>
            <p:cNvSpPr/>
            <p:nvPr/>
          </p:nvSpPr>
          <p:spPr>
            <a:xfrm>
              <a:off x="11229208" y="5558445"/>
              <a:ext cx="12186" cy="9139"/>
            </a:xfrm>
            <a:custGeom>
              <a:avLst/>
              <a:gdLst/>
              <a:ahLst/>
              <a:cxnLst/>
              <a:rect l="0" t="0" r="0" b="0"/>
              <a:pathLst>
                <a:path w="12192" h="9144">
                  <a:moveTo>
                    <a:pt x="0" y="9144"/>
                  </a:moveTo>
                  <a:lnTo>
                    <a:pt x="12192" y="9144"/>
                  </a:lnTo>
                  <a:lnTo>
                    <a:pt x="12192"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96" name="Freeform 1196"/>
            <p:cNvSpPr/>
            <p:nvPr/>
          </p:nvSpPr>
          <p:spPr>
            <a:xfrm>
              <a:off x="11256626" y="5558445"/>
              <a:ext cx="9139" cy="9139"/>
            </a:xfrm>
            <a:custGeom>
              <a:avLst/>
              <a:gdLst/>
              <a:ahLst/>
              <a:cxnLst/>
              <a:rect l="0" t="0" r="0" b="0"/>
              <a:pathLst>
                <a:path w="9144" h="9144">
                  <a:moveTo>
                    <a:pt x="0" y="9144"/>
                  </a:moveTo>
                  <a:lnTo>
                    <a:pt x="9144" y="9144"/>
                  </a:lnTo>
                  <a:lnTo>
                    <a:pt x="9144"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97" name="Freeform 1197"/>
            <p:cNvSpPr/>
            <p:nvPr/>
          </p:nvSpPr>
          <p:spPr>
            <a:xfrm>
              <a:off x="11284044" y="5558445"/>
              <a:ext cx="9139" cy="9139"/>
            </a:xfrm>
            <a:custGeom>
              <a:avLst/>
              <a:gdLst/>
              <a:ahLst/>
              <a:cxnLst/>
              <a:rect l="0" t="0" r="0" b="0"/>
              <a:pathLst>
                <a:path w="9144" h="9144">
                  <a:moveTo>
                    <a:pt x="0" y="9144"/>
                  </a:moveTo>
                  <a:lnTo>
                    <a:pt x="9144" y="9144"/>
                  </a:lnTo>
                  <a:lnTo>
                    <a:pt x="9144"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98" name="Freeform 1198"/>
            <p:cNvSpPr/>
            <p:nvPr/>
          </p:nvSpPr>
          <p:spPr>
            <a:xfrm>
              <a:off x="11311462" y="5558445"/>
              <a:ext cx="9138" cy="9139"/>
            </a:xfrm>
            <a:custGeom>
              <a:avLst/>
              <a:gdLst/>
              <a:ahLst/>
              <a:cxnLst/>
              <a:rect l="0" t="0" r="0" b="0"/>
              <a:pathLst>
                <a:path w="9143" h="9144">
                  <a:moveTo>
                    <a:pt x="0" y="9144"/>
                  </a:moveTo>
                  <a:lnTo>
                    <a:pt x="9143" y="9144"/>
                  </a:lnTo>
                  <a:lnTo>
                    <a:pt x="9143"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199" name="Freeform 1199"/>
            <p:cNvSpPr/>
            <p:nvPr/>
          </p:nvSpPr>
          <p:spPr>
            <a:xfrm>
              <a:off x="11229208" y="5576722"/>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00" name="Freeform 1200"/>
            <p:cNvSpPr/>
            <p:nvPr/>
          </p:nvSpPr>
          <p:spPr>
            <a:xfrm>
              <a:off x="11256626" y="5576722"/>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01" name="Freeform 1201"/>
            <p:cNvSpPr/>
            <p:nvPr/>
          </p:nvSpPr>
          <p:spPr>
            <a:xfrm>
              <a:off x="11284044" y="5576722"/>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02" name="Freeform 1202"/>
            <p:cNvSpPr/>
            <p:nvPr/>
          </p:nvSpPr>
          <p:spPr>
            <a:xfrm>
              <a:off x="11311462" y="5576722"/>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03" name="Freeform 1203"/>
            <p:cNvSpPr/>
            <p:nvPr/>
          </p:nvSpPr>
          <p:spPr>
            <a:xfrm>
              <a:off x="11229208" y="5595002"/>
              <a:ext cx="12186" cy="12185"/>
            </a:xfrm>
            <a:custGeom>
              <a:avLst/>
              <a:gdLst/>
              <a:ahLst/>
              <a:cxnLst/>
              <a:rect l="0" t="0" r="0" b="0"/>
              <a:pathLst>
                <a:path w="12192" h="12191">
                  <a:moveTo>
                    <a:pt x="0" y="12191"/>
                  </a:moveTo>
                  <a:lnTo>
                    <a:pt x="12192" y="12191"/>
                  </a:lnTo>
                  <a:lnTo>
                    <a:pt x="12192" y="0"/>
                  </a:lnTo>
                  <a:lnTo>
                    <a:pt x="0" y="0"/>
                  </a:lnTo>
                  <a:lnTo>
                    <a:pt x="0" y="12191"/>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04" name="Freeform 1204"/>
            <p:cNvSpPr/>
            <p:nvPr/>
          </p:nvSpPr>
          <p:spPr>
            <a:xfrm>
              <a:off x="11256626" y="5595002"/>
              <a:ext cx="9139" cy="12185"/>
            </a:xfrm>
            <a:custGeom>
              <a:avLst/>
              <a:gdLst/>
              <a:ahLst/>
              <a:cxnLst/>
              <a:rect l="0" t="0" r="0" b="0"/>
              <a:pathLst>
                <a:path w="9144" h="12191">
                  <a:moveTo>
                    <a:pt x="0" y="12191"/>
                  </a:moveTo>
                  <a:lnTo>
                    <a:pt x="9144" y="12191"/>
                  </a:lnTo>
                  <a:lnTo>
                    <a:pt x="9144" y="0"/>
                  </a:lnTo>
                  <a:lnTo>
                    <a:pt x="0" y="0"/>
                  </a:lnTo>
                  <a:lnTo>
                    <a:pt x="0" y="12191"/>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05" name="Freeform 1205"/>
            <p:cNvSpPr/>
            <p:nvPr/>
          </p:nvSpPr>
          <p:spPr>
            <a:xfrm>
              <a:off x="11284044" y="5595002"/>
              <a:ext cx="9139" cy="12185"/>
            </a:xfrm>
            <a:custGeom>
              <a:avLst/>
              <a:gdLst/>
              <a:ahLst/>
              <a:cxnLst/>
              <a:rect l="0" t="0" r="0" b="0"/>
              <a:pathLst>
                <a:path w="9144" h="12191">
                  <a:moveTo>
                    <a:pt x="0" y="12191"/>
                  </a:moveTo>
                  <a:lnTo>
                    <a:pt x="9144" y="12191"/>
                  </a:lnTo>
                  <a:lnTo>
                    <a:pt x="9144" y="0"/>
                  </a:lnTo>
                  <a:lnTo>
                    <a:pt x="0" y="0"/>
                  </a:lnTo>
                  <a:lnTo>
                    <a:pt x="0" y="12191"/>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06" name="Freeform 1206"/>
            <p:cNvSpPr/>
            <p:nvPr/>
          </p:nvSpPr>
          <p:spPr>
            <a:xfrm>
              <a:off x="11311462" y="5595002"/>
              <a:ext cx="9138" cy="12185"/>
            </a:xfrm>
            <a:custGeom>
              <a:avLst/>
              <a:gdLst/>
              <a:ahLst/>
              <a:cxnLst/>
              <a:rect l="0" t="0" r="0" b="0"/>
              <a:pathLst>
                <a:path w="9143" h="12191">
                  <a:moveTo>
                    <a:pt x="0" y="12191"/>
                  </a:moveTo>
                  <a:lnTo>
                    <a:pt x="9143" y="12191"/>
                  </a:lnTo>
                  <a:lnTo>
                    <a:pt x="9143" y="0"/>
                  </a:lnTo>
                  <a:lnTo>
                    <a:pt x="0" y="0"/>
                  </a:lnTo>
                  <a:lnTo>
                    <a:pt x="0" y="12191"/>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07" name="Freeform 1207"/>
            <p:cNvSpPr/>
            <p:nvPr/>
          </p:nvSpPr>
          <p:spPr>
            <a:xfrm>
              <a:off x="11098213" y="5537119"/>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08" name="Freeform 1208"/>
            <p:cNvSpPr/>
            <p:nvPr/>
          </p:nvSpPr>
          <p:spPr>
            <a:xfrm>
              <a:off x="11122583" y="5537119"/>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09" name="Freeform 1209"/>
            <p:cNvSpPr/>
            <p:nvPr/>
          </p:nvSpPr>
          <p:spPr>
            <a:xfrm>
              <a:off x="11150001" y="5537119"/>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10" name="Freeform 1210"/>
            <p:cNvSpPr/>
            <p:nvPr/>
          </p:nvSpPr>
          <p:spPr>
            <a:xfrm>
              <a:off x="11177420" y="5537119"/>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11" name="Freeform 1211"/>
            <p:cNvSpPr/>
            <p:nvPr/>
          </p:nvSpPr>
          <p:spPr>
            <a:xfrm>
              <a:off x="11098213" y="5515794"/>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12" name="Freeform 1212"/>
            <p:cNvSpPr/>
            <p:nvPr/>
          </p:nvSpPr>
          <p:spPr>
            <a:xfrm>
              <a:off x="11122583" y="5515794"/>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13" name="Freeform 1213"/>
            <p:cNvSpPr/>
            <p:nvPr/>
          </p:nvSpPr>
          <p:spPr>
            <a:xfrm>
              <a:off x="11150001" y="5515794"/>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14" name="Freeform 1214"/>
            <p:cNvSpPr/>
            <p:nvPr/>
          </p:nvSpPr>
          <p:spPr>
            <a:xfrm>
              <a:off x="11177420" y="5515794"/>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15" name="Freeform 1215"/>
            <p:cNvSpPr/>
            <p:nvPr/>
          </p:nvSpPr>
          <p:spPr>
            <a:xfrm>
              <a:off x="11098213" y="5494469"/>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16" name="Freeform 1216"/>
            <p:cNvSpPr/>
            <p:nvPr/>
          </p:nvSpPr>
          <p:spPr>
            <a:xfrm>
              <a:off x="11122583" y="5494469"/>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17" name="Freeform 1217"/>
            <p:cNvSpPr/>
            <p:nvPr/>
          </p:nvSpPr>
          <p:spPr>
            <a:xfrm>
              <a:off x="11150001" y="5494469"/>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18" name="Freeform 1218"/>
            <p:cNvSpPr/>
            <p:nvPr/>
          </p:nvSpPr>
          <p:spPr>
            <a:xfrm>
              <a:off x="11177420" y="5494469"/>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19" name="Freeform 1219"/>
            <p:cNvSpPr/>
            <p:nvPr/>
          </p:nvSpPr>
          <p:spPr>
            <a:xfrm>
              <a:off x="11098213" y="5473145"/>
              <a:ext cx="9138" cy="9139"/>
            </a:xfrm>
            <a:custGeom>
              <a:avLst/>
              <a:gdLst/>
              <a:ahLst/>
              <a:cxnLst/>
              <a:rect l="0" t="0" r="0" b="0"/>
              <a:pathLst>
                <a:path w="9143" h="9144">
                  <a:moveTo>
                    <a:pt x="0" y="9144"/>
                  </a:moveTo>
                  <a:lnTo>
                    <a:pt x="9143" y="9144"/>
                  </a:lnTo>
                  <a:lnTo>
                    <a:pt x="9143"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20" name="Freeform 1220"/>
            <p:cNvSpPr/>
            <p:nvPr/>
          </p:nvSpPr>
          <p:spPr>
            <a:xfrm>
              <a:off x="11122583" y="5473145"/>
              <a:ext cx="12186" cy="9139"/>
            </a:xfrm>
            <a:custGeom>
              <a:avLst/>
              <a:gdLst/>
              <a:ahLst/>
              <a:cxnLst/>
              <a:rect l="0" t="0" r="0" b="0"/>
              <a:pathLst>
                <a:path w="12192" h="9144">
                  <a:moveTo>
                    <a:pt x="0" y="9144"/>
                  </a:moveTo>
                  <a:lnTo>
                    <a:pt x="12192" y="9144"/>
                  </a:lnTo>
                  <a:lnTo>
                    <a:pt x="12192"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21" name="Freeform 1221"/>
            <p:cNvSpPr/>
            <p:nvPr/>
          </p:nvSpPr>
          <p:spPr>
            <a:xfrm>
              <a:off x="11150001" y="5473145"/>
              <a:ext cx="9139" cy="9139"/>
            </a:xfrm>
            <a:custGeom>
              <a:avLst/>
              <a:gdLst/>
              <a:ahLst/>
              <a:cxnLst/>
              <a:rect l="0" t="0" r="0" b="0"/>
              <a:pathLst>
                <a:path w="9144" h="9144">
                  <a:moveTo>
                    <a:pt x="0" y="9144"/>
                  </a:moveTo>
                  <a:lnTo>
                    <a:pt x="9144" y="9144"/>
                  </a:lnTo>
                  <a:lnTo>
                    <a:pt x="9144"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22" name="Freeform 1222"/>
            <p:cNvSpPr/>
            <p:nvPr/>
          </p:nvSpPr>
          <p:spPr>
            <a:xfrm>
              <a:off x="11177420" y="5473145"/>
              <a:ext cx="9138" cy="9139"/>
            </a:xfrm>
            <a:custGeom>
              <a:avLst/>
              <a:gdLst/>
              <a:ahLst/>
              <a:cxnLst/>
              <a:rect l="0" t="0" r="0" b="0"/>
              <a:pathLst>
                <a:path w="9143" h="9144">
                  <a:moveTo>
                    <a:pt x="0" y="9144"/>
                  </a:moveTo>
                  <a:lnTo>
                    <a:pt x="9143" y="9144"/>
                  </a:lnTo>
                  <a:lnTo>
                    <a:pt x="9143"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23" name="Freeform 1223"/>
            <p:cNvSpPr/>
            <p:nvPr/>
          </p:nvSpPr>
          <p:spPr>
            <a:xfrm>
              <a:off x="11098213" y="5448773"/>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24" name="Freeform 1224"/>
            <p:cNvSpPr/>
            <p:nvPr/>
          </p:nvSpPr>
          <p:spPr>
            <a:xfrm>
              <a:off x="11122583" y="5448773"/>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25" name="Freeform 1225"/>
            <p:cNvSpPr/>
            <p:nvPr/>
          </p:nvSpPr>
          <p:spPr>
            <a:xfrm>
              <a:off x="11150001" y="5448773"/>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26" name="Freeform 1226"/>
            <p:cNvSpPr/>
            <p:nvPr/>
          </p:nvSpPr>
          <p:spPr>
            <a:xfrm>
              <a:off x="11177420" y="5448773"/>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27" name="Freeform 1227"/>
            <p:cNvSpPr/>
            <p:nvPr/>
          </p:nvSpPr>
          <p:spPr>
            <a:xfrm>
              <a:off x="11098213" y="5427448"/>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28" name="Freeform 1228"/>
            <p:cNvSpPr/>
            <p:nvPr/>
          </p:nvSpPr>
          <p:spPr>
            <a:xfrm>
              <a:off x="11122583" y="5427448"/>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29" name="Freeform 1229"/>
            <p:cNvSpPr/>
            <p:nvPr/>
          </p:nvSpPr>
          <p:spPr>
            <a:xfrm>
              <a:off x="11150001" y="5427448"/>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30" name="Freeform 1230"/>
            <p:cNvSpPr/>
            <p:nvPr/>
          </p:nvSpPr>
          <p:spPr>
            <a:xfrm>
              <a:off x="11177420" y="5427448"/>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31" name="Freeform 1231"/>
            <p:cNvSpPr/>
            <p:nvPr/>
          </p:nvSpPr>
          <p:spPr>
            <a:xfrm>
              <a:off x="11098213" y="5406124"/>
              <a:ext cx="9138" cy="9139"/>
            </a:xfrm>
            <a:custGeom>
              <a:avLst/>
              <a:gdLst/>
              <a:ahLst/>
              <a:cxnLst/>
              <a:rect l="0" t="0" r="0" b="0"/>
              <a:pathLst>
                <a:path w="9143" h="9144">
                  <a:moveTo>
                    <a:pt x="0" y="9144"/>
                  </a:moveTo>
                  <a:lnTo>
                    <a:pt x="9143" y="9144"/>
                  </a:lnTo>
                  <a:lnTo>
                    <a:pt x="9143"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32" name="Freeform 1232"/>
            <p:cNvSpPr/>
            <p:nvPr/>
          </p:nvSpPr>
          <p:spPr>
            <a:xfrm>
              <a:off x="11122583" y="5406124"/>
              <a:ext cx="12186" cy="9139"/>
            </a:xfrm>
            <a:custGeom>
              <a:avLst/>
              <a:gdLst/>
              <a:ahLst/>
              <a:cxnLst/>
              <a:rect l="0" t="0" r="0" b="0"/>
              <a:pathLst>
                <a:path w="12192" h="9144">
                  <a:moveTo>
                    <a:pt x="0" y="9144"/>
                  </a:moveTo>
                  <a:lnTo>
                    <a:pt x="12192" y="9144"/>
                  </a:lnTo>
                  <a:lnTo>
                    <a:pt x="12192"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33" name="Freeform 1233"/>
            <p:cNvSpPr/>
            <p:nvPr/>
          </p:nvSpPr>
          <p:spPr>
            <a:xfrm>
              <a:off x="11150001" y="5406124"/>
              <a:ext cx="9139" cy="9139"/>
            </a:xfrm>
            <a:custGeom>
              <a:avLst/>
              <a:gdLst/>
              <a:ahLst/>
              <a:cxnLst/>
              <a:rect l="0" t="0" r="0" b="0"/>
              <a:pathLst>
                <a:path w="9144" h="9144">
                  <a:moveTo>
                    <a:pt x="0" y="9144"/>
                  </a:moveTo>
                  <a:lnTo>
                    <a:pt x="9144" y="9144"/>
                  </a:lnTo>
                  <a:lnTo>
                    <a:pt x="9144"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34" name="Freeform 1234"/>
            <p:cNvSpPr/>
            <p:nvPr/>
          </p:nvSpPr>
          <p:spPr>
            <a:xfrm>
              <a:off x="11177420" y="5406124"/>
              <a:ext cx="9138" cy="9139"/>
            </a:xfrm>
            <a:custGeom>
              <a:avLst/>
              <a:gdLst/>
              <a:ahLst/>
              <a:cxnLst/>
              <a:rect l="0" t="0" r="0" b="0"/>
              <a:pathLst>
                <a:path w="9143" h="9144">
                  <a:moveTo>
                    <a:pt x="0" y="9144"/>
                  </a:moveTo>
                  <a:lnTo>
                    <a:pt x="9143" y="9144"/>
                  </a:lnTo>
                  <a:lnTo>
                    <a:pt x="9143"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35" name="Freeform 1235"/>
            <p:cNvSpPr/>
            <p:nvPr/>
          </p:nvSpPr>
          <p:spPr>
            <a:xfrm>
              <a:off x="11098213" y="5558445"/>
              <a:ext cx="9138" cy="9139"/>
            </a:xfrm>
            <a:custGeom>
              <a:avLst/>
              <a:gdLst/>
              <a:ahLst/>
              <a:cxnLst/>
              <a:rect l="0" t="0" r="0" b="0"/>
              <a:pathLst>
                <a:path w="9143" h="9144">
                  <a:moveTo>
                    <a:pt x="0" y="9144"/>
                  </a:moveTo>
                  <a:lnTo>
                    <a:pt x="9143" y="9144"/>
                  </a:lnTo>
                  <a:lnTo>
                    <a:pt x="9143"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36" name="Freeform 1236"/>
            <p:cNvSpPr/>
            <p:nvPr/>
          </p:nvSpPr>
          <p:spPr>
            <a:xfrm>
              <a:off x="11122583" y="5558445"/>
              <a:ext cx="12186" cy="9139"/>
            </a:xfrm>
            <a:custGeom>
              <a:avLst/>
              <a:gdLst/>
              <a:ahLst/>
              <a:cxnLst/>
              <a:rect l="0" t="0" r="0" b="0"/>
              <a:pathLst>
                <a:path w="12192" h="9144">
                  <a:moveTo>
                    <a:pt x="0" y="9144"/>
                  </a:moveTo>
                  <a:lnTo>
                    <a:pt x="12192" y="9144"/>
                  </a:lnTo>
                  <a:lnTo>
                    <a:pt x="12192"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37" name="Freeform 1237"/>
            <p:cNvSpPr/>
            <p:nvPr/>
          </p:nvSpPr>
          <p:spPr>
            <a:xfrm>
              <a:off x="11150001" y="5558445"/>
              <a:ext cx="9139" cy="9139"/>
            </a:xfrm>
            <a:custGeom>
              <a:avLst/>
              <a:gdLst/>
              <a:ahLst/>
              <a:cxnLst/>
              <a:rect l="0" t="0" r="0" b="0"/>
              <a:pathLst>
                <a:path w="9144" h="9144">
                  <a:moveTo>
                    <a:pt x="0" y="9144"/>
                  </a:moveTo>
                  <a:lnTo>
                    <a:pt x="9144" y="9144"/>
                  </a:lnTo>
                  <a:lnTo>
                    <a:pt x="9144"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38" name="Freeform 1238"/>
            <p:cNvSpPr/>
            <p:nvPr/>
          </p:nvSpPr>
          <p:spPr>
            <a:xfrm>
              <a:off x="11177420" y="5558445"/>
              <a:ext cx="9138" cy="9139"/>
            </a:xfrm>
            <a:custGeom>
              <a:avLst/>
              <a:gdLst/>
              <a:ahLst/>
              <a:cxnLst/>
              <a:rect l="0" t="0" r="0" b="0"/>
              <a:pathLst>
                <a:path w="9143" h="9144">
                  <a:moveTo>
                    <a:pt x="0" y="9144"/>
                  </a:moveTo>
                  <a:lnTo>
                    <a:pt x="9143" y="9144"/>
                  </a:lnTo>
                  <a:lnTo>
                    <a:pt x="9143"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39" name="Freeform 1239"/>
            <p:cNvSpPr/>
            <p:nvPr/>
          </p:nvSpPr>
          <p:spPr>
            <a:xfrm>
              <a:off x="11098213" y="5576722"/>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40" name="Freeform 1240"/>
            <p:cNvSpPr/>
            <p:nvPr/>
          </p:nvSpPr>
          <p:spPr>
            <a:xfrm>
              <a:off x="11122583" y="5576722"/>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41" name="Freeform 1241"/>
            <p:cNvSpPr/>
            <p:nvPr/>
          </p:nvSpPr>
          <p:spPr>
            <a:xfrm>
              <a:off x="11150001" y="5576722"/>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42" name="Freeform 1242"/>
            <p:cNvSpPr/>
            <p:nvPr/>
          </p:nvSpPr>
          <p:spPr>
            <a:xfrm>
              <a:off x="11177420" y="5576722"/>
              <a:ext cx="9138" cy="12186"/>
            </a:xfrm>
            <a:custGeom>
              <a:avLst/>
              <a:gdLst/>
              <a:ahLst/>
              <a:cxnLst/>
              <a:rect l="0" t="0" r="0" b="0"/>
              <a:pathLst>
                <a:path w="9143" h="12192">
                  <a:moveTo>
                    <a:pt x="0" y="12192"/>
                  </a:moveTo>
                  <a:lnTo>
                    <a:pt x="9143" y="12192"/>
                  </a:lnTo>
                  <a:lnTo>
                    <a:pt x="9143" y="0"/>
                  </a:lnTo>
                  <a:lnTo>
                    <a:pt x="0" y="0"/>
                  </a:lnTo>
                  <a:lnTo>
                    <a:pt x="0" y="1219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43" name="Freeform 1243"/>
            <p:cNvSpPr/>
            <p:nvPr/>
          </p:nvSpPr>
          <p:spPr>
            <a:xfrm>
              <a:off x="11098213" y="5595002"/>
              <a:ext cx="9138" cy="12185"/>
            </a:xfrm>
            <a:custGeom>
              <a:avLst/>
              <a:gdLst/>
              <a:ahLst/>
              <a:cxnLst/>
              <a:rect l="0" t="0" r="0" b="0"/>
              <a:pathLst>
                <a:path w="9143" h="12191">
                  <a:moveTo>
                    <a:pt x="0" y="12191"/>
                  </a:moveTo>
                  <a:lnTo>
                    <a:pt x="9143" y="12191"/>
                  </a:lnTo>
                  <a:lnTo>
                    <a:pt x="9143" y="0"/>
                  </a:lnTo>
                  <a:lnTo>
                    <a:pt x="0" y="0"/>
                  </a:lnTo>
                  <a:lnTo>
                    <a:pt x="0" y="12191"/>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44" name="Freeform 1244"/>
            <p:cNvSpPr/>
            <p:nvPr/>
          </p:nvSpPr>
          <p:spPr>
            <a:xfrm>
              <a:off x="11122583" y="5595002"/>
              <a:ext cx="12186" cy="12185"/>
            </a:xfrm>
            <a:custGeom>
              <a:avLst/>
              <a:gdLst/>
              <a:ahLst/>
              <a:cxnLst/>
              <a:rect l="0" t="0" r="0" b="0"/>
              <a:pathLst>
                <a:path w="12192" h="12191">
                  <a:moveTo>
                    <a:pt x="0" y="12191"/>
                  </a:moveTo>
                  <a:lnTo>
                    <a:pt x="12192" y="12191"/>
                  </a:lnTo>
                  <a:lnTo>
                    <a:pt x="12192" y="0"/>
                  </a:lnTo>
                  <a:lnTo>
                    <a:pt x="0" y="0"/>
                  </a:lnTo>
                  <a:lnTo>
                    <a:pt x="0" y="12191"/>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45" name="Freeform 1245"/>
            <p:cNvSpPr/>
            <p:nvPr/>
          </p:nvSpPr>
          <p:spPr>
            <a:xfrm>
              <a:off x="11150001" y="5595002"/>
              <a:ext cx="9139" cy="12185"/>
            </a:xfrm>
            <a:custGeom>
              <a:avLst/>
              <a:gdLst/>
              <a:ahLst/>
              <a:cxnLst/>
              <a:rect l="0" t="0" r="0" b="0"/>
              <a:pathLst>
                <a:path w="9144" h="12191">
                  <a:moveTo>
                    <a:pt x="0" y="12191"/>
                  </a:moveTo>
                  <a:lnTo>
                    <a:pt x="9144" y="12191"/>
                  </a:lnTo>
                  <a:lnTo>
                    <a:pt x="9144" y="0"/>
                  </a:lnTo>
                  <a:lnTo>
                    <a:pt x="0" y="0"/>
                  </a:lnTo>
                  <a:lnTo>
                    <a:pt x="0" y="12191"/>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46" name="Freeform 1246"/>
            <p:cNvSpPr/>
            <p:nvPr/>
          </p:nvSpPr>
          <p:spPr>
            <a:xfrm>
              <a:off x="11177420" y="5595002"/>
              <a:ext cx="9138" cy="12185"/>
            </a:xfrm>
            <a:custGeom>
              <a:avLst/>
              <a:gdLst/>
              <a:ahLst/>
              <a:cxnLst/>
              <a:rect l="0" t="0" r="0" b="0"/>
              <a:pathLst>
                <a:path w="9143" h="12191">
                  <a:moveTo>
                    <a:pt x="0" y="12191"/>
                  </a:moveTo>
                  <a:lnTo>
                    <a:pt x="9143" y="12191"/>
                  </a:lnTo>
                  <a:lnTo>
                    <a:pt x="9143" y="0"/>
                  </a:lnTo>
                  <a:lnTo>
                    <a:pt x="0" y="0"/>
                  </a:lnTo>
                  <a:lnTo>
                    <a:pt x="0" y="12191"/>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47" name="Freeform 1247"/>
            <p:cNvSpPr/>
            <p:nvPr/>
          </p:nvSpPr>
          <p:spPr>
            <a:xfrm>
              <a:off x="11229210" y="5616326"/>
              <a:ext cx="91391" cy="30465"/>
            </a:xfrm>
            <a:custGeom>
              <a:avLst/>
              <a:gdLst/>
              <a:ahLst/>
              <a:cxnLst/>
              <a:rect l="0" t="0" r="0" b="0"/>
              <a:pathLst>
                <a:path w="91439" h="30481">
                  <a:moveTo>
                    <a:pt x="91439" y="30481"/>
                  </a:moveTo>
                  <a:lnTo>
                    <a:pt x="0" y="30481"/>
                  </a:lnTo>
                  <a:lnTo>
                    <a:pt x="0" y="0"/>
                  </a:lnTo>
                  <a:lnTo>
                    <a:pt x="91439" y="0"/>
                  </a:lnTo>
                  <a:lnTo>
                    <a:pt x="91439" y="30481"/>
                  </a:lnTo>
                  <a:close/>
                  <a:moveTo>
                    <a:pt x="-10021825" y="1240536"/>
                  </a:moveTo>
                  <a:moveTo>
                    <a:pt x="10033" y="22861"/>
                  </a:moveTo>
                  <a:lnTo>
                    <a:pt x="81406" y="22861"/>
                  </a:lnTo>
                  <a:lnTo>
                    <a:pt x="81406" y="7620"/>
                  </a:lnTo>
                  <a:lnTo>
                    <a:pt x="10033" y="7620"/>
                  </a:lnTo>
                  <a:lnTo>
                    <a:pt x="10033" y="22861"/>
                  </a:lnTo>
                  <a:close/>
                  <a:moveTo>
                    <a:pt x="-10014205" y="1240536"/>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48" name="Freeform 1248"/>
            <p:cNvSpPr/>
            <p:nvPr/>
          </p:nvSpPr>
          <p:spPr>
            <a:xfrm>
              <a:off x="11098214" y="5616325"/>
              <a:ext cx="88345" cy="51790"/>
            </a:xfrm>
            <a:custGeom>
              <a:avLst/>
              <a:gdLst/>
              <a:ahLst/>
              <a:cxnLst/>
              <a:rect l="0" t="0" r="0" b="0"/>
              <a:pathLst>
                <a:path w="88391" h="51817">
                  <a:moveTo>
                    <a:pt x="88391" y="51817"/>
                  </a:moveTo>
                  <a:lnTo>
                    <a:pt x="0" y="51817"/>
                  </a:lnTo>
                  <a:lnTo>
                    <a:pt x="0" y="0"/>
                  </a:lnTo>
                  <a:lnTo>
                    <a:pt x="88391" y="0"/>
                  </a:lnTo>
                  <a:lnTo>
                    <a:pt x="88391" y="51817"/>
                  </a:lnTo>
                  <a:close/>
                  <a:moveTo>
                    <a:pt x="-9912097" y="1240536"/>
                  </a:moveTo>
                  <a:moveTo>
                    <a:pt x="9778" y="44412"/>
                  </a:moveTo>
                  <a:lnTo>
                    <a:pt x="78613" y="44412"/>
                  </a:lnTo>
                  <a:lnTo>
                    <a:pt x="78613" y="7405"/>
                  </a:lnTo>
                  <a:lnTo>
                    <a:pt x="9778" y="7405"/>
                  </a:lnTo>
                  <a:lnTo>
                    <a:pt x="9778" y="44412"/>
                  </a:lnTo>
                  <a:close/>
                  <a:moveTo>
                    <a:pt x="-9904692" y="1240536"/>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49" name="Freeform 1249"/>
            <p:cNvSpPr/>
            <p:nvPr/>
          </p:nvSpPr>
          <p:spPr>
            <a:xfrm>
              <a:off x="11137816" y="5616327"/>
              <a:ext cx="9138" cy="51789"/>
            </a:xfrm>
            <a:custGeom>
              <a:avLst/>
              <a:gdLst/>
              <a:ahLst/>
              <a:cxnLst/>
              <a:rect l="0" t="0" r="0" b="0"/>
              <a:pathLst>
                <a:path w="9143" h="51816">
                  <a:moveTo>
                    <a:pt x="0" y="51816"/>
                  </a:moveTo>
                  <a:lnTo>
                    <a:pt x="9143" y="51816"/>
                  </a:lnTo>
                  <a:lnTo>
                    <a:pt x="9143" y="0"/>
                  </a:lnTo>
                  <a:lnTo>
                    <a:pt x="0" y="0"/>
                  </a:lnTo>
                  <a:lnTo>
                    <a:pt x="0" y="51816"/>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50" name="Freeform 1250"/>
            <p:cNvSpPr/>
            <p:nvPr/>
          </p:nvSpPr>
          <p:spPr>
            <a:xfrm>
              <a:off x="11089074" y="5360427"/>
              <a:ext cx="103579" cy="21324"/>
            </a:xfrm>
            <a:custGeom>
              <a:avLst/>
              <a:gdLst/>
              <a:ahLst/>
              <a:cxnLst/>
              <a:rect l="0" t="0" r="0" b="0"/>
              <a:pathLst>
                <a:path w="103633" h="21335">
                  <a:moveTo>
                    <a:pt x="103633" y="21335"/>
                  </a:moveTo>
                  <a:lnTo>
                    <a:pt x="0" y="21335"/>
                  </a:lnTo>
                  <a:lnTo>
                    <a:pt x="0" y="0"/>
                  </a:lnTo>
                  <a:lnTo>
                    <a:pt x="103633" y="0"/>
                  </a:lnTo>
                  <a:lnTo>
                    <a:pt x="103633" y="21335"/>
                  </a:lnTo>
                  <a:close/>
                  <a:moveTo>
                    <a:pt x="-9616439" y="1496567"/>
                  </a:moveTo>
                  <a:moveTo>
                    <a:pt x="10034" y="14731"/>
                  </a:moveTo>
                  <a:lnTo>
                    <a:pt x="93599" y="14731"/>
                  </a:lnTo>
                  <a:lnTo>
                    <a:pt x="93599" y="6604"/>
                  </a:lnTo>
                  <a:lnTo>
                    <a:pt x="10034" y="6604"/>
                  </a:lnTo>
                  <a:lnTo>
                    <a:pt x="10034" y="14731"/>
                  </a:lnTo>
                  <a:close/>
                  <a:moveTo>
                    <a:pt x="-9609835" y="1496567"/>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51" name="Freeform 1251"/>
            <p:cNvSpPr/>
            <p:nvPr/>
          </p:nvSpPr>
          <p:spPr>
            <a:xfrm>
              <a:off x="11137816" y="5342149"/>
              <a:ext cx="9138" cy="24371"/>
            </a:xfrm>
            <a:custGeom>
              <a:avLst/>
              <a:gdLst/>
              <a:ahLst/>
              <a:cxnLst/>
              <a:rect l="0" t="0" r="0" b="0"/>
              <a:pathLst>
                <a:path w="9143" h="24384">
                  <a:moveTo>
                    <a:pt x="0" y="24384"/>
                  </a:moveTo>
                  <a:lnTo>
                    <a:pt x="9143" y="24384"/>
                  </a:lnTo>
                  <a:lnTo>
                    <a:pt x="9143" y="0"/>
                  </a:lnTo>
                  <a:lnTo>
                    <a:pt x="0" y="0"/>
                  </a:lnTo>
                  <a:lnTo>
                    <a:pt x="0" y="2438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52" name="Freeform 1252"/>
            <p:cNvSpPr/>
            <p:nvPr/>
          </p:nvSpPr>
          <p:spPr>
            <a:xfrm>
              <a:off x="11326695" y="5567584"/>
              <a:ext cx="45695" cy="67021"/>
            </a:xfrm>
            <a:custGeom>
              <a:avLst/>
              <a:gdLst/>
              <a:ahLst/>
              <a:cxnLst/>
              <a:rect l="0" t="0" r="0" b="0"/>
              <a:pathLst>
                <a:path w="45719" h="67056">
                  <a:moveTo>
                    <a:pt x="26542" y="67056"/>
                  </a:moveTo>
                  <a:lnTo>
                    <a:pt x="26542" y="67056"/>
                  </a:lnTo>
                  <a:lnTo>
                    <a:pt x="22352" y="66281"/>
                  </a:lnTo>
                  <a:lnTo>
                    <a:pt x="18034" y="64719"/>
                  </a:lnTo>
                  <a:lnTo>
                    <a:pt x="13842" y="61595"/>
                  </a:lnTo>
                  <a:lnTo>
                    <a:pt x="9525" y="58483"/>
                  </a:lnTo>
                  <a:lnTo>
                    <a:pt x="6350" y="53797"/>
                  </a:lnTo>
                  <a:lnTo>
                    <a:pt x="3175" y="49123"/>
                  </a:lnTo>
                  <a:lnTo>
                    <a:pt x="1015" y="42887"/>
                  </a:lnTo>
                  <a:lnTo>
                    <a:pt x="0" y="37426"/>
                  </a:lnTo>
                  <a:lnTo>
                    <a:pt x="1015" y="29629"/>
                  </a:lnTo>
                  <a:lnTo>
                    <a:pt x="4190" y="22606"/>
                  </a:lnTo>
                  <a:lnTo>
                    <a:pt x="7492" y="16382"/>
                  </a:lnTo>
                  <a:lnTo>
                    <a:pt x="11684" y="11684"/>
                  </a:lnTo>
                  <a:lnTo>
                    <a:pt x="16002" y="6984"/>
                  </a:lnTo>
                  <a:lnTo>
                    <a:pt x="19177" y="4698"/>
                  </a:lnTo>
                  <a:lnTo>
                    <a:pt x="23367" y="1523"/>
                  </a:lnTo>
                  <a:lnTo>
                    <a:pt x="26542" y="0"/>
                  </a:lnTo>
                  <a:lnTo>
                    <a:pt x="29717" y="1523"/>
                  </a:lnTo>
                  <a:lnTo>
                    <a:pt x="34036" y="4698"/>
                  </a:lnTo>
                  <a:lnTo>
                    <a:pt x="38227" y="8636"/>
                  </a:lnTo>
                  <a:lnTo>
                    <a:pt x="42544" y="13207"/>
                  </a:lnTo>
                  <a:lnTo>
                    <a:pt x="44703" y="16382"/>
                  </a:lnTo>
                  <a:lnTo>
                    <a:pt x="37211" y="19494"/>
                  </a:lnTo>
                  <a:lnTo>
                    <a:pt x="34036" y="17145"/>
                  </a:lnTo>
                  <a:lnTo>
                    <a:pt x="29717" y="12445"/>
                  </a:lnTo>
                  <a:lnTo>
                    <a:pt x="26542" y="9398"/>
                  </a:lnTo>
                  <a:lnTo>
                    <a:pt x="21209" y="13207"/>
                  </a:lnTo>
                  <a:lnTo>
                    <a:pt x="16002" y="19494"/>
                  </a:lnTo>
                  <a:lnTo>
                    <a:pt x="13842" y="23393"/>
                  </a:lnTo>
                  <a:lnTo>
                    <a:pt x="11684" y="27292"/>
                  </a:lnTo>
                  <a:lnTo>
                    <a:pt x="10667" y="31965"/>
                  </a:lnTo>
                  <a:lnTo>
                    <a:pt x="9525" y="37426"/>
                  </a:lnTo>
                  <a:lnTo>
                    <a:pt x="10667" y="42100"/>
                  </a:lnTo>
                  <a:lnTo>
                    <a:pt x="11684" y="46786"/>
                  </a:lnTo>
                  <a:lnTo>
                    <a:pt x="13842" y="50685"/>
                  </a:lnTo>
                  <a:lnTo>
                    <a:pt x="17017" y="53797"/>
                  </a:lnTo>
                  <a:lnTo>
                    <a:pt x="22352" y="58483"/>
                  </a:lnTo>
                  <a:lnTo>
                    <a:pt x="26542" y="60032"/>
                  </a:lnTo>
                  <a:lnTo>
                    <a:pt x="27686" y="60032"/>
                  </a:lnTo>
                  <a:lnTo>
                    <a:pt x="29717" y="59258"/>
                  </a:lnTo>
                  <a:lnTo>
                    <a:pt x="35052" y="54584"/>
                  </a:lnTo>
                  <a:lnTo>
                    <a:pt x="37211" y="52235"/>
                  </a:lnTo>
                  <a:lnTo>
                    <a:pt x="45719" y="56134"/>
                  </a:lnTo>
                  <a:lnTo>
                    <a:pt x="42544" y="58483"/>
                  </a:lnTo>
                  <a:lnTo>
                    <a:pt x="38227" y="63157"/>
                  </a:lnTo>
                  <a:lnTo>
                    <a:pt x="34036" y="65493"/>
                  </a:lnTo>
                  <a:lnTo>
                    <a:pt x="29717" y="67056"/>
                  </a:lnTo>
                  <a:lnTo>
                    <a:pt x="26542" y="67056"/>
                  </a:lnTo>
                  <a:close/>
                  <a:moveTo>
                    <a:pt x="-10107169" y="1289303"/>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53" name="Freeform 1253"/>
            <p:cNvSpPr/>
            <p:nvPr/>
          </p:nvSpPr>
          <p:spPr>
            <a:xfrm>
              <a:off x="10878870" y="5658977"/>
              <a:ext cx="578819" cy="9139"/>
            </a:xfrm>
            <a:custGeom>
              <a:avLst/>
              <a:gdLst/>
              <a:ahLst/>
              <a:cxnLst/>
              <a:rect l="0" t="0" r="0" b="0"/>
              <a:pathLst>
                <a:path w="579120" h="9144">
                  <a:moveTo>
                    <a:pt x="0" y="9144"/>
                  </a:moveTo>
                  <a:lnTo>
                    <a:pt x="579120" y="9144"/>
                  </a:lnTo>
                  <a:lnTo>
                    <a:pt x="579120"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54" name="Freeform 1254"/>
            <p:cNvSpPr/>
            <p:nvPr/>
          </p:nvSpPr>
          <p:spPr>
            <a:xfrm>
              <a:off x="11348019" y="5628513"/>
              <a:ext cx="9138" cy="39603"/>
            </a:xfrm>
            <a:custGeom>
              <a:avLst/>
              <a:gdLst/>
              <a:ahLst/>
              <a:cxnLst/>
              <a:rect l="0" t="0" r="0" b="0"/>
              <a:pathLst>
                <a:path w="9143" h="39624">
                  <a:moveTo>
                    <a:pt x="0" y="39624"/>
                  </a:moveTo>
                  <a:lnTo>
                    <a:pt x="9143" y="39624"/>
                  </a:lnTo>
                  <a:lnTo>
                    <a:pt x="9143" y="0"/>
                  </a:lnTo>
                  <a:lnTo>
                    <a:pt x="0" y="0"/>
                  </a:lnTo>
                  <a:lnTo>
                    <a:pt x="0" y="3962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55" name="Freeform 1255"/>
            <p:cNvSpPr/>
            <p:nvPr/>
          </p:nvSpPr>
          <p:spPr>
            <a:xfrm>
              <a:off x="11354110" y="5567584"/>
              <a:ext cx="48744" cy="67021"/>
            </a:xfrm>
            <a:custGeom>
              <a:avLst/>
              <a:gdLst/>
              <a:ahLst/>
              <a:cxnLst/>
              <a:rect l="0" t="0" r="0" b="0"/>
              <a:pathLst>
                <a:path w="48769" h="67056">
                  <a:moveTo>
                    <a:pt x="28321" y="67056"/>
                  </a:moveTo>
                  <a:lnTo>
                    <a:pt x="28321" y="67056"/>
                  </a:lnTo>
                  <a:lnTo>
                    <a:pt x="23876" y="66281"/>
                  </a:lnTo>
                  <a:lnTo>
                    <a:pt x="19305" y="64719"/>
                  </a:lnTo>
                  <a:lnTo>
                    <a:pt x="14733" y="61595"/>
                  </a:lnTo>
                  <a:lnTo>
                    <a:pt x="10160" y="58483"/>
                  </a:lnTo>
                  <a:lnTo>
                    <a:pt x="6859" y="53797"/>
                  </a:lnTo>
                  <a:lnTo>
                    <a:pt x="3430" y="49123"/>
                  </a:lnTo>
                  <a:lnTo>
                    <a:pt x="1144" y="42887"/>
                  </a:lnTo>
                  <a:lnTo>
                    <a:pt x="0" y="37426"/>
                  </a:lnTo>
                  <a:lnTo>
                    <a:pt x="1144" y="29629"/>
                  </a:lnTo>
                  <a:lnTo>
                    <a:pt x="4572" y="22606"/>
                  </a:lnTo>
                  <a:lnTo>
                    <a:pt x="8001" y="16382"/>
                  </a:lnTo>
                  <a:lnTo>
                    <a:pt x="12446" y="11684"/>
                  </a:lnTo>
                  <a:lnTo>
                    <a:pt x="17019" y="6984"/>
                  </a:lnTo>
                  <a:lnTo>
                    <a:pt x="20447" y="4698"/>
                  </a:lnTo>
                  <a:lnTo>
                    <a:pt x="24893" y="1523"/>
                  </a:lnTo>
                  <a:lnTo>
                    <a:pt x="28321" y="0"/>
                  </a:lnTo>
                  <a:lnTo>
                    <a:pt x="31750" y="1523"/>
                  </a:lnTo>
                  <a:lnTo>
                    <a:pt x="36322" y="4698"/>
                  </a:lnTo>
                  <a:lnTo>
                    <a:pt x="40768" y="8636"/>
                  </a:lnTo>
                  <a:lnTo>
                    <a:pt x="45339" y="13207"/>
                  </a:lnTo>
                  <a:lnTo>
                    <a:pt x="48769" y="16382"/>
                  </a:lnTo>
                  <a:lnTo>
                    <a:pt x="39751" y="20269"/>
                  </a:lnTo>
                  <a:lnTo>
                    <a:pt x="37466" y="17145"/>
                  </a:lnTo>
                  <a:lnTo>
                    <a:pt x="31750" y="12445"/>
                  </a:lnTo>
                  <a:lnTo>
                    <a:pt x="28321" y="9398"/>
                  </a:lnTo>
                  <a:lnTo>
                    <a:pt x="22734" y="13207"/>
                  </a:lnTo>
                  <a:lnTo>
                    <a:pt x="17019" y="19494"/>
                  </a:lnTo>
                  <a:lnTo>
                    <a:pt x="14733" y="23393"/>
                  </a:lnTo>
                  <a:lnTo>
                    <a:pt x="12446" y="27292"/>
                  </a:lnTo>
                  <a:lnTo>
                    <a:pt x="11304" y="31965"/>
                  </a:lnTo>
                  <a:lnTo>
                    <a:pt x="10160" y="37426"/>
                  </a:lnTo>
                  <a:lnTo>
                    <a:pt x="11304" y="42100"/>
                  </a:lnTo>
                  <a:lnTo>
                    <a:pt x="12446" y="46786"/>
                  </a:lnTo>
                  <a:lnTo>
                    <a:pt x="14733" y="50685"/>
                  </a:lnTo>
                  <a:lnTo>
                    <a:pt x="18161" y="53797"/>
                  </a:lnTo>
                  <a:lnTo>
                    <a:pt x="23876" y="58483"/>
                  </a:lnTo>
                  <a:lnTo>
                    <a:pt x="28321" y="60032"/>
                  </a:lnTo>
                  <a:lnTo>
                    <a:pt x="30608" y="59258"/>
                  </a:lnTo>
                  <a:lnTo>
                    <a:pt x="36322" y="55359"/>
                  </a:lnTo>
                  <a:lnTo>
                    <a:pt x="39751" y="52235"/>
                  </a:lnTo>
                  <a:lnTo>
                    <a:pt x="47625" y="56134"/>
                  </a:lnTo>
                  <a:lnTo>
                    <a:pt x="45339" y="59258"/>
                  </a:lnTo>
                  <a:lnTo>
                    <a:pt x="40768" y="62382"/>
                  </a:lnTo>
                  <a:lnTo>
                    <a:pt x="36322" y="64719"/>
                  </a:lnTo>
                  <a:lnTo>
                    <a:pt x="31750" y="66281"/>
                  </a:lnTo>
                  <a:lnTo>
                    <a:pt x="28321" y="67056"/>
                  </a:lnTo>
                  <a:close/>
                  <a:moveTo>
                    <a:pt x="-10134600" y="1289303"/>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56" name="Freeform 1256"/>
            <p:cNvSpPr/>
            <p:nvPr/>
          </p:nvSpPr>
          <p:spPr>
            <a:xfrm>
              <a:off x="11375436" y="5628513"/>
              <a:ext cx="12187" cy="39603"/>
            </a:xfrm>
            <a:custGeom>
              <a:avLst/>
              <a:gdLst/>
              <a:ahLst/>
              <a:cxnLst/>
              <a:rect l="0" t="0" r="0" b="0"/>
              <a:pathLst>
                <a:path w="12193" h="39624">
                  <a:moveTo>
                    <a:pt x="0" y="39624"/>
                  </a:moveTo>
                  <a:lnTo>
                    <a:pt x="12193" y="39624"/>
                  </a:lnTo>
                  <a:lnTo>
                    <a:pt x="12193" y="0"/>
                  </a:lnTo>
                  <a:lnTo>
                    <a:pt x="0" y="0"/>
                  </a:lnTo>
                  <a:lnTo>
                    <a:pt x="0" y="3962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57" name="Freeform 1257"/>
            <p:cNvSpPr/>
            <p:nvPr/>
          </p:nvSpPr>
          <p:spPr>
            <a:xfrm>
              <a:off x="11384576" y="5567584"/>
              <a:ext cx="51788" cy="67021"/>
            </a:xfrm>
            <a:custGeom>
              <a:avLst/>
              <a:gdLst/>
              <a:ahLst/>
              <a:cxnLst/>
              <a:rect l="0" t="0" r="0" b="0"/>
              <a:pathLst>
                <a:path w="51815" h="67056">
                  <a:moveTo>
                    <a:pt x="26415" y="67056"/>
                  </a:moveTo>
                  <a:lnTo>
                    <a:pt x="26415" y="67056"/>
                  </a:lnTo>
                  <a:lnTo>
                    <a:pt x="22225" y="66281"/>
                  </a:lnTo>
                  <a:lnTo>
                    <a:pt x="18033" y="64719"/>
                  </a:lnTo>
                  <a:lnTo>
                    <a:pt x="13715" y="61595"/>
                  </a:lnTo>
                  <a:lnTo>
                    <a:pt x="9525" y="58483"/>
                  </a:lnTo>
                  <a:lnTo>
                    <a:pt x="6350" y="53797"/>
                  </a:lnTo>
                  <a:lnTo>
                    <a:pt x="3175" y="49123"/>
                  </a:lnTo>
                  <a:lnTo>
                    <a:pt x="1015" y="42887"/>
                  </a:lnTo>
                  <a:lnTo>
                    <a:pt x="0" y="37426"/>
                  </a:lnTo>
                  <a:lnTo>
                    <a:pt x="1015" y="29629"/>
                  </a:lnTo>
                  <a:lnTo>
                    <a:pt x="4190" y="22606"/>
                  </a:lnTo>
                  <a:lnTo>
                    <a:pt x="7365" y="16382"/>
                  </a:lnTo>
                  <a:lnTo>
                    <a:pt x="11683" y="11684"/>
                  </a:lnTo>
                  <a:lnTo>
                    <a:pt x="15875" y="6984"/>
                  </a:lnTo>
                  <a:lnTo>
                    <a:pt x="19050" y="4698"/>
                  </a:lnTo>
                  <a:lnTo>
                    <a:pt x="23240" y="1523"/>
                  </a:lnTo>
                  <a:lnTo>
                    <a:pt x="26415" y="0"/>
                  </a:lnTo>
                  <a:lnTo>
                    <a:pt x="29590" y="1523"/>
                  </a:lnTo>
                  <a:lnTo>
                    <a:pt x="32765" y="4698"/>
                  </a:lnTo>
                  <a:lnTo>
                    <a:pt x="36956" y="6984"/>
                  </a:lnTo>
                  <a:lnTo>
                    <a:pt x="41275" y="11684"/>
                  </a:lnTo>
                  <a:lnTo>
                    <a:pt x="44450" y="16382"/>
                  </a:lnTo>
                  <a:lnTo>
                    <a:pt x="48640" y="22606"/>
                  </a:lnTo>
                  <a:lnTo>
                    <a:pt x="50800" y="29629"/>
                  </a:lnTo>
                  <a:lnTo>
                    <a:pt x="51815" y="37426"/>
                  </a:lnTo>
                  <a:lnTo>
                    <a:pt x="50800" y="42887"/>
                  </a:lnTo>
                  <a:lnTo>
                    <a:pt x="49656" y="49123"/>
                  </a:lnTo>
                  <a:lnTo>
                    <a:pt x="46481" y="53797"/>
                  </a:lnTo>
                  <a:lnTo>
                    <a:pt x="42290" y="58483"/>
                  </a:lnTo>
                  <a:lnTo>
                    <a:pt x="39115" y="61595"/>
                  </a:lnTo>
                  <a:lnTo>
                    <a:pt x="33781" y="64719"/>
                  </a:lnTo>
                  <a:lnTo>
                    <a:pt x="29590" y="66281"/>
                  </a:lnTo>
                  <a:lnTo>
                    <a:pt x="26415" y="67056"/>
                  </a:lnTo>
                  <a:close/>
                  <a:moveTo>
                    <a:pt x="-10165081" y="1289303"/>
                  </a:moveTo>
                  <a:moveTo>
                    <a:pt x="26415" y="9398"/>
                  </a:moveTo>
                  <a:lnTo>
                    <a:pt x="26415" y="9398"/>
                  </a:lnTo>
                  <a:lnTo>
                    <a:pt x="21208" y="13207"/>
                  </a:lnTo>
                  <a:lnTo>
                    <a:pt x="15875" y="19494"/>
                  </a:lnTo>
                  <a:lnTo>
                    <a:pt x="13715" y="23393"/>
                  </a:lnTo>
                  <a:lnTo>
                    <a:pt x="11683" y="27292"/>
                  </a:lnTo>
                  <a:lnTo>
                    <a:pt x="10540" y="31965"/>
                  </a:lnTo>
                  <a:lnTo>
                    <a:pt x="9525" y="37426"/>
                  </a:lnTo>
                  <a:lnTo>
                    <a:pt x="10540" y="42100"/>
                  </a:lnTo>
                  <a:lnTo>
                    <a:pt x="11683" y="46786"/>
                  </a:lnTo>
                  <a:lnTo>
                    <a:pt x="13715" y="50685"/>
                  </a:lnTo>
                  <a:lnTo>
                    <a:pt x="16890" y="53797"/>
                  </a:lnTo>
                  <a:lnTo>
                    <a:pt x="22225" y="58483"/>
                  </a:lnTo>
                  <a:lnTo>
                    <a:pt x="26415" y="60032"/>
                  </a:lnTo>
                  <a:lnTo>
                    <a:pt x="29590" y="58483"/>
                  </a:lnTo>
                  <a:lnTo>
                    <a:pt x="35940" y="53797"/>
                  </a:lnTo>
                  <a:lnTo>
                    <a:pt x="38100" y="50685"/>
                  </a:lnTo>
                  <a:lnTo>
                    <a:pt x="40131" y="46786"/>
                  </a:lnTo>
                  <a:lnTo>
                    <a:pt x="41275" y="42100"/>
                  </a:lnTo>
                  <a:lnTo>
                    <a:pt x="42290" y="37426"/>
                  </a:lnTo>
                  <a:lnTo>
                    <a:pt x="42290" y="31965"/>
                  </a:lnTo>
                  <a:lnTo>
                    <a:pt x="40131" y="27292"/>
                  </a:lnTo>
                  <a:lnTo>
                    <a:pt x="39115" y="23393"/>
                  </a:lnTo>
                  <a:lnTo>
                    <a:pt x="35940" y="19494"/>
                  </a:lnTo>
                  <a:lnTo>
                    <a:pt x="30606" y="13207"/>
                  </a:lnTo>
                  <a:lnTo>
                    <a:pt x="26415" y="9398"/>
                  </a:lnTo>
                  <a:close/>
                  <a:moveTo>
                    <a:pt x="-10107423" y="1289303"/>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58" name="Freeform 1258"/>
            <p:cNvSpPr/>
            <p:nvPr/>
          </p:nvSpPr>
          <p:spPr>
            <a:xfrm>
              <a:off x="11405901" y="5628513"/>
              <a:ext cx="9138" cy="39603"/>
            </a:xfrm>
            <a:custGeom>
              <a:avLst/>
              <a:gdLst/>
              <a:ahLst/>
              <a:cxnLst/>
              <a:rect l="0" t="0" r="0" b="0"/>
              <a:pathLst>
                <a:path w="9143" h="39624">
                  <a:moveTo>
                    <a:pt x="0" y="39624"/>
                  </a:moveTo>
                  <a:lnTo>
                    <a:pt x="9143" y="39624"/>
                  </a:lnTo>
                  <a:lnTo>
                    <a:pt x="9143" y="0"/>
                  </a:lnTo>
                  <a:lnTo>
                    <a:pt x="0" y="0"/>
                  </a:lnTo>
                  <a:lnTo>
                    <a:pt x="0" y="3962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59" name="Freeform 1259"/>
            <p:cNvSpPr/>
            <p:nvPr/>
          </p:nvSpPr>
          <p:spPr>
            <a:xfrm>
              <a:off x="10211705" y="5515794"/>
              <a:ext cx="27418" cy="149274"/>
            </a:xfrm>
            <a:custGeom>
              <a:avLst/>
              <a:gdLst/>
              <a:ahLst/>
              <a:cxnLst/>
              <a:rect l="0" t="0" r="0" b="0"/>
              <a:pathLst>
                <a:path w="27432" h="149352">
                  <a:moveTo>
                    <a:pt x="0" y="149352"/>
                  </a:moveTo>
                  <a:lnTo>
                    <a:pt x="27432" y="149352"/>
                  </a:lnTo>
                  <a:lnTo>
                    <a:pt x="27432" y="0"/>
                  </a:lnTo>
                  <a:lnTo>
                    <a:pt x="0" y="0"/>
                  </a:lnTo>
                  <a:lnTo>
                    <a:pt x="0" y="149352"/>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60" name="Freeform 1260"/>
            <p:cNvSpPr/>
            <p:nvPr/>
          </p:nvSpPr>
          <p:spPr>
            <a:xfrm>
              <a:off x="10589462" y="5515794"/>
              <a:ext cx="24370" cy="149274"/>
            </a:xfrm>
            <a:custGeom>
              <a:avLst/>
              <a:gdLst/>
              <a:ahLst/>
              <a:cxnLst/>
              <a:rect l="0" t="0" r="0" b="0"/>
              <a:pathLst>
                <a:path w="24383" h="149352">
                  <a:moveTo>
                    <a:pt x="24383" y="0"/>
                  </a:moveTo>
                  <a:lnTo>
                    <a:pt x="24383" y="51816"/>
                  </a:lnTo>
                  <a:lnTo>
                    <a:pt x="24383" y="149352"/>
                  </a:lnTo>
                  <a:lnTo>
                    <a:pt x="0" y="149352"/>
                  </a:lnTo>
                  <a:lnTo>
                    <a:pt x="0" y="0"/>
                  </a:lnTo>
                  <a:lnTo>
                    <a:pt x="24383" y="0"/>
                  </a:lnTo>
                  <a:close/>
                  <a:moveTo>
                    <a:pt x="-9250681" y="1341119"/>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61" name="Freeform 1261"/>
            <p:cNvSpPr/>
            <p:nvPr/>
          </p:nvSpPr>
          <p:spPr>
            <a:xfrm>
              <a:off x="10211706" y="5381751"/>
              <a:ext cx="402127" cy="124904"/>
            </a:xfrm>
            <a:custGeom>
              <a:avLst/>
              <a:gdLst/>
              <a:ahLst/>
              <a:cxnLst/>
              <a:rect l="0" t="0" r="0" b="0"/>
              <a:pathLst>
                <a:path w="402336" h="124969">
                  <a:moveTo>
                    <a:pt x="0" y="118872"/>
                  </a:moveTo>
                  <a:lnTo>
                    <a:pt x="0" y="124969"/>
                  </a:lnTo>
                  <a:lnTo>
                    <a:pt x="26544" y="124969"/>
                  </a:lnTo>
                  <a:lnTo>
                    <a:pt x="375921" y="124969"/>
                  </a:lnTo>
                  <a:lnTo>
                    <a:pt x="402336" y="124969"/>
                  </a:lnTo>
                  <a:lnTo>
                    <a:pt x="402336" y="118872"/>
                  </a:lnTo>
                  <a:lnTo>
                    <a:pt x="402209" y="115190"/>
                  </a:lnTo>
                  <a:lnTo>
                    <a:pt x="402083" y="111507"/>
                  </a:lnTo>
                  <a:lnTo>
                    <a:pt x="401701" y="107950"/>
                  </a:lnTo>
                  <a:lnTo>
                    <a:pt x="401194" y="104268"/>
                  </a:lnTo>
                  <a:lnTo>
                    <a:pt x="400559" y="100711"/>
                  </a:lnTo>
                  <a:lnTo>
                    <a:pt x="399796" y="97282"/>
                  </a:lnTo>
                  <a:lnTo>
                    <a:pt x="398908" y="93980"/>
                  </a:lnTo>
                  <a:lnTo>
                    <a:pt x="398019" y="90679"/>
                  </a:lnTo>
                  <a:lnTo>
                    <a:pt x="396495" y="87377"/>
                  </a:lnTo>
                  <a:lnTo>
                    <a:pt x="395479" y="84202"/>
                  </a:lnTo>
                  <a:lnTo>
                    <a:pt x="393955" y="81027"/>
                  </a:lnTo>
                  <a:lnTo>
                    <a:pt x="392558" y="77979"/>
                  </a:lnTo>
                  <a:lnTo>
                    <a:pt x="390780" y="74930"/>
                  </a:lnTo>
                  <a:lnTo>
                    <a:pt x="389001" y="72010"/>
                  </a:lnTo>
                  <a:lnTo>
                    <a:pt x="386970" y="69088"/>
                  </a:lnTo>
                  <a:lnTo>
                    <a:pt x="384937" y="66294"/>
                  </a:lnTo>
                  <a:lnTo>
                    <a:pt x="383159" y="63500"/>
                  </a:lnTo>
                  <a:lnTo>
                    <a:pt x="380746" y="60833"/>
                  </a:lnTo>
                  <a:lnTo>
                    <a:pt x="378460" y="58166"/>
                  </a:lnTo>
                  <a:lnTo>
                    <a:pt x="375921" y="55499"/>
                  </a:lnTo>
                  <a:lnTo>
                    <a:pt x="373381" y="52960"/>
                  </a:lnTo>
                  <a:lnTo>
                    <a:pt x="370841" y="50546"/>
                  </a:lnTo>
                  <a:lnTo>
                    <a:pt x="367920" y="48133"/>
                  </a:lnTo>
                  <a:lnTo>
                    <a:pt x="365125" y="45847"/>
                  </a:lnTo>
                  <a:lnTo>
                    <a:pt x="362332" y="43435"/>
                  </a:lnTo>
                  <a:lnTo>
                    <a:pt x="359410" y="41149"/>
                  </a:lnTo>
                  <a:lnTo>
                    <a:pt x="356235" y="38990"/>
                  </a:lnTo>
                  <a:lnTo>
                    <a:pt x="353187" y="36830"/>
                  </a:lnTo>
                  <a:lnTo>
                    <a:pt x="349885" y="34799"/>
                  </a:lnTo>
                  <a:lnTo>
                    <a:pt x="346457" y="32766"/>
                  </a:lnTo>
                  <a:lnTo>
                    <a:pt x="343028" y="30988"/>
                  </a:lnTo>
                  <a:lnTo>
                    <a:pt x="339598" y="28957"/>
                  </a:lnTo>
                  <a:lnTo>
                    <a:pt x="335916" y="27179"/>
                  </a:lnTo>
                  <a:lnTo>
                    <a:pt x="332233" y="25400"/>
                  </a:lnTo>
                  <a:lnTo>
                    <a:pt x="328676" y="23622"/>
                  </a:lnTo>
                  <a:lnTo>
                    <a:pt x="324867" y="22099"/>
                  </a:lnTo>
                  <a:lnTo>
                    <a:pt x="320930" y="20574"/>
                  </a:lnTo>
                  <a:lnTo>
                    <a:pt x="317120" y="19050"/>
                  </a:lnTo>
                  <a:lnTo>
                    <a:pt x="313056" y="17527"/>
                  </a:lnTo>
                  <a:lnTo>
                    <a:pt x="309119" y="16130"/>
                  </a:lnTo>
                  <a:lnTo>
                    <a:pt x="300863" y="13463"/>
                  </a:lnTo>
                  <a:lnTo>
                    <a:pt x="292355" y="11177"/>
                  </a:lnTo>
                  <a:lnTo>
                    <a:pt x="283846" y="8891"/>
                  </a:lnTo>
                  <a:lnTo>
                    <a:pt x="275083" y="6985"/>
                  </a:lnTo>
                  <a:lnTo>
                    <a:pt x="266193" y="5335"/>
                  </a:lnTo>
                  <a:lnTo>
                    <a:pt x="257048" y="3810"/>
                  </a:lnTo>
                  <a:lnTo>
                    <a:pt x="248032" y="2794"/>
                  </a:lnTo>
                  <a:lnTo>
                    <a:pt x="238760" y="1652"/>
                  </a:lnTo>
                  <a:lnTo>
                    <a:pt x="229235" y="1016"/>
                  </a:lnTo>
                  <a:lnTo>
                    <a:pt x="220092" y="382"/>
                  </a:lnTo>
                  <a:lnTo>
                    <a:pt x="210694" y="127"/>
                  </a:lnTo>
                  <a:lnTo>
                    <a:pt x="201169" y="0"/>
                  </a:lnTo>
                  <a:lnTo>
                    <a:pt x="191771" y="255"/>
                  </a:lnTo>
                  <a:lnTo>
                    <a:pt x="182246" y="763"/>
                  </a:lnTo>
                  <a:lnTo>
                    <a:pt x="172847" y="1271"/>
                  </a:lnTo>
                  <a:lnTo>
                    <a:pt x="163704" y="2160"/>
                  </a:lnTo>
                  <a:lnTo>
                    <a:pt x="154306" y="3302"/>
                  </a:lnTo>
                  <a:lnTo>
                    <a:pt x="145288" y="4699"/>
                  </a:lnTo>
                  <a:lnTo>
                    <a:pt x="136145" y="6224"/>
                  </a:lnTo>
                  <a:lnTo>
                    <a:pt x="127255" y="7874"/>
                  </a:lnTo>
                  <a:lnTo>
                    <a:pt x="118492" y="10033"/>
                  </a:lnTo>
                  <a:lnTo>
                    <a:pt x="109856" y="12319"/>
                  </a:lnTo>
                  <a:lnTo>
                    <a:pt x="101473" y="14732"/>
                  </a:lnTo>
                  <a:lnTo>
                    <a:pt x="93346" y="17527"/>
                  </a:lnTo>
                  <a:lnTo>
                    <a:pt x="85471" y="20447"/>
                  </a:lnTo>
                  <a:lnTo>
                    <a:pt x="81408" y="21971"/>
                  </a:lnTo>
                  <a:lnTo>
                    <a:pt x="77597" y="23622"/>
                  </a:lnTo>
                  <a:lnTo>
                    <a:pt x="73914" y="25274"/>
                  </a:lnTo>
                  <a:lnTo>
                    <a:pt x="69978" y="26924"/>
                  </a:lnTo>
                  <a:lnTo>
                    <a:pt x="66421" y="28702"/>
                  </a:lnTo>
                  <a:lnTo>
                    <a:pt x="62993" y="30607"/>
                  </a:lnTo>
                  <a:lnTo>
                    <a:pt x="59309" y="32513"/>
                  </a:lnTo>
                  <a:lnTo>
                    <a:pt x="55881" y="34418"/>
                  </a:lnTo>
                  <a:lnTo>
                    <a:pt x="52579" y="36449"/>
                  </a:lnTo>
                  <a:lnTo>
                    <a:pt x="49404" y="38482"/>
                  </a:lnTo>
                  <a:lnTo>
                    <a:pt x="46229" y="40641"/>
                  </a:lnTo>
                  <a:lnTo>
                    <a:pt x="42926" y="42799"/>
                  </a:lnTo>
                  <a:lnTo>
                    <a:pt x="40006" y="45085"/>
                  </a:lnTo>
                  <a:lnTo>
                    <a:pt x="36958" y="47244"/>
                  </a:lnTo>
                  <a:lnTo>
                    <a:pt x="34163" y="49530"/>
                  </a:lnTo>
                  <a:lnTo>
                    <a:pt x="31496" y="52071"/>
                  </a:lnTo>
                  <a:lnTo>
                    <a:pt x="28957" y="54483"/>
                  </a:lnTo>
                  <a:lnTo>
                    <a:pt x="26289" y="57024"/>
                  </a:lnTo>
                  <a:lnTo>
                    <a:pt x="24004" y="59691"/>
                  </a:lnTo>
                  <a:lnTo>
                    <a:pt x="21718" y="62230"/>
                  </a:lnTo>
                  <a:lnTo>
                    <a:pt x="19305" y="64897"/>
                  </a:lnTo>
                  <a:lnTo>
                    <a:pt x="17146" y="67691"/>
                  </a:lnTo>
                  <a:lnTo>
                    <a:pt x="15113" y="70485"/>
                  </a:lnTo>
                  <a:lnTo>
                    <a:pt x="13462" y="73280"/>
                  </a:lnTo>
                  <a:lnTo>
                    <a:pt x="11558" y="76200"/>
                  </a:lnTo>
                  <a:lnTo>
                    <a:pt x="10034" y="78994"/>
                  </a:lnTo>
                  <a:lnTo>
                    <a:pt x="8383" y="82169"/>
                  </a:lnTo>
                  <a:lnTo>
                    <a:pt x="6985" y="85091"/>
                  </a:lnTo>
                  <a:lnTo>
                    <a:pt x="5588" y="88266"/>
                  </a:lnTo>
                  <a:lnTo>
                    <a:pt x="4572" y="91441"/>
                  </a:lnTo>
                  <a:lnTo>
                    <a:pt x="3430" y="94743"/>
                  </a:lnTo>
                  <a:lnTo>
                    <a:pt x="2541" y="98044"/>
                  </a:lnTo>
                  <a:lnTo>
                    <a:pt x="1906" y="101346"/>
                  </a:lnTo>
                  <a:lnTo>
                    <a:pt x="1144" y="104649"/>
                  </a:lnTo>
                  <a:lnTo>
                    <a:pt x="635" y="108205"/>
                  </a:lnTo>
                  <a:lnTo>
                    <a:pt x="255" y="111760"/>
                  </a:lnTo>
                  <a:lnTo>
                    <a:pt x="0" y="115316"/>
                  </a:lnTo>
                  <a:lnTo>
                    <a:pt x="0" y="118872"/>
                  </a:lnTo>
                  <a:close/>
                  <a:moveTo>
                    <a:pt x="-8857487" y="1475232"/>
                  </a:moveTo>
                  <a:moveTo>
                    <a:pt x="26544" y="115571"/>
                  </a:moveTo>
                  <a:lnTo>
                    <a:pt x="26544" y="115571"/>
                  </a:lnTo>
                  <a:lnTo>
                    <a:pt x="26671" y="112649"/>
                  </a:lnTo>
                  <a:lnTo>
                    <a:pt x="27051" y="109729"/>
                  </a:lnTo>
                  <a:lnTo>
                    <a:pt x="27433" y="107061"/>
                  </a:lnTo>
                  <a:lnTo>
                    <a:pt x="27941" y="104141"/>
                  </a:lnTo>
                  <a:lnTo>
                    <a:pt x="28575" y="101346"/>
                  </a:lnTo>
                  <a:lnTo>
                    <a:pt x="29464" y="98680"/>
                  </a:lnTo>
                  <a:lnTo>
                    <a:pt x="30354" y="96013"/>
                  </a:lnTo>
                  <a:lnTo>
                    <a:pt x="31243" y="93346"/>
                  </a:lnTo>
                  <a:lnTo>
                    <a:pt x="32512" y="90679"/>
                  </a:lnTo>
                  <a:lnTo>
                    <a:pt x="33529" y="88138"/>
                  </a:lnTo>
                  <a:lnTo>
                    <a:pt x="34925" y="85599"/>
                  </a:lnTo>
                  <a:lnTo>
                    <a:pt x="36449" y="83185"/>
                  </a:lnTo>
                  <a:lnTo>
                    <a:pt x="37973" y="80772"/>
                  </a:lnTo>
                  <a:lnTo>
                    <a:pt x="39371" y="78360"/>
                  </a:lnTo>
                  <a:lnTo>
                    <a:pt x="41275" y="76074"/>
                  </a:lnTo>
                  <a:lnTo>
                    <a:pt x="42926" y="73915"/>
                  </a:lnTo>
                  <a:lnTo>
                    <a:pt x="44832" y="71629"/>
                  </a:lnTo>
                  <a:lnTo>
                    <a:pt x="46863" y="69469"/>
                  </a:lnTo>
                  <a:lnTo>
                    <a:pt x="48896" y="67310"/>
                  </a:lnTo>
                  <a:lnTo>
                    <a:pt x="50928" y="65152"/>
                  </a:lnTo>
                  <a:lnTo>
                    <a:pt x="53213" y="63119"/>
                  </a:lnTo>
                  <a:lnTo>
                    <a:pt x="55626" y="61088"/>
                  </a:lnTo>
                  <a:lnTo>
                    <a:pt x="57912" y="59182"/>
                  </a:lnTo>
                  <a:lnTo>
                    <a:pt x="60453" y="57277"/>
                  </a:lnTo>
                  <a:lnTo>
                    <a:pt x="65659" y="53468"/>
                  </a:lnTo>
                  <a:lnTo>
                    <a:pt x="70867" y="50038"/>
                  </a:lnTo>
                  <a:lnTo>
                    <a:pt x="76835" y="46736"/>
                  </a:lnTo>
                  <a:lnTo>
                    <a:pt x="82805" y="43561"/>
                  </a:lnTo>
                  <a:lnTo>
                    <a:pt x="89028" y="40641"/>
                  </a:lnTo>
                  <a:lnTo>
                    <a:pt x="95378" y="37719"/>
                  </a:lnTo>
                  <a:lnTo>
                    <a:pt x="102109" y="35180"/>
                  </a:lnTo>
                  <a:lnTo>
                    <a:pt x="108967" y="32894"/>
                  </a:lnTo>
                  <a:lnTo>
                    <a:pt x="116079" y="30735"/>
                  </a:lnTo>
                  <a:lnTo>
                    <a:pt x="123191" y="28575"/>
                  </a:lnTo>
                  <a:lnTo>
                    <a:pt x="130557" y="26797"/>
                  </a:lnTo>
                  <a:lnTo>
                    <a:pt x="138176" y="25146"/>
                  </a:lnTo>
                  <a:lnTo>
                    <a:pt x="145670" y="23622"/>
                  </a:lnTo>
                  <a:lnTo>
                    <a:pt x="153544" y="22480"/>
                  </a:lnTo>
                  <a:lnTo>
                    <a:pt x="161291" y="21210"/>
                  </a:lnTo>
                  <a:lnTo>
                    <a:pt x="169292" y="20321"/>
                  </a:lnTo>
                  <a:lnTo>
                    <a:pt x="177293" y="19558"/>
                  </a:lnTo>
                  <a:lnTo>
                    <a:pt x="185039" y="19050"/>
                  </a:lnTo>
                  <a:lnTo>
                    <a:pt x="193168" y="18796"/>
                  </a:lnTo>
                  <a:lnTo>
                    <a:pt x="201169" y="18669"/>
                  </a:lnTo>
                  <a:lnTo>
                    <a:pt x="209296" y="18669"/>
                  </a:lnTo>
                  <a:lnTo>
                    <a:pt x="217424" y="18796"/>
                  </a:lnTo>
                  <a:lnTo>
                    <a:pt x="225425" y="19305"/>
                  </a:lnTo>
                  <a:lnTo>
                    <a:pt x="233299" y="19813"/>
                  </a:lnTo>
                  <a:lnTo>
                    <a:pt x="241300" y="20702"/>
                  </a:lnTo>
                  <a:lnTo>
                    <a:pt x="248921" y="21591"/>
                  </a:lnTo>
                  <a:lnTo>
                    <a:pt x="256795" y="22733"/>
                  </a:lnTo>
                  <a:lnTo>
                    <a:pt x="264414" y="24257"/>
                  </a:lnTo>
                  <a:lnTo>
                    <a:pt x="271908" y="25782"/>
                  </a:lnTo>
                  <a:lnTo>
                    <a:pt x="279273" y="27560"/>
                  </a:lnTo>
                  <a:lnTo>
                    <a:pt x="286385" y="29338"/>
                  </a:lnTo>
                  <a:lnTo>
                    <a:pt x="293497" y="31624"/>
                  </a:lnTo>
                  <a:lnTo>
                    <a:pt x="300483" y="34036"/>
                  </a:lnTo>
                  <a:lnTo>
                    <a:pt x="307086" y="36449"/>
                  </a:lnTo>
                  <a:lnTo>
                    <a:pt x="313563" y="39244"/>
                  </a:lnTo>
                  <a:lnTo>
                    <a:pt x="319659" y="42165"/>
                  </a:lnTo>
                  <a:lnTo>
                    <a:pt x="325756" y="45213"/>
                  </a:lnTo>
                  <a:lnTo>
                    <a:pt x="331471" y="48515"/>
                  </a:lnTo>
                  <a:lnTo>
                    <a:pt x="334264" y="50293"/>
                  </a:lnTo>
                  <a:lnTo>
                    <a:pt x="336932" y="52071"/>
                  </a:lnTo>
                  <a:lnTo>
                    <a:pt x="339598" y="53975"/>
                  </a:lnTo>
                  <a:lnTo>
                    <a:pt x="342011" y="55880"/>
                  </a:lnTo>
                  <a:lnTo>
                    <a:pt x="344551" y="57658"/>
                  </a:lnTo>
                  <a:lnTo>
                    <a:pt x="347092" y="59691"/>
                  </a:lnTo>
                  <a:lnTo>
                    <a:pt x="349250" y="61722"/>
                  </a:lnTo>
                  <a:lnTo>
                    <a:pt x="351409" y="63755"/>
                  </a:lnTo>
                  <a:lnTo>
                    <a:pt x="353569" y="65913"/>
                  </a:lnTo>
                  <a:lnTo>
                    <a:pt x="355600" y="68072"/>
                  </a:lnTo>
                  <a:lnTo>
                    <a:pt x="357506" y="70232"/>
                  </a:lnTo>
                  <a:lnTo>
                    <a:pt x="359537" y="72518"/>
                  </a:lnTo>
                  <a:lnTo>
                    <a:pt x="361316" y="74930"/>
                  </a:lnTo>
                  <a:lnTo>
                    <a:pt x="362967" y="77216"/>
                  </a:lnTo>
                  <a:lnTo>
                    <a:pt x="364491" y="79757"/>
                  </a:lnTo>
                  <a:lnTo>
                    <a:pt x="365887" y="82169"/>
                  </a:lnTo>
                  <a:lnTo>
                    <a:pt x="367538" y="84710"/>
                  </a:lnTo>
                  <a:lnTo>
                    <a:pt x="368809" y="87249"/>
                  </a:lnTo>
                  <a:lnTo>
                    <a:pt x="369951" y="89790"/>
                  </a:lnTo>
                  <a:lnTo>
                    <a:pt x="371095" y="92457"/>
                  </a:lnTo>
                  <a:lnTo>
                    <a:pt x="372237" y="95250"/>
                  </a:lnTo>
                  <a:lnTo>
                    <a:pt x="372999" y="98044"/>
                  </a:lnTo>
                  <a:lnTo>
                    <a:pt x="373761" y="100711"/>
                  </a:lnTo>
                  <a:lnTo>
                    <a:pt x="374396" y="103760"/>
                  </a:lnTo>
                  <a:lnTo>
                    <a:pt x="375032" y="106554"/>
                  </a:lnTo>
                  <a:lnTo>
                    <a:pt x="375285" y="109602"/>
                  </a:lnTo>
                  <a:lnTo>
                    <a:pt x="375667" y="112522"/>
                  </a:lnTo>
                  <a:lnTo>
                    <a:pt x="375794" y="115571"/>
                  </a:lnTo>
                  <a:lnTo>
                    <a:pt x="26544" y="115571"/>
                  </a:lnTo>
                  <a:close/>
                  <a:moveTo>
                    <a:pt x="-8854186" y="1475232"/>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62" name="Freeform 1262"/>
            <p:cNvSpPr/>
            <p:nvPr/>
          </p:nvSpPr>
          <p:spPr>
            <a:xfrm>
              <a:off x="10418862" y="5317778"/>
              <a:ext cx="301596" cy="347291"/>
            </a:xfrm>
            <a:custGeom>
              <a:avLst/>
              <a:gdLst/>
              <a:ahLst/>
              <a:cxnLst/>
              <a:rect l="0" t="0" r="0" b="0"/>
              <a:pathLst>
                <a:path w="301753" h="347472">
                  <a:moveTo>
                    <a:pt x="209932" y="347472"/>
                  </a:moveTo>
                  <a:lnTo>
                    <a:pt x="209932" y="242189"/>
                  </a:lnTo>
                  <a:lnTo>
                    <a:pt x="228093" y="232664"/>
                  </a:lnTo>
                  <a:lnTo>
                    <a:pt x="225807" y="224028"/>
                  </a:lnTo>
                  <a:lnTo>
                    <a:pt x="223394" y="215137"/>
                  </a:lnTo>
                  <a:lnTo>
                    <a:pt x="221361" y="206248"/>
                  </a:lnTo>
                  <a:lnTo>
                    <a:pt x="219583" y="197103"/>
                  </a:lnTo>
                  <a:lnTo>
                    <a:pt x="217679" y="187578"/>
                  </a:lnTo>
                  <a:lnTo>
                    <a:pt x="216282" y="178053"/>
                  </a:lnTo>
                  <a:lnTo>
                    <a:pt x="214884" y="168020"/>
                  </a:lnTo>
                  <a:lnTo>
                    <a:pt x="213995" y="157987"/>
                  </a:lnTo>
                  <a:lnTo>
                    <a:pt x="212853" y="147828"/>
                  </a:lnTo>
                  <a:lnTo>
                    <a:pt x="212218" y="137287"/>
                  </a:lnTo>
                  <a:lnTo>
                    <a:pt x="211709" y="126492"/>
                  </a:lnTo>
                  <a:lnTo>
                    <a:pt x="211582" y="115570"/>
                  </a:lnTo>
                  <a:lnTo>
                    <a:pt x="211582" y="104393"/>
                  </a:lnTo>
                  <a:lnTo>
                    <a:pt x="211964" y="92964"/>
                  </a:lnTo>
                  <a:lnTo>
                    <a:pt x="212345" y="81406"/>
                  </a:lnTo>
                  <a:lnTo>
                    <a:pt x="213233" y="69468"/>
                  </a:lnTo>
                  <a:lnTo>
                    <a:pt x="217679" y="9270"/>
                  </a:lnTo>
                  <a:lnTo>
                    <a:pt x="13717" y="9270"/>
                  </a:lnTo>
                  <a:lnTo>
                    <a:pt x="16257" y="54609"/>
                  </a:lnTo>
                  <a:lnTo>
                    <a:pt x="9653" y="54356"/>
                  </a:lnTo>
                  <a:lnTo>
                    <a:pt x="3048" y="54228"/>
                  </a:lnTo>
                  <a:lnTo>
                    <a:pt x="0" y="0"/>
                  </a:lnTo>
                  <a:lnTo>
                    <a:pt x="231775" y="0"/>
                  </a:lnTo>
                  <a:lnTo>
                    <a:pt x="226442" y="70103"/>
                  </a:lnTo>
                  <a:lnTo>
                    <a:pt x="225933" y="78231"/>
                  </a:lnTo>
                  <a:lnTo>
                    <a:pt x="225425" y="86232"/>
                  </a:lnTo>
                  <a:lnTo>
                    <a:pt x="225171" y="94361"/>
                  </a:lnTo>
                  <a:lnTo>
                    <a:pt x="224918" y="102234"/>
                  </a:lnTo>
                  <a:lnTo>
                    <a:pt x="224918" y="109854"/>
                  </a:lnTo>
                  <a:lnTo>
                    <a:pt x="224918" y="117601"/>
                  </a:lnTo>
                  <a:lnTo>
                    <a:pt x="225171" y="125095"/>
                  </a:lnTo>
                  <a:lnTo>
                    <a:pt x="225425" y="132461"/>
                  </a:lnTo>
                  <a:lnTo>
                    <a:pt x="225807" y="139826"/>
                  </a:lnTo>
                  <a:lnTo>
                    <a:pt x="226187" y="147065"/>
                  </a:lnTo>
                  <a:lnTo>
                    <a:pt x="226822" y="154178"/>
                  </a:lnTo>
                  <a:lnTo>
                    <a:pt x="227711" y="161162"/>
                  </a:lnTo>
                  <a:lnTo>
                    <a:pt x="228473" y="168020"/>
                  </a:lnTo>
                  <a:lnTo>
                    <a:pt x="229235" y="174878"/>
                  </a:lnTo>
                  <a:lnTo>
                    <a:pt x="230379" y="181482"/>
                  </a:lnTo>
                  <a:lnTo>
                    <a:pt x="231395" y="188214"/>
                  </a:lnTo>
                  <a:lnTo>
                    <a:pt x="232537" y="194564"/>
                  </a:lnTo>
                  <a:lnTo>
                    <a:pt x="233807" y="200914"/>
                  </a:lnTo>
                  <a:lnTo>
                    <a:pt x="235078" y="207137"/>
                  </a:lnTo>
                  <a:lnTo>
                    <a:pt x="236602" y="213359"/>
                  </a:lnTo>
                  <a:lnTo>
                    <a:pt x="237998" y="219456"/>
                  </a:lnTo>
                  <a:lnTo>
                    <a:pt x="239649" y="225425"/>
                  </a:lnTo>
                  <a:lnTo>
                    <a:pt x="241300" y="231267"/>
                  </a:lnTo>
                  <a:lnTo>
                    <a:pt x="243079" y="236854"/>
                  </a:lnTo>
                  <a:lnTo>
                    <a:pt x="246889" y="248157"/>
                  </a:lnTo>
                  <a:lnTo>
                    <a:pt x="250825" y="258953"/>
                  </a:lnTo>
                  <a:lnTo>
                    <a:pt x="254890" y="269303"/>
                  </a:lnTo>
                  <a:lnTo>
                    <a:pt x="259334" y="279298"/>
                  </a:lnTo>
                  <a:lnTo>
                    <a:pt x="263018" y="286765"/>
                  </a:lnTo>
                  <a:lnTo>
                    <a:pt x="266955" y="293890"/>
                  </a:lnTo>
                  <a:lnTo>
                    <a:pt x="270765" y="300926"/>
                  </a:lnTo>
                  <a:lnTo>
                    <a:pt x="274702" y="307733"/>
                  </a:lnTo>
                  <a:lnTo>
                    <a:pt x="278893" y="314426"/>
                  </a:lnTo>
                  <a:lnTo>
                    <a:pt x="283083" y="321119"/>
                  </a:lnTo>
                  <a:lnTo>
                    <a:pt x="291466" y="334403"/>
                  </a:lnTo>
                  <a:lnTo>
                    <a:pt x="296672" y="340995"/>
                  </a:lnTo>
                  <a:lnTo>
                    <a:pt x="301753" y="347472"/>
                  </a:lnTo>
                  <a:lnTo>
                    <a:pt x="209932" y="347472"/>
                  </a:lnTo>
                  <a:close/>
                  <a:moveTo>
                    <a:pt x="-9229344" y="1539239"/>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263" name="Freeform 1263"/>
            <p:cNvSpPr/>
            <p:nvPr/>
          </p:nvSpPr>
          <p:spPr>
            <a:xfrm>
              <a:off x="10172103" y="5674208"/>
              <a:ext cx="551401" cy="9139"/>
            </a:xfrm>
            <a:custGeom>
              <a:avLst/>
              <a:gdLst/>
              <a:ahLst/>
              <a:cxnLst/>
              <a:rect l="0" t="0" r="0" b="0"/>
              <a:pathLst>
                <a:path w="551688" h="9144">
                  <a:moveTo>
                    <a:pt x="0" y="9144"/>
                  </a:moveTo>
                  <a:lnTo>
                    <a:pt x="551688" y="9144"/>
                  </a:lnTo>
                  <a:lnTo>
                    <a:pt x="551688"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pic>
          <p:nvPicPr>
            <p:cNvPr id="1264" name="Picture 126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10300053" y="5513889"/>
              <a:ext cx="201698" cy="140884"/>
            </a:xfrm>
            <a:prstGeom prst="rect">
              <a:avLst/>
            </a:prstGeom>
            <a:noFill/>
          </p:spPr>
        </p:pic>
        <p:pic>
          <p:nvPicPr>
            <p:cNvPr id="1265" name="Picture 1265"/>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a:xfrm>
              <a:off x="9410498" y="5290360"/>
              <a:ext cx="661072" cy="502657"/>
            </a:xfrm>
            <a:prstGeom prst="rect">
              <a:avLst/>
            </a:prstGeom>
            <a:noFill/>
          </p:spPr>
        </p:pic>
        <p:sp>
          <p:nvSpPr>
            <p:cNvPr id="1266" name="Freeform 1266"/>
            <p:cNvSpPr/>
            <p:nvPr/>
          </p:nvSpPr>
          <p:spPr>
            <a:xfrm>
              <a:off x="9378512" y="5194398"/>
              <a:ext cx="2205603" cy="874320"/>
            </a:xfrm>
            <a:custGeom>
              <a:avLst/>
              <a:gdLst/>
              <a:ahLst/>
              <a:cxnLst/>
              <a:rect l="0" t="0" r="0" b="0"/>
              <a:pathLst>
                <a:path w="2206752" h="874775">
                  <a:moveTo>
                    <a:pt x="0" y="874775"/>
                  </a:moveTo>
                  <a:lnTo>
                    <a:pt x="2206752" y="874775"/>
                  </a:lnTo>
                  <a:lnTo>
                    <a:pt x="2206752" y="0"/>
                  </a:lnTo>
                  <a:lnTo>
                    <a:pt x="0" y="0"/>
                  </a:lnTo>
                  <a:lnTo>
                    <a:pt x="0" y="874775"/>
                  </a:lnTo>
                  <a:close/>
                </a:path>
              </a:pathLst>
            </a:custGeom>
            <a:noFill/>
            <a:ln w="9525" cap="flat" cmpd="sng">
              <a:solidFill>
                <a:srgbClr val="FFFACC"/>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1576" name="Rectangle 1576"/>
            <p:cNvSpPr/>
            <p:nvPr/>
          </p:nvSpPr>
          <p:spPr>
            <a:xfrm>
              <a:off x="9471426" y="5789167"/>
              <a:ext cx="594778" cy="15478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12" normalizeH="0" baseline="0" noProof="0" dirty="0">
                  <a:ln>
                    <a:noFill/>
                  </a:ln>
                  <a:solidFill>
                    <a:srgbClr val="8B8B90"/>
                  </a:solidFill>
                  <a:effectLst/>
                  <a:uLnTx/>
                  <a:uFillTx/>
                  <a:latin typeface="EYInterstate-LightBold"/>
                  <a:ea typeface="+mn-ea"/>
                  <a:cs typeface="+mn-cs"/>
                </a:rPr>
                <a:t>F</a:t>
              </a: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uel Cells</a:t>
              </a:r>
            </a:p>
          </p:txBody>
        </p:sp>
        <p:sp>
          <p:nvSpPr>
            <p:cNvPr id="1542" name="Rectangle 1542"/>
            <p:cNvSpPr/>
            <p:nvPr/>
          </p:nvSpPr>
          <p:spPr>
            <a:xfrm>
              <a:off x="10728568" y="5690158"/>
              <a:ext cx="881652" cy="308674"/>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Decentralized </a:t>
              </a:r>
            </a:p>
            <a:p>
              <a:pPr marL="179651" marR="0" lvl="0" indent="0" algn="l" defTabSz="914400" rtl="0" eaLnBrk="1" fontAlgn="auto" latinLnBrk="0" hangingPunct="1">
                <a:lnSpc>
                  <a:spcPts val="1198"/>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Heating</a:t>
              </a:r>
            </a:p>
          </p:txBody>
        </p:sp>
        <p:sp>
          <p:nvSpPr>
            <p:cNvPr id="1543" name="Rectangle 1543"/>
            <p:cNvSpPr/>
            <p:nvPr/>
          </p:nvSpPr>
          <p:spPr>
            <a:xfrm>
              <a:off x="10186702" y="5690158"/>
              <a:ext cx="532133" cy="308674"/>
            </a:xfrm>
            <a:prstGeom prst="rect">
              <a:avLst/>
            </a:prstGeom>
          </p:spPr>
          <p:txBody>
            <a:bodyPr wrap="none" lIns="0" tIns="0" rIns="0" bIns="0">
              <a:spAutoFit/>
            </a:bodyPr>
            <a:lstStyle/>
            <a:p>
              <a:pPr marL="149202"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12" normalizeH="0" baseline="0" noProof="0" dirty="0">
                  <a:ln>
                    <a:noFill/>
                  </a:ln>
                  <a:solidFill>
                    <a:srgbClr val="8B8B90"/>
                  </a:solidFill>
                  <a:effectLst/>
                  <a:uLnTx/>
                  <a:uFillTx/>
                  <a:latin typeface="EYInterstate-LightBold"/>
                  <a:ea typeface="+mn-ea"/>
                  <a:cs typeface="+mn-cs"/>
                </a:rPr>
                <a:t>G</a:t>
              </a: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as </a:t>
              </a:r>
            </a:p>
            <a:p>
              <a:pPr marL="0" marR="0" lvl="0" indent="0" algn="l" defTabSz="914400" rtl="0" eaLnBrk="1" fontAlgn="auto" latinLnBrk="0" hangingPunct="1">
                <a:lnSpc>
                  <a:spcPts val="1198"/>
                </a:lnSpc>
                <a:spcBef>
                  <a:spcPts val="0"/>
                </a:spcBef>
                <a:spcAft>
                  <a:spcPts val="0"/>
                </a:spcAft>
                <a:buClrTx/>
                <a:buSzTx/>
                <a:buFontTx/>
                <a:buNone/>
                <a:tabLst/>
                <a:defRPr/>
              </a:pPr>
              <a:r>
                <a:rPr kumimoji="0" lang="en-US" sz="1005" b="1" i="0" u="none" strike="noStrike" kern="1200" cap="none" spc="-13" normalizeH="0" baseline="0" noProof="0" dirty="0">
                  <a:ln>
                    <a:noFill/>
                  </a:ln>
                  <a:solidFill>
                    <a:srgbClr val="8B8B90"/>
                  </a:solidFill>
                  <a:effectLst/>
                  <a:uLnTx/>
                  <a:uFillTx/>
                  <a:latin typeface="EYInterstate-LightBold"/>
                  <a:ea typeface="+mn-ea"/>
                  <a:cs typeface="+mn-cs"/>
                </a:rPr>
                <a:t>T</a:t>
              </a: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urbines</a:t>
              </a:r>
            </a:p>
          </p:txBody>
        </p:sp>
      </p:grpSp>
      <p:grpSp>
        <p:nvGrpSpPr>
          <p:cNvPr id="13" name="5. End Use - Mobility">
            <a:extLst>
              <a:ext uri="{FF2B5EF4-FFF2-40B4-BE49-F238E27FC236}">
                <a16:creationId xmlns:a16="http://schemas.microsoft.com/office/drawing/2014/main" id="{A8155E35-841D-41B5-ABB3-7EE50F3B3366}"/>
              </a:ext>
            </a:extLst>
          </p:cNvPr>
          <p:cNvGrpSpPr/>
          <p:nvPr/>
        </p:nvGrpSpPr>
        <p:grpSpPr>
          <a:xfrm>
            <a:off x="9527841" y="2674148"/>
            <a:ext cx="2198616" cy="1903017"/>
            <a:chOff x="10066204" y="3101511"/>
            <a:chExt cx="1990186" cy="1904008"/>
          </a:xfrm>
        </p:grpSpPr>
        <p:sp>
          <p:nvSpPr>
            <p:cNvPr id="1422" name="Freeform 1422"/>
            <p:cNvSpPr/>
            <p:nvPr/>
          </p:nvSpPr>
          <p:spPr>
            <a:xfrm>
              <a:off x="11525724" y="3873776"/>
              <a:ext cx="444775" cy="225436"/>
            </a:xfrm>
            <a:custGeom>
              <a:avLst/>
              <a:gdLst/>
              <a:ahLst/>
              <a:cxnLst/>
              <a:rect l="0" t="0" r="0" b="0"/>
              <a:pathLst>
                <a:path w="445007" h="225553">
                  <a:moveTo>
                    <a:pt x="445007" y="187325"/>
                  </a:moveTo>
                  <a:lnTo>
                    <a:pt x="445007" y="113919"/>
                  </a:lnTo>
                  <a:lnTo>
                    <a:pt x="445007" y="112650"/>
                  </a:lnTo>
                  <a:lnTo>
                    <a:pt x="444754" y="111379"/>
                  </a:lnTo>
                  <a:lnTo>
                    <a:pt x="444245" y="110110"/>
                  </a:lnTo>
                  <a:lnTo>
                    <a:pt x="443738" y="108966"/>
                  </a:lnTo>
                  <a:lnTo>
                    <a:pt x="442976" y="107823"/>
                  </a:lnTo>
                  <a:lnTo>
                    <a:pt x="442087" y="106807"/>
                  </a:lnTo>
                  <a:lnTo>
                    <a:pt x="441070" y="105791"/>
                  </a:lnTo>
                  <a:lnTo>
                    <a:pt x="439928" y="104903"/>
                  </a:lnTo>
                  <a:lnTo>
                    <a:pt x="438657" y="104141"/>
                  </a:lnTo>
                  <a:lnTo>
                    <a:pt x="437261" y="103378"/>
                  </a:lnTo>
                  <a:lnTo>
                    <a:pt x="435864" y="102744"/>
                  </a:lnTo>
                  <a:lnTo>
                    <a:pt x="434340" y="102235"/>
                  </a:lnTo>
                  <a:lnTo>
                    <a:pt x="432689" y="101854"/>
                  </a:lnTo>
                  <a:lnTo>
                    <a:pt x="431038" y="101473"/>
                  </a:lnTo>
                  <a:lnTo>
                    <a:pt x="429259" y="101219"/>
                  </a:lnTo>
                  <a:lnTo>
                    <a:pt x="427481" y="101219"/>
                  </a:lnTo>
                  <a:lnTo>
                    <a:pt x="326643" y="101219"/>
                  </a:lnTo>
                  <a:lnTo>
                    <a:pt x="326643" y="22860"/>
                  </a:lnTo>
                  <a:lnTo>
                    <a:pt x="159130" y="22860"/>
                  </a:lnTo>
                  <a:lnTo>
                    <a:pt x="157606" y="25781"/>
                  </a:lnTo>
                  <a:lnTo>
                    <a:pt x="153162" y="33656"/>
                  </a:lnTo>
                  <a:lnTo>
                    <a:pt x="150114" y="39244"/>
                  </a:lnTo>
                  <a:lnTo>
                    <a:pt x="147066" y="45594"/>
                  </a:lnTo>
                  <a:lnTo>
                    <a:pt x="143509" y="52706"/>
                  </a:lnTo>
                  <a:lnTo>
                    <a:pt x="139827" y="60453"/>
                  </a:lnTo>
                  <a:lnTo>
                    <a:pt x="136143" y="68581"/>
                  </a:lnTo>
                  <a:lnTo>
                    <a:pt x="132715" y="77090"/>
                  </a:lnTo>
                  <a:lnTo>
                    <a:pt x="129413" y="85979"/>
                  </a:lnTo>
                  <a:lnTo>
                    <a:pt x="127889" y="90170"/>
                  </a:lnTo>
                  <a:lnTo>
                    <a:pt x="126492" y="94616"/>
                  </a:lnTo>
                  <a:lnTo>
                    <a:pt x="125221" y="99060"/>
                  </a:lnTo>
                  <a:lnTo>
                    <a:pt x="123952" y="103251"/>
                  </a:lnTo>
                  <a:lnTo>
                    <a:pt x="122936" y="107569"/>
                  </a:lnTo>
                  <a:lnTo>
                    <a:pt x="122174" y="111760"/>
                  </a:lnTo>
                  <a:lnTo>
                    <a:pt x="121412" y="115951"/>
                  </a:lnTo>
                  <a:lnTo>
                    <a:pt x="120904" y="119888"/>
                  </a:lnTo>
                  <a:lnTo>
                    <a:pt x="120395" y="123953"/>
                  </a:lnTo>
                  <a:lnTo>
                    <a:pt x="120268" y="127763"/>
                  </a:lnTo>
                  <a:lnTo>
                    <a:pt x="120395" y="132716"/>
                  </a:lnTo>
                  <a:lnTo>
                    <a:pt x="120522" y="137541"/>
                  </a:lnTo>
                  <a:lnTo>
                    <a:pt x="120904" y="142241"/>
                  </a:lnTo>
                  <a:lnTo>
                    <a:pt x="121284" y="146813"/>
                  </a:lnTo>
                  <a:lnTo>
                    <a:pt x="121792" y="151131"/>
                  </a:lnTo>
                  <a:lnTo>
                    <a:pt x="122428" y="155194"/>
                  </a:lnTo>
                  <a:lnTo>
                    <a:pt x="122936" y="159004"/>
                  </a:lnTo>
                  <a:lnTo>
                    <a:pt x="123697" y="162688"/>
                  </a:lnTo>
                  <a:lnTo>
                    <a:pt x="113283" y="158243"/>
                  </a:lnTo>
                  <a:lnTo>
                    <a:pt x="113283" y="0"/>
                  </a:lnTo>
                  <a:lnTo>
                    <a:pt x="95122" y="0"/>
                  </a:lnTo>
                  <a:lnTo>
                    <a:pt x="95122" y="195835"/>
                  </a:lnTo>
                  <a:lnTo>
                    <a:pt x="0" y="195835"/>
                  </a:lnTo>
                  <a:lnTo>
                    <a:pt x="0" y="202312"/>
                  </a:lnTo>
                  <a:lnTo>
                    <a:pt x="132079" y="202312"/>
                  </a:lnTo>
                  <a:lnTo>
                    <a:pt x="133477" y="204978"/>
                  </a:lnTo>
                  <a:lnTo>
                    <a:pt x="134874" y="207138"/>
                  </a:lnTo>
                  <a:lnTo>
                    <a:pt x="136525" y="209550"/>
                  </a:lnTo>
                  <a:lnTo>
                    <a:pt x="138556" y="211582"/>
                  </a:lnTo>
                  <a:lnTo>
                    <a:pt x="140716" y="213741"/>
                  </a:lnTo>
                  <a:lnTo>
                    <a:pt x="143129" y="215519"/>
                  </a:lnTo>
                  <a:lnTo>
                    <a:pt x="145668" y="217297"/>
                  </a:lnTo>
                  <a:lnTo>
                    <a:pt x="148463" y="218948"/>
                  </a:lnTo>
                  <a:lnTo>
                    <a:pt x="151383" y="220345"/>
                  </a:lnTo>
                  <a:lnTo>
                    <a:pt x="154304" y="221743"/>
                  </a:lnTo>
                  <a:lnTo>
                    <a:pt x="157733" y="222759"/>
                  </a:lnTo>
                  <a:lnTo>
                    <a:pt x="161036" y="223775"/>
                  </a:lnTo>
                  <a:lnTo>
                    <a:pt x="164592" y="224537"/>
                  </a:lnTo>
                  <a:lnTo>
                    <a:pt x="168275" y="225044"/>
                  </a:lnTo>
                  <a:lnTo>
                    <a:pt x="171830" y="225425"/>
                  </a:lnTo>
                  <a:lnTo>
                    <a:pt x="175641" y="225553"/>
                  </a:lnTo>
                  <a:lnTo>
                    <a:pt x="179324" y="225425"/>
                  </a:lnTo>
                  <a:lnTo>
                    <a:pt x="183133" y="225044"/>
                  </a:lnTo>
                  <a:lnTo>
                    <a:pt x="186817" y="224537"/>
                  </a:lnTo>
                  <a:lnTo>
                    <a:pt x="190372" y="223775"/>
                  </a:lnTo>
                  <a:lnTo>
                    <a:pt x="193547" y="222759"/>
                  </a:lnTo>
                  <a:lnTo>
                    <a:pt x="196850" y="221743"/>
                  </a:lnTo>
                  <a:lnTo>
                    <a:pt x="199897" y="220345"/>
                  </a:lnTo>
                  <a:lnTo>
                    <a:pt x="203072" y="218948"/>
                  </a:lnTo>
                  <a:lnTo>
                    <a:pt x="205740" y="217297"/>
                  </a:lnTo>
                  <a:lnTo>
                    <a:pt x="208279" y="215519"/>
                  </a:lnTo>
                  <a:lnTo>
                    <a:pt x="210566" y="213741"/>
                  </a:lnTo>
                  <a:lnTo>
                    <a:pt x="212852" y="211582"/>
                  </a:lnTo>
                  <a:lnTo>
                    <a:pt x="214756" y="209550"/>
                  </a:lnTo>
                  <a:lnTo>
                    <a:pt x="216534" y="207138"/>
                  </a:lnTo>
                  <a:lnTo>
                    <a:pt x="217931" y="204978"/>
                  </a:lnTo>
                  <a:lnTo>
                    <a:pt x="219075" y="202312"/>
                  </a:lnTo>
                  <a:lnTo>
                    <a:pt x="341756" y="202312"/>
                  </a:lnTo>
                  <a:lnTo>
                    <a:pt x="343027" y="204978"/>
                  </a:lnTo>
                  <a:lnTo>
                    <a:pt x="344424" y="207138"/>
                  </a:lnTo>
                  <a:lnTo>
                    <a:pt x="346075" y="209550"/>
                  </a:lnTo>
                  <a:lnTo>
                    <a:pt x="348106" y="211582"/>
                  </a:lnTo>
                  <a:lnTo>
                    <a:pt x="350139" y="213741"/>
                  </a:lnTo>
                  <a:lnTo>
                    <a:pt x="352679" y="215519"/>
                  </a:lnTo>
                  <a:lnTo>
                    <a:pt x="355092" y="217297"/>
                  </a:lnTo>
                  <a:lnTo>
                    <a:pt x="357886" y="218948"/>
                  </a:lnTo>
                  <a:lnTo>
                    <a:pt x="360806" y="220345"/>
                  </a:lnTo>
                  <a:lnTo>
                    <a:pt x="363981" y="221743"/>
                  </a:lnTo>
                  <a:lnTo>
                    <a:pt x="367156" y="222759"/>
                  </a:lnTo>
                  <a:lnTo>
                    <a:pt x="370586" y="223775"/>
                  </a:lnTo>
                  <a:lnTo>
                    <a:pt x="374142" y="224537"/>
                  </a:lnTo>
                  <a:lnTo>
                    <a:pt x="377697" y="225044"/>
                  </a:lnTo>
                  <a:lnTo>
                    <a:pt x="381380" y="225425"/>
                  </a:lnTo>
                  <a:lnTo>
                    <a:pt x="385191" y="225553"/>
                  </a:lnTo>
                  <a:lnTo>
                    <a:pt x="387604" y="225425"/>
                  </a:lnTo>
                  <a:lnTo>
                    <a:pt x="389890" y="225425"/>
                  </a:lnTo>
                  <a:lnTo>
                    <a:pt x="392049" y="225172"/>
                  </a:lnTo>
                  <a:lnTo>
                    <a:pt x="394334" y="224791"/>
                  </a:lnTo>
                  <a:lnTo>
                    <a:pt x="396620" y="224537"/>
                  </a:lnTo>
                  <a:lnTo>
                    <a:pt x="398779" y="223901"/>
                  </a:lnTo>
                  <a:lnTo>
                    <a:pt x="400812" y="223520"/>
                  </a:lnTo>
                  <a:lnTo>
                    <a:pt x="402970" y="222885"/>
                  </a:lnTo>
                  <a:lnTo>
                    <a:pt x="404876" y="222250"/>
                  </a:lnTo>
                  <a:lnTo>
                    <a:pt x="406907" y="221616"/>
                  </a:lnTo>
                  <a:lnTo>
                    <a:pt x="408813" y="220726"/>
                  </a:lnTo>
                  <a:lnTo>
                    <a:pt x="410717" y="219838"/>
                  </a:lnTo>
                  <a:lnTo>
                    <a:pt x="412495" y="218948"/>
                  </a:lnTo>
                  <a:lnTo>
                    <a:pt x="414146" y="218060"/>
                  </a:lnTo>
                  <a:lnTo>
                    <a:pt x="415797" y="216916"/>
                  </a:lnTo>
                  <a:lnTo>
                    <a:pt x="417449" y="215900"/>
                  </a:lnTo>
                  <a:lnTo>
                    <a:pt x="418845" y="214757"/>
                  </a:lnTo>
                  <a:lnTo>
                    <a:pt x="420242" y="213615"/>
                  </a:lnTo>
                  <a:lnTo>
                    <a:pt x="421640" y="212344"/>
                  </a:lnTo>
                  <a:lnTo>
                    <a:pt x="422909" y="211075"/>
                  </a:lnTo>
                  <a:lnTo>
                    <a:pt x="424053" y="209678"/>
                  </a:lnTo>
                  <a:lnTo>
                    <a:pt x="425195" y="208281"/>
                  </a:lnTo>
                  <a:lnTo>
                    <a:pt x="426339" y="206884"/>
                  </a:lnTo>
                  <a:lnTo>
                    <a:pt x="427101" y="205360"/>
                  </a:lnTo>
                  <a:lnTo>
                    <a:pt x="427990" y="203963"/>
                  </a:lnTo>
                  <a:lnTo>
                    <a:pt x="428752" y="202438"/>
                  </a:lnTo>
                  <a:lnTo>
                    <a:pt x="429259" y="200915"/>
                  </a:lnTo>
                  <a:lnTo>
                    <a:pt x="429641" y="199391"/>
                  </a:lnTo>
                  <a:lnTo>
                    <a:pt x="430276" y="197613"/>
                  </a:lnTo>
                  <a:lnTo>
                    <a:pt x="430529" y="196088"/>
                  </a:lnTo>
                  <a:lnTo>
                    <a:pt x="430656" y="194310"/>
                  </a:lnTo>
                  <a:lnTo>
                    <a:pt x="430783" y="192787"/>
                  </a:lnTo>
                  <a:lnTo>
                    <a:pt x="430656" y="191009"/>
                  </a:lnTo>
                  <a:lnTo>
                    <a:pt x="430529" y="189357"/>
                  </a:lnTo>
                  <a:lnTo>
                    <a:pt x="430276" y="187706"/>
                  </a:lnTo>
                  <a:lnTo>
                    <a:pt x="429641" y="186182"/>
                  </a:lnTo>
                  <a:lnTo>
                    <a:pt x="429259" y="184531"/>
                  </a:lnTo>
                  <a:lnTo>
                    <a:pt x="428752" y="183007"/>
                  </a:lnTo>
                  <a:lnTo>
                    <a:pt x="427990" y="181356"/>
                  </a:lnTo>
                  <a:lnTo>
                    <a:pt x="427101" y="179960"/>
                  </a:lnTo>
                  <a:lnTo>
                    <a:pt x="426339" y="178435"/>
                  </a:lnTo>
                  <a:lnTo>
                    <a:pt x="425195" y="177038"/>
                  </a:lnTo>
                  <a:lnTo>
                    <a:pt x="424053" y="175641"/>
                  </a:lnTo>
                  <a:lnTo>
                    <a:pt x="422909" y="174372"/>
                  </a:lnTo>
                  <a:lnTo>
                    <a:pt x="421640" y="172975"/>
                  </a:lnTo>
                  <a:lnTo>
                    <a:pt x="420242" y="171831"/>
                  </a:lnTo>
                  <a:lnTo>
                    <a:pt x="418845" y="170562"/>
                  </a:lnTo>
                  <a:lnTo>
                    <a:pt x="417449" y="169545"/>
                  </a:lnTo>
                  <a:lnTo>
                    <a:pt x="415797" y="168403"/>
                  </a:lnTo>
                  <a:lnTo>
                    <a:pt x="414146" y="167387"/>
                  </a:lnTo>
                  <a:lnTo>
                    <a:pt x="412495" y="166370"/>
                  </a:lnTo>
                  <a:lnTo>
                    <a:pt x="410717" y="165481"/>
                  </a:lnTo>
                  <a:lnTo>
                    <a:pt x="408813" y="164593"/>
                  </a:lnTo>
                  <a:lnTo>
                    <a:pt x="406907" y="163703"/>
                  </a:lnTo>
                  <a:lnTo>
                    <a:pt x="404876" y="163069"/>
                  </a:lnTo>
                  <a:lnTo>
                    <a:pt x="402843" y="162434"/>
                  </a:lnTo>
                  <a:lnTo>
                    <a:pt x="400812" y="161925"/>
                  </a:lnTo>
                  <a:lnTo>
                    <a:pt x="398779" y="161418"/>
                  </a:lnTo>
                  <a:lnTo>
                    <a:pt x="396620" y="160782"/>
                  </a:lnTo>
                  <a:lnTo>
                    <a:pt x="394334" y="160528"/>
                  </a:lnTo>
                  <a:lnTo>
                    <a:pt x="392049" y="160275"/>
                  </a:lnTo>
                  <a:lnTo>
                    <a:pt x="389890" y="160020"/>
                  </a:lnTo>
                  <a:lnTo>
                    <a:pt x="387604" y="159894"/>
                  </a:lnTo>
                  <a:lnTo>
                    <a:pt x="385191" y="159894"/>
                  </a:lnTo>
                  <a:lnTo>
                    <a:pt x="383158" y="159894"/>
                  </a:lnTo>
                  <a:lnTo>
                    <a:pt x="380872" y="160020"/>
                  </a:lnTo>
                  <a:lnTo>
                    <a:pt x="378714" y="160275"/>
                  </a:lnTo>
                  <a:lnTo>
                    <a:pt x="376554" y="160401"/>
                  </a:lnTo>
                  <a:lnTo>
                    <a:pt x="374522" y="160782"/>
                  </a:lnTo>
                  <a:lnTo>
                    <a:pt x="372364" y="161163"/>
                  </a:lnTo>
                  <a:lnTo>
                    <a:pt x="370458" y="161544"/>
                  </a:lnTo>
                  <a:lnTo>
                    <a:pt x="368427" y="162179"/>
                  </a:lnTo>
                  <a:lnTo>
                    <a:pt x="366649" y="162688"/>
                  </a:lnTo>
                  <a:lnTo>
                    <a:pt x="364870" y="163322"/>
                  </a:lnTo>
                  <a:lnTo>
                    <a:pt x="362839" y="164085"/>
                  </a:lnTo>
                  <a:lnTo>
                    <a:pt x="361188" y="164847"/>
                  </a:lnTo>
                  <a:lnTo>
                    <a:pt x="359282" y="165609"/>
                  </a:lnTo>
                  <a:lnTo>
                    <a:pt x="357758" y="166497"/>
                  </a:lnTo>
                  <a:lnTo>
                    <a:pt x="356234" y="167387"/>
                  </a:lnTo>
                  <a:lnTo>
                    <a:pt x="354583" y="168403"/>
                  </a:lnTo>
                  <a:lnTo>
                    <a:pt x="353187" y="169545"/>
                  </a:lnTo>
                  <a:lnTo>
                    <a:pt x="351663" y="170562"/>
                  </a:lnTo>
                  <a:lnTo>
                    <a:pt x="350266" y="171578"/>
                  </a:lnTo>
                  <a:lnTo>
                    <a:pt x="348995" y="172720"/>
                  </a:lnTo>
                  <a:lnTo>
                    <a:pt x="347979" y="173863"/>
                  </a:lnTo>
                  <a:lnTo>
                    <a:pt x="346709" y="175260"/>
                  </a:lnTo>
                  <a:lnTo>
                    <a:pt x="345693" y="176403"/>
                  </a:lnTo>
                  <a:lnTo>
                    <a:pt x="344678" y="177673"/>
                  </a:lnTo>
                  <a:lnTo>
                    <a:pt x="343789" y="179070"/>
                  </a:lnTo>
                  <a:lnTo>
                    <a:pt x="343027" y="180468"/>
                  </a:lnTo>
                  <a:lnTo>
                    <a:pt x="342138" y="181991"/>
                  </a:lnTo>
                  <a:lnTo>
                    <a:pt x="341629" y="183262"/>
                  </a:lnTo>
                  <a:lnTo>
                    <a:pt x="340994" y="184785"/>
                  </a:lnTo>
                  <a:lnTo>
                    <a:pt x="340614" y="186310"/>
                  </a:lnTo>
                  <a:lnTo>
                    <a:pt x="340232" y="187834"/>
                  </a:lnTo>
                  <a:lnTo>
                    <a:pt x="339852" y="189357"/>
                  </a:lnTo>
                  <a:lnTo>
                    <a:pt x="220979" y="189357"/>
                  </a:lnTo>
                  <a:lnTo>
                    <a:pt x="220726" y="187834"/>
                  </a:lnTo>
                  <a:lnTo>
                    <a:pt x="220217" y="186310"/>
                  </a:lnTo>
                  <a:lnTo>
                    <a:pt x="219709" y="184785"/>
                  </a:lnTo>
                  <a:lnTo>
                    <a:pt x="219202" y="183262"/>
                  </a:lnTo>
                  <a:lnTo>
                    <a:pt x="218693" y="181991"/>
                  </a:lnTo>
                  <a:lnTo>
                    <a:pt x="217931" y="180468"/>
                  </a:lnTo>
                  <a:lnTo>
                    <a:pt x="217042" y="179070"/>
                  </a:lnTo>
                  <a:lnTo>
                    <a:pt x="216280" y="177673"/>
                  </a:lnTo>
                  <a:lnTo>
                    <a:pt x="215138" y="176403"/>
                  </a:lnTo>
                  <a:lnTo>
                    <a:pt x="214121" y="175260"/>
                  </a:lnTo>
                  <a:lnTo>
                    <a:pt x="212979" y="173863"/>
                  </a:lnTo>
                  <a:lnTo>
                    <a:pt x="211836" y="172720"/>
                  </a:lnTo>
                  <a:lnTo>
                    <a:pt x="210439" y="171578"/>
                  </a:lnTo>
                  <a:lnTo>
                    <a:pt x="209168" y="170562"/>
                  </a:lnTo>
                  <a:lnTo>
                    <a:pt x="207771" y="169545"/>
                  </a:lnTo>
                  <a:lnTo>
                    <a:pt x="206247" y="168403"/>
                  </a:lnTo>
                  <a:lnTo>
                    <a:pt x="204724" y="167387"/>
                  </a:lnTo>
                  <a:lnTo>
                    <a:pt x="203200" y="166497"/>
                  </a:lnTo>
                  <a:lnTo>
                    <a:pt x="201421" y="165609"/>
                  </a:lnTo>
                  <a:lnTo>
                    <a:pt x="199770" y="164847"/>
                  </a:lnTo>
                  <a:lnTo>
                    <a:pt x="197992" y="164085"/>
                  </a:lnTo>
                  <a:lnTo>
                    <a:pt x="196088" y="163322"/>
                  </a:lnTo>
                  <a:lnTo>
                    <a:pt x="194309" y="162688"/>
                  </a:lnTo>
                  <a:lnTo>
                    <a:pt x="192278" y="162179"/>
                  </a:lnTo>
                  <a:lnTo>
                    <a:pt x="190500" y="161544"/>
                  </a:lnTo>
                  <a:lnTo>
                    <a:pt x="188341" y="161163"/>
                  </a:lnTo>
                  <a:lnTo>
                    <a:pt x="186436" y="160782"/>
                  </a:lnTo>
                  <a:lnTo>
                    <a:pt x="184150" y="160401"/>
                  </a:lnTo>
                  <a:lnTo>
                    <a:pt x="182244" y="160275"/>
                  </a:lnTo>
                  <a:lnTo>
                    <a:pt x="179958" y="160020"/>
                  </a:lnTo>
                  <a:lnTo>
                    <a:pt x="177800" y="159894"/>
                  </a:lnTo>
                  <a:lnTo>
                    <a:pt x="175641" y="159894"/>
                  </a:lnTo>
                  <a:lnTo>
                    <a:pt x="173354" y="159894"/>
                  </a:lnTo>
                  <a:lnTo>
                    <a:pt x="170942" y="160020"/>
                  </a:lnTo>
                  <a:lnTo>
                    <a:pt x="168782" y="160275"/>
                  </a:lnTo>
                  <a:lnTo>
                    <a:pt x="166496" y="160528"/>
                  </a:lnTo>
                  <a:lnTo>
                    <a:pt x="164338" y="160782"/>
                  </a:lnTo>
                  <a:lnTo>
                    <a:pt x="162179" y="161418"/>
                  </a:lnTo>
                  <a:lnTo>
                    <a:pt x="160146" y="161798"/>
                  </a:lnTo>
                  <a:lnTo>
                    <a:pt x="157988" y="162434"/>
                  </a:lnTo>
                  <a:lnTo>
                    <a:pt x="156082" y="163069"/>
                  </a:lnTo>
                  <a:lnTo>
                    <a:pt x="154051" y="163703"/>
                  </a:lnTo>
                  <a:lnTo>
                    <a:pt x="152272" y="164593"/>
                  </a:lnTo>
                  <a:lnTo>
                    <a:pt x="150241" y="165481"/>
                  </a:lnTo>
                  <a:lnTo>
                    <a:pt x="148590" y="166244"/>
                  </a:lnTo>
                  <a:lnTo>
                    <a:pt x="146939" y="167260"/>
                  </a:lnTo>
                  <a:lnTo>
                    <a:pt x="145161" y="168275"/>
                  </a:lnTo>
                  <a:lnTo>
                    <a:pt x="143637" y="169291"/>
                  </a:lnTo>
                  <a:lnTo>
                    <a:pt x="142620" y="165481"/>
                  </a:lnTo>
                  <a:lnTo>
                    <a:pt x="141731" y="161163"/>
                  </a:lnTo>
                  <a:lnTo>
                    <a:pt x="140842" y="156465"/>
                  </a:lnTo>
                  <a:lnTo>
                    <a:pt x="139954" y="151257"/>
                  </a:lnTo>
                  <a:lnTo>
                    <a:pt x="139445" y="145923"/>
                  </a:lnTo>
                  <a:lnTo>
                    <a:pt x="138811" y="140209"/>
                  </a:lnTo>
                  <a:lnTo>
                    <a:pt x="138556" y="134113"/>
                  </a:lnTo>
                  <a:lnTo>
                    <a:pt x="138429" y="127763"/>
                  </a:lnTo>
                  <a:lnTo>
                    <a:pt x="138556" y="124334"/>
                  </a:lnTo>
                  <a:lnTo>
                    <a:pt x="138811" y="121031"/>
                  </a:lnTo>
                  <a:lnTo>
                    <a:pt x="139318" y="117348"/>
                  </a:lnTo>
                  <a:lnTo>
                    <a:pt x="139827" y="113666"/>
                  </a:lnTo>
                  <a:lnTo>
                    <a:pt x="140589" y="109856"/>
                  </a:lnTo>
                  <a:lnTo>
                    <a:pt x="141604" y="106045"/>
                  </a:lnTo>
                  <a:lnTo>
                    <a:pt x="142620" y="102109"/>
                  </a:lnTo>
                  <a:lnTo>
                    <a:pt x="143764" y="98172"/>
                  </a:lnTo>
                  <a:lnTo>
                    <a:pt x="145033" y="93981"/>
                  </a:lnTo>
                  <a:lnTo>
                    <a:pt x="146430" y="90044"/>
                  </a:lnTo>
                  <a:lnTo>
                    <a:pt x="149479" y="82043"/>
                  </a:lnTo>
                  <a:lnTo>
                    <a:pt x="152654" y="74295"/>
                  </a:lnTo>
                  <a:lnTo>
                    <a:pt x="155829" y="66675"/>
                  </a:lnTo>
                  <a:lnTo>
                    <a:pt x="160528" y="56897"/>
                  </a:lnTo>
                  <a:lnTo>
                    <a:pt x="164718" y="48388"/>
                  </a:lnTo>
                  <a:lnTo>
                    <a:pt x="168402" y="41148"/>
                  </a:lnTo>
                  <a:lnTo>
                    <a:pt x="171195" y="35941"/>
                  </a:lnTo>
                  <a:lnTo>
                    <a:pt x="308482" y="35941"/>
                  </a:lnTo>
                  <a:lnTo>
                    <a:pt x="308482" y="114300"/>
                  </a:lnTo>
                  <a:lnTo>
                    <a:pt x="426974" y="114300"/>
                  </a:lnTo>
                  <a:lnTo>
                    <a:pt x="426974" y="122428"/>
                  </a:lnTo>
                  <a:lnTo>
                    <a:pt x="402081" y="122428"/>
                  </a:lnTo>
                  <a:lnTo>
                    <a:pt x="402081" y="129032"/>
                  </a:lnTo>
                  <a:lnTo>
                    <a:pt x="426974" y="129032"/>
                  </a:lnTo>
                  <a:lnTo>
                    <a:pt x="426974" y="135510"/>
                  </a:lnTo>
                  <a:lnTo>
                    <a:pt x="402081" y="135510"/>
                  </a:lnTo>
                  <a:lnTo>
                    <a:pt x="402081" y="141987"/>
                  </a:lnTo>
                  <a:lnTo>
                    <a:pt x="426974" y="141987"/>
                  </a:lnTo>
                  <a:lnTo>
                    <a:pt x="426974" y="149606"/>
                  </a:lnTo>
                  <a:lnTo>
                    <a:pt x="402081" y="149606"/>
                  </a:lnTo>
                  <a:lnTo>
                    <a:pt x="402081" y="156084"/>
                  </a:lnTo>
                  <a:lnTo>
                    <a:pt x="426974" y="156084"/>
                  </a:lnTo>
                  <a:lnTo>
                    <a:pt x="426974" y="163703"/>
                  </a:lnTo>
                  <a:lnTo>
                    <a:pt x="445007" y="187325"/>
                  </a:lnTo>
                  <a:close/>
                  <a:moveTo>
                    <a:pt x="-7206869" y="2484120"/>
                  </a:moveTo>
                  <a:moveTo>
                    <a:pt x="385191" y="172847"/>
                  </a:moveTo>
                  <a:lnTo>
                    <a:pt x="385191" y="172847"/>
                  </a:lnTo>
                  <a:lnTo>
                    <a:pt x="387984" y="172975"/>
                  </a:lnTo>
                  <a:lnTo>
                    <a:pt x="390779" y="173356"/>
                  </a:lnTo>
                  <a:lnTo>
                    <a:pt x="393318" y="173863"/>
                  </a:lnTo>
                  <a:lnTo>
                    <a:pt x="395858" y="174498"/>
                  </a:lnTo>
                  <a:lnTo>
                    <a:pt x="398144" y="175388"/>
                  </a:lnTo>
                  <a:lnTo>
                    <a:pt x="400557" y="176276"/>
                  </a:lnTo>
                  <a:lnTo>
                    <a:pt x="402717" y="177419"/>
                  </a:lnTo>
                  <a:lnTo>
                    <a:pt x="404621" y="178690"/>
                  </a:lnTo>
                  <a:lnTo>
                    <a:pt x="406272" y="180087"/>
                  </a:lnTo>
                  <a:lnTo>
                    <a:pt x="408051" y="181610"/>
                  </a:lnTo>
                  <a:lnTo>
                    <a:pt x="409320" y="183262"/>
                  </a:lnTo>
                  <a:lnTo>
                    <a:pt x="410337" y="184913"/>
                  </a:lnTo>
                  <a:lnTo>
                    <a:pt x="411353" y="186818"/>
                  </a:lnTo>
                  <a:lnTo>
                    <a:pt x="411988" y="188722"/>
                  </a:lnTo>
                  <a:lnTo>
                    <a:pt x="412495" y="190628"/>
                  </a:lnTo>
                  <a:lnTo>
                    <a:pt x="412622" y="192787"/>
                  </a:lnTo>
                  <a:lnTo>
                    <a:pt x="412495" y="194691"/>
                  </a:lnTo>
                  <a:lnTo>
                    <a:pt x="411988" y="196723"/>
                  </a:lnTo>
                  <a:lnTo>
                    <a:pt x="411353" y="198628"/>
                  </a:lnTo>
                  <a:lnTo>
                    <a:pt x="410337" y="200406"/>
                  </a:lnTo>
                  <a:lnTo>
                    <a:pt x="409320" y="202057"/>
                  </a:lnTo>
                  <a:lnTo>
                    <a:pt x="408051" y="203835"/>
                  </a:lnTo>
                  <a:lnTo>
                    <a:pt x="406272" y="205232"/>
                  </a:lnTo>
                  <a:lnTo>
                    <a:pt x="404621" y="206756"/>
                  </a:lnTo>
                  <a:lnTo>
                    <a:pt x="402463" y="207900"/>
                  </a:lnTo>
                  <a:lnTo>
                    <a:pt x="400557" y="209043"/>
                  </a:lnTo>
                  <a:lnTo>
                    <a:pt x="398144" y="210059"/>
                  </a:lnTo>
                  <a:lnTo>
                    <a:pt x="395858" y="210820"/>
                  </a:lnTo>
                  <a:lnTo>
                    <a:pt x="393318" y="211456"/>
                  </a:lnTo>
                  <a:lnTo>
                    <a:pt x="390779" y="211963"/>
                  </a:lnTo>
                  <a:lnTo>
                    <a:pt x="387984" y="212344"/>
                  </a:lnTo>
                  <a:lnTo>
                    <a:pt x="385191" y="212472"/>
                  </a:lnTo>
                  <a:lnTo>
                    <a:pt x="382396" y="212344"/>
                  </a:lnTo>
                  <a:lnTo>
                    <a:pt x="379729" y="211963"/>
                  </a:lnTo>
                  <a:lnTo>
                    <a:pt x="377063" y="211456"/>
                  </a:lnTo>
                  <a:lnTo>
                    <a:pt x="374522" y="210820"/>
                  </a:lnTo>
                  <a:lnTo>
                    <a:pt x="372109" y="210059"/>
                  </a:lnTo>
                  <a:lnTo>
                    <a:pt x="369824" y="209043"/>
                  </a:lnTo>
                  <a:lnTo>
                    <a:pt x="367792" y="207900"/>
                  </a:lnTo>
                  <a:lnTo>
                    <a:pt x="365887" y="206756"/>
                  </a:lnTo>
                  <a:lnTo>
                    <a:pt x="363981" y="205232"/>
                  </a:lnTo>
                  <a:lnTo>
                    <a:pt x="362584" y="203835"/>
                  </a:lnTo>
                  <a:lnTo>
                    <a:pt x="361188" y="202057"/>
                  </a:lnTo>
                  <a:lnTo>
                    <a:pt x="360044" y="200406"/>
                  </a:lnTo>
                  <a:lnTo>
                    <a:pt x="359029" y="198628"/>
                  </a:lnTo>
                  <a:lnTo>
                    <a:pt x="358393" y="196723"/>
                  </a:lnTo>
                  <a:lnTo>
                    <a:pt x="357886" y="194691"/>
                  </a:lnTo>
                  <a:lnTo>
                    <a:pt x="357758" y="192787"/>
                  </a:lnTo>
                  <a:lnTo>
                    <a:pt x="357886" y="190628"/>
                  </a:lnTo>
                  <a:lnTo>
                    <a:pt x="358393" y="188722"/>
                  </a:lnTo>
                  <a:lnTo>
                    <a:pt x="359029" y="186818"/>
                  </a:lnTo>
                  <a:lnTo>
                    <a:pt x="360044" y="184913"/>
                  </a:lnTo>
                  <a:lnTo>
                    <a:pt x="361188" y="183262"/>
                  </a:lnTo>
                  <a:lnTo>
                    <a:pt x="362584" y="181610"/>
                  </a:lnTo>
                  <a:lnTo>
                    <a:pt x="363981" y="180087"/>
                  </a:lnTo>
                  <a:lnTo>
                    <a:pt x="365887" y="178690"/>
                  </a:lnTo>
                  <a:lnTo>
                    <a:pt x="367792" y="177419"/>
                  </a:lnTo>
                  <a:lnTo>
                    <a:pt x="369824" y="176276"/>
                  </a:lnTo>
                  <a:lnTo>
                    <a:pt x="372109" y="175388"/>
                  </a:lnTo>
                  <a:lnTo>
                    <a:pt x="374522" y="174498"/>
                  </a:lnTo>
                  <a:lnTo>
                    <a:pt x="377063" y="173863"/>
                  </a:lnTo>
                  <a:lnTo>
                    <a:pt x="379729" y="173356"/>
                  </a:lnTo>
                  <a:lnTo>
                    <a:pt x="382396" y="172975"/>
                  </a:lnTo>
                  <a:lnTo>
                    <a:pt x="385191" y="172847"/>
                  </a:lnTo>
                  <a:close/>
                  <a:moveTo>
                    <a:pt x="-7192391" y="2484120"/>
                  </a:moveTo>
                  <a:moveTo>
                    <a:pt x="175641" y="172847"/>
                  </a:moveTo>
                  <a:lnTo>
                    <a:pt x="175641" y="172847"/>
                  </a:lnTo>
                  <a:lnTo>
                    <a:pt x="178434" y="172975"/>
                  </a:lnTo>
                  <a:lnTo>
                    <a:pt x="181229" y="173356"/>
                  </a:lnTo>
                  <a:lnTo>
                    <a:pt x="183768" y="173863"/>
                  </a:lnTo>
                  <a:lnTo>
                    <a:pt x="186436" y="174498"/>
                  </a:lnTo>
                  <a:lnTo>
                    <a:pt x="188721" y="175388"/>
                  </a:lnTo>
                  <a:lnTo>
                    <a:pt x="191007" y="176276"/>
                  </a:lnTo>
                  <a:lnTo>
                    <a:pt x="193040" y="177419"/>
                  </a:lnTo>
                  <a:lnTo>
                    <a:pt x="194944" y="178690"/>
                  </a:lnTo>
                  <a:lnTo>
                    <a:pt x="196850" y="180087"/>
                  </a:lnTo>
                  <a:lnTo>
                    <a:pt x="198246" y="181610"/>
                  </a:lnTo>
                  <a:lnTo>
                    <a:pt x="199770" y="183262"/>
                  </a:lnTo>
                  <a:lnTo>
                    <a:pt x="200914" y="184913"/>
                  </a:lnTo>
                  <a:lnTo>
                    <a:pt x="201803" y="186818"/>
                  </a:lnTo>
                  <a:lnTo>
                    <a:pt x="202438" y="188722"/>
                  </a:lnTo>
                  <a:lnTo>
                    <a:pt x="203072" y="190628"/>
                  </a:lnTo>
                  <a:lnTo>
                    <a:pt x="203200" y="192787"/>
                  </a:lnTo>
                  <a:lnTo>
                    <a:pt x="203072" y="194691"/>
                  </a:lnTo>
                  <a:lnTo>
                    <a:pt x="202438" y="196723"/>
                  </a:lnTo>
                  <a:lnTo>
                    <a:pt x="201803" y="198628"/>
                  </a:lnTo>
                  <a:lnTo>
                    <a:pt x="200914" y="200406"/>
                  </a:lnTo>
                  <a:lnTo>
                    <a:pt x="199770" y="202057"/>
                  </a:lnTo>
                  <a:lnTo>
                    <a:pt x="198246" y="203835"/>
                  </a:lnTo>
                  <a:lnTo>
                    <a:pt x="196850" y="205232"/>
                  </a:lnTo>
                  <a:lnTo>
                    <a:pt x="194944" y="206756"/>
                  </a:lnTo>
                  <a:lnTo>
                    <a:pt x="193040" y="207900"/>
                  </a:lnTo>
                  <a:lnTo>
                    <a:pt x="190880" y="209043"/>
                  </a:lnTo>
                  <a:lnTo>
                    <a:pt x="188721" y="210059"/>
                  </a:lnTo>
                  <a:lnTo>
                    <a:pt x="186308" y="210820"/>
                  </a:lnTo>
                  <a:lnTo>
                    <a:pt x="183768" y="211456"/>
                  </a:lnTo>
                  <a:lnTo>
                    <a:pt x="181229" y="211963"/>
                  </a:lnTo>
                  <a:lnTo>
                    <a:pt x="178434" y="212344"/>
                  </a:lnTo>
                  <a:lnTo>
                    <a:pt x="175641" y="212472"/>
                  </a:lnTo>
                  <a:lnTo>
                    <a:pt x="172846" y="212344"/>
                  </a:lnTo>
                  <a:lnTo>
                    <a:pt x="170053" y="211963"/>
                  </a:lnTo>
                  <a:lnTo>
                    <a:pt x="167386" y="211456"/>
                  </a:lnTo>
                  <a:lnTo>
                    <a:pt x="164972" y="210820"/>
                  </a:lnTo>
                  <a:lnTo>
                    <a:pt x="162559" y="210059"/>
                  </a:lnTo>
                  <a:lnTo>
                    <a:pt x="160401" y="209043"/>
                  </a:lnTo>
                  <a:lnTo>
                    <a:pt x="158115" y="207900"/>
                  </a:lnTo>
                  <a:lnTo>
                    <a:pt x="156337" y="206756"/>
                  </a:lnTo>
                  <a:lnTo>
                    <a:pt x="154431" y="205232"/>
                  </a:lnTo>
                  <a:lnTo>
                    <a:pt x="152907" y="203835"/>
                  </a:lnTo>
                  <a:lnTo>
                    <a:pt x="151638" y="202057"/>
                  </a:lnTo>
                  <a:lnTo>
                    <a:pt x="150367" y="200406"/>
                  </a:lnTo>
                  <a:lnTo>
                    <a:pt x="149479" y="198628"/>
                  </a:lnTo>
                  <a:lnTo>
                    <a:pt x="148843" y="196723"/>
                  </a:lnTo>
                  <a:lnTo>
                    <a:pt x="148463" y="194691"/>
                  </a:lnTo>
                  <a:lnTo>
                    <a:pt x="148336" y="192787"/>
                  </a:lnTo>
                  <a:lnTo>
                    <a:pt x="148463" y="190628"/>
                  </a:lnTo>
                  <a:lnTo>
                    <a:pt x="148843" y="188722"/>
                  </a:lnTo>
                  <a:lnTo>
                    <a:pt x="149479" y="186818"/>
                  </a:lnTo>
                  <a:lnTo>
                    <a:pt x="150367" y="184913"/>
                  </a:lnTo>
                  <a:lnTo>
                    <a:pt x="151638" y="183262"/>
                  </a:lnTo>
                  <a:lnTo>
                    <a:pt x="152907" y="181610"/>
                  </a:lnTo>
                  <a:lnTo>
                    <a:pt x="154431" y="180087"/>
                  </a:lnTo>
                  <a:lnTo>
                    <a:pt x="156337" y="178690"/>
                  </a:lnTo>
                  <a:lnTo>
                    <a:pt x="158115" y="177419"/>
                  </a:lnTo>
                  <a:lnTo>
                    <a:pt x="160401" y="176276"/>
                  </a:lnTo>
                  <a:lnTo>
                    <a:pt x="162559" y="175388"/>
                  </a:lnTo>
                  <a:lnTo>
                    <a:pt x="164972" y="174498"/>
                  </a:lnTo>
                  <a:lnTo>
                    <a:pt x="167386" y="173863"/>
                  </a:lnTo>
                  <a:lnTo>
                    <a:pt x="170053" y="173356"/>
                  </a:lnTo>
                  <a:lnTo>
                    <a:pt x="172846" y="172975"/>
                  </a:lnTo>
                  <a:lnTo>
                    <a:pt x="175641" y="172847"/>
                  </a:lnTo>
                  <a:close/>
                  <a:moveTo>
                    <a:pt x="-7192391" y="2484120"/>
                  </a:moveTo>
                  <a:moveTo>
                    <a:pt x="145922" y="129794"/>
                  </a:moveTo>
                  <a:lnTo>
                    <a:pt x="145922" y="129794"/>
                  </a:lnTo>
                  <a:lnTo>
                    <a:pt x="145922" y="135510"/>
                  </a:lnTo>
                  <a:lnTo>
                    <a:pt x="146304" y="140844"/>
                  </a:lnTo>
                  <a:lnTo>
                    <a:pt x="146430" y="144019"/>
                  </a:lnTo>
                  <a:lnTo>
                    <a:pt x="214883" y="144019"/>
                  </a:lnTo>
                  <a:lnTo>
                    <a:pt x="300481" y="82678"/>
                  </a:lnTo>
                  <a:lnTo>
                    <a:pt x="300481" y="43307"/>
                  </a:lnTo>
                  <a:lnTo>
                    <a:pt x="175005" y="43307"/>
                  </a:lnTo>
                  <a:lnTo>
                    <a:pt x="173990" y="45340"/>
                  </a:lnTo>
                  <a:lnTo>
                    <a:pt x="169799" y="53848"/>
                  </a:lnTo>
                  <a:lnTo>
                    <a:pt x="165227" y="63373"/>
                  </a:lnTo>
                  <a:lnTo>
                    <a:pt x="162814" y="68707"/>
                  </a:lnTo>
                  <a:lnTo>
                    <a:pt x="160528" y="74169"/>
                  </a:lnTo>
                  <a:lnTo>
                    <a:pt x="158115" y="79756"/>
                  </a:lnTo>
                  <a:lnTo>
                    <a:pt x="156082" y="85344"/>
                  </a:lnTo>
                  <a:lnTo>
                    <a:pt x="153924" y="91060"/>
                  </a:lnTo>
                  <a:lnTo>
                    <a:pt x="152145" y="96901"/>
                  </a:lnTo>
                  <a:lnTo>
                    <a:pt x="150241" y="102744"/>
                  </a:lnTo>
                  <a:lnTo>
                    <a:pt x="148843" y="108331"/>
                  </a:lnTo>
                  <a:lnTo>
                    <a:pt x="147701" y="114047"/>
                  </a:lnTo>
                  <a:lnTo>
                    <a:pt x="146684" y="119507"/>
                  </a:lnTo>
                  <a:lnTo>
                    <a:pt x="146050" y="124715"/>
                  </a:lnTo>
                  <a:lnTo>
                    <a:pt x="145922" y="127254"/>
                  </a:lnTo>
                  <a:lnTo>
                    <a:pt x="145922" y="129794"/>
                  </a:lnTo>
                  <a:close/>
                  <a:moveTo>
                    <a:pt x="-7149338" y="2484120"/>
                  </a:moveTo>
                  <a:moveTo>
                    <a:pt x="255778" y="49785"/>
                  </a:moveTo>
                  <a:lnTo>
                    <a:pt x="291465" y="49785"/>
                  </a:lnTo>
                  <a:lnTo>
                    <a:pt x="291465" y="80010"/>
                  </a:lnTo>
                  <a:lnTo>
                    <a:pt x="255778" y="105538"/>
                  </a:lnTo>
                  <a:lnTo>
                    <a:pt x="255778" y="49785"/>
                  </a:lnTo>
                  <a:close/>
                  <a:moveTo>
                    <a:pt x="-7069329" y="2484120"/>
                  </a:moveTo>
                  <a:moveTo>
                    <a:pt x="181482" y="49785"/>
                  </a:moveTo>
                  <a:lnTo>
                    <a:pt x="246761" y="49785"/>
                  </a:lnTo>
                  <a:lnTo>
                    <a:pt x="246761" y="112015"/>
                  </a:lnTo>
                  <a:lnTo>
                    <a:pt x="211074" y="137415"/>
                  </a:lnTo>
                  <a:lnTo>
                    <a:pt x="155193" y="137415"/>
                  </a:lnTo>
                  <a:lnTo>
                    <a:pt x="155067" y="129794"/>
                  </a:lnTo>
                  <a:lnTo>
                    <a:pt x="155067" y="127509"/>
                  </a:lnTo>
                  <a:lnTo>
                    <a:pt x="155193" y="125222"/>
                  </a:lnTo>
                  <a:lnTo>
                    <a:pt x="155702" y="120397"/>
                  </a:lnTo>
                  <a:lnTo>
                    <a:pt x="156464" y="115316"/>
                  </a:lnTo>
                  <a:lnTo>
                    <a:pt x="157606" y="110237"/>
                  </a:lnTo>
                  <a:lnTo>
                    <a:pt x="158877" y="104903"/>
                  </a:lnTo>
                  <a:lnTo>
                    <a:pt x="160528" y="99441"/>
                  </a:lnTo>
                  <a:lnTo>
                    <a:pt x="162179" y="93981"/>
                  </a:lnTo>
                  <a:lnTo>
                    <a:pt x="164338" y="88519"/>
                  </a:lnTo>
                  <a:lnTo>
                    <a:pt x="166242" y="83185"/>
                  </a:lnTo>
                  <a:lnTo>
                    <a:pt x="168402" y="77978"/>
                  </a:lnTo>
                  <a:lnTo>
                    <a:pt x="170561" y="72644"/>
                  </a:lnTo>
                  <a:lnTo>
                    <a:pt x="172846" y="67691"/>
                  </a:lnTo>
                  <a:lnTo>
                    <a:pt x="177292" y="58166"/>
                  </a:lnTo>
                  <a:lnTo>
                    <a:pt x="181482" y="49785"/>
                  </a:lnTo>
                  <a:close/>
                  <a:moveTo>
                    <a:pt x="-7069329" y="2484120"/>
                  </a:moveTo>
                  <a:moveTo>
                    <a:pt x="220853" y="66675"/>
                  </a:moveTo>
                  <a:lnTo>
                    <a:pt x="214376" y="62103"/>
                  </a:lnTo>
                  <a:lnTo>
                    <a:pt x="181355" y="85725"/>
                  </a:lnTo>
                  <a:lnTo>
                    <a:pt x="187705" y="90297"/>
                  </a:lnTo>
                  <a:lnTo>
                    <a:pt x="220853" y="66675"/>
                  </a:lnTo>
                  <a:close/>
                  <a:moveTo>
                    <a:pt x="-7086219" y="2484120"/>
                  </a:moveTo>
                  <a:moveTo>
                    <a:pt x="201676" y="87757"/>
                  </a:moveTo>
                  <a:lnTo>
                    <a:pt x="208026" y="92203"/>
                  </a:lnTo>
                  <a:lnTo>
                    <a:pt x="223266" y="81026"/>
                  </a:lnTo>
                  <a:lnTo>
                    <a:pt x="216916" y="76454"/>
                  </a:lnTo>
                  <a:lnTo>
                    <a:pt x="201676" y="87757"/>
                  </a:lnTo>
                  <a:close/>
                  <a:moveTo>
                    <a:pt x="-7107301" y="248412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51" name="Freeform 1451"/>
            <p:cNvSpPr/>
            <p:nvPr/>
          </p:nvSpPr>
          <p:spPr>
            <a:xfrm>
              <a:off x="10227057" y="3457379"/>
              <a:ext cx="429545" cy="137089"/>
            </a:xfrm>
            <a:custGeom>
              <a:avLst/>
              <a:gdLst/>
              <a:ahLst/>
              <a:cxnLst/>
              <a:rect l="0" t="0" r="0" b="0"/>
              <a:pathLst>
                <a:path w="429769" h="137160">
                  <a:moveTo>
                    <a:pt x="109856" y="47244"/>
                  </a:moveTo>
                  <a:lnTo>
                    <a:pt x="109856" y="47244"/>
                  </a:lnTo>
                  <a:lnTo>
                    <a:pt x="109094" y="45085"/>
                  </a:lnTo>
                  <a:lnTo>
                    <a:pt x="108459" y="42926"/>
                  </a:lnTo>
                  <a:lnTo>
                    <a:pt x="108204" y="41022"/>
                  </a:lnTo>
                  <a:lnTo>
                    <a:pt x="108077" y="39244"/>
                  </a:lnTo>
                  <a:lnTo>
                    <a:pt x="108204" y="38354"/>
                  </a:lnTo>
                  <a:lnTo>
                    <a:pt x="108332" y="37466"/>
                  </a:lnTo>
                  <a:lnTo>
                    <a:pt x="108459" y="36703"/>
                  </a:lnTo>
                  <a:lnTo>
                    <a:pt x="108839" y="35941"/>
                  </a:lnTo>
                  <a:lnTo>
                    <a:pt x="109221" y="35179"/>
                  </a:lnTo>
                  <a:lnTo>
                    <a:pt x="109474" y="34417"/>
                  </a:lnTo>
                  <a:lnTo>
                    <a:pt x="110490" y="32894"/>
                  </a:lnTo>
                  <a:lnTo>
                    <a:pt x="111761" y="31497"/>
                  </a:lnTo>
                  <a:lnTo>
                    <a:pt x="113285" y="30100"/>
                  </a:lnTo>
                  <a:lnTo>
                    <a:pt x="114809" y="28957"/>
                  </a:lnTo>
                  <a:lnTo>
                    <a:pt x="116840" y="27687"/>
                  </a:lnTo>
                  <a:lnTo>
                    <a:pt x="118999" y="26416"/>
                  </a:lnTo>
                  <a:lnTo>
                    <a:pt x="121539" y="25400"/>
                  </a:lnTo>
                  <a:lnTo>
                    <a:pt x="124207" y="24257"/>
                  </a:lnTo>
                  <a:lnTo>
                    <a:pt x="127000" y="23115"/>
                  </a:lnTo>
                  <a:lnTo>
                    <a:pt x="129795" y="22225"/>
                  </a:lnTo>
                  <a:lnTo>
                    <a:pt x="132461" y="21463"/>
                  </a:lnTo>
                  <a:lnTo>
                    <a:pt x="135256" y="20575"/>
                  </a:lnTo>
                  <a:lnTo>
                    <a:pt x="137669" y="19940"/>
                  </a:lnTo>
                  <a:lnTo>
                    <a:pt x="140082" y="19432"/>
                  </a:lnTo>
                  <a:lnTo>
                    <a:pt x="142495" y="18923"/>
                  </a:lnTo>
                  <a:lnTo>
                    <a:pt x="147066" y="18288"/>
                  </a:lnTo>
                  <a:lnTo>
                    <a:pt x="151385" y="17907"/>
                  </a:lnTo>
                  <a:lnTo>
                    <a:pt x="155322" y="17653"/>
                  </a:lnTo>
                  <a:lnTo>
                    <a:pt x="159004" y="17526"/>
                  </a:lnTo>
                  <a:lnTo>
                    <a:pt x="162434" y="17526"/>
                  </a:lnTo>
                  <a:lnTo>
                    <a:pt x="211456" y="17526"/>
                  </a:lnTo>
                  <a:lnTo>
                    <a:pt x="216154" y="17653"/>
                  </a:lnTo>
                  <a:lnTo>
                    <a:pt x="220473" y="18035"/>
                  </a:lnTo>
                  <a:lnTo>
                    <a:pt x="224536" y="18288"/>
                  </a:lnTo>
                  <a:lnTo>
                    <a:pt x="228220" y="19050"/>
                  </a:lnTo>
                  <a:lnTo>
                    <a:pt x="231902" y="19813"/>
                  </a:lnTo>
                  <a:lnTo>
                    <a:pt x="235332" y="20701"/>
                  </a:lnTo>
                  <a:lnTo>
                    <a:pt x="238379" y="21717"/>
                  </a:lnTo>
                  <a:lnTo>
                    <a:pt x="241427" y="22860"/>
                  </a:lnTo>
                  <a:lnTo>
                    <a:pt x="244095" y="24003"/>
                  </a:lnTo>
                  <a:lnTo>
                    <a:pt x="246635" y="25273"/>
                  </a:lnTo>
                  <a:lnTo>
                    <a:pt x="249174" y="26416"/>
                  </a:lnTo>
                  <a:lnTo>
                    <a:pt x="251461" y="27687"/>
                  </a:lnTo>
                  <a:lnTo>
                    <a:pt x="255651" y="30226"/>
                  </a:lnTo>
                  <a:lnTo>
                    <a:pt x="259335" y="32513"/>
                  </a:lnTo>
                  <a:lnTo>
                    <a:pt x="291720" y="52325"/>
                  </a:lnTo>
                  <a:lnTo>
                    <a:pt x="292100" y="52706"/>
                  </a:lnTo>
                  <a:lnTo>
                    <a:pt x="292354" y="53213"/>
                  </a:lnTo>
                  <a:lnTo>
                    <a:pt x="292354" y="53594"/>
                  </a:lnTo>
                  <a:lnTo>
                    <a:pt x="292227" y="54229"/>
                  </a:lnTo>
                  <a:lnTo>
                    <a:pt x="291847" y="54610"/>
                  </a:lnTo>
                  <a:lnTo>
                    <a:pt x="291593" y="54991"/>
                  </a:lnTo>
                  <a:lnTo>
                    <a:pt x="291085" y="55245"/>
                  </a:lnTo>
                  <a:lnTo>
                    <a:pt x="290576" y="55245"/>
                  </a:lnTo>
                  <a:lnTo>
                    <a:pt x="109856" y="47244"/>
                  </a:lnTo>
                  <a:close/>
                  <a:moveTo>
                    <a:pt x="-6728459" y="2907792"/>
                  </a:moveTo>
                  <a:moveTo>
                    <a:pt x="95124" y="88392"/>
                  </a:moveTo>
                  <a:lnTo>
                    <a:pt x="95124" y="88392"/>
                  </a:lnTo>
                  <a:lnTo>
                    <a:pt x="93346" y="88519"/>
                  </a:lnTo>
                  <a:lnTo>
                    <a:pt x="91568" y="88773"/>
                  </a:lnTo>
                  <a:lnTo>
                    <a:pt x="89916" y="89154"/>
                  </a:lnTo>
                  <a:lnTo>
                    <a:pt x="88393" y="89790"/>
                  </a:lnTo>
                  <a:lnTo>
                    <a:pt x="86869" y="90425"/>
                  </a:lnTo>
                  <a:lnTo>
                    <a:pt x="85472" y="91187"/>
                  </a:lnTo>
                  <a:lnTo>
                    <a:pt x="84201" y="92203"/>
                  </a:lnTo>
                  <a:lnTo>
                    <a:pt x="82932" y="93219"/>
                  </a:lnTo>
                  <a:lnTo>
                    <a:pt x="81788" y="94362"/>
                  </a:lnTo>
                  <a:lnTo>
                    <a:pt x="80899" y="95632"/>
                  </a:lnTo>
                  <a:lnTo>
                    <a:pt x="79884" y="97028"/>
                  </a:lnTo>
                  <a:lnTo>
                    <a:pt x="79249" y="98425"/>
                  </a:lnTo>
                  <a:lnTo>
                    <a:pt x="78613" y="99822"/>
                  </a:lnTo>
                  <a:lnTo>
                    <a:pt x="78233" y="101473"/>
                  </a:lnTo>
                  <a:lnTo>
                    <a:pt x="77851" y="103125"/>
                  </a:lnTo>
                  <a:lnTo>
                    <a:pt x="77851" y="104648"/>
                  </a:lnTo>
                  <a:lnTo>
                    <a:pt x="77851" y="106300"/>
                  </a:lnTo>
                  <a:lnTo>
                    <a:pt x="78233" y="107950"/>
                  </a:lnTo>
                  <a:lnTo>
                    <a:pt x="78613" y="109601"/>
                  </a:lnTo>
                  <a:lnTo>
                    <a:pt x="79249" y="110998"/>
                  </a:lnTo>
                  <a:lnTo>
                    <a:pt x="79884" y="112395"/>
                  </a:lnTo>
                  <a:lnTo>
                    <a:pt x="80899" y="113666"/>
                  </a:lnTo>
                  <a:lnTo>
                    <a:pt x="81788" y="115063"/>
                  </a:lnTo>
                  <a:lnTo>
                    <a:pt x="82932" y="116206"/>
                  </a:lnTo>
                  <a:lnTo>
                    <a:pt x="84201" y="117222"/>
                  </a:lnTo>
                  <a:lnTo>
                    <a:pt x="85472" y="118238"/>
                  </a:lnTo>
                  <a:lnTo>
                    <a:pt x="86869" y="119000"/>
                  </a:lnTo>
                  <a:lnTo>
                    <a:pt x="88393" y="119635"/>
                  </a:lnTo>
                  <a:lnTo>
                    <a:pt x="89916" y="120142"/>
                  </a:lnTo>
                  <a:lnTo>
                    <a:pt x="91568" y="120650"/>
                  </a:lnTo>
                  <a:lnTo>
                    <a:pt x="93346" y="120778"/>
                  </a:lnTo>
                  <a:lnTo>
                    <a:pt x="95124" y="120904"/>
                  </a:lnTo>
                  <a:lnTo>
                    <a:pt x="96901" y="120778"/>
                  </a:lnTo>
                  <a:lnTo>
                    <a:pt x="98552" y="120650"/>
                  </a:lnTo>
                  <a:lnTo>
                    <a:pt x="100203" y="120142"/>
                  </a:lnTo>
                  <a:lnTo>
                    <a:pt x="101854" y="119635"/>
                  </a:lnTo>
                  <a:lnTo>
                    <a:pt x="103251" y="119000"/>
                  </a:lnTo>
                  <a:lnTo>
                    <a:pt x="104649" y="118238"/>
                  </a:lnTo>
                  <a:lnTo>
                    <a:pt x="106046" y="117222"/>
                  </a:lnTo>
                  <a:lnTo>
                    <a:pt x="107315" y="116206"/>
                  </a:lnTo>
                  <a:lnTo>
                    <a:pt x="108459" y="115063"/>
                  </a:lnTo>
                  <a:lnTo>
                    <a:pt x="109348" y="113666"/>
                  </a:lnTo>
                  <a:lnTo>
                    <a:pt x="110236" y="112395"/>
                  </a:lnTo>
                  <a:lnTo>
                    <a:pt x="110999" y="110998"/>
                  </a:lnTo>
                  <a:lnTo>
                    <a:pt x="111507" y="109601"/>
                  </a:lnTo>
                  <a:lnTo>
                    <a:pt x="111887" y="107950"/>
                  </a:lnTo>
                  <a:lnTo>
                    <a:pt x="112269" y="106300"/>
                  </a:lnTo>
                  <a:lnTo>
                    <a:pt x="112269" y="104648"/>
                  </a:lnTo>
                  <a:lnTo>
                    <a:pt x="112269" y="103125"/>
                  </a:lnTo>
                  <a:lnTo>
                    <a:pt x="111887" y="101473"/>
                  </a:lnTo>
                  <a:lnTo>
                    <a:pt x="111507" y="99822"/>
                  </a:lnTo>
                  <a:lnTo>
                    <a:pt x="110999" y="98425"/>
                  </a:lnTo>
                  <a:lnTo>
                    <a:pt x="110236" y="97028"/>
                  </a:lnTo>
                  <a:lnTo>
                    <a:pt x="109348" y="95632"/>
                  </a:lnTo>
                  <a:lnTo>
                    <a:pt x="108459" y="94362"/>
                  </a:lnTo>
                  <a:lnTo>
                    <a:pt x="107315" y="93219"/>
                  </a:lnTo>
                  <a:lnTo>
                    <a:pt x="106046" y="92203"/>
                  </a:lnTo>
                  <a:lnTo>
                    <a:pt x="104649" y="91187"/>
                  </a:lnTo>
                  <a:lnTo>
                    <a:pt x="103251" y="90425"/>
                  </a:lnTo>
                  <a:lnTo>
                    <a:pt x="101854" y="89790"/>
                  </a:lnTo>
                  <a:lnTo>
                    <a:pt x="100203" y="89154"/>
                  </a:lnTo>
                  <a:lnTo>
                    <a:pt x="98552" y="88773"/>
                  </a:lnTo>
                  <a:lnTo>
                    <a:pt x="96901" y="88519"/>
                  </a:lnTo>
                  <a:lnTo>
                    <a:pt x="95124" y="88392"/>
                  </a:lnTo>
                  <a:close/>
                  <a:moveTo>
                    <a:pt x="-6769607" y="2907792"/>
                  </a:moveTo>
                  <a:moveTo>
                    <a:pt x="129413" y="107062"/>
                  </a:moveTo>
                  <a:lnTo>
                    <a:pt x="309499" y="107062"/>
                  </a:lnTo>
                  <a:lnTo>
                    <a:pt x="309499" y="123317"/>
                  </a:lnTo>
                  <a:lnTo>
                    <a:pt x="123318" y="123317"/>
                  </a:lnTo>
                  <a:lnTo>
                    <a:pt x="122174" y="124715"/>
                  </a:lnTo>
                  <a:lnTo>
                    <a:pt x="120777" y="126238"/>
                  </a:lnTo>
                  <a:lnTo>
                    <a:pt x="119508" y="127635"/>
                  </a:lnTo>
                  <a:lnTo>
                    <a:pt x="117984" y="128906"/>
                  </a:lnTo>
                  <a:lnTo>
                    <a:pt x="116333" y="130175"/>
                  </a:lnTo>
                  <a:lnTo>
                    <a:pt x="114682" y="131445"/>
                  </a:lnTo>
                  <a:lnTo>
                    <a:pt x="113031" y="132462"/>
                  </a:lnTo>
                  <a:lnTo>
                    <a:pt x="111252" y="133478"/>
                  </a:lnTo>
                  <a:lnTo>
                    <a:pt x="109474" y="134240"/>
                  </a:lnTo>
                  <a:lnTo>
                    <a:pt x="107570" y="134875"/>
                  </a:lnTo>
                  <a:lnTo>
                    <a:pt x="105537" y="135637"/>
                  </a:lnTo>
                  <a:lnTo>
                    <a:pt x="103506" y="136144"/>
                  </a:lnTo>
                  <a:lnTo>
                    <a:pt x="101474" y="136525"/>
                  </a:lnTo>
                  <a:lnTo>
                    <a:pt x="99441" y="136907"/>
                  </a:lnTo>
                  <a:lnTo>
                    <a:pt x="97283" y="137034"/>
                  </a:lnTo>
                  <a:lnTo>
                    <a:pt x="95124" y="137160"/>
                  </a:lnTo>
                  <a:lnTo>
                    <a:pt x="93346" y="137160"/>
                  </a:lnTo>
                  <a:lnTo>
                    <a:pt x="91568" y="137034"/>
                  </a:lnTo>
                  <a:lnTo>
                    <a:pt x="89916" y="136779"/>
                  </a:lnTo>
                  <a:lnTo>
                    <a:pt x="88138" y="136398"/>
                  </a:lnTo>
                  <a:lnTo>
                    <a:pt x="86487" y="136144"/>
                  </a:lnTo>
                  <a:lnTo>
                    <a:pt x="84836" y="135763"/>
                  </a:lnTo>
                  <a:lnTo>
                    <a:pt x="83186" y="135256"/>
                  </a:lnTo>
                  <a:lnTo>
                    <a:pt x="81661" y="134620"/>
                  </a:lnTo>
                  <a:lnTo>
                    <a:pt x="80137" y="133859"/>
                  </a:lnTo>
                  <a:lnTo>
                    <a:pt x="78613" y="133223"/>
                  </a:lnTo>
                  <a:lnTo>
                    <a:pt x="77216" y="132462"/>
                  </a:lnTo>
                  <a:lnTo>
                    <a:pt x="75820" y="131572"/>
                  </a:lnTo>
                  <a:lnTo>
                    <a:pt x="74423" y="130684"/>
                  </a:lnTo>
                  <a:lnTo>
                    <a:pt x="73152" y="129794"/>
                  </a:lnTo>
                  <a:lnTo>
                    <a:pt x="71883" y="128778"/>
                  </a:lnTo>
                  <a:lnTo>
                    <a:pt x="70739" y="127635"/>
                  </a:lnTo>
                  <a:lnTo>
                    <a:pt x="69597" y="126492"/>
                  </a:lnTo>
                  <a:lnTo>
                    <a:pt x="68581" y="125350"/>
                  </a:lnTo>
                  <a:lnTo>
                    <a:pt x="67564" y="124079"/>
                  </a:lnTo>
                  <a:lnTo>
                    <a:pt x="66549" y="122810"/>
                  </a:lnTo>
                  <a:lnTo>
                    <a:pt x="65660" y="121540"/>
                  </a:lnTo>
                  <a:lnTo>
                    <a:pt x="64771" y="120142"/>
                  </a:lnTo>
                  <a:lnTo>
                    <a:pt x="64009" y="118872"/>
                  </a:lnTo>
                  <a:lnTo>
                    <a:pt x="63374" y="117348"/>
                  </a:lnTo>
                  <a:lnTo>
                    <a:pt x="62738" y="115825"/>
                  </a:lnTo>
                  <a:lnTo>
                    <a:pt x="62231" y="114300"/>
                  </a:lnTo>
                  <a:lnTo>
                    <a:pt x="61723" y="112776"/>
                  </a:lnTo>
                  <a:lnTo>
                    <a:pt x="61341" y="111125"/>
                  </a:lnTo>
                  <a:lnTo>
                    <a:pt x="61087" y="109728"/>
                  </a:lnTo>
                  <a:lnTo>
                    <a:pt x="60834" y="108078"/>
                  </a:lnTo>
                  <a:lnTo>
                    <a:pt x="60707" y="106300"/>
                  </a:lnTo>
                  <a:lnTo>
                    <a:pt x="60579" y="104648"/>
                  </a:lnTo>
                  <a:lnTo>
                    <a:pt x="60707" y="103125"/>
                  </a:lnTo>
                  <a:lnTo>
                    <a:pt x="60834" y="101347"/>
                  </a:lnTo>
                  <a:lnTo>
                    <a:pt x="61087" y="99695"/>
                  </a:lnTo>
                  <a:lnTo>
                    <a:pt x="61341" y="98044"/>
                  </a:lnTo>
                  <a:lnTo>
                    <a:pt x="61723" y="96520"/>
                  </a:lnTo>
                  <a:lnTo>
                    <a:pt x="62231" y="95123"/>
                  </a:lnTo>
                  <a:lnTo>
                    <a:pt x="62738" y="93600"/>
                  </a:lnTo>
                  <a:lnTo>
                    <a:pt x="63374" y="91948"/>
                  </a:lnTo>
                  <a:lnTo>
                    <a:pt x="64009" y="90678"/>
                  </a:lnTo>
                  <a:lnTo>
                    <a:pt x="64771" y="89154"/>
                  </a:lnTo>
                  <a:lnTo>
                    <a:pt x="65660" y="87885"/>
                  </a:lnTo>
                  <a:lnTo>
                    <a:pt x="66549" y="86488"/>
                  </a:lnTo>
                  <a:lnTo>
                    <a:pt x="67564" y="85344"/>
                  </a:lnTo>
                  <a:lnTo>
                    <a:pt x="68581" y="83947"/>
                  </a:lnTo>
                  <a:lnTo>
                    <a:pt x="69597" y="82804"/>
                  </a:lnTo>
                  <a:lnTo>
                    <a:pt x="70739" y="81788"/>
                  </a:lnTo>
                  <a:lnTo>
                    <a:pt x="71883" y="80645"/>
                  </a:lnTo>
                  <a:lnTo>
                    <a:pt x="73152" y="79629"/>
                  </a:lnTo>
                  <a:lnTo>
                    <a:pt x="74423" y="78741"/>
                  </a:lnTo>
                  <a:lnTo>
                    <a:pt x="75820" y="77851"/>
                  </a:lnTo>
                  <a:lnTo>
                    <a:pt x="77216" y="76963"/>
                  </a:lnTo>
                  <a:lnTo>
                    <a:pt x="78613" y="76200"/>
                  </a:lnTo>
                  <a:lnTo>
                    <a:pt x="80137" y="75438"/>
                  </a:lnTo>
                  <a:lnTo>
                    <a:pt x="81661" y="74803"/>
                  </a:lnTo>
                  <a:lnTo>
                    <a:pt x="83186" y="74169"/>
                  </a:lnTo>
                  <a:lnTo>
                    <a:pt x="84836" y="73660"/>
                  </a:lnTo>
                  <a:lnTo>
                    <a:pt x="86487" y="73279"/>
                  </a:lnTo>
                  <a:lnTo>
                    <a:pt x="88138" y="72772"/>
                  </a:lnTo>
                  <a:lnTo>
                    <a:pt x="89916" y="72644"/>
                  </a:lnTo>
                  <a:lnTo>
                    <a:pt x="91568" y="72517"/>
                  </a:lnTo>
                  <a:lnTo>
                    <a:pt x="93346" y="72263"/>
                  </a:lnTo>
                  <a:lnTo>
                    <a:pt x="95124" y="72263"/>
                  </a:lnTo>
                  <a:lnTo>
                    <a:pt x="96901" y="72263"/>
                  </a:lnTo>
                  <a:lnTo>
                    <a:pt x="98552" y="72517"/>
                  </a:lnTo>
                  <a:lnTo>
                    <a:pt x="100331" y="72644"/>
                  </a:lnTo>
                  <a:lnTo>
                    <a:pt x="101982" y="72772"/>
                  </a:lnTo>
                  <a:lnTo>
                    <a:pt x="103633" y="73279"/>
                  </a:lnTo>
                  <a:lnTo>
                    <a:pt x="105411" y="73660"/>
                  </a:lnTo>
                  <a:lnTo>
                    <a:pt x="106808" y="74169"/>
                  </a:lnTo>
                  <a:lnTo>
                    <a:pt x="108459" y="74803"/>
                  </a:lnTo>
                  <a:lnTo>
                    <a:pt x="109983" y="75438"/>
                  </a:lnTo>
                  <a:lnTo>
                    <a:pt x="111507" y="76200"/>
                  </a:lnTo>
                  <a:lnTo>
                    <a:pt x="112903" y="76963"/>
                  </a:lnTo>
                  <a:lnTo>
                    <a:pt x="114300" y="77851"/>
                  </a:lnTo>
                  <a:lnTo>
                    <a:pt x="115698" y="78741"/>
                  </a:lnTo>
                  <a:lnTo>
                    <a:pt x="116968" y="79629"/>
                  </a:lnTo>
                  <a:lnTo>
                    <a:pt x="118237" y="80645"/>
                  </a:lnTo>
                  <a:lnTo>
                    <a:pt x="119508" y="81788"/>
                  </a:lnTo>
                  <a:lnTo>
                    <a:pt x="120524" y="82804"/>
                  </a:lnTo>
                  <a:lnTo>
                    <a:pt x="121666" y="83947"/>
                  </a:lnTo>
                  <a:lnTo>
                    <a:pt x="122683" y="85344"/>
                  </a:lnTo>
                  <a:lnTo>
                    <a:pt x="123699" y="86488"/>
                  </a:lnTo>
                  <a:lnTo>
                    <a:pt x="124587" y="87885"/>
                  </a:lnTo>
                  <a:lnTo>
                    <a:pt x="125349" y="89154"/>
                  </a:lnTo>
                  <a:lnTo>
                    <a:pt x="126111" y="90678"/>
                  </a:lnTo>
                  <a:lnTo>
                    <a:pt x="126747" y="91948"/>
                  </a:lnTo>
                  <a:lnTo>
                    <a:pt x="127382" y="93600"/>
                  </a:lnTo>
                  <a:lnTo>
                    <a:pt x="128016" y="95123"/>
                  </a:lnTo>
                  <a:lnTo>
                    <a:pt x="128398" y="96520"/>
                  </a:lnTo>
                  <a:lnTo>
                    <a:pt x="128778" y="98044"/>
                  </a:lnTo>
                  <a:lnTo>
                    <a:pt x="129160" y="99695"/>
                  </a:lnTo>
                  <a:lnTo>
                    <a:pt x="129413" y="101347"/>
                  </a:lnTo>
                  <a:lnTo>
                    <a:pt x="129413" y="103125"/>
                  </a:lnTo>
                  <a:lnTo>
                    <a:pt x="129413" y="104648"/>
                  </a:lnTo>
                  <a:lnTo>
                    <a:pt x="129413" y="107062"/>
                  </a:lnTo>
                  <a:close/>
                  <a:moveTo>
                    <a:pt x="-6788277" y="2907792"/>
                  </a:moveTo>
                  <a:moveTo>
                    <a:pt x="356616" y="72263"/>
                  </a:moveTo>
                  <a:lnTo>
                    <a:pt x="356616" y="72263"/>
                  </a:lnTo>
                  <a:lnTo>
                    <a:pt x="358395" y="72263"/>
                  </a:lnTo>
                  <a:lnTo>
                    <a:pt x="360173" y="72517"/>
                  </a:lnTo>
                  <a:lnTo>
                    <a:pt x="361824" y="72644"/>
                  </a:lnTo>
                  <a:lnTo>
                    <a:pt x="363601" y="72772"/>
                  </a:lnTo>
                  <a:lnTo>
                    <a:pt x="365252" y="73279"/>
                  </a:lnTo>
                  <a:lnTo>
                    <a:pt x="366776" y="73660"/>
                  </a:lnTo>
                  <a:lnTo>
                    <a:pt x="368427" y="74169"/>
                  </a:lnTo>
                  <a:lnTo>
                    <a:pt x="370078" y="74803"/>
                  </a:lnTo>
                  <a:lnTo>
                    <a:pt x="371475" y="75438"/>
                  </a:lnTo>
                  <a:lnTo>
                    <a:pt x="372999" y="76200"/>
                  </a:lnTo>
                  <a:lnTo>
                    <a:pt x="374397" y="76963"/>
                  </a:lnTo>
                  <a:lnTo>
                    <a:pt x="375794" y="77851"/>
                  </a:lnTo>
                  <a:lnTo>
                    <a:pt x="377318" y="78741"/>
                  </a:lnTo>
                  <a:lnTo>
                    <a:pt x="378587" y="79629"/>
                  </a:lnTo>
                  <a:lnTo>
                    <a:pt x="379731" y="80645"/>
                  </a:lnTo>
                  <a:lnTo>
                    <a:pt x="381000" y="81788"/>
                  </a:lnTo>
                  <a:lnTo>
                    <a:pt x="382144" y="82804"/>
                  </a:lnTo>
                  <a:lnTo>
                    <a:pt x="383160" y="83947"/>
                  </a:lnTo>
                  <a:lnTo>
                    <a:pt x="384175" y="85344"/>
                  </a:lnTo>
                  <a:lnTo>
                    <a:pt x="385191" y="86488"/>
                  </a:lnTo>
                  <a:lnTo>
                    <a:pt x="386081" y="87885"/>
                  </a:lnTo>
                  <a:lnTo>
                    <a:pt x="386970" y="89154"/>
                  </a:lnTo>
                  <a:lnTo>
                    <a:pt x="387604" y="90678"/>
                  </a:lnTo>
                  <a:lnTo>
                    <a:pt x="388366" y="91948"/>
                  </a:lnTo>
                  <a:lnTo>
                    <a:pt x="389001" y="93600"/>
                  </a:lnTo>
                  <a:lnTo>
                    <a:pt x="389510" y="95123"/>
                  </a:lnTo>
                  <a:lnTo>
                    <a:pt x="390018" y="96520"/>
                  </a:lnTo>
                  <a:lnTo>
                    <a:pt x="390399" y="98044"/>
                  </a:lnTo>
                  <a:lnTo>
                    <a:pt x="390779" y="99695"/>
                  </a:lnTo>
                  <a:lnTo>
                    <a:pt x="390907" y="101347"/>
                  </a:lnTo>
                  <a:lnTo>
                    <a:pt x="391034" y="103125"/>
                  </a:lnTo>
                  <a:lnTo>
                    <a:pt x="391034" y="104648"/>
                  </a:lnTo>
                  <a:lnTo>
                    <a:pt x="391034" y="106300"/>
                  </a:lnTo>
                  <a:lnTo>
                    <a:pt x="390907" y="108078"/>
                  </a:lnTo>
                  <a:lnTo>
                    <a:pt x="417958" y="107823"/>
                  </a:lnTo>
                  <a:lnTo>
                    <a:pt x="418593" y="107697"/>
                  </a:lnTo>
                  <a:lnTo>
                    <a:pt x="419227" y="107569"/>
                  </a:lnTo>
                  <a:lnTo>
                    <a:pt x="419736" y="107188"/>
                  </a:lnTo>
                  <a:lnTo>
                    <a:pt x="420116" y="106681"/>
                  </a:lnTo>
                  <a:lnTo>
                    <a:pt x="420371" y="106172"/>
                  </a:lnTo>
                  <a:lnTo>
                    <a:pt x="420371" y="105665"/>
                  </a:lnTo>
                  <a:lnTo>
                    <a:pt x="420371" y="105284"/>
                  </a:lnTo>
                  <a:lnTo>
                    <a:pt x="420244" y="105029"/>
                  </a:lnTo>
                  <a:lnTo>
                    <a:pt x="415925" y="100331"/>
                  </a:lnTo>
                  <a:lnTo>
                    <a:pt x="418720" y="82423"/>
                  </a:lnTo>
                  <a:lnTo>
                    <a:pt x="418974" y="80519"/>
                  </a:lnTo>
                  <a:lnTo>
                    <a:pt x="418974" y="78741"/>
                  </a:lnTo>
                  <a:lnTo>
                    <a:pt x="418974" y="77090"/>
                  </a:lnTo>
                  <a:lnTo>
                    <a:pt x="418720" y="75312"/>
                  </a:lnTo>
                  <a:lnTo>
                    <a:pt x="418338" y="73660"/>
                  </a:lnTo>
                  <a:lnTo>
                    <a:pt x="417831" y="72010"/>
                  </a:lnTo>
                  <a:lnTo>
                    <a:pt x="417196" y="70485"/>
                  </a:lnTo>
                  <a:lnTo>
                    <a:pt x="416307" y="69088"/>
                  </a:lnTo>
                  <a:lnTo>
                    <a:pt x="415290" y="67819"/>
                  </a:lnTo>
                  <a:lnTo>
                    <a:pt x="414021" y="66422"/>
                  </a:lnTo>
                  <a:lnTo>
                    <a:pt x="412624" y="65406"/>
                  </a:lnTo>
                  <a:lnTo>
                    <a:pt x="410973" y="64390"/>
                  </a:lnTo>
                  <a:lnTo>
                    <a:pt x="409068" y="63373"/>
                  </a:lnTo>
                  <a:lnTo>
                    <a:pt x="406909" y="62612"/>
                  </a:lnTo>
                  <a:lnTo>
                    <a:pt x="404623" y="61976"/>
                  </a:lnTo>
                  <a:lnTo>
                    <a:pt x="401956" y="61595"/>
                  </a:lnTo>
                  <a:lnTo>
                    <a:pt x="334137" y="53341"/>
                  </a:lnTo>
                  <a:lnTo>
                    <a:pt x="328549" y="52578"/>
                  </a:lnTo>
                  <a:lnTo>
                    <a:pt x="323597" y="51690"/>
                  </a:lnTo>
                  <a:lnTo>
                    <a:pt x="318771" y="50800"/>
                  </a:lnTo>
                  <a:lnTo>
                    <a:pt x="316611" y="50166"/>
                  </a:lnTo>
                  <a:lnTo>
                    <a:pt x="314452" y="49657"/>
                  </a:lnTo>
                  <a:lnTo>
                    <a:pt x="312421" y="48895"/>
                  </a:lnTo>
                  <a:lnTo>
                    <a:pt x="310261" y="48134"/>
                  </a:lnTo>
                  <a:lnTo>
                    <a:pt x="308357" y="47498"/>
                  </a:lnTo>
                  <a:lnTo>
                    <a:pt x="306324" y="46610"/>
                  </a:lnTo>
                  <a:lnTo>
                    <a:pt x="304420" y="45720"/>
                  </a:lnTo>
                  <a:lnTo>
                    <a:pt x="302387" y="44704"/>
                  </a:lnTo>
                  <a:lnTo>
                    <a:pt x="298450" y="42672"/>
                  </a:lnTo>
                  <a:lnTo>
                    <a:pt x="251587" y="15875"/>
                  </a:lnTo>
                  <a:lnTo>
                    <a:pt x="249174" y="14606"/>
                  </a:lnTo>
                  <a:lnTo>
                    <a:pt x="246508" y="13209"/>
                  </a:lnTo>
                  <a:lnTo>
                    <a:pt x="243460" y="11812"/>
                  </a:lnTo>
                  <a:lnTo>
                    <a:pt x="240411" y="10795"/>
                  </a:lnTo>
                  <a:lnTo>
                    <a:pt x="237363" y="9653"/>
                  </a:lnTo>
                  <a:lnTo>
                    <a:pt x="235712" y="9272"/>
                  </a:lnTo>
                  <a:lnTo>
                    <a:pt x="234061" y="8891"/>
                  </a:lnTo>
                  <a:lnTo>
                    <a:pt x="232537" y="8510"/>
                  </a:lnTo>
                  <a:lnTo>
                    <a:pt x="231013" y="8256"/>
                  </a:lnTo>
                  <a:lnTo>
                    <a:pt x="229362" y="8256"/>
                  </a:lnTo>
                  <a:lnTo>
                    <a:pt x="227838" y="8128"/>
                  </a:lnTo>
                  <a:lnTo>
                    <a:pt x="146177" y="8128"/>
                  </a:lnTo>
                  <a:lnTo>
                    <a:pt x="143511" y="8128"/>
                  </a:lnTo>
                  <a:lnTo>
                    <a:pt x="140971" y="8256"/>
                  </a:lnTo>
                  <a:lnTo>
                    <a:pt x="138685" y="8382"/>
                  </a:lnTo>
                  <a:lnTo>
                    <a:pt x="136399" y="8637"/>
                  </a:lnTo>
                  <a:lnTo>
                    <a:pt x="134239" y="8891"/>
                  </a:lnTo>
                  <a:lnTo>
                    <a:pt x="132208" y="9272"/>
                  </a:lnTo>
                  <a:lnTo>
                    <a:pt x="130175" y="9653"/>
                  </a:lnTo>
                  <a:lnTo>
                    <a:pt x="128271" y="10034"/>
                  </a:lnTo>
                  <a:lnTo>
                    <a:pt x="126365" y="10669"/>
                  </a:lnTo>
                  <a:lnTo>
                    <a:pt x="124587" y="11176"/>
                  </a:lnTo>
                  <a:lnTo>
                    <a:pt x="122810" y="11812"/>
                  </a:lnTo>
                  <a:lnTo>
                    <a:pt x="121032" y="12573"/>
                  </a:lnTo>
                  <a:lnTo>
                    <a:pt x="117349" y="14225"/>
                  </a:lnTo>
                  <a:lnTo>
                    <a:pt x="113920" y="16129"/>
                  </a:lnTo>
                  <a:lnTo>
                    <a:pt x="73787" y="38228"/>
                  </a:lnTo>
                  <a:lnTo>
                    <a:pt x="70486" y="40006"/>
                  </a:lnTo>
                  <a:lnTo>
                    <a:pt x="67564" y="41529"/>
                  </a:lnTo>
                  <a:lnTo>
                    <a:pt x="65024" y="42672"/>
                  </a:lnTo>
                  <a:lnTo>
                    <a:pt x="62358" y="43562"/>
                  </a:lnTo>
                  <a:lnTo>
                    <a:pt x="61087" y="43942"/>
                  </a:lnTo>
                  <a:lnTo>
                    <a:pt x="59818" y="44197"/>
                  </a:lnTo>
                  <a:lnTo>
                    <a:pt x="56897" y="44578"/>
                  </a:lnTo>
                  <a:lnTo>
                    <a:pt x="53468" y="44959"/>
                  </a:lnTo>
                  <a:lnTo>
                    <a:pt x="49403" y="45213"/>
                  </a:lnTo>
                  <a:lnTo>
                    <a:pt x="22352" y="45975"/>
                  </a:lnTo>
                  <a:lnTo>
                    <a:pt x="20321" y="46228"/>
                  </a:lnTo>
                  <a:lnTo>
                    <a:pt x="19432" y="46228"/>
                  </a:lnTo>
                  <a:lnTo>
                    <a:pt x="18670" y="46482"/>
                  </a:lnTo>
                  <a:lnTo>
                    <a:pt x="17781" y="46737"/>
                  </a:lnTo>
                  <a:lnTo>
                    <a:pt x="17146" y="47117"/>
                  </a:lnTo>
                  <a:lnTo>
                    <a:pt x="16511" y="47498"/>
                  </a:lnTo>
                  <a:lnTo>
                    <a:pt x="15875" y="47879"/>
                  </a:lnTo>
                  <a:lnTo>
                    <a:pt x="15368" y="48388"/>
                  </a:lnTo>
                  <a:lnTo>
                    <a:pt x="14860" y="49022"/>
                  </a:lnTo>
                  <a:lnTo>
                    <a:pt x="14606" y="49657"/>
                  </a:lnTo>
                  <a:lnTo>
                    <a:pt x="14224" y="50292"/>
                  </a:lnTo>
                  <a:lnTo>
                    <a:pt x="13971" y="51054"/>
                  </a:lnTo>
                  <a:lnTo>
                    <a:pt x="13844" y="52070"/>
                  </a:lnTo>
                  <a:lnTo>
                    <a:pt x="13716" y="52960"/>
                  </a:lnTo>
                  <a:lnTo>
                    <a:pt x="13716" y="54103"/>
                  </a:lnTo>
                  <a:lnTo>
                    <a:pt x="13716" y="85979"/>
                  </a:lnTo>
                  <a:lnTo>
                    <a:pt x="13589" y="86615"/>
                  </a:lnTo>
                  <a:lnTo>
                    <a:pt x="13336" y="87376"/>
                  </a:lnTo>
                  <a:lnTo>
                    <a:pt x="12827" y="88012"/>
                  </a:lnTo>
                  <a:lnTo>
                    <a:pt x="12447" y="88519"/>
                  </a:lnTo>
                  <a:lnTo>
                    <a:pt x="11938" y="89028"/>
                  </a:lnTo>
                  <a:lnTo>
                    <a:pt x="11431" y="89535"/>
                  </a:lnTo>
                  <a:lnTo>
                    <a:pt x="10161" y="90425"/>
                  </a:lnTo>
                  <a:lnTo>
                    <a:pt x="16764" y="98044"/>
                  </a:lnTo>
                  <a:lnTo>
                    <a:pt x="49785" y="100838"/>
                  </a:lnTo>
                  <a:lnTo>
                    <a:pt x="49785" y="113285"/>
                  </a:lnTo>
                  <a:lnTo>
                    <a:pt x="17399" y="109856"/>
                  </a:lnTo>
                  <a:lnTo>
                    <a:pt x="16764" y="109728"/>
                  </a:lnTo>
                  <a:lnTo>
                    <a:pt x="16002" y="109220"/>
                  </a:lnTo>
                  <a:lnTo>
                    <a:pt x="14986" y="108840"/>
                  </a:lnTo>
                  <a:lnTo>
                    <a:pt x="14606" y="108332"/>
                  </a:lnTo>
                  <a:lnTo>
                    <a:pt x="12447" y="106172"/>
                  </a:lnTo>
                  <a:lnTo>
                    <a:pt x="10541" y="104013"/>
                  </a:lnTo>
                  <a:lnTo>
                    <a:pt x="6859" y="100331"/>
                  </a:lnTo>
                  <a:lnTo>
                    <a:pt x="3811" y="97156"/>
                  </a:lnTo>
                  <a:lnTo>
                    <a:pt x="2540" y="95759"/>
                  </a:lnTo>
                  <a:lnTo>
                    <a:pt x="1524" y="94362"/>
                  </a:lnTo>
                  <a:lnTo>
                    <a:pt x="762" y="93091"/>
                  </a:lnTo>
                  <a:lnTo>
                    <a:pt x="509" y="92457"/>
                  </a:lnTo>
                  <a:lnTo>
                    <a:pt x="254" y="91822"/>
                  </a:lnTo>
                  <a:lnTo>
                    <a:pt x="127" y="91187"/>
                  </a:lnTo>
                  <a:lnTo>
                    <a:pt x="0" y="90678"/>
                  </a:lnTo>
                  <a:lnTo>
                    <a:pt x="127" y="89916"/>
                  </a:lnTo>
                  <a:lnTo>
                    <a:pt x="254" y="89409"/>
                  </a:lnTo>
                  <a:lnTo>
                    <a:pt x="509" y="88647"/>
                  </a:lnTo>
                  <a:lnTo>
                    <a:pt x="762" y="88012"/>
                  </a:lnTo>
                  <a:lnTo>
                    <a:pt x="1271" y="87376"/>
                  </a:lnTo>
                  <a:lnTo>
                    <a:pt x="1778" y="86741"/>
                  </a:lnTo>
                  <a:lnTo>
                    <a:pt x="2413" y="86107"/>
                  </a:lnTo>
                  <a:lnTo>
                    <a:pt x="3175" y="85472"/>
                  </a:lnTo>
                  <a:lnTo>
                    <a:pt x="5081" y="83820"/>
                  </a:lnTo>
                  <a:lnTo>
                    <a:pt x="5081" y="54103"/>
                  </a:lnTo>
                  <a:lnTo>
                    <a:pt x="5208" y="52070"/>
                  </a:lnTo>
                  <a:lnTo>
                    <a:pt x="5335" y="50038"/>
                  </a:lnTo>
                  <a:lnTo>
                    <a:pt x="5843" y="48388"/>
                  </a:lnTo>
                  <a:lnTo>
                    <a:pt x="6477" y="46737"/>
                  </a:lnTo>
                  <a:lnTo>
                    <a:pt x="7112" y="45340"/>
                  </a:lnTo>
                  <a:lnTo>
                    <a:pt x="8001" y="44069"/>
                  </a:lnTo>
                  <a:lnTo>
                    <a:pt x="9018" y="42800"/>
                  </a:lnTo>
                  <a:lnTo>
                    <a:pt x="10161" y="41784"/>
                  </a:lnTo>
                  <a:lnTo>
                    <a:pt x="11303" y="40894"/>
                  </a:lnTo>
                  <a:lnTo>
                    <a:pt x="12700" y="40132"/>
                  </a:lnTo>
                  <a:lnTo>
                    <a:pt x="14098" y="39497"/>
                  </a:lnTo>
                  <a:lnTo>
                    <a:pt x="15495" y="38990"/>
                  </a:lnTo>
                  <a:lnTo>
                    <a:pt x="17146" y="38482"/>
                  </a:lnTo>
                  <a:lnTo>
                    <a:pt x="18797" y="38228"/>
                  </a:lnTo>
                  <a:lnTo>
                    <a:pt x="20321" y="37973"/>
                  </a:lnTo>
                  <a:lnTo>
                    <a:pt x="22099" y="37847"/>
                  </a:lnTo>
                  <a:lnTo>
                    <a:pt x="52706" y="36703"/>
                  </a:lnTo>
                  <a:lnTo>
                    <a:pt x="54229" y="36450"/>
                  </a:lnTo>
                  <a:lnTo>
                    <a:pt x="55753" y="36322"/>
                  </a:lnTo>
                  <a:lnTo>
                    <a:pt x="57404" y="36069"/>
                  </a:lnTo>
                  <a:lnTo>
                    <a:pt x="58928" y="35434"/>
                  </a:lnTo>
                  <a:lnTo>
                    <a:pt x="60325" y="35179"/>
                  </a:lnTo>
                  <a:lnTo>
                    <a:pt x="61723" y="34544"/>
                  </a:lnTo>
                  <a:lnTo>
                    <a:pt x="62993" y="34037"/>
                  </a:lnTo>
                  <a:lnTo>
                    <a:pt x="64009" y="33528"/>
                  </a:lnTo>
                  <a:lnTo>
                    <a:pt x="109728" y="9017"/>
                  </a:lnTo>
                  <a:lnTo>
                    <a:pt x="113793" y="6859"/>
                  </a:lnTo>
                  <a:lnTo>
                    <a:pt x="115698" y="5969"/>
                  </a:lnTo>
                  <a:lnTo>
                    <a:pt x="117729" y="5081"/>
                  </a:lnTo>
                  <a:lnTo>
                    <a:pt x="119635" y="4445"/>
                  </a:lnTo>
                  <a:lnTo>
                    <a:pt x="121794" y="3557"/>
                  </a:lnTo>
                  <a:lnTo>
                    <a:pt x="123825" y="2922"/>
                  </a:lnTo>
                  <a:lnTo>
                    <a:pt x="125985" y="2287"/>
                  </a:lnTo>
                  <a:lnTo>
                    <a:pt x="128016" y="1778"/>
                  </a:lnTo>
                  <a:lnTo>
                    <a:pt x="130302" y="1270"/>
                  </a:lnTo>
                  <a:lnTo>
                    <a:pt x="132715" y="890"/>
                  </a:lnTo>
                  <a:lnTo>
                    <a:pt x="135256" y="635"/>
                  </a:lnTo>
                  <a:lnTo>
                    <a:pt x="137796" y="254"/>
                  </a:lnTo>
                  <a:lnTo>
                    <a:pt x="140462" y="128"/>
                  </a:lnTo>
                  <a:lnTo>
                    <a:pt x="143257" y="128"/>
                  </a:lnTo>
                  <a:lnTo>
                    <a:pt x="146177" y="0"/>
                  </a:lnTo>
                  <a:lnTo>
                    <a:pt x="230251" y="0"/>
                  </a:lnTo>
                  <a:lnTo>
                    <a:pt x="231522" y="128"/>
                  </a:lnTo>
                  <a:lnTo>
                    <a:pt x="232791" y="128"/>
                  </a:lnTo>
                  <a:lnTo>
                    <a:pt x="234315" y="382"/>
                  </a:lnTo>
                  <a:lnTo>
                    <a:pt x="235839" y="763"/>
                  </a:lnTo>
                  <a:lnTo>
                    <a:pt x="239269" y="1651"/>
                  </a:lnTo>
                  <a:lnTo>
                    <a:pt x="243078" y="2794"/>
                  </a:lnTo>
                  <a:lnTo>
                    <a:pt x="247015" y="4319"/>
                  </a:lnTo>
                  <a:lnTo>
                    <a:pt x="251207" y="6097"/>
                  </a:lnTo>
                  <a:lnTo>
                    <a:pt x="255524" y="8256"/>
                  </a:lnTo>
                  <a:lnTo>
                    <a:pt x="259970" y="10541"/>
                  </a:lnTo>
                  <a:lnTo>
                    <a:pt x="306706" y="36831"/>
                  </a:lnTo>
                  <a:lnTo>
                    <a:pt x="309626" y="38228"/>
                  </a:lnTo>
                  <a:lnTo>
                    <a:pt x="312421" y="39625"/>
                  </a:lnTo>
                  <a:lnTo>
                    <a:pt x="315596" y="40767"/>
                  </a:lnTo>
                  <a:lnTo>
                    <a:pt x="318771" y="41657"/>
                  </a:lnTo>
                  <a:lnTo>
                    <a:pt x="322073" y="42545"/>
                  </a:lnTo>
                  <a:lnTo>
                    <a:pt x="325628" y="43181"/>
                  </a:lnTo>
                  <a:lnTo>
                    <a:pt x="329185" y="43816"/>
                  </a:lnTo>
                  <a:lnTo>
                    <a:pt x="332740" y="44323"/>
                  </a:lnTo>
                  <a:lnTo>
                    <a:pt x="400177" y="52578"/>
                  </a:lnTo>
                  <a:lnTo>
                    <a:pt x="403479" y="53087"/>
                  </a:lnTo>
                  <a:lnTo>
                    <a:pt x="406782" y="53722"/>
                  </a:lnTo>
                  <a:lnTo>
                    <a:pt x="409702" y="54610"/>
                  </a:lnTo>
                  <a:lnTo>
                    <a:pt x="412497" y="55626"/>
                  </a:lnTo>
                  <a:lnTo>
                    <a:pt x="415163" y="57023"/>
                  </a:lnTo>
                  <a:lnTo>
                    <a:pt x="416307" y="57785"/>
                  </a:lnTo>
                  <a:lnTo>
                    <a:pt x="417576" y="58420"/>
                  </a:lnTo>
                  <a:lnTo>
                    <a:pt x="418593" y="59182"/>
                  </a:lnTo>
                  <a:lnTo>
                    <a:pt x="419609" y="59944"/>
                  </a:lnTo>
                  <a:lnTo>
                    <a:pt x="420624" y="60834"/>
                  </a:lnTo>
                  <a:lnTo>
                    <a:pt x="421640" y="61722"/>
                  </a:lnTo>
                  <a:lnTo>
                    <a:pt x="422402" y="62612"/>
                  </a:lnTo>
                  <a:lnTo>
                    <a:pt x="423164" y="63628"/>
                  </a:lnTo>
                  <a:lnTo>
                    <a:pt x="423926" y="64516"/>
                  </a:lnTo>
                  <a:lnTo>
                    <a:pt x="424688" y="65532"/>
                  </a:lnTo>
                  <a:lnTo>
                    <a:pt x="425324" y="66548"/>
                  </a:lnTo>
                  <a:lnTo>
                    <a:pt x="425832" y="67691"/>
                  </a:lnTo>
                  <a:lnTo>
                    <a:pt x="426339" y="68835"/>
                  </a:lnTo>
                  <a:lnTo>
                    <a:pt x="426721" y="69850"/>
                  </a:lnTo>
                  <a:lnTo>
                    <a:pt x="427228" y="71120"/>
                  </a:lnTo>
                  <a:lnTo>
                    <a:pt x="427356" y="72263"/>
                  </a:lnTo>
                  <a:lnTo>
                    <a:pt x="427610" y="73407"/>
                  </a:lnTo>
                  <a:lnTo>
                    <a:pt x="427863" y="74676"/>
                  </a:lnTo>
                  <a:lnTo>
                    <a:pt x="427863" y="75947"/>
                  </a:lnTo>
                  <a:lnTo>
                    <a:pt x="427863" y="77344"/>
                  </a:lnTo>
                  <a:lnTo>
                    <a:pt x="427736" y="78487"/>
                  </a:lnTo>
                  <a:lnTo>
                    <a:pt x="427610" y="79884"/>
                  </a:lnTo>
                  <a:lnTo>
                    <a:pt x="424943" y="98172"/>
                  </a:lnTo>
                  <a:lnTo>
                    <a:pt x="425704" y="98679"/>
                  </a:lnTo>
                  <a:lnTo>
                    <a:pt x="426339" y="99188"/>
                  </a:lnTo>
                  <a:lnTo>
                    <a:pt x="426848" y="99695"/>
                  </a:lnTo>
                  <a:lnTo>
                    <a:pt x="427356" y="100331"/>
                  </a:lnTo>
                  <a:lnTo>
                    <a:pt x="428372" y="101728"/>
                  </a:lnTo>
                  <a:lnTo>
                    <a:pt x="429007" y="102997"/>
                  </a:lnTo>
                  <a:lnTo>
                    <a:pt x="429387" y="104394"/>
                  </a:lnTo>
                  <a:lnTo>
                    <a:pt x="429769" y="105919"/>
                  </a:lnTo>
                  <a:lnTo>
                    <a:pt x="429769" y="107316"/>
                  </a:lnTo>
                  <a:lnTo>
                    <a:pt x="429514" y="108840"/>
                  </a:lnTo>
                  <a:lnTo>
                    <a:pt x="429134" y="110110"/>
                  </a:lnTo>
                  <a:lnTo>
                    <a:pt x="428372" y="111507"/>
                  </a:lnTo>
                  <a:lnTo>
                    <a:pt x="427990" y="112141"/>
                  </a:lnTo>
                  <a:lnTo>
                    <a:pt x="427483" y="112650"/>
                  </a:lnTo>
                  <a:lnTo>
                    <a:pt x="426974" y="113285"/>
                  </a:lnTo>
                  <a:lnTo>
                    <a:pt x="426466" y="113666"/>
                  </a:lnTo>
                  <a:lnTo>
                    <a:pt x="425832" y="114300"/>
                  </a:lnTo>
                  <a:lnTo>
                    <a:pt x="425070" y="114554"/>
                  </a:lnTo>
                  <a:lnTo>
                    <a:pt x="424308" y="115063"/>
                  </a:lnTo>
                  <a:lnTo>
                    <a:pt x="423546" y="115316"/>
                  </a:lnTo>
                  <a:lnTo>
                    <a:pt x="422657" y="115570"/>
                  </a:lnTo>
                  <a:lnTo>
                    <a:pt x="421640" y="115697"/>
                  </a:lnTo>
                  <a:lnTo>
                    <a:pt x="420751" y="115825"/>
                  </a:lnTo>
                  <a:lnTo>
                    <a:pt x="419609" y="115951"/>
                  </a:lnTo>
                  <a:lnTo>
                    <a:pt x="388748" y="116206"/>
                  </a:lnTo>
                  <a:lnTo>
                    <a:pt x="387732" y="118619"/>
                  </a:lnTo>
                  <a:lnTo>
                    <a:pt x="386588" y="120778"/>
                  </a:lnTo>
                  <a:lnTo>
                    <a:pt x="385191" y="122682"/>
                  </a:lnTo>
                  <a:lnTo>
                    <a:pt x="383668" y="124715"/>
                  </a:lnTo>
                  <a:lnTo>
                    <a:pt x="382144" y="126492"/>
                  </a:lnTo>
                  <a:lnTo>
                    <a:pt x="380238" y="128270"/>
                  </a:lnTo>
                  <a:lnTo>
                    <a:pt x="378461" y="129922"/>
                  </a:lnTo>
                  <a:lnTo>
                    <a:pt x="376428" y="131319"/>
                  </a:lnTo>
                  <a:lnTo>
                    <a:pt x="374270" y="132588"/>
                  </a:lnTo>
                  <a:lnTo>
                    <a:pt x="371984" y="133732"/>
                  </a:lnTo>
                  <a:lnTo>
                    <a:pt x="369571" y="134875"/>
                  </a:lnTo>
                  <a:lnTo>
                    <a:pt x="367158" y="135637"/>
                  </a:lnTo>
                  <a:lnTo>
                    <a:pt x="364618" y="136272"/>
                  </a:lnTo>
                  <a:lnTo>
                    <a:pt x="361950" y="136779"/>
                  </a:lnTo>
                  <a:lnTo>
                    <a:pt x="359411" y="137034"/>
                  </a:lnTo>
                  <a:lnTo>
                    <a:pt x="356616" y="137160"/>
                  </a:lnTo>
                  <a:lnTo>
                    <a:pt x="354838" y="137160"/>
                  </a:lnTo>
                  <a:lnTo>
                    <a:pt x="353187" y="137034"/>
                  </a:lnTo>
                  <a:lnTo>
                    <a:pt x="351410" y="136779"/>
                  </a:lnTo>
                  <a:lnTo>
                    <a:pt x="349759" y="136398"/>
                  </a:lnTo>
                  <a:lnTo>
                    <a:pt x="347981" y="136144"/>
                  </a:lnTo>
                  <a:lnTo>
                    <a:pt x="346329" y="135763"/>
                  </a:lnTo>
                  <a:lnTo>
                    <a:pt x="344678" y="135256"/>
                  </a:lnTo>
                  <a:lnTo>
                    <a:pt x="343282" y="134620"/>
                  </a:lnTo>
                  <a:lnTo>
                    <a:pt x="341758" y="133859"/>
                  </a:lnTo>
                  <a:lnTo>
                    <a:pt x="340234" y="133223"/>
                  </a:lnTo>
                  <a:lnTo>
                    <a:pt x="338710" y="132462"/>
                  </a:lnTo>
                  <a:lnTo>
                    <a:pt x="337312" y="131572"/>
                  </a:lnTo>
                  <a:lnTo>
                    <a:pt x="336043" y="130684"/>
                  </a:lnTo>
                  <a:lnTo>
                    <a:pt x="334646" y="129794"/>
                  </a:lnTo>
                  <a:lnTo>
                    <a:pt x="333375" y="128778"/>
                  </a:lnTo>
                  <a:lnTo>
                    <a:pt x="332233" y="127635"/>
                  </a:lnTo>
                  <a:lnTo>
                    <a:pt x="331089" y="126492"/>
                  </a:lnTo>
                  <a:lnTo>
                    <a:pt x="329947" y="125350"/>
                  </a:lnTo>
                  <a:lnTo>
                    <a:pt x="329058" y="124079"/>
                  </a:lnTo>
                  <a:lnTo>
                    <a:pt x="328041" y="122810"/>
                  </a:lnTo>
                  <a:lnTo>
                    <a:pt x="327152" y="121540"/>
                  </a:lnTo>
                  <a:lnTo>
                    <a:pt x="326390" y="120142"/>
                  </a:lnTo>
                  <a:lnTo>
                    <a:pt x="325628" y="118872"/>
                  </a:lnTo>
                  <a:lnTo>
                    <a:pt x="324866" y="117348"/>
                  </a:lnTo>
                  <a:lnTo>
                    <a:pt x="324359" y="115825"/>
                  </a:lnTo>
                  <a:lnTo>
                    <a:pt x="323724" y="114300"/>
                  </a:lnTo>
                  <a:lnTo>
                    <a:pt x="323215" y="112776"/>
                  </a:lnTo>
                  <a:lnTo>
                    <a:pt x="322961" y="111125"/>
                  </a:lnTo>
                  <a:lnTo>
                    <a:pt x="322581" y="109728"/>
                  </a:lnTo>
                  <a:lnTo>
                    <a:pt x="322326" y="108078"/>
                  </a:lnTo>
                  <a:lnTo>
                    <a:pt x="322199" y="106300"/>
                  </a:lnTo>
                  <a:lnTo>
                    <a:pt x="322073" y="104648"/>
                  </a:lnTo>
                  <a:lnTo>
                    <a:pt x="322199" y="103125"/>
                  </a:lnTo>
                  <a:lnTo>
                    <a:pt x="322326" y="101347"/>
                  </a:lnTo>
                  <a:lnTo>
                    <a:pt x="322581" y="99695"/>
                  </a:lnTo>
                  <a:lnTo>
                    <a:pt x="322961" y="98044"/>
                  </a:lnTo>
                  <a:lnTo>
                    <a:pt x="323215" y="96520"/>
                  </a:lnTo>
                  <a:lnTo>
                    <a:pt x="323724" y="95123"/>
                  </a:lnTo>
                  <a:lnTo>
                    <a:pt x="324359" y="93600"/>
                  </a:lnTo>
                  <a:lnTo>
                    <a:pt x="324866" y="91948"/>
                  </a:lnTo>
                  <a:lnTo>
                    <a:pt x="325628" y="90678"/>
                  </a:lnTo>
                  <a:lnTo>
                    <a:pt x="326390" y="89154"/>
                  </a:lnTo>
                  <a:lnTo>
                    <a:pt x="327152" y="87885"/>
                  </a:lnTo>
                  <a:lnTo>
                    <a:pt x="328041" y="86488"/>
                  </a:lnTo>
                  <a:lnTo>
                    <a:pt x="329058" y="85344"/>
                  </a:lnTo>
                  <a:lnTo>
                    <a:pt x="329947" y="83947"/>
                  </a:lnTo>
                  <a:lnTo>
                    <a:pt x="331089" y="82804"/>
                  </a:lnTo>
                  <a:lnTo>
                    <a:pt x="332233" y="81788"/>
                  </a:lnTo>
                  <a:lnTo>
                    <a:pt x="333375" y="80645"/>
                  </a:lnTo>
                  <a:lnTo>
                    <a:pt x="334646" y="79629"/>
                  </a:lnTo>
                  <a:lnTo>
                    <a:pt x="336043" y="78741"/>
                  </a:lnTo>
                  <a:lnTo>
                    <a:pt x="337312" y="77851"/>
                  </a:lnTo>
                  <a:lnTo>
                    <a:pt x="338710" y="76963"/>
                  </a:lnTo>
                  <a:lnTo>
                    <a:pt x="340234" y="76200"/>
                  </a:lnTo>
                  <a:lnTo>
                    <a:pt x="341758" y="75438"/>
                  </a:lnTo>
                  <a:lnTo>
                    <a:pt x="343282" y="74803"/>
                  </a:lnTo>
                  <a:lnTo>
                    <a:pt x="344678" y="74169"/>
                  </a:lnTo>
                  <a:lnTo>
                    <a:pt x="346329" y="73660"/>
                  </a:lnTo>
                  <a:lnTo>
                    <a:pt x="347981" y="73279"/>
                  </a:lnTo>
                  <a:lnTo>
                    <a:pt x="349759" y="72772"/>
                  </a:lnTo>
                  <a:lnTo>
                    <a:pt x="351410" y="72644"/>
                  </a:lnTo>
                  <a:lnTo>
                    <a:pt x="353187" y="72517"/>
                  </a:lnTo>
                  <a:lnTo>
                    <a:pt x="354838" y="72263"/>
                  </a:lnTo>
                  <a:lnTo>
                    <a:pt x="356616" y="72263"/>
                  </a:lnTo>
                  <a:close/>
                  <a:moveTo>
                    <a:pt x="-6753478" y="2907792"/>
                  </a:moveTo>
                  <a:moveTo>
                    <a:pt x="356616" y="88392"/>
                  </a:moveTo>
                  <a:lnTo>
                    <a:pt x="356616" y="88392"/>
                  </a:lnTo>
                  <a:lnTo>
                    <a:pt x="354838" y="88519"/>
                  </a:lnTo>
                  <a:lnTo>
                    <a:pt x="353187" y="88773"/>
                  </a:lnTo>
                  <a:lnTo>
                    <a:pt x="351536" y="89154"/>
                  </a:lnTo>
                  <a:lnTo>
                    <a:pt x="349886" y="89790"/>
                  </a:lnTo>
                  <a:lnTo>
                    <a:pt x="348361" y="90425"/>
                  </a:lnTo>
                  <a:lnTo>
                    <a:pt x="346964" y="91187"/>
                  </a:lnTo>
                  <a:lnTo>
                    <a:pt x="345695" y="92203"/>
                  </a:lnTo>
                  <a:lnTo>
                    <a:pt x="344424" y="93219"/>
                  </a:lnTo>
                  <a:lnTo>
                    <a:pt x="343282" y="94362"/>
                  </a:lnTo>
                  <a:lnTo>
                    <a:pt x="342393" y="95632"/>
                  </a:lnTo>
                  <a:lnTo>
                    <a:pt x="341503" y="97028"/>
                  </a:lnTo>
                  <a:lnTo>
                    <a:pt x="340741" y="98425"/>
                  </a:lnTo>
                  <a:lnTo>
                    <a:pt x="340234" y="99822"/>
                  </a:lnTo>
                  <a:lnTo>
                    <a:pt x="339852" y="101473"/>
                  </a:lnTo>
                  <a:lnTo>
                    <a:pt x="339472" y="103125"/>
                  </a:lnTo>
                  <a:lnTo>
                    <a:pt x="339345" y="104648"/>
                  </a:lnTo>
                  <a:lnTo>
                    <a:pt x="339472" y="106300"/>
                  </a:lnTo>
                  <a:lnTo>
                    <a:pt x="339852" y="107950"/>
                  </a:lnTo>
                  <a:lnTo>
                    <a:pt x="340234" y="109601"/>
                  </a:lnTo>
                  <a:lnTo>
                    <a:pt x="340741" y="110998"/>
                  </a:lnTo>
                  <a:lnTo>
                    <a:pt x="341503" y="112395"/>
                  </a:lnTo>
                  <a:lnTo>
                    <a:pt x="342393" y="113666"/>
                  </a:lnTo>
                  <a:lnTo>
                    <a:pt x="343282" y="115063"/>
                  </a:lnTo>
                  <a:lnTo>
                    <a:pt x="344424" y="116206"/>
                  </a:lnTo>
                  <a:lnTo>
                    <a:pt x="345695" y="117222"/>
                  </a:lnTo>
                  <a:lnTo>
                    <a:pt x="346964" y="118238"/>
                  </a:lnTo>
                  <a:lnTo>
                    <a:pt x="348361" y="119000"/>
                  </a:lnTo>
                  <a:lnTo>
                    <a:pt x="349886" y="119635"/>
                  </a:lnTo>
                  <a:lnTo>
                    <a:pt x="351536" y="120142"/>
                  </a:lnTo>
                  <a:lnTo>
                    <a:pt x="353187" y="120650"/>
                  </a:lnTo>
                  <a:lnTo>
                    <a:pt x="354838" y="120778"/>
                  </a:lnTo>
                  <a:lnTo>
                    <a:pt x="356616" y="120904"/>
                  </a:lnTo>
                  <a:lnTo>
                    <a:pt x="358395" y="120778"/>
                  </a:lnTo>
                  <a:lnTo>
                    <a:pt x="360173" y="120650"/>
                  </a:lnTo>
                  <a:lnTo>
                    <a:pt x="361697" y="120142"/>
                  </a:lnTo>
                  <a:lnTo>
                    <a:pt x="363348" y="119635"/>
                  </a:lnTo>
                  <a:lnTo>
                    <a:pt x="364872" y="119000"/>
                  </a:lnTo>
                  <a:lnTo>
                    <a:pt x="366269" y="118238"/>
                  </a:lnTo>
                  <a:lnTo>
                    <a:pt x="367538" y="117222"/>
                  </a:lnTo>
                  <a:lnTo>
                    <a:pt x="368682" y="116206"/>
                  </a:lnTo>
                  <a:lnTo>
                    <a:pt x="369951" y="115063"/>
                  </a:lnTo>
                  <a:lnTo>
                    <a:pt x="370840" y="113666"/>
                  </a:lnTo>
                  <a:lnTo>
                    <a:pt x="371729" y="112395"/>
                  </a:lnTo>
                  <a:lnTo>
                    <a:pt x="372491" y="110998"/>
                  </a:lnTo>
                  <a:lnTo>
                    <a:pt x="372999" y="109601"/>
                  </a:lnTo>
                  <a:lnTo>
                    <a:pt x="373508" y="107950"/>
                  </a:lnTo>
                  <a:lnTo>
                    <a:pt x="373635" y="106300"/>
                  </a:lnTo>
                  <a:lnTo>
                    <a:pt x="373761" y="104648"/>
                  </a:lnTo>
                  <a:lnTo>
                    <a:pt x="373635" y="103125"/>
                  </a:lnTo>
                  <a:lnTo>
                    <a:pt x="373508" y="101473"/>
                  </a:lnTo>
                  <a:lnTo>
                    <a:pt x="372999" y="99822"/>
                  </a:lnTo>
                  <a:lnTo>
                    <a:pt x="372491" y="98425"/>
                  </a:lnTo>
                  <a:lnTo>
                    <a:pt x="371729" y="97028"/>
                  </a:lnTo>
                  <a:lnTo>
                    <a:pt x="370840" y="95632"/>
                  </a:lnTo>
                  <a:lnTo>
                    <a:pt x="369951" y="94362"/>
                  </a:lnTo>
                  <a:lnTo>
                    <a:pt x="368682" y="93219"/>
                  </a:lnTo>
                  <a:lnTo>
                    <a:pt x="367538" y="92203"/>
                  </a:lnTo>
                  <a:lnTo>
                    <a:pt x="366269" y="91187"/>
                  </a:lnTo>
                  <a:lnTo>
                    <a:pt x="364872" y="90425"/>
                  </a:lnTo>
                  <a:lnTo>
                    <a:pt x="363348" y="89790"/>
                  </a:lnTo>
                  <a:lnTo>
                    <a:pt x="361697" y="89154"/>
                  </a:lnTo>
                  <a:lnTo>
                    <a:pt x="360173" y="88773"/>
                  </a:lnTo>
                  <a:lnTo>
                    <a:pt x="358395" y="88519"/>
                  </a:lnTo>
                  <a:lnTo>
                    <a:pt x="356616" y="88392"/>
                  </a:lnTo>
                  <a:close/>
                  <a:moveTo>
                    <a:pt x="-6769607" y="2907792"/>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52" name="Freeform 1452"/>
            <p:cNvSpPr/>
            <p:nvPr/>
          </p:nvSpPr>
          <p:spPr>
            <a:xfrm>
              <a:off x="10937365" y="4446977"/>
              <a:ext cx="480108" cy="201914"/>
            </a:xfrm>
            <a:custGeom>
              <a:avLst/>
              <a:gdLst/>
              <a:ahLst/>
              <a:cxnLst/>
              <a:rect l="0" t="0" r="0" b="0"/>
              <a:pathLst>
                <a:path w="652272" h="274319">
                  <a:moveTo>
                    <a:pt x="390778" y="122554"/>
                  </a:moveTo>
                  <a:lnTo>
                    <a:pt x="469391" y="122554"/>
                  </a:lnTo>
                  <a:lnTo>
                    <a:pt x="472186" y="122682"/>
                  </a:lnTo>
                  <a:lnTo>
                    <a:pt x="475106" y="122682"/>
                  </a:lnTo>
                  <a:lnTo>
                    <a:pt x="478028" y="123190"/>
                  </a:lnTo>
                  <a:lnTo>
                    <a:pt x="480949" y="123570"/>
                  </a:lnTo>
                  <a:lnTo>
                    <a:pt x="483869" y="124078"/>
                  </a:lnTo>
                  <a:lnTo>
                    <a:pt x="486917" y="124967"/>
                  </a:lnTo>
                  <a:lnTo>
                    <a:pt x="489712" y="125729"/>
                  </a:lnTo>
                  <a:lnTo>
                    <a:pt x="492632" y="126745"/>
                  </a:lnTo>
                  <a:lnTo>
                    <a:pt x="495427" y="127762"/>
                  </a:lnTo>
                  <a:lnTo>
                    <a:pt x="498220" y="129032"/>
                  </a:lnTo>
                  <a:lnTo>
                    <a:pt x="500761" y="130175"/>
                  </a:lnTo>
                  <a:lnTo>
                    <a:pt x="503428" y="131825"/>
                  </a:lnTo>
                  <a:lnTo>
                    <a:pt x="505840" y="133222"/>
                  </a:lnTo>
                  <a:lnTo>
                    <a:pt x="508380" y="135128"/>
                  </a:lnTo>
                  <a:lnTo>
                    <a:pt x="510666" y="136906"/>
                  </a:lnTo>
                  <a:lnTo>
                    <a:pt x="512699" y="138684"/>
                  </a:lnTo>
                  <a:lnTo>
                    <a:pt x="534669" y="160147"/>
                  </a:lnTo>
                  <a:lnTo>
                    <a:pt x="422275" y="160147"/>
                  </a:lnTo>
                  <a:lnTo>
                    <a:pt x="390778" y="122554"/>
                  </a:lnTo>
                  <a:close/>
                  <a:moveTo>
                    <a:pt x="-8641715" y="2334767"/>
                  </a:moveTo>
                  <a:moveTo>
                    <a:pt x="623189" y="210566"/>
                  </a:moveTo>
                  <a:lnTo>
                    <a:pt x="623189" y="210566"/>
                  </a:lnTo>
                  <a:lnTo>
                    <a:pt x="620267" y="204469"/>
                  </a:lnTo>
                  <a:lnTo>
                    <a:pt x="616965" y="198373"/>
                  </a:lnTo>
                  <a:lnTo>
                    <a:pt x="613410" y="192532"/>
                  </a:lnTo>
                  <a:lnTo>
                    <a:pt x="609727" y="186944"/>
                  </a:lnTo>
                  <a:lnTo>
                    <a:pt x="605663" y="181482"/>
                  </a:lnTo>
                  <a:lnTo>
                    <a:pt x="601472" y="176022"/>
                  </a:lnTo>
                  <a:lnTo>
                    <a:pt x="597027" y="170688"/>
                  </a:lnTo>
                  <a:lnTo>
                    <a:pt x="592454" y="165735"/>
                  </a:lnTo>
                  <a:lnTo>
                    <a:pt x="587502" y="160782"/>
                  </a:lnTo>
                  <a:lnTo>
                    <a:pt x="582676" y="156082"/>
                  </a:lnTo>
                  <a:lnTo>
                    <a:pt x="577341" y="151638"/>
                  </a:lnTo>
                  <a:lnTo>
                    <a:pt x="572135" y="147066"/>
                  </a:lnTo>
                  <a:lnTo>
                    <a:pt x="566674" y="143001"/>
                  </a:lnTo>
                  <a:lnTo>
                    <a:pt x="561213" y="138938"/>
                  </a:lnTo>
                  <a:lnTo>
                    <a:pt x="555498" y="135128"/>
                  </a:lnTo>
                  <a:lnTo>
                    <a:pt x="549655" y="131317"/>
                  </a:lnTo>
                  <a:lnTo>
                    <a:pt x="543940" y="127762"/>
                  </a:lnTo>
                  <a:lnTo>
                    <a:pt x="537972" y="124587"/>
                  </a:lnTo>
                  <a:lnTo>
                    <a:pt x="532129" y="121538"/>
                  </a:lnTo>
                  <a:lnTo>
                    <a:pt x="526033" y="118744"/>
                  </a:lnTo>
                  <a:lnTo>
                    <a:pt x="520191" y="115823"/>
                  </a:lnTo>
                  <a:lnTo>
                    <a:pt x="514095" y="113538"/>
                  </a:lnTo>
                  <a:lnTo>
                    <a:pt x="508000" y="111251"/>
                  </a:lnTo>
                  <a:lnTo>
                    <a:pt x="502030" y="109219"/>
                  </a:lnTo>
                  <a:lnTo>
                    <a:pt x="496062" y="107441"/>
                  </a:lnTo>
                  <a:lnTo>
                    <a:pt x="490219" y="105791"/>
                  </a:lnTo>
                  <a:lnTo>
                    <a:pt x="484251" y="104520"/>
                  </a:lnTo>
                  <a:lnTo>
                    <a:pt x="478536" y="103378"/>
                  </a:lnTo>
                  <a:lnTo>
                    <a:pt x="472693" y="102488"/>
                  </a:lnTo>
                  <a:lnTo>
                    <a:pt x="466978" y="101981"/>
                  </a:lnTo>
                  <a:lnTo>
                    <a:pt x="461644" y="101600"/>
                  </a:lnTo>
                  <a:lnTo>
                    <a:pt x="456183" y="101600"/>
                  </a:lnTo>
                  <a:lnTo>
                    <a:pt x="126365" y="101600"/>
                  </a:lnTo>
                  <a:lnTo>
                    <a:pt x="99314" y="69215"/>
                  </a:lnTo>
                  <a:lnTo>
                    <a:pt x="456183" y="69215"/>
                  </a:lnTo>
                  <a:lnTo>
                    <a:pt x="462533" y="69215"/>
                  </a:lnTo>
                  <a:lnTo>
                    <a:pt x="469011" y="69595"/>
                  </a:lnTo>
                  <a:lnTo>
                    <a:pt x="475488" y="70485"/>
                  </a:lnTo>
                  <a:lnTo>
                    <a:pt x="482091" y="71373"/>
                  </a:lnTo>
                  <a:lnTo>
                    <a:pt x="488568" y="72770"/>
                  </a:lnTo>
                  <a:lnTo>
                    <a:pt x="495427" y="74041"/>
                  </a:lnTo>
                  <a:lnTo>
                    <a:pt x="502030" y="75945"/>
                  </a:lnTo>
                  <a:lnTo>
                    <a:pt x="508889" y="77978"/>
                  </a:lnTo>
                  <a:lnTo>
                    <a:pt x="515492" y="80137"/>
                  </a:lnTo>
                  <a:lnTo>
                    <a:pt x="522351" y="82676"/>
                  </a:lnTo>
                  <a:lnTo>
                    <a:pt x="528954" y="85344"/>
                  </a:lnTo>
                  <a:lnTo>
                    <a:pt x="535686" y="88519"/>
                  </a:lnTo>
                  <a:lnTo>
                    <a:pt x="542416" y="91694"/>
                  </a:lnTo>
                  <a:lnTo>
                    <a:pt x="548893" y="94995"/>
                  </a:lnTo>
                  <a:lnTo>
                    <a:pt x="555498" y="98678"/>
                  </a:lnTo>
                  <a:lnTo>
                    <a:pt x="561975" y="102488"/>
                  </a:lnTo>
                  <a:lnTo>
                    <a:pt x="568325" y="106807"/>
                  </a:lnTo>
                  <a:lnTo>
                    <a:pt x="574548" y="110997"/>
                  </a:lnTo>
                  <a:lnTo>
                    <a:pt x="580770" y="115697"/>
                  </a:lnTo>
                  <a:lnTo>
                    <a:pt x="586740" y="120269"/>
                  </a:lnTo>
                  <a:lnTo>
                    <a:pt x="592581" y="125348"/>
                  </a:lnTo>
                  <a:lnTo>
                    <a:pt x="598297" y="130428"/>
                  </a:lnTo>
                  <a:lnTo>
                    <a:pt x="604012" y="135763"/>
                  </a:lnTo>
                  <a:lnTo>
                    <a:pt x="609218" y="141223"/>
                  </a:lnTo>
                  <a:lnTo>
                    <a:pt x="614553" y="147066"/>
                  </a:lnTo>
                  <a:lnTo>
                    <a:pt x="619632" y="152907"/>
                  </a:lnTo>
                  <a:lnTo>
                    <a:pt x="624331" y="159003"/>
                  </a:lnTo>
                  <a:lnTo>
                    <a:pt x="629030" y="165353"/>
                  </a:lnTo>
                  <a:lnTo>
                    <a:pt x="633349" y="171831"/>
                  </a:lnTo>
                  <a:lnTo>
                    <a:pt x="637540" y="178435"/>
                  </a:lnTo>
                  <a:lnTo>
                    <a:pt x="641350" y="185166"/>
                  </a:lnTo>
                  <a:lnTo>
                    <a:pt x="644905" y="192150"/>
                  </a:lnTo>
                  <a:lnTo>
                    <a:pt x="646556" y="195579"/>
                  </a:lnTo>
                  <a:lnTo>
                    <a:pt x="647953" y="199009"/>
                  </a:lnTo>
                  <a:lnTo>
                    <a:pt x="649351" y="202691"/>
                  </a:lnTo>
                  <a:lnTo>
                    <a:pt x="650493" y="206501"/>
                  </a:lnTo>
                  <a:lnTo>
                    <a:pt x="651255" y="210185"/>
                  </a:lnTo>
                  <a:lnTo>
                    <a:pt x="652017" y="213741"/>
                  </a:lnTo>
                  <a:lnTo>
                    <a:pt x="652272" y="217423"/>
                  </a:lnTo>
                  <a:lnTo>
                    <a:pt x="652272" y="220979"/>
                  </a:lnTo>
                  <a:lnTo>
                    <a:pt x="652017" y="224535"/>
                  </a:lnTo>
                  <a:lnTo>
                    <a:pt x="651637" y="226313"/>
                  </a:lnTo>
                  <a:lnTo>
                    <a:pt x="651255" y="227965"/>
                  </a:lnTo>
                  <a:lnTo>
                    <a:pt x="650620" y="229488"/>
                  </a:lnTo>
                  <a:lnTo>
                    <a:pt x="650113" y="230885"/>
                  </a:lnTo>
                  <a:lnTo>
                    <a:pt x="649351" y="232537"/>
                  </a:lnTo>
                  <a:lnTo>
                    <a:pt x="648462" y="233934"/>
                  </a:lnTo>
                  <a:lnTo>
                    <a:pt x="647573" y="235331"/>
                  </a:lnTo>
                  <a:lnTo>
                    <a:pt x="646303" y="236473"/>
                  </a:lnTo>
                  <a:lnTo>
                    <a:pt x="645160" y="237870"/>
                  </a:lnTo>
                  <a:lnTo>
                    <a:pt x="643763" y="239013"/>
                  </a:lnTo>
                  <a:lnTo>
                    <a:pt x="642239" y="240029"/>
                  </a:lnTo>
                  <a:lnTo>
                    <a:pt x="640588" y="241045"/>
                  </a:lnTo>
                  <a:lnTo>
                    <a:pt x="638810" y="242062"/>
                  </a:lnTo>
                  <a:lnTo>
                    <a:pt x="636904" y="242823"/>
                  </a:lnTo>
                  <a:lnTo>
                    <a:pt x="604012" y="242823"/>
                  </a:lnTo>
                  <a:lnTo>
                    <a:pt x="576706" y="210566"/>
                  </a:lnTo>
                  <a:lnTo>
                    <a:pt x="623189" y="210566"/>
                  </a:lnTo>
                  <a:close/>
                  <a:moveTo>
                    <a:pt x="-8729727" y="2334767"/>
                  </a:moveTo>
                  <a:moveTo>
                    <a:pt x="41402" y="69215"/>
                  </a:moveTo>
                  <a:lnTo>
                    <a:pt x="10667" y="34925"/>
                  </a:lnTo>
                  <a:lnTo>
                    <a:pt x="84201" y="635"/>
                  </a:lnTo>
                  <a:lnTo>
                    <a:pt x="85725" y="253"/>
                  </a:lnTo>
                  <a:lnTo>
                    <a:pt x="87249" y="0"/>
                  </a:lnTo>
                  <a:lnTo>
                    <a:pt x="88265" y="381"/>
                  </a:lnTo>
                  <a:lnTo>
                    <a:pt x="89662" y="888"/>
                  </a:lnTo>
                  <a:lnTo>
                    <a:pt x="90678" y="1650"/>
                  </a:lnTo>
                  <a:lnTo>
                    <a:pt x="91566" y="2920"/>
                  </a:lnTo>
                  <a:lnTo>
                    <a:pt x="92075" y="4063"/>
                  </a:lnTo>
                  <a:lnTo>
                    <a:pt x="92710" y="5207"/>
                  </a:lnTo>
                  <a:lnTo>
                    <a:pt x="93090" y="6857"/>
                  </a:lnTo>
                  <a:lnTo>
                    <a:pt x="93090" y="8254"/>
                  </a:lnTo>
                  <a:lnTo>
                    <a:pt x="93090" y="9906"/>
                  </a:lnTo>
                  <a:lnTo>
                    <a:pt x="92710" y="11303"/>
                  </a:lnTo>
                  <a:lnTo>
                    <a:pt x="92328" y="12700"/>
                  </a:lnTo>
                  <a:lnTo>
                    <a:pt x="91566" y="13969"/>
                  </a:lnTo>
                  <a:lnTo>
                    <a:pt x="90297" y="14859"/>
                  </a:lnTo>
                  <a:lnTo>
                    <a:pt x="88900" y="15747"/>
                  </a:lnTo>
                  <a:lnTo>
                    <a:pt x="35560" y="40513"/>
                  </a:lnTo>
                  <a:lnTo>
                    <a:pt x="88645" y="101600"/>
                  </a:lnTo>
                  <a:lnTo>
                    <a:pt x="0" y="101600"/>
                  </a:lnTo>
                  <a:lnTo>
                    <a:pt x="0" y="69215"/>
                  </a:lnTo>
                  <a:lnTo>
                    <a:pt x="41402" y="69215"/>
                  </a:lnTo>
                  <a:close/>
                  <a:moveTo>
                    <a:pt x="-8588376" y="2334767"/>
                  </a:moveTo>
                  <a:moveTo>
                    <a:pt x="0" y="177672"/>
                  </a:moveTo>
                  <a:lnTo>
                    <a:pt x="547497" y="177672"/>
                  </a:lnTo>
                  <a:lnTo>
                    <a:pt x="562355" y="193675"/>
                  </a:lnTo>
                  <a:lnTo>
                    <a:pt x="0" y="193675"/>
                  </a:lnTo>
                  <a:lnTo>
                    <a:pt x="0" y="177672"/>
                  </a:lnTo>
                  <a:close/>
                  <a:moveTo>
                    <a:pt x="-8696833" y="2334767"/>
                  </a:moveTo>
                  <a:moveTo>
                    <a:pt x="551433" y="227457"/>
                  </a:moveTo>
                  <a:lnTo>
                    <a:pt x="551433" y="227457"/>
                  </a:lnTo>
                  <a:lnTo>
                    <a:pt x="551815" y="229488"/>
                  </a:lnTo>
                  <a:lnTo>
                    <a:pt x="552195" y="231901"/>
                  </a:lnTo>
                  <a:lnTo>
                    <a:pt x="552195" y="234188"/>
                  </a:lnTo>
                  <a:lnTo>
                    <a:pt x="552195" y="236473"/>
                  </a:lnTo>
                  <a:lnTo>
                    <a:pt x="552195" y="240410"/>
                  </a:lnTo>
                  <a:lnTo>
                    <a:pt x="551688" y="244094"/>
                  </a:lnTo>
                  <a:lnTo>
                    <a:pt x="550926" y="247776"/>
                  </a:lnTo>
                  <a:lnTo>
                    <a:pt x="549782" y="251332"/>
                  </a:lnTo>
                  <a:lnTo>
                    <a:pt x="548513" y="254507"/>
                  </a:lnTo>
                  <a:lnTo>
                    <a:pt x="546989" y="257556"/>
                  </a:lnTo>
                  <a:lnTo>
                    <a:pt x="545211" y="260603"/>
                  </a:lnTo>
                  <a:lnTo>
                    <a:pt x="543178" y="263270"/>
                  </a:lnTo>
                  <a:lnTo>
                    <a:pt x="541147" y="265557"/>
                  </a:lnTo>
                  <a:lnTo>
                    <a:pt x="538733" y="267842"/>
                  </a:lnTo>
                  <a:lnTo>
                    <a:pt x="536193" y="269875"/>
                  </a:lnTo>
                  <a:lnTo>
                    <a:pt x="533400" y="271398"/>
                  </a:lnTo>
                  <a:lnTo>
                    <a:pt x="530605" y="272669"/>
                  </a:lnTo>
                  <a:lnTo>
                    <a:pt x="527685" y="273431"/>
                  </a:lnTo>
                  <a:lnTo>
                    <a:pt x="524764" y="274066"/>
                  </a:lnTo>
                  <a:lnTo>
                    <a:pt x="521462" y="274319"/>
                  </a:lnTo>
                  <a:lnTo>
                    <a:pt x="519303" y="274319"/>
                  </a:lnTo>
                  <a:lnTo>
                    <a:pt x="517143" y="273938"/>
                  </a:lnTo>
                  <a:lnTo>
                    <a:pt x="515112" y="273431"/>
                  </a:lnTo>
                  <a:lnTo>
                    <a:pt x="512953" y="272922"/>
                  </a:lnTo>
                  <a:lnTo>
                    <a:pt x="511048" y="272034"/>
                  </a:lnTo>
                  <a:lnTo>
                    <a:pt x="509015" y="271144"/>
                  </a:lnTo>
                  <a:lnTo>
                    <a:pt x="507238" y="270001"/>
                  </a:lnTo>
                  <a:lnTo>
                    <a:pt x="505332" y="268732"/>
                  </a:lnTo>
                  <a:lnTo>
                    <a:pt x="503681" y="267335"/>
                  </a:lnTo>
                  <a:lnTo>
                    <a:pt x="502030" y="265810"/>
                  </a:lnTo>
                  <a:lnTo>
                    <a:pt x="500379" y="264032"/>
                  </a:lnTo>
                  <a:lnTo>
                    <a:pt x="498982" y="262128"/>
                  </a:lnTo>
                  <a:lnTo>
                    <a:pt x="497713" y="260350"/>
                  </a:lnTo>
                  <a:lnTo>
                    <a:pt x="496315" y="258317"/>
                  </a:lnTo>
                  <a:lnTo>
                    <a:pt x="495173" y="256159"/>
                  </a:lnTo>
                  <a:lnTo>
                    <a:pt x="494283" y="253872"/>
                  </a:lnTo>
                  <a:lnTo>
                    <a:pt x="439165" y="253872"/>
                  </a:lnTo>
                  <a:lnTo>
                    <a:pt x="438023" y="256159"/>
                  </a:lnTo>
                  <a:lnTo>
                    <a:pt x="436879" y="258317"/>
                  </a:lnTo>
                  <a:lnTo>
                    <a:pt x="435737" y="260350"/>
                  </a:lnTo>
                  <a:lnTo>
                    <a:pt x="434340" y="262128"/>
                  </a:lnTo>
                  <a:lnTo>
                    <a:pt x="432942" y="264032"/>
                  </a:lnTo>
                  <a:lnTo>
                    <a:pt x="431291" y="265810"/>
                  </a:lnTo>
                  <a:lnTo>
                    <a:pt x="429640" y="267335"/>
                  </a:lnTo>
                  <a:lnTo>
                    <a:pt x="427990" y="268732"/>
                  </a:lnTo>
                  <a:lnTo>
                    <a:pt x="426212" y="270001"/>
                  </a:lnTo>
                  <a:lnTo>
                    <a:pt x="424179" y="271144"/>
                  </a:lnTo>
                  <a:lnTo>
                    <a:pt x="422528" y="272034"/>
                  </a:lnTo>
                  <a:lnTo>
                    <a:pt x="420369" y="272922"/>
                  </a:lnTo>
                  <a:lnTo>
                    <a:pt x="418338" y="273431"/>
                  </a:lnTo>
                  <a:lnTo>
                    <a:pt x="416178" y="273938"/>
                  </a:lnTo>
                  <a:lnTo>
                    <a:pt x="414019" y="274319"/>
                  </a:lnTo>
                  <a:lnTo>
                    <a:pt x="411861" y="274319"/>
                  </a:lnTo>
                  <a:lnTo>
                    <a:pt x="409066" y="274066"/>
                  </a:lnTo>
                  <a:lnTo>
                    <a:pt x="406273" y="273685"/>
                  </a:lnTo>
                  <a:lnTo>
                    <a:pt x="403605" y="272922"/>
                  </a:lnTo>
                  <a:lnTo>
                    <a:pt x="401065" y="271907"/>
                  </a:lnTo>
                  <a:lnTo>
                    <a:pt x="398653" y="270763"/>
                  </a:lnTo>
                  <a:lnTo>
                    <a:pt x="396240" y="269113"/>
                  </a:lnTo>
                  <a:lnTo>
                    <a:pt x="394080" y="267462"/>
                  </a:lnTo>
                  <a:lnTo>
                    <a:pt x="391922" y="265557"/>
                  </a:lnTo>
                  <a:lnTo>
                    <a:pt x="389890" y="263270"/>
                  </a:lnTo>
                  <a:lnTo>
                    <a:pt x="388239" y="260857"/>
                  </a:lnTo>
                  <a:lnTo>
                    <a:pt x="386715" y="258191"/>
                  </a:lnTo>
                  <a:lnTo>
                    <a:pt x="385190" y="255650"/>
                  </a:lnTo>
                  <a:lnTo>
                    <a:pt x="383920" y="252729"/>
                  </a:lnTo>
                  <a:lnTo>
                    <a:pt x="383031" y="249682"/>
                  </a:lnTo>
                  <a:lnTo>
                    <a:pt x="382142" y="246379"/>
                  </a:lnTo>
                  <a:lnTo>
                    <a:pt x="381380" y="243204"/>
                  </a:lnTo>
                  <a:lnTo>
                    <a:pt x="185547" y="243204"/>
                  </a:lnTo>
                  <a:lnTo>
                    <a:pt x="184912" y="246379"/>
                  </a:lnTo>
                  <a:lnTo>
                    <a:pt x="184023" y="249682"/>
                  </a:lnTo>
                  <a:lnTo>
                    <a:pt x="183133" y="252729"/>
                  </a:lnTo>
                  <a:lnTo>
                    <a:pt x="181737" y="255650"/>
                  </a:lnTo>
                  <a:lnTo>
                    <a:pt x="180466" y="258191"/>
                  </a:lnTo>
                  <a:lnTo>
                    <a:pt x="178815" y="260857"/>
                  </a:lnTo>
                  <a:lnTo>
                    <a:pt x="177038" y="263270"/>
                  </a:lnTo>
                  <a:lnTo>
                    <a:pt x="175132" y="265557"/>
                  </a:lnTo>
                  <a:lnTo>
                    <a:pt x="173101" y="267462"/>
                  </a:lnTo>
                  <a:lnTo>
                    <a:pt x="170815" y="269113"/>
                  </a:lnTo>
                  <a:lnTo>
                    <a:pt x="168528" y="270763"/>
                  </a:lnTo>
                  <a:lnTo>
                    <a:pt x="166115" y="271907"/>
                  </a:lnTo>
                  <a:lnTo>
                    <a:pt x="163449" y="272922"/>
                  </a:lnTo>
                  <a:lnTo>
                    <a:pt x="160781" y="273685"/>
                  </a:lnTo>
                  <a:lnTo>
                    <a:pt x="157988" y="274066"/>
                  </a:lnTo>
                  <a:lnTo>
                    <a:pt x="155193" y="274319"/>
                  </a:lnTo>
                  <a:lnTo>
                    <a:pt x="152907" y="274319"/>
                  </a:lnTo>
                  <a:lnTo>
                    <a:pt x="150749" y="273938"/>
                  </a:lnTo>
                  <a:lnTo>
                    <a:pt x="148590" y="273431"/>
                  </a:lnTo>
                  <a:lnTo>
                    <a:pt x="146557" y="272922"/>
                  </a:lnTo>
                  <a:lnTo>
                    <a:pt x="144526" y="272034"/>
                  </a:lnTo>
                  <a:lnTo>
                    <a:pt x="142620" y="271144"/>
                  </a:lnTo>
                  <a:lnTo>
                    <a:pt x="140589" y="269875"/>
                  </a:lnTo>
                  <a:lnTo>
                    <a:pt x="138811" y="268478"/>
                  </a:lnTo>
                  <a:lnTo>
                    <a:pt x="137160" y="267081"/>
                  </a:lnTo>
                  <a:lnTo>
                    <a:pt x="135508" y="265557"/>
                  </a:lnTo>
                  <a:lnTo>
                    <a:pt x="133857" y="263778"/>
                  </a:lnTo>
                  <a:lnTo>
                    <a:pt x="132461" y="262000"/>
                  </a:lnTo>
                  <a:lnTo>
                    <a:pt x="131064" y="259969"/>
                  </a:lnTo>
                  <a:lnTo>
                    <a:pt x="129793" y="257937"/>
                  </a:lnTo>
                  <a:lnTo>
                    <a:pt x="128651" y="255778"/>
                  </a:lnTo>
                  <a:lnTo>
                    <a:pt x="127762" y="253619"/>
                  </a:lnTo>
                  <a:lnTo>
                    <a:pt x="75945" y="253619"/>
                  </a:lnTo>
                  <a:lnTo>
                    <a:pt x="74929" y="255778"/>
                  </a:lnTo>
                  <a:lnTo>
                    <a:pt x="73787" y="257937"/>
                  </a:lnTo>
                  <a:lnTo>
                    <a:pt x="72643" y="259969"/>
                  </a:lnTo>
                  <a:lnTo>
                    <a:pt x="71119" y="262000"/>
                  </a:lnTo>
                  <a:lnTo>
                    <a:pt x="69850" y="263778"/>
                  </a:lnTo>
                  <a:lnTo>
                    <a:pt x="68199" y="265557"/>
                  </a:lnTo>
                  <a:lnTo>
                    <a:pt x="66548" y="267081"/>
                  </a:lnTo>
                  <a:lnTo>
                    <a:pt x="64769" y="268478"/>
                  </a:lnTo>
                  <a:lnTo>
                    <a:pt x="62991" y="269875"/>
                  </a:lnTo>
                  <a:lnTo>
                    <a:pt x="61087" y="271144"/>
                  </a:lnTo>
                  <a:lnTo>
                    <a:pt x="59181" y="272034"/>
                  </a:lnTo>
                  <a:lnTo>
                    <a:pt x="57023" y="272922"/>
                  </a:lnTo>
                  <a:lnTo>
                    <a:pt x="55117" y="273431"/>
                  </a:lnTo>
                  <a:lnTo>
                    <a:pt x="52958" y="273938"/>
                  </a:lnTo>
                  <a:lnTo>
                    <a:pt x="50673" y="274319"/>
                  </a:lnTo>
                  <a:lnTo>
                    <a:pt x="48514" y="274319"/>
                  </a:lnTo>
                  <a:lnTo>
                    <a:pt x="45212" y="274066"/>
                  </a:lnTo>
                  <a:lnTo>
                    <a:pt x="42290" y="273431"/>
                  </a:lnTo>
                  <a:lnTo>
                    <a:pt x="39369" y="272669"/>
                  </a:lnTo>
                  <a:lnTo>
                    <a:pt x="36449" y="271398"/>
                  </a:lnTo>
                  <a:lnTo>
                    <a:pt x="33781" y="269875"/>
                  </a:lnTo>
                  <a:lnTo>
                    <a:pt x="31241" y="267842"/>
                  </a:lnTo>
                  <a:lnTo>
                    <a:pt x="28828" y="265557"/>
                  </a:lnTo>
                  <a:lnTo>
                    <a:pt x="26669" y="263270"/>
                  </a:lnTo>
                  <a:lnTo>
                    <a:pt x="24765" y="260603"/>
                  </a:lnTo>
                  <a:lnTo>
                    <a:pt x="22987" y="257556"/>
                  </a:lnTo>
                  <a:lnTo>
                    <a:pt x="21463" y="254507"/>
                  </a:lnTo>
                  <a:lnTo>
                    <a:pt x="20192" y="251332"/>
                  </a:lnTo>
                  <a:lnTo>
                    <a:pt x="18923" y="247776"/>
                  </a:lnTo>
                  <a:lnTo>
                    <a:pt x="18415" y="244094"/>
                  </a:lnTo>
                  <a:lnTo>
                    <a:pt x="17906" y="240410"/>
                  </a:lnTo>
                  <a:lnTo>
                    <a:pt x="17779" y="236473"/>
                  </a:lnTo>
                  <a:lnTo>
                    <a:pt x="17779" y="234188"/>
                  </a:lnTo>
                  <a:lnTo>
                    <a:pt x="17906" y="231901"/>
                  </a:lnTo>
                  <a:lnTo>
                    <a:pt x="18161" y="229488"/>
                  </a:lnTo>
                  <a:lnTo>
                    <a:pt x="18541" y="227457"/>
                  </a:lnTo>
                  <a:lnTo>
                    <a:pt x="551433" y="227457"/>
                  </a:lnTo>
                  <a:close/>
                  <a:moveTo>
                    <a:pt x="-8746618" y="233476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53" name="Freeform 1453"/>
            <p:cNvSpPr/>
            <p:nvPr/>
          </p:nvSpPr>
          <p:spPr>
            <a:xfrm>
              <a:off x="11028145" y="3586329"/>
              <a:ext cx="274177" cy="27417"/>
            </a:xfrm>
            <a:custGeom>
              <a:avLst/>
              <a:gdLst/>
              <a:ahLst/>
              <a:cxnLst/>
              <a:rect l="0" t="0" r="0" b="0"/>
              <a:pathLst>
                <a:path w="274320" h="27431">
                  <a:moveTo>
                    <a:pt x="243079" y="27431"/>
                  </a:moveTo>
                  <a:lnTo>
                    <a:pt x="243079" y="27431"/>
                  </a:lnTo>
                  <a:lnTo>
                    <a:pt x="234950" y="26669"/>
                  </a:lnTo>
                  <a:lnTo>
                    <a:pt x="227966" y="24256"/>
                  </a:lnTo>
                  <a:lnTo>
                    <a:pt x="221870" y="20319"/>
                  </a:lnTo>
                  <a:lnTo>
                    <a:pt x="216790" y="15620"/>
                  </a:lnTo>
                  <a:lnTo>
                    <a:pt x="211836" y="20319"/>
                  </a:lnTo>
                  <a:lnTo>
                    <a:pt x="205741" y="24256"/>
                  </a:lnTo>
                  <a:lnTo>
                    <a:pt x="198629" y="26669"/>
                  </a:lnTo>
                  <a:lnTo>
                    <a:pt x="190628" y="27431"/>
                  </a:lnTo>
                  <a:lnTo>
                    <a:pt x="182499" y="26669"/>
                  </a:lnTo>
                  <a:lnTo>
                    <a:pt x="175515" y="24256"/>
                  </a:lnTo>
                  <a:lnTo>
                    <a:pt x="168403" y="20319"/>
                  </a:lnTo>
                  <a:lnTo>
                    <a:pt x="164339" y="15620"/>
                  </a:lnTo>
                  <a:lnTo>
                    <a:pt x="159385" y="20319"/>
                  </a:lnTo>
                  <a:lnTo>
                    <a:pt x="153290" y="24256"/>
                  </a:lnTo>
                  <a:lnTo>
                    <a:pt x="145289" y="26669"/>
                  </a:lnTo>
                  <a:lnTo>
                    <a:pt x="137160" y="27431"/>
                  </a:lnTo>
                  <a:lnTo>
                    <a:pt x="129032" y="26669"/>
                  </a:lnTo>
                  <a:lnTo>
                    <a:pt x="122047" y="24256"/>
                  </a:lnTo>
                  <a:lnTo>
                    <a:pt x="115952" y="20319"/>
                  </a:lnTo>
                  <a:lnTo>
                    <a:pt x="110998" y="15620"/>
                  </a:lnTo>
                  <a:lnTo>
                    <a:pt x="105919" y="20319"/>
                  </a:lnTo>
                  <a:lnTo>
                    <a:pt x="99822" y="24256"/>
                  </a:lnTo>
                  <a:lnTo>
                    <a:pt x="92837" y="26669"/>
                  </a:lnTo>
                  <a:lnTo>
                    <a:pt x="84709" y="27431"/>
                  </a:lnTo>
                  <a:lnTo>
                    <a:pt x="76708" y="26669"/>
                  </a:lnTo>
                  <a:lnTo>
                    <a:pt x="68581" y="24256"/>
                  </a:lnTo>
                  <a:lnTo>
                    <a:pt x="62484" y="20319"/>
                  </a:lnTo>
                  <a:lnTo>
                    <a:pt x="57532" y="15620"/>
                  </a:lnTo>
                  <a:lnTo>
                    <a:pt x="52452" y="20319"/>
                  </a:lnTo>
                  <a:lnTo>
                    <a:pt x="46356" y="24256"/>
                  </a:lnTo>
                  <a:lnTo>
                    <a:pt x="39370" y="26669"/>
                  </a:lnTo>
                  <a:lnTo>
                    <a:pt x="31243" y="27431"/>
                  </a:lnTo>
                  <a:lnTo>
                    <a:pt x="25273" y="26669"/>
                  </a:lnTo>
                  <a:lnTo>
                    <a:pt x="19178" y="25907"/>
                  </a:lnTo>
                  <a:lnTo>
                    <a:pt x="14097" y="23494"/>
                  </a:lnTo>
                  <a:lnTo>
                    <a:pt x="9018" y="20319"/>
                  </a:lnTo>
                  <a:lnTo>
                    <a:pt x="5081" y="16510"/>
                  </a:lnTo>
                  <a:lnTo>
                    <a:pt x="3048" y="12573"/>
                  </a:lnTo>
                  <a:lnTo>
                    <a:pt x="1017" y="7874"/>
                  </a:lnTo>
                  <a:lnTo>
                    <a:pt x="0" y="3175"/>
                  </a:lnTo>
                  <a:lnTo>
                    <a:pt x="0" y="0"/>
                  </a:lnTo>
                  <a:lnTo>
                    <a:pt x="9018" y="0"/>
                  </a:lnTo>
                  <a:lnTo>
                    <a:pt x="9018" y="3175"/>
                  </a:lnTo>
                  <a:lnTo>
                    <a:pt x="10033" y="7112"/>
                  </a:lnTo>
                  <a:lnTo>
                    <a:pt x="11049" y="10160"/>
                  </a:lnTo>
                  <a:lnTo>
                    <a:pt x="13082" y="12573"/>
                  </a:lnTo>
                  <a:lnTo>
                    <a:pt x="16130" y="15620"/>
                  </a:lnTo>
                  <a:lnTo>
                    <a:pt x="19178" y="17271"/>
                  </a:lnTo>
                  <a:lnTo>
                    <a:pt x="23242" y="18795"/>
                  </a:lnTo>
                  <a:lnTo>
                    <a:pt x="27179" y="19557"/>
                  </a:lnTo>
                  <a:lnTo>
                    <a:pt x="31243" y="20319"/>
                  </a:lnTo>
                  <a:lnTo>
                    <a:pt x="35307" y="19557"/>
                  </a:lnTo>
                  <a:lnTo>
                    <a:pt x="40386" y="18795"/>
                  </a:lnTo>
                  <a:lnTo>
                    <a:pt x="43307" y="17271"/>
                  </a:lnTo>
                  <a:lnTo>
                    <a:pt x="46356" y="15620"/>
                  </a:lnTo>
                  <a:lnTo>
                    <a:pt x="49404" y="12573"/>
                  </a:lnTo>
                  <a:lnTo>
                    <a:pt x="51435" y="10160"/>
                  </a:lnTo>
                  <a:lnTo>
                    <a:pt x="52452" y="7112"/>
                  </a:lnTo>
                  <a:lnTo>
                    <a:pt x="53468" y="3175"/>
                  </a:lnTo>
                  <a:lnTo>
                    <a:pt x="62484" y="3175"/>
                  </a:lnTo>
                  <a:lnTo>
                    <a:pt x="62484" y="7112"/>
                  </a:lnTo>
                  <a:lnTo>
                    <a:pt x="64517" y="10160"/>
                  </a:lnTo>
                  <a:lnTo>
                    <a:pt x="66548" y="12573"/>
                  </a:lnTo>
                  <a:lnTo>
                    <a:pt x="68581" y="15620"/>
                  </a:lnTo>
                  <a:lnTo>
                    <a:pt x="71629" y="17271"/>
                  </a:lnTo>
                  <a:lnTo>
                    <a:pt x="75693" y="18795"/>
                  </a:lnTo>
                  <a:lnTo>
                    <a:pt x="79630" y="19557"/>
                  </a:lnTo>
                  <a:lnTo>
                    <a:pt x="84709" y="20319"/>
                  </a:lnTo>
                  <a:lnTo>
                    <a:pt x="88773" y="19557"/>
                  </a:lnTo>
                  <a:lnTo>
                    <a:pt x="92837" y="18795"/>
                  </a:lnTo>
                  <a:lnTo>
                    <a:pt x="96774" y="17271"/>
                  </a:lnTo>
                  <a:lnTo>
                    <a:pt x="99822" y="15620"/>
                  </a:lnTo>
                  <a:lnTo>
                    <a:pt x="102870" y="12573"/>
                  </a:lnTo>
                  <a:lnTo>
                    <a:pt x="104903" y="10160"/>
                  </a:lnTo>
                  <a:lnTo>
                    <a:pt x="105919" y="7112"/>
                  </a:lnTo>
                  <a:lnTo>
                    <a:pt x="105919" y="3175"/>
                  </a:lnTo>
                  <a:lnTo>
                    <a:pt x="114935" y="3175"/>
                  </a:lnTo>
                  <a:lnTo>
                    <a:pt x="115952" y="7112"/>
                  </a:lnTo>
                  <a:lnTo>
                    <a:pt x="116968" y="10160"/>
                  </a:lnTo>
                  <a:lnTo>
                    <a:pt x="118999" y="12573"/>
                  </a:lnTo>
                  <a:lnTo>
                    <a:pt x="122047" y="15620"/>
                  </a:lnTo>
                  <a:lnTo>
                    <a:pt x="125095" y="17271"/>
                  </a:lnTo>
                  <a:lnTo>
                    <a:pt x="129032" y="18795"/>
                  </a:lnTo>
                  <a:lnTo>
                    <a:pt x="133096" y="19557"/>
                  </a:lnTo>
                  <a:lnTo>
                    <a:pt x="137160" y="20319"/>
                  </a:lnTo>
                  <a:lnTo>
                    <a:pt x="142241" y="19557"/>
                  </a:lnTo>
                  <a:lnTo>
                    <a:pt x="146178" y="18795"/>
                  </a:lnTo>
                  <a:lnTo>
                    <a:pt x="149225" y="17271"/>
                  </a:lnTo>
                  <a:lnTo>
                    <a:pt x="153290" y="15620"/>
                  </a:lnTo>
                  <a:lnTo>
                    <a:pt x="155321" y="12573"/>
                  </a:lnTo>
                  <a:lnTo>
                    <a:pt x="157354" y="10160"/>
                  </a:lnTo>
                  <a:lnTo>
                    <a:pt x="159385" y="7112"/>
                  </a:lnTo>
                  <a:lnTo>
                    <a:pt x="159385" y="3175"/>
                  </a:lnTo>
                  <a:lnTo>
                    <a:pt x="168403" y="3175"/>
                  </a:lnTo>
                  <a:lnTo>
                    <a:pt x="168403" y="7112"/>
                  </a:lnTo>
                  <a:lnTo>
                    <a:pt x="170434" y="10160"/>
                  </a:lnTo>
                  <a:lnTo>
                    <a:pt x="172467" y="12573"/>
                  </a:lnTo>
                  <a:lnTo>
                    <a:pt x="174498" y="15620"/>
                  </a:lnTo>
                  <a:lnTo>
                    <a:pt x="178562" y="17271"/>
                  </a:lnTo>
                  <a:lnTo>
                    <a:pt x="181483" y="18795"/>
                  </a:lnTo>
                  <a:lnTo>
                    <a:pt x="185547" y="19557"/>
                  </a:lnTo>
                  <a:lnTo>
                    <a:pt x="190628" y="20319"/>
                  </a:lnTo>
                  <a:lnTo>
                    <a:pt x="194692" y="19557"/>
                  </a:lnTo>
                  <a:lnTo>
                    <a:pt x="198629" y="18795"/>
                  </a:lnTo>
                  <a:lnTo>
                    <a:pt x="202693" y="17271"/>
                  </a:lnTo>
                  <a:lnTo>
                    <a:pt x="205741" y="15620"/>
                  </a:lnTo>
                  <a:lnTo>
                    <a:pt x="208789" y="12573"/>
                  </a:lnTo>
                  <a:lnTo>
                    <a:pt x="210820" y="10160"/>
                  </a:lnTo>
                  <a:lnTo>
                    <a:pt x="211836" y="7112"/>
                  </a:lnTo>
                  <a:lnTo>
                    <a:pt x="212853" y="3175"/>
                  </a:lnTo>
                  <a:lnTo>
                    <a:pt x="221870" y="3175"/>
                  </a:lnTo>
                  <a:lnTo>
                    <a:pt x="221870" y="7112"/>
                  </a:lnTo>
                  <a:lnTo>
                    <a:pt x="222885" y="10160"/>
                  </a:lnTo>
                  <a:lnTo>
                    <a:pt x="224918" y="12573"/>
                  </a:lnTo>
                  <a:lnTo>
                    <a:pt x="227966" y="15620"/>
                  </a:lnTo>
                  <a:lnTo>
                    <a:pt x="231014" y="17271"/>
                  </a:lnTo>
                  <a:lnTo>
                    <a:pt x="234950" y="18795"/>
                  </a:lnTo>
                  <a:lnTo>
                    <a:pt x="239015" y="19557"/>
                  </a:lnTo>
                  <a:lnTo>
                    <a:pt x="243079" y="20319"/>
                  </a:lnTo>
                  <a:lnTo>
                    <a:pt x="248158" y="19557"/>
                  </a:lnTo>
                  <a:lnTo>
                    <a:pt x="252095" y="18795"/>
                  </a:lnTo>
                  <a:lnTo>
                    <a:pt x="256159" y="17271"/>
                  </a:lnTo>
                  <a:lnTo>
                    <a:pt x="259207" y="15620"/>
                  </a:lnTo>
                  <a:lnTo>
                    <a:pt x="261240" y="12573"/>
                  </a:lnTo>
                  <a:lnTo>
                    <a:pt x="263271" y="10160"/>
                  </a:lnTo>
                  <a:lnTo>
                    <a:pt x="265304" y="7112"/>
                  </a:lnTo>
                  <a:lnTo>
                    <a:pt x="265304" y="3175"/>
                  </a:lnTo>
                  <a:lnTo>
                    <a:pt x="265304" y="0"/>
                  </a:lnTo>
                  <a:lnTo>
                    <a:pt x="274320" y="0"/>
                  </a:lnTo>
                  <a:lnTo>
                    <a:pt x="274320" y="3175"/>
                  </a:lnTo>
                  <a:lnTo>
                    <a:pt x="274320" y="7874"/>
                  </a:lnTo>
                  <a:lnTo>
                    <a:pt x="272289" y="12573"/>
                  </a:lnTo>
                  <a:lnTo>
                    <a:pt x="269241" y="16510"/>
                  </a:lnTo>
                  <a:lnTo>
                    <a:pt x="265304" y="20319"/>
                  </a:lnTo>
                  <a:lnTo>
                    <a:pt x="261240" y="23494"/>
                  </a:lnTo>
                  <a:lnTo>
                    <a:pt x="255144" y="25907"/>
                  </a:lnTo>
                  <a:lnTo>
                    <a:pt x="250064" y="26669"/>
                  </a:lnTo>
                  <a:lnTo>
                    <a:pt x="243079" y="27431"/>
                  </a:lnTo>
                  <a:close/>
                  <a:moveTo>
                    <a:pt x="-7662671" y="3395471"/>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54" name="Freeform 1454"/>
            <p:cNvSpPr/>
            <p:nvPr/>
          </p:nvSpPr>
          <p:spPr>
            <a:xfrm>
              <a:off x="11003773" y="3415455"/>
              <a:ext cx="322920" cy="173647"/>
            </a:xfrm>
            <a:custGeom>
              <a:avLst/>
              <a:gdLst/>
              <a:ahLst/>
              <a:cxnLst/>
              <a:rect l="0" t="0" r="0" b="0"/>
              <a:pathLst>
                <a:path w="323088" h="173737">
                  <a:moveTo>
                    <a:pt x="256286" y="173737"/>
                  </a:moveTo>
                  <a:lnTo>
                    <a:pt x="248157" y="170562"/>
                  </a:lnTo>
                  <a:lnTo>
                    <a:pt x="310895" y="62231"/>
                  </a:lnTo>
                  <a:lnTo>
                    <a:pt x="162052" y="8129"/>
                  </a:lnTo>
                  <a:lnTo>
                    <a:pt x="12191" y="62231"/>
                  </a:lnTo>
                  <a:lnTo>
                    <a:pt x="73914" y="170562"/>
                  </a:lnTo>
                  <a:lnTo>
                    <a:pt x="65786" y="173737"/>
                  </a:lnTo>
                  <a:lnTo>
                    <a:pt x="0" y="58929"/>
                  </a:lnTo>
                  <a:lnTo>
                    <a:pt x="162052" y="0"/>
                  </a:lnTo>
                  <a:lnTo>
                    <a:pt x="323088" y="58929"/>
                  </a:lnTo>
                  <a:lnTo>
                    <a:pt x="256286" y="173737"/>
                  </a:lnTo>
                  <a:close/>
                  <a:moveTo>
                    <a:pt x="-7601713" y="3578352"/>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55" name="Freeform 1455"/>
            <p:cNvSpPr/>
            <p:nvPr/>
          </p:nvSpPr>
          <p:spPr>
            <a:xfrm>
              <a:off x="11159141" y="3418501"/>
              <a:ext cx="9138" cy="167553"/>
            </a:xfrm>
            <a:custGeom>
              <a:avLst/>
              <a:gdLst/>
              <a:ahLst/>
              <a:cxnLst/>
              <a:rect l="0" t="0" r="0" b="0"/>
              <a:pathLst>
                <a:path w="9143" h="167640">
                  <a:moveTo>
                    <a:pt x="0" y="167640"/>
                  </a:moveTo>
                  <a:lnTo>
                    <a:pt x="9143" y="167640"/>
                  </a:lnTo>
                  <a:lnTo>
                    <a:pt x="9143" y="0"/>
                  </a:lnTo>
                  <a:lnTo>
                    <a:pt x="0" y="0"/>
                  </a:lnTo>
                  <a:lnTo>
                    <a:pt x="0" y="167640"/>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56" name="Freeform 1456"/>
            <p:cNvSpPr/>
            <p:nvPr/>
          </p:nvSpPr>
          <p:spPr>
            <a:xfrm>
              <a:off x="11055563" y="3384991"/>
              <a:ext cx="219343" cy="73115"/>
            </a:xfrm>
            <a:custGeom>
              <a:avLst/>
              <a:gdLst/>
              <a:ahLst/>
              <a:cxnLst/>
              <a:rect l="0" t="0" r="0" b="0"/>
              <a:pathLst>
                <a:path w="219457" h="73153">
                  <a:moveTo>
                    <a:pt x="219457" y="73153"/>
                  </a:moveTo>
                  <a:lnTo>
                    <a:pt x="210313" y="73153"/>
                  </a:lnTo>
                  <a:lnTo>
                    <a:pt x="210313" y="11430"/>
                  </a:lnTo>
                  <a:lnTo>
                    <a:pt x="209297" y="9779"/>
                  </a:lnTo>
                  <a:lnTo>
                    <a:pt x="208280" y="8129"/>
                  </a:lnTo>
                  <a:lnTo>
                    <a:pt x="207264" y="7367"/>
                  </a:lnTo>
                  <a:lnTo>
                    <a:pt x="205360" y="7367"/>
                  </a:lnTo>
                  <a:lnTo>
                    <a:pt x="14098" y="7367"/>
                  </a:lnTo>
                  <a:lnTo>
                    <a:pt x="12192" y="7367"/>
                  </a:lnTo>
                  <a:lnTo>
                    <a:pt x="10161" y="8129"/>
                  </a:lnTo>
                  <a:lnTo>
                    <a:pt x="9145" y="9779"/>
                  </a:lnTo>
                  <a:lnTo>
                    <a:pt x="9145" y="11430"/>
                  </a:lnTo>
                  <a:lnTo>
                    <a:pt x="9145" y="73153"/>
                  </a:lnTo>
                  <a:lnTo>
                    <a:pt x="0" y="73153"/>
                  </a:lnTo>
                  <a:lnTo>
                    <a:pt x="0" y="11430"/>
                  </a:lnTo>
                  <a:lnTo>
                    <a:pt x="1016" y="7367"/>
                  </a:lnTo>
                  <a:lnTo>
                    <a:pt x="4064" y="3303"/>
                  </a:lnTo>
                  <a:lnTo>
                    <a:pt x="8128" y="762"/>
                  </a:lnTo>
                  <a:lnTo>
                    <a:pt x="14098" y="0"/>
                  </a:lnTo>
                  <a:lnTo>
                    <a:pt x="205360" y="0"/>
                  </a:lnTo>
                  <a:lnTo>
                    <a:pt x="210313" y="762"/>
                  </a:lnTo>
                  <a:lnTo>
                    <a:pt x="215392" y="3303"/>
                  </a:lnTo>
                  <a:lnTo>
                    <a:pt x="218440" y="7367"/>
                  </a:lnTo>
                  <a:lnTo>
                    <a:pt x="219457" y="11430"/>
                  </a:lnTo>
                  <a:lnTo>
                    <a:pt x="219457" y="73153"/>
                  </a:lnTo>
                  <a:close/>
                  <a:moveTo>
                    <a:pt x="-7522464" y="3608832"/>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57" name="Freeform 1457"/>
            <p:cNvSpPr/>
            <p:nvPr/>
          </p:nvSpPr>
          <p:spPr>
            <a:xfrm>
              <a:off x="11098212" y="3360620"/>
              <a:ext cx="130996" cy="33510"/>
            </a:xfrm>
            <a:custGeom>
              <a:avLst/>
              <a:gdLst/>
              <a:ahLst/>
              <a:cxnLst/>
              <a:rect l="0" t="0" r="0" b="0"/>
              <a:pathLst>
                <a:path w="131064" h="33527">
                  <a:moveTo>
                    <a:pt x="131064" y="33527"/>
                  </a:moveTo>
                  <a:lnTo>
                    <a:pt x="0" y="33527"/>
                  </a:lnTo>
                  <a:lnTo>
                    <a:pt x="0" y="11175"/>
                  </a:lnTo>
                  <a:lnTo>
                    <a:pt x="1015" y="6857"/>
                  </a:lnTo>
                  <a:lnTo>
                    <a:pt x="3937" y="3429"/>
                  </a:lnTo>
                  <a:lnTo>
                    <a:pt x="8001" y="888"/>
                  </a:lnTo>
                  <a:lnTo>
                    <a:pt x="12953" y="0"/>
                  </a:lnTo>
                  <a:lnTo>
                    <a:pt x="119126" y="0"/>
                  </a:lnTo>
                  <a:lnTo>
                    <a:pt x="123063" y="888"/>
                  </a:lnTo>
                  <a:lnTo>
                    <a:pt x="127127" y="3429"/>
                  </a:lnTo>
                  <a:lnTo>
                    <a:pt x="130048" y="6857"/>
                  </a:lnTo>
                  <a:lnTo>
                    <a:pt x="131064" y="11175"/>
                  </a:lnTo>
                  <a:lnTo>
                    <a:pt x="131064" y="33527"/>
                  </a:lnTo>
                  <a:close/>
                  <a:moveTo>
                    <a:pt x="-7501128" y="3633215"/>
                  </a:moveTo>
                  <a:moveTo>
                    <a:pt x="8890" y="25781"/>
                  </a:moveTo>
                  <a:lnTo>
                    <a:pt x="122174" y="25781"/>
                  </a:lnTo>
                  <a:lnTo>
                    <a:pt x="122174" y="11175"/>
                  </a:lnTo>
                  <a:lnTo>
                    <a:pt x="121157" y="8636"/>
                  </a:lnTo>
                  <a:lnTo>
                    <a:pt x="119126" y="7746"/>
                  </a:lnTo>
                  <a:lnTo>
                    <a:pt x="12953" y="7746"/>
                  </a:lnTo>
                  <a:lnTo>
                    <a:pt x="9905" y="8636"/>
                  </a:lnTo>
                  <a:lnTo>
                    <a:pt x="8890" y="11175"/>
                  </a:lnTo>
                  <a:lnTo>
                    <a:pt x="8890" y="25781"/>
                  </a:lnTo>
                  <a:close/>
                  <a:moveTo>
                    <a:pt x="-7493382" y="3633215"/>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58" name="Freeform 1458"/>
            <p:cNvSpPr/>
            <p:nvPr/>
          </p:nvSpPr>
          <p:spPr>
            <a:xfrm>
              <a:off x="11159141" y="3321017"/>
              <a:ext cx="9138" cy="48743"/>
            </a:xfrm>
            <a:custGeom>
              <a:avLst/>
              <a:gdLst/>
              <a:ahLst/>
              <a:cxnLst/>
              <a:rect l="0" t="0" r="0" b="0"/>
              <a:pathLst>
                <a:path w="9143" h="48768">
                  <a:moveTo>
                    <a:pt x="0" y="48768"/>
                  </a:moveTo>
                  <a:lnTo>
                    <a:pt x="9143" y="48768"/>
                  </a:lnTo>
                  <a:lnTo>
                    <a:pt x="9143" y="0"/>
                  </a:lnTo>
                  <a:lnTo>
                    <a:pt x="0" y="0"/>
                  </a:lnTo>
                  <a:lnTo>
                    <a:pt x="0" y="48768"/>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59" name="Freeform 1459"/>
            <p:cNvSpPr/>
            <p:nvPr/>
          </p:nvSpPr>
          <p:spPr>
            <a:xfrm>
              <a:off x="11046424" y="3473337"/>
              <a:ext cx="36557" cy="30465"/>
            </a:xfrm>
            <a:custGeom>
              <a:avLst/>
              <a:gdLst/>
              <a:ahLst/>
              <a:cxnLst/>
              <a:rect l="0" t="0" r="0" b="0"/>
              <a:pathLst>
                <a:path w="36576" h="30481">
                  <a:moveTo>
                    <a:pt x="18288" y="30481"/>
                  </a:moveTo>
                  <a:lnTo>
                    <a:pt x="18288" y="30481"/>
                  </a:lnTo>
                  <a:lnTo>
                    <a:pt x="14223" y="29719"/>
                  </a:lnTo>
                  <a:lnTo>
                    <a:pt x="11176" y="28830"/>
                  </a:lnTo>
                  <a:lnTo>
                    <a:pt x="8128" y="28068"/>
                  </a:lnTo>
                  <a:lnTo>
                    <a:pt x="5080" y="25527"/>
                  </a:lnTo>
                  <a:lnTo>
                    <a:pt x="3047" y="23876"/>
                  </a:lnTo>
                  <a:lnTo>
                    <a:pt x="1016" y="21463"/>
                  </a:lnTo>
                  <a:lnTo>
                    <a:pt x="0" y="18162"/>
                  </a:lnTo>
                  <a:lnTo>
                    <a:pt x="0" y="14860"/>
                  </a:lnTo>
                  <a:lnTo>
                    <a:pt x="0" y="12319"/>
                  </a:lnTo>
                  <a:lnTo>
                    <a:pt x="1016" y="9018"/>
                  </a:lnTo>
                  <a:lnTo>
                    <a:pt x="3047" y="6605"/>
                  </a:lnTo>
                  <a:lnTo>
                    <a:pt x="5080" y="4064"/>
                  </a:lnTo>
                  <a:lnTo>
                    <a:pt x="8128" y="2413"/>
                  </a:lnTo>
                  <a:lnTo>
                    <a:pt x="11176" y="762"/>
                  </a:lnTo>
                  <a:lnTo>
                    <a:pt x="14223" y="0"/>
                  </a:lnTo>
                  <a:lnTo>
                    <a:pt x="18288" y="0"/>
                  </a:lnTo>
                  <a:lnTo>
                    <a:pt x="22352" y="0"/>
                  </a:lnTo>
                  <a:lnTo>
                    <a:pt x="25400" y="762"/>
                  </a:lnTo>
                  <a:lnTo>
                    <a:pt x="28447" y="2413"/>
                  </a:lnTo>
                  <a:lnTo>
                    <a:pt x="31495" y="4064"/>
                  </a:lnTo>
                  <a:lnTo>
                    <a:pt x="33528" y="6605"/>
                  </a:lnTo>
                  <a:lnTo>
                    <a:pt x="35559" y="9018"/>
                  </a:lnTo>
                  <a:lnTo>
                    <a:pt x="36576" y="12319"/>
                  </a:lnTo>
                  <a:lnTo>
                    <a:pt x="36576" y="14860"/>
                  </a:lnTo>
                  <a:lnTo>
                    <a:pt x="36576" y="18162"/>
                  </a:lnTo>
                  <a:lnTo>
                    <a:pt x="35559" y="21463"/>
                  </a:lnTo>
                  <a:lnTo>
                    <a:pt x="33528" y="23876"/>
                  </a:lnTo>
                  <a:lnTo>
                    <a:pt x="31495" y="25527"/>
                  </a:lnTo>
                  <a:lnTo>
                    <a:pt x="28447" y="28068"/>
                  </a:lnTo>
                  <a:lnTo>
                    <a:pt x="25400" y="28830"/>
                  </a:lnTo>
                  <a:lnTo>
                    <a:pt x="22352" y="29719"/>
                  </a:lnTo>
                  <a:lnTo>
                    <a:pt x="18288" y="30481"/>
                  </a:lnTo>
                  <a:close/>
                  <a:moveTo>
                    <a:pt x="-7559041" y="3520440"/>
                  </a:moveTo>
                  <a:moveTo>
                    <a:pt x="18288" y="7367"/>
                  </a:moveTo>
                  <a:lnTo>
                    <a:pt x="18288" y="7367"/>
                  </a:lnTo>
                  <a:lnTo>
                    <a:pt x="14223" y="8256"/>
                  </a:lnTo>
                  <a:lnTo>
                    <a:pt x="11176" y="9906"/>
                  </a:lnTo>
                  <a:lnTo>
                    <a:pt x="9143" y="12319"/>
                  </a:lnTo>
                  <a:lnTo>
                    <a:pt x="9143" y="14860"/>
                  </a:lnTo>
                  <a:lnTo>
                    <a:pt x="9143" y="18162"/>
                  </a:lnTo>
                  <a:lnTo>
                    <a:pt x="11176" y="20575"/>
                  </a:lnTo>
                  <a:lnTo>
                    <a:pt x="14223" y="22225"/>
                  </a:lnTo>
                  <a:lnTo>
                    <a:pt x="18288" y="23114"/>
                  </a:lnTo>
                  <a:lnTo>
                    <a:pt x="22352" y="22225"/>
                  </a:lnTo>
                  <a:lnTo>
                    <a:pt x="25400" y="20575"/>
                  </a:lnTo>
                  <a:lnTo>
                    <a:pt x="27431" y="18162"/>
                  </a:lnTo>
                  <a:lnTo>
                    <a:pt x="27431" y="14860"/>
                  </a:lnTo>
                  <a:lnTo>
                    <a:pt x="27431" y="12319"/>
                  </a:lnTo>
                  <a:lnTo>
                    <a:pt x="25400" y="9906"/>
                  </a:lnTo>
                  <a:lnTo>
                    <a:pt x="22352" y="8256"/>
                  </a:lnTo>
                  <a:lnTo>
                    <a:pt x="18288" y="7367"/>
                  </a:lnTo>
                  <a:close/>
                  <a:moveTo>
                    <a:pt x="-7535927" y="352044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60" name="Freeform 1460"/>
            <p:cNvSpPr/>
            <p:nvPr/>
          </p:nvSpPr>
          <p:spPr>
            <a:xfrm>
              <a:off x="11244440" y="3473337"/>
              <a:ext cx="36557" cy="30465"/>
            </a:xfrm>
            <a:custGeom>
              <a:avLst/>
              <a:gdLst/>
              <a:ahLst/>
              <a:cxnLst/>
              <a:rect l="0" t="0" r="0" b="0"/>
              <a:pathLst>
                <a:path w="36576" h="30481">
                  <a:moveTo>
                    <a:pt x="17781" y="30481"/>
                  </a:moveTo>
                  <a:lnTo>
                    <a:pt x="17781" y="30481"/>
                  </a:lnTo>
                  <a:lnTo>
                    <a:pt x="14860" y="29719"/>
                  </a:lnTo>
                  <a:lnTo>
                    <a:pt x="10923" y="28830"/>
                  </a:lnTo>
                  <a:lnTo>
                    <a:pt x="7874" y="28068"/>
                  </a:lnTo>
                  <a:lnTo>
                    <a:pt x="4953" y="25527"/>
                  </a:lnTo>
                  <a:lnTo>
                    <a:pt x="2922" y="23876"/>
                  </a:lnTo>
                  <a:lnTo>
                    <a:pt x="2033" y="21463"/>
                  </a:lnTo>
                  <a:lnTo>
                    <a:pt x="0" y="18162"/>
                  </a:lnTo>
                  <a:lnTo>
                    <a:pt x="0" y="14860"/>
                  </a:lnTo>
                  <a:lnTo>
                    <a:pt x="0" y="12319"/>
                  </a:lnTo>
                  <a:lnTo>
                    <a:pt x="2033" y="9018"/>
                  </a:lnTo>
                  <a:lnTo>
                    <a:pt x="2922" y="6605"/>
                  </a:lnTo>
                  <a:lnTo>
                    <a:pt x="4953" y="4064"/>
                  </a:lnTo>
                  <a:lnTo>
                    <a:pt x="7874" y="2413"/>
                  </a:lnTo>
                  <a:lnTo>
                    <a:pt x="10923" y="762"/>
                  </a:lnTo>
                  <a:lnTo>
                    <a:pt x="14860" y="0"/>
                  </a:lnTo>
                  <a:lnTo>
                    <a:pt x="17781" y="0"/>
                  </a:lnTo>
                  <a:lnTo>
                    <a:pt x="21717" y="0"/>
                  </a:lnTo>
                  <a:lnTo>
                    <a:pt x="25654" y="762"/>
                  </a:lnTo>
                  <a:lnTo>
                    <a:pt x="28702" y="2413"/>
                  </a:lnTo>
                  <a:lnTo>
                    <a:pt x="30608" y="4064"/>
                  </a:lnTo>
                  <a:lnTo>
                    <a:pt x="33656" y="6605"/>
                  </a:lnTo>
                  <a:lnTo>
                    <a:pt x="34545" y="9018"/>
                  </a:lnTo>
                  <a:lnTo>
                    <a:pt x="35561" y="12319"/>
                  </a:lnTo>
                  <a:lnTo>
                    <a:pt x="36576" y="14860"/>
                  </a:lnTo>
                  <a:lnTo>
                    <a:pt x="35561" y="18162"/>
                  </a:lnTo>
                  <a:lnTo>
                    <a:pt x="34545" y="21463"/>
                  </a:lnTo>
                  <a:lnTo>
                    <a:pt x="33656" y="23876"/>
                  </a:lnTo>
                  <a:lnTo>
                    <a:pt x="30608" y="25527"/>
                  </a:lnTo>
                  <a:lnTo>
                    <a:pt x="28702" y="28068"/>
                  </a:lnTo>
                  <a:lnTo>
                    <a:pt x="25654" y="28830"/>
                  </a:lnTo>
                  <a:lnTo>
                    <a:pt x="21717" y="29719"/>
                  </a:lnTo>
                  <a:lnTo>
                    <a:pt x="17781" y="30481"/>
                  </a:lnTo>
                  <a:close/>
                  <a:moveTo>
                    <a:pt x="-7757160" y="3520440"/>
                  </a:moveTo>
                  <a:moveTo>
                    <a:pt x="17781" y="7367"/>
                  </a:moveTo>
                  <a:lnTo>
                    <a:pt x="17781" y="7367"/>
                  </a:lnTo>
                  <a:lnTo>
                    <a:pt x="14860" y="8256"/>
                  </a:lnTo>
                  <a:lnTo>
                    <a:pt x="11812" y="9906"/>
                  </a:lnTo>
                  <a:lnTo>
                    <a:pt x="9907" y="12319"/>
                  </a:lnTo>
                  <a:lnTo>
                    <a:pt x="8890" y="14860"/>
                  </a:lnTo>
                  <a:lnTo>
                    <a:pt x="9907" y="18162"/>
                  </a:lnTo>
                  <a:lnTo>
                    <a:pt x="11812" y="20575"/>
                  </a:lnTo>
                  <a:lnTo>
                    <a:pt x="14860" y="22225"/>
                  </a:lnTo>
                  <a:lnTo>
                    <a:pt x="17781" y="23114"/>
                  </a:lnTo>
                  <a:lnTo>
                    <a:pt x="21717" y="22225"/>
                  </a:lnTo>
                  <a:lnTo>
                    <a:pt x="24765" y="20575"/>
                  </a:lnTo>
                  <a:lnTo>
                    <a:pt x="26671" y="18162"/>
                  </a:lnTo>
                  <a:lnTo>
                    <a:pt x="27687" y="14860"/>
                  </a:lnTo>
                  <a:lnTo>
                    <a:pt x="26671" y="12319"/>
                  </a:lnTo>
                  <a:lnTo>
                    <a:pt x="24765" y="9906"/>
                  </a:lnTo>
                  <a:lnTo>
                    <a:pt x="21717" y="8256"/>
                  </a:lnTo>
                  <a:lnTo>
                    <a:pt x="17781" y="7367"/>
                  </a:lnTo>
                  <a:close/>
                  <a:moveTo>
                    <a:pt x="-7734046" y="352044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61" name="Freeform 1461"/>
            <p:cNvSpPr/>
            <p:nvPr/>
          </p:nvSpPr>
          <p:spPr>
            <a:xfrm>
              <a:off x="11009865" y="3843312"/>
              <a:ext cx="310734" cy="261992"/>
            </a:xfrm>
            <a:custGeom>
              <a:avLst/>
              <a:gdLst/>
              <a:ahLst/>
              <a:cxnLst/>
              <a:rect l="0" t="0" r="0" b="0"/>
              <a:pathLst>
                <a:path w="310896" h="262128">
                  <a:moveTo>
                    <a:pt x="283083" y="262128"/>
                  </a:moveTo>
                  <a:lnTo>
                    <a:pt x="27813" y="262128"/>
                  </a:lnTo>
                  <a:lnTo>
                    <a:pt x="22225" y="261493"/>
                  </a:lnTo>
                  <a:lnTo>
                    <a:pt x="16637" y="260731"/>
                  </a:lnTo>
                  <a:lnTo>
                    <a:pt x="12193" y="259334"/>
                  </a:lnTo>
                  <a:lnTo>
                    <a:pt x="7747" y="256540"/>
                  </a:lnTo>
                  <a:lnTo>
                    <a:pt x="4445" y="254508"/>
                  </a:lnTo>
                  <a:lnTo>
                    <a:pt x="2159" y="251715"/>
                  </a:lnTo>
                  <a:lnTo>
                    <a:pt x="0" y="248158"/>
                  </a:lnTo>
                  <a:lnTo>
                    <a:pt x="0" y="244730"/>
                  </a:lnTo>
                  <a:lnTo>
                    <a:pt x="0" y="45340"/>
                  </a:lnTo>
                  <a:lnTo>
                    <a:pt x="0" y="41149"/>
                  </a:lnTo>
                  <a:lnTo>
                    <a:pt x="1144" y="36196"/>
                  </a:lnTo>
                  <a:lnTo>
                    <a:pt x="3303" y="32131"/>
                  </a:lnTo>
                  <a:lnTo>
                    <a:pt x="5588" y="27940"/>
                  </a:lnTo>
                  <a:lnTo>
                    <a:pt x="7747" y="23749"/>
                  </a:lnTo>
                  <a:lnTo>
                    <a:pt x="12193" y="20193"/>
                  </a:lnTo>
                  <a:lnTo>
                    <a:pt x="21083" y="13208"/>
                  </a:lnTo>
                  <a:lnTo>
                    <a:pt x="31116" y="7621"/>
                  </a:lnTo>
                  <a:lnTo>
                    <a:pt x="37720" y="5589"/>
                  </a:lnTo>
                  <a:lnTo>
                    <a:pt x="43308" y="3430"/>
                  </a:lnTo>
                  <a:lnTo>
                    <a:pt x="49911" y="2033"/>
                  </a:lnTo>
                  <a:lnTo>
                    <a:pt x="57785" y="1397"/>
                  </a:lnTo>
                  <a:lnTo>
                    <a:pt x="64390" y="636"/>
                  </a:lnTo>
                  <a:lnTo>
                    <a:pt x="72136" y="0"/>
                  </a:lnTo>
                  <a:lnTo>
                    <a:pt x="238760" y="0"/>
                  </a:lnTo>
                  <a:lnTo>
                    <a:pt x="246508" y="636"/>
                  </a:lnTo>
                  <a:lnTo>
                    <a:pt x="253111" y="1397"/>
                  </a:lnTo>
                  <a:lnTo>
                    <a:pt x="259843" y="2033"/>
                  </a:lnTo>
                  <a:lnTo>
                    <a:pt x="266446" y="3430"/>
                  </a:lnTo>
                  <a:lnTo>
                    <a:pt x="273178" y="5589"/>
                  </a:lnTo>
                  <a:lnTo>
                    <a:pt x="278638" y="7621"/>
                  </a:lnTo>
                  <a:lnTo>
                    <a:pt x="289815" y="13208"/>
                  </a:lnTo>
                  <a:lnTo>
                    <a:pt x="298705" y="20193"/>
                  </a:lnTo>
                  <a:lnTo>
                    <a:pt x="302007" y="23749"/>
                  </a:lnTo>
                  <a:lnTo>
                    <a:pt x="305308" y="27940"/>
                  </a:lnTo>
                  <a:lnTo>
                    <a:pt x="307595" y="32131"/>
                  </a:lnTo>
                  <a:lnTo>
                    <a:pt x="309754" y="36196"/>
                  </a:lnTo>
                  <a:lnTo>
                    <a:pt x="310896" y="41149"/>
                  </a:lnTo>
                  <a:lnTo>
                    <a:pt x="310896" y="45340"/>
                  </a:lnTo>
                  <a:lnTo>
                    <a:pt x="310896" y="244730"/>
                  </a:lnTo>
                  <a:lnTo>
                    <a:pt x="310896" y="248158"/>
                  </a:lnTo>
                  <a:lnTo>
                    <a:pt x="308737" y="251715"/>
                  </a:lnTo>
                  <a:lnTo>
                    <a:pt x="306452" y="254508"/>
                  </a:lnTo>
                  <a:lnTo>
                    <a:pt x="303149" y="256540"/>
                  </a:lnTo>
                  <a:lnTo>
                    <a:pt x="298705" y="259334"/>
                  </a:lnTo>
                  <a:lnTo>
                    <a:pt x="294259" y="260731"/>
                  </a:lnTo>
                  <a:lnTo>
                    <a:pt x="288671" y="261493"/>
                  </a:lnTo>
                  <a:lnTo>
                    <a:pt x="283083" y="262128"/>
                  </a:lnTo>
                  <a:close/>
                  <a:moveTo>
                    <a:pt x="-8260079" y="3014472"/>
                  </a:moveTo>
                  <a:moveTo>
                    <a:pt x="72136" y="6224"/>
                  </a:moveTo>
                  <a:lnTo>
                    <a:pt x="72136" y="6224"/>
                  </a:lnTo>
                  <a:lnTo>
                    <a:pt x="58802" y="6986"/>
                  </a:lnTo>
                  <a:lnTo>
                    <a:pt x="47753" y="9780"/>
                  </a:lnTo>
                  <a:lnTo>
                    <a:pt x="36704" y="13208"/>
                  </a:lnTo>
                  <a:lnTo>
                    <a:pt x="27813" y="18162"/>
                  </a:lnTo>
                  <a:lnTo>
                    <a:pt x="19940" y="23749"/>
                  </a:lnTo>
                  <a:lnTo>
                    <a:pt x="14479" y="30734"/>
                  </a:lnTo>
                  <a:lnTo>
                    <a:pt x="11049" y="37593"/>
                  </a:lnTo>
                  <a:lnTo>
                    <a:pt x="10033" y="45340"/>
                  </a:lnTo>
                  <a:lnTo>
                    <a:pt x="10033" y="244730"/>
                  </a:lnTo>
                  <a:lnTo>
                    <a:pt x="10033" y="246762"/>
                  </a:lnTo>
                  <a:lnTo>
                    <a:pt x="11049" y="248921"/>
                  </a:lnTo>
                  <a:lnTo>
                    <a:pt x="14479" y="252349"/>
                  </a:lnTo>
                  <a:lnTo>
                    <a:pt x="19940" y="255143"/>
                  </a:lnTo>
                  <a:lnTo>
                    <a:pt x="23369" y="255143"/>
                  </a:lnTo>
                  <a:lnTo>
                    <a:pt x="27813" y="255905"/>
                  </a:lnTo>
                  <a:lnTo>
                    <a:pt x="283083" y="255905"/>
                  </a:lnTo>
                  <a:lnTo>
                    <a:pt x="286512" y="255143"/>
                  </a:lnTo>
                  <a:lnTo>
                    <a:pt x="289815" y="255143"/>
                  </a:lnTo>
                  <a:lnTo>
                    <a:pt x="296419" y="252349"/>
                  </a:lnTo>
                  <a:lnTo>
                    <a:pt x="299847" y="248921"/>
                  </a:lnTo>
                  <a:lnTo>
                    <a:pt x="300863" y="246762"/>
                  </a:lnTo>
                  <a:lnTo>
                    <a:pt x="300863" y="244730"/>
                  </a:lnTo>
                  <a:lnTo>
                    <a:pt x="300863" y="45340"/>
                  </a:lnTo>
                  <a:lnTo>
                    <a:pt x="299847" y="37593"/>
                  </a:lnTo>
                  <a:lnTo>
                    <a:pt x="296419" y="30734"/>
                  </a:lnTo>
                  <a:lnTo>
                    <a:pt x="290958" y="23749"/>
                  </a:lnTo>
                  <a:lnTo>
                    <a:pt x="283083" y="18162"/>
                  </a:lnTo>
                  <a:lnTo>
                    <a:pt x="273178" y="13208"/>
                  </a:lnTo>
                  <a:lnTo>
                    <a:pt x="263145" y="9780"/>
                  </a:lnTo>
                  <a:lnTo>
                    <a:pt x="250953" y="6986"/>
                  </a:lnTo>
                  <a:lnTo>
                    <a:pt x="238760" y="6224"/>
                  </a:lnTo>
                  <a:lnTo>
                    <a:pt x="72136" y="6224"/>
                  </a:lnTo>
                  <a:close/>
                  <a:moveTo>
                    <a:pt x="-8004175" y="3014472"/>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62" name="Freeform 1462"/>
            <p:cNvSpPr/>
            <p:nvPr/>
          </p:nvSpPr>
          <p:spPr>
            <a:xfrm>
              <a:off x="11009865" y="3989542"/>
              <a:ext cx="310734" cy="33511"/>
            </a:xfrm>
            <a:custGeom>
              <a:avLst/>
              <a:gdLst/>
              <a:ahLst/>
              <a:cxnLst/>
              <a:rect l="0" t="0" r="0" b="0"/>
              <a:pathLst>
                <a:path w="310896" h="33528">
                  <a:moveTo>
                    <a:pt x="155448" y="33528"/>
                  </a:moveTo>
                  <a:lnTo>
                    <a:pt x="155448" y="33528"/>
                  </a:lnTo>
                  <a:lnTo>
                    <a:pt x="126620" y="32766"/>
                  </a:lnTo>
                  <a:lnTo>
                    <a:pt x="98807" y="31369"/>
                  </a:lnTo>
                  <a:lnTo>
                    <a:pt x="73280" y="28575"/>
                  </a:lnTo>
                  <a:lnTo>
                    <a:pt x="48895" y="24384"/>
                  </a:lnTo>
                  <a:lnTo>
                    <a:pt x="38862" y="22351"/>
                  </a:lnTo>
                  <a:lnTo>
                    <a:pt x="28830" y="20192"/>
                  </a:lnTo>
                  <a:lnTo>
                    <a:pt x="19940" y="17398"/>
                  </a:lnTo>
                  <a:lnTo>
                    <a:pt x="13335" y="14604"/>
                  </a:lnTo>
                  <a:lnTo>
                    <a:pt x="7747" y="11175"/>
                  </a:lnTo>
                  <a:lnTo>
                    <a:pt x="3303" y="7619"/>
                  </a:lnTo>
                  <a:lnTo>
                    <a:pt x="0" y="4191"/>
                  </a:lnTo>
                  <a:lnTo>
                    <a:pt x="0" y="0"/>
                  </a:lnTo>
                  <a:lnTo>
                    <a:pt x="10033" y="0"/>
                  </a:lnTo>
                  <a:lnTo>
                    <a:pt x="10033" y="2794"/>
                  </a:lnTo>
                  <a:lnTo>
                    <a:pt x="12193" y="4825"/>
                  </a:lnTo>
                  <a:lnTo>
                    <a:pt x="15495" y="6985"/>
                  </a:lnTo>
                  <a:lnTo>
                    <a:pt x="19940" y="9778"/>
                  </a:lnTo>
                  <a:lnTo>
                    <a:pt x="25528" y="11810"/>
                  </a:lnTo>
                  <a:lnTo>
                    <a:pt x="33274" y="13969"/>
                  </a:lnTo>
                  <a:lnTo>
                    <a:pt x="49911" y="18160"/>
                  </a:lnTo>
                  <a:lnTo>
                    <a:pt x="71120" y="21590"/>
                  </a:lnTo>
                  <a:lnTo>
                    <a:pt x="96647" y="24384"/>
                  </a:lnTo>
                  <a:lnTo>
                    <a:pt x="124333" y="26542"/>
                  </a:lnTo>
                  <a:lnTo>
                    <a:pt x="155448" y="27178"/>
                  </a:lnTo>
                  <a:lnTo>
                    <a:pt x="186563" y="26542"/>
                  </a:lnTo>
                  <a:lnTo>
                    <a:pt x="214249" y="24384"/>
                  </a:lnTo>
                  <a:lnTo>
                    <a:pt x="238760" y="21590"/>
                  </a:lnTo>
                  <a:lnTo>
                    <a:pt x="260985" y="18160"/>
                  </a:lnTo>
                  <a:lnTo>
                    <a:pt x="277622" y="13969"/>
                  </a:lnTo>
                  <a:lnTo>
                    <a:pt x="284227" y="11810"/>
                  </a:lnTo>
                  <a:lnTo>
                    <a:pt x="290958" y="9778"/>
                  </a:lnTo>
                  <a:lnTo>
                    <a:pt x="295403" y="6985"/>
                  </a:lnTo>
                  <a:lnTo>
                    <a:pt x="298705" y="4825"/>
                  </a:lnTo>
                  <a:lnTo>
                    <a:pt x="300863" y="2794"/>
                  </a:lnTo>
                  <a:lnTo>
                    <a:pt x="300863" y="0"/>
                  </a:lnTo>
                  <a:lnTo>
                    <a:pt x="310896" y="0"/>
                  </a:lnTo>
                  <a:lnTo>
                    <a:pt x="309754" y="4191"/>
                  </a:lnTo>
                  <a:lnTo>
                    <a:pt x="307595" y="7619"/>
                  </a:lnTo>
                  <a:lnTo>
                    <a:pt x="303149" y="11175"/>
                  </a:lnTo>
                  <a:lnTo>
                    <a:pt x="297561" y="14604"/>
                  </a:lnTo>
                  <a:lnTo>
                    <a:pt x="289815" y="17398"/>
                  </a:lnTo>
                  <a:lnTo>
                    <a:pt x="282068" y="20192"/>
                  </a:lnTo>
                  <a:lnTo>
                    <a:pt x="272034" y="22351"/>
                  </a:lnTo>
                  <a:lnTo>
                    <a:pt x="262002" y="24384"/>
                  </a:lnTo>
                  <a:lnTo>
                    <a:pt x="237618" y="28575"/>
                  </a:lnTo>
                  <a:lnTo>
                    <a:pt x="210947" y="31369"/>
                  </a:lnTo>
                  <a:lnTo>
                    <a:pt x="183261" y="32766"/>
                  </a:lnTo>
                  <a:lnTo>
                    <a:pt x="155448" y="33528"/>
                  </a:lnTo>
                  <a:close/>
                  <a:moveTo>
                    <a:pt x="-8177784" y="286816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63" name="Freeform 1463"/>
            <p:cNvSpPr/>
            <p:nvPr/>
          </p:nvSpPr>
          <p:spPr>
            <a:xfrm>
              <a:off x="11012913" y="3895102"/>
              <a:ext cx="304641" cy="6093"/>
            </a:xfrm>
            <a:custGeom>
              <a:avLst/>
              <a:gdLst/>
              <a:ahLst/>
              <a:cxnLst/>
              <a:rect l="0" t="0" r="0" b="0"/>
              <a:pathLst>
                <a:path w="304800" h="6096">
                  <a:moveTo>
                    <a:pt x="0" y="6096"/>
                  </a:moveTo>
                  <a:lnTo>
                    <a:pt x="304800" y="6096"/>
                  </a:lnTo>
                  <a:lnTo>
                    <a:pt x="304800" y="0"/>
                  </a:lnTo>
                  <a:lnTo>
                    <a:pt x="0" y="0"/>
                  </a:lnTo>
                  <a:lnTo>
                    <a:pt x="0" y="6096"/>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64" name="Freeform 1464"/>
            <p:cNvSpPr/>
            <p:nvPr/>
          </p:nvSpPr>
          <p:spPr>
            <a:xfrm>
              <a:off x="11012913" y="4074840"/>
              <a:ext cx="304641" cy="6094"/>
            </a:xfrm>
            <a:custGeom>
              <a:avLst/>
              <a:gdLst/>
              <a:ahLst/>
              <a:cxnLst/>
              <a:rect l="0" t="0" r="0" b="0"/>
              <a:pathLst>
                <a:path w="304800" h="6097">
                  <a:moveTo>
                    <a:pt x="0" y="6097"/>
                  </a:moveTo>
                  <a:lnTo>
                    <a:pt x="304800" y="6097"/>
                  </a:lnTo>
                  <a:lnTo>
                    <a:pt x="304800" y="0"/>
                  </a:lnTo>
                  <a:lnTo>
                    <a:pt x="0" y="0"/>
                  </a:lnTo>
                  <a:lnTo>
                    <a:pt x="0" y="6097"/>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65" name="Freeform 1465"/>
            <p:cNvSpPr/>
            <p:nvPr/>
          </p:nvSpPr>
          <p:spPr>
            <a:xfrm>
              <a:off x="11104305" y="4038284"/>
              <a:ext cx="121857" cy="6093"/>
            </a:xfrm>
            <a:custGeom>
              <a:avLst/>
              <a:gdLst/>
              <a:ahLst/>
              <a:cxnLst/>
              <a:rect l="0" t="0" r="0" b="0"/>
              <a:pathLst>
                <a:path w="121920" h="6096">
                  <a:moveTo>
                    <a:pt x="117348" y="6096"/>
                  </a:moveTo>
                  <a:lnTo>
                    <a:pt x="4572" y="6096"/>
                  </a:lnTo>
                  <a:lnTo>
                    <a:pt x="2286" y="6096"/>
                  </a:lnTo>
                  <a:lnTo>
                    <a:pt x="1144" y="5461"/>
                  </a:lnTo>
                  <a:lnTo>
                    <a:pt x="0" y="4065"/>
                  </a:lnTo>
                  <a:lnTo>
                    <a:pt x="0" y="3430"/>
                  </a:lnTo>
                  <a:lnTo>
                    <a:pt x="0" y="2033"/>
                  </a:lnTo>
                  <a:lnTo>
                    <a:pt x="1144" y="636"/>
                  </a:lnTo>
                  <a:lnTo>
                    <a:pt x="2286" y="0"/>
                  </a:lnTo>
                  <a:lnTo>
                    <a:pt x="4572" y="0"/>
                  </a:lnTo>
                  <a:lnTo>
                    <a:pt x="117348" y="0"/>
                  </a:lnTo>
                  <a:lnTo>
                    <a:pt x="118492" y="0"/>
                  </a:lnTo>
                  <a:lnTo>
                    <a:pt x="120778" y="636"/>
                  </a:lnTo>
                  <a:lnTo>
                    <a:pt x="121920" y="2033"/>
                  </a:lnTo>
                  <a:lnTo>
                    <a:pt x="121920" y="3430"/>
                  </a:lnTo>
                  <a:lnTo>
                    <a:pt x="121920" y="4065"/>
                  </a:lnTo>
                  <a:lnTo>
                    <a:pt x="120778" y="5461"/>
                  </a:lnTo>
                  <a:lnTo>
                    <a:pt x="118492" y="6096"/>
                  </a:lnTo>
                  <a:lnTo>
                    <a:pt x="117348" y="6096"/>
                  </a:lnTo>
                  <a:close/>
                  <a:moveTo>
                    <a:pt x="-8293607" y="281940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66" name="Freeform 1466"/>
            <p:cNvSpPr/>
            <p:nvPr/>
          </p:nvSpPr>
          <p:spPr>
            <a:xfrm>
              <a:off x="11104305" y="4050470"/>
              <a:ext cx="121857" cy="6093"/>
            </a:xfrm>
            <a:custGeom>
              <a:avLst/>
              <a:gdLst/>
              <a:ahLst/>
              <a:cxnLst/>
              <a:rect l="0" t="0" r="0" b="0"/>
              <a:pathLst>
                <a:path w="121920" h="6096">
                  <a:moveTo>
                    <a:pt x="117348" y="6096"/>
                  </a:moveTo>
                  <a:lnTo>
                    <a:pt x="4572" y="6096"/>
                  </a:lnTo>
                  <a:lnTo>
                    <a:pt x="2286" y="6096"/>
                  </a:lnTo>
                  <a:lnTo>
                    <a:pt x="1144" y="5460"/>
                  </a:lnTo>
                  <a:lnTo>
                    <a:pt x="0" y="4063"/>
                  </a:lnTo>
                  <a:lnTo>
                    <a:pt x="0" y="3428"/>
                  </a:lnTo>
                  <a:lnTo>
                    <a:pt x="0" y="2031"/>
                  </a:lnTo>
                  <a:lnTo>
                    <a:pt x="1144" y="634"/>
                  </a:lnTo>
                  <a:lnTo>
                    <a:pt x="2286" y="0"/>
                  </a:lnTo>
                  <a:lnTo>
                    <a:pt x="4572" y="0"/>
                  </a:lnTo>
                  <a:lnTo>
                    <a:pt x="117348" y="0"/>
                  </a:lnTo>
                  <a:lnTo>
                    <a:pt x="118492" y="0"/>
                  </a:lnTo>
                  <a:lnTo>
                    <a:pt x="120778" y="634"/>
                  </a:lnTo>
                  <a:lnTo>
                    <a:pt x="121920" y="2031"/>
                  </a:lnTo>
                  <a:lnTo>
                    <a:pt x="121920" y="3428"/>
                  </a:lnTo>
                  <a:lnTo>
                    <a:pt x="121920" y="4063"/>
                  </a:lnTo>
                  <a:lnTo>
                    <a:pt x="120778" y="5460"/>
                  </a:lnTo>
                  <a:lnTo>
                    <a:pt x="118492" y="6096"/>
                  </a:lnTo>
                  <a:lnTo>
                    <a:pt x="117348" y="6096"/>
                  </a:lnTo>
                  <a:close/>
                  <a:moveTo>
                    <a:pt x="-8305800" y="280720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67" name="Freeform 1467"/>
            <p:cNvSpPr/>
            <p:nvPr/>
          </p:nvSpPr>
          <p:spPr>
            <a:xfrm>
              <a:off x="11159141" y="3898148"/>
              <a:ext cx="9138" cy="121857"/>
            </a:xfrm>
            <a:custGeom>
              <a:avLst/>
              <a:gdLst/>
              <a:ahLst/>
              <a:cxnLst/>
              <a:rect l="0" t="0" r="0" b="0"/>
              <a:pathLst>
                <a:path w="9143" h="121920">
                  <a:moveTo>
                    <a:pt x="0" y="121920"/>
                  </a:moveTo>
                  <a:lnTo>
                    <a:pt x="9143" y="121920"/>
                  </a:lnTo>
                  <a:lnTo>
                    <a:pt x="9143" y="0"/>
                  </a:lnTo>
                  <a:lnTo>
                    <a:pt x="0" y="0"/>
                  </a:lnTo>
                  <a:lnTo>
                    <a:pt x="0" y="121920"/>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68" name="Freeform 1468"/>
            <p:cNvSpPr/>
            <p:nvPr/>
          </p:nvSpPr>
          <p:spPr>
            <a:xfrm>
              <a:off x="11046425" y="4032192"/>
              <a:ext cx="42649" cy="27417"/>
            </a:xfrm>
            <a:custGeom>
              <a:avLst/>
              <a:gdLst/>
              <a:ahLst/>
              <a:cxnLst/>
              <a:rect l="0" t="0" r="0" b="0"/>
              <a:pathLst>
                <a:path w="42671" h="27431">
                  <a:moveTo>
                    <a:pt x="21335" y="27431"/>
                  </a:moveTo>
                  <a:lnTo>
                    <a:pt x="21335" y="27431"/>
                  </a:lnTo>
                  <a:lnTo>
                    <a:pt x="17018" y="26797"/>
                  </a:lnTo>
                  <a:lnTo>
                    <a:pt x="12827" y="26035"/>
                  </a:lnTo>
                  <a:lnTo>
                    <a:pt x="9652" y="24638"/>
                  </a:lnTo>
                  <a:lnTo>
                    <a:pt x="6350" y="23368"/>
                  </a:lnTo>
                  <a:lnTo>
                    <a:pt x="3175" y="21209"/>
                  </a:lnTo>
                  <a:lnTo>
                    <a:pt x="1016" y="19176"/>
                  </a:lnTo>
                  <a:lnTo>
                    <a:pt x="0" y="16510"/>
                  </a:lnTo>
                  <a:lnTo>
                    <a:pt x="0" y="13716"/>
                  </a:lnTo>
                  <a:lnTo>
                    <a:pt x="0" y="10922"/>
                  </a:lnTo>
                  <a:lnTo>
                    <a:pt x="1016" y="8254"/>
                  </a:lnTo>
                  <a:lnTo>
                    <a:pt x="3175" y="6222"/>
                  </a:lnTo>
                  <a:lnTo>
                    <a:pt x="6350" y="4063"/>
                  </a:lnTo>
                  <a:lnTo>
                    <a:pt x="9652" y="2031"/>
                  </a:lnTo>
                  <a:lnTo>
                    <a:pt x="12827" y="1397"/>
                  </a:lnTo>
                  <a:lnTo>
                    <a:pt x="17018" y="0"/>
                  </a:lnTo>
                  <a:lnTo>
                    <a:pt x="21335" y="0"/>
                  </a:lnTo>
                  <a:lnTo>
                    <a:pt x="25654" y="0"/>
                  </a:lnTo>
                  <a:lnTo>
                    <a:pt x="28829" y="1397"/>
                  </a:lnTo>
                  <a:lnTo>
                    <a:pt x="33019" y="2031"/>
                  </a:lnTo>
                  <a:lnTo>
                    <a:pt x="36321" y="4063"/>
                  </a:lnTo>
                  <a:lnTo>
                    <a:pt x="38354" y="6222"/>
                  </a:lnTo>
                  <a:lnTo>
                    <a:pt x="40513" y="8254"/>
                  </a:lnTo>
                  <a:lnTo>
                    <a:pt x="41656" y="10922"/>
                  </a:lnTo>
                  <a:lnTo>
                    <a:pt x="42671" y="13716"/>
                  </a:lnTo>
                  <a:lnTo>
                    <a:pt x="41656" y="16510"/>
                  </a:lnTo>
                  <a:lnTo>
                    <a:pt x="40513" y="19176"/>
                  </a:lnTo>
                  <a:lnTo>
                    <a:pt x="38354" y="21209"/>
                  </a:lnTo>
                  <a:lnTo>
                    <a:pt x="36321" y="23368"/>
                  </a:lnTo>
                  <a:lnTo>
                    <a:pt x="33019" y="24638"/>
                  </a:lnTo>
                  <a:lnTo>
                    <a:pt x="28829" y="26035"/>
                  </a:lnTo>
                  <a:lnTo>
                    <a:pt x="25654" y="26797"/>
                  </a:lnTo>
                  <a:lnTo>
                    <a:pt x="21335" y="27431"/>
                  </a:lnTo>
                  <a:close/>
                  <a:moveTo>
                    <a:pt x="-8250936" y="2825495"/>
                  </a:moveTo>
                  <a:moveTo>
                    <a:pt x="21335" y="6222"/>
                  </a:moveTo>
                  <a:lnTo>
                    <a:pt x="21335" y="6222"/>
                  </a:lnTo>
                  <a:lnTo>
                    <a:pt x="17018" y="6857"/>
                  </a:lnTo>
                  <a:lnTo>
                    <a:pt x="12827" y="8254"/>
                  </a:lnTo>
                  <a:lnTo>
                    <a:pt x="10668" y="10922"/>
                  </a:lnTo>
                  <a:lnTo>
                    <a:pt x="9652" y="13716"/>
                  </a:lnTo>
                  <a:lnTo>
                    <a:pt x="10668" y="16510"/>
                  </a:lnTo>
                  <a:lnTo>
                    <a:pt x="12827" y="18541"/>
                  </a:lnTo>
                  <a:lnTo>
                    <a:pt x="17018" y="20573"/>
                  </a:lnTo>
                  <a:lnTo>
                    <a:pt x="21335" y="21209"/>
                  </a:lnTo>
                  <a:lnTo>
                    <a:pt x="25654" y="20573"/>
                  </a:lnTo>
                  <a:lnTo>
                    <a:pt x="28829" y="18541"/>
                  </a:lnTo>
                  <a:lnTo>
                    <a:pt x="32004" y="16510"/>
                  </a:lnTo>
                  <a:lnTo>
                    <a:pt x="33019" y="13716"/>
                  </a:lnTo>
                  <a:lnTo>
                    <a:pt x="32004" y="10922"/>
                  </a:lnTo>
                  <a:lnTo>
                    <a:pt x="28829" y="8254"/>
                  </a:lnTo>
                  <a:lnTo>
                    <a:pt x="25654" y="6857"/>
                  </a:lnTo>
                  <a:lnTo>
                    <a:pt x="21335" y="6222"/>
                  </a:lnTo>
                  <a:close/>
                  <a:moveTo>
                    <a:pt x="-8229727" y="2825495"/>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69" name="Freeform 1469"/>
            <p:cNvSpPr/>
            <p:nvPr/>
          </p:nvSpPr>
          <p:spPr>
            <a:xfrm>
              <a:off x="11238346" y="4032192"/>
              <a:ext cx="45696" cy="27417"/>
            </a:xfrm>
            <a:custGeom>
              <a:avLst/>
              <a:gdLst/>
              <a:ahLst/>
              <a:cxnLst/>
              <a:rect l="0" t="0" r="0" b="0"/>
              <a:pathLst>
                <a:path w="45720" h="27431">
                  <a:moveTo>
                    <a:pt x="22860" y="27431"/>
                  </a:moveTo>
                  <a:lnTo>
                    <a:pt x="22860" y="27431"/>
                  </a:lnTo>
                  <a:lnTo>
                    <a:pt x="18288" y="26797"/>
                  </a:lnTo>
                  <a:lnTo>
                    <a:pt x="13717" y="26035"/>
                  </a:lnTo>
                  <a:lnTo>
                    <a:pt x="10287" y="24638"/>
                  </a:lnTo>
                  <a:lnTo>
                    <a:pt x="6858" y="23368"/>
                  </a:lnTo>
                  <a:lnTo>
                    <a:pt x="4572" y="21209"/>
                  </a:lnTo>
                  <a:lnTo>
                    <a:pt x="2286" y="19176"/>
                  </a:lnTo>
                  <a:lnTo>
                    <a:pt x="1144" y="16510"/>
                  </a:lnTo>
                  <a:lnTo>
                    <a:pt x="0" y="13716"/>
                  </a:lnTo>
                  <a:lnTo>
                    <a:pt x="1144" y="10922"/>
                  </a:lnTo>
                  <a:lnTo>
                    <a:pt x="2286" y="8254"/>
                  </a:lnTo>
                  <a:lnTo>
                    <a:pt x="4572" y="6222"/>
                  </a:lnTo>
                  <a:lnTo>
                    <a:pt x="6858" y="4063"/>
                  </a:lnTo>
                  <a:lnTo>
                    <a:pt x="10287" y="2031"/>
                  </a:lnTo>
                  <a:lnTo>
                    <a:pt x="13717" y="1397"/>
                  </a:lnTo>
                  <a:lnTo>
                    <a:pt x="18288" y="0"/>
                  </a:lnTo>
                  <a:lnTo>
                    <a:pt x="22860" y="0"/>
                  </a:lnTo>
                  <a:lnTo>
                    <a:pt x="27433" y="0"/>
                  </a:lnTo>
                  <a:lnTo>
                    <a:pt x="32005" y="1397"/>
                  </a:lnTo>
                  <a:lnTo>
                    <a:pt x="35433" y="2031"/>
                  </a:lnTo>
                  <a:lnTo>
                    <a:pt x="38862" y="4063"/>
                  </a:lnTo>
                  <a:lnTo>
                    <a:pt x="41148" y="6222"/>
                  </a:lnTo>
                  <a:lnTo>
                    <a:pt x="43434" y="8254"/>
                  </a:lnTo>
                  <a:lnTo>
                    <a:pt x="44578" y="10922"/>
                  </a:lnTo>
                  <a:lnTo>
                    <a:pt x="45720" y="13716"/>
                  </a:lnTo>
                  <a:lnTo>
                    <a:pt x="44578" y="16510"/>
                  </a:lnTo>
                  <a:lnTo>
                    <a:pt x="43434" y="19176"/>
                  </a:lnTo>
                  <a:lnTo>
                    <a:pt x="41148" y="21209"/>
                  </a:lnTo>
                  <a:lnTo>
                    <a:pt x="38862" y="23368"/>
                  </a:lnTo>
                  <a:lnTo>
                    <a:pt x="35433" y="24638"/>
                  </a:lnTo>
                  <a:lnTo>
                    <a:pt x="32005" y="26035"/>
                  </a:lnTo>
                  <a:lnTo>
                    <a:pt x="27433" y="26797"/>
                  </a:lnTo>
                  <a:lnTo>
                    <a:pt x="22860" y="27431"/>
                  </a:lnTo>
                  <a:close/>
                  <a:moveTo>
                    <a:pt x="-8442959" y="2825495"/>
                  </a:moveTo>
                  <a:moveTo>
                    <a:pt x="22860" y="6222"/>
                  </a:moveTo>
                  <a:lnTo>
                    <a:pt x="22860" y="6222"/>
                  </a:lnTo>
                  <a:lnTo>
                    <a:pt x="18288" y="6857"/>
                  </a:lnTo>
                  <a:lnTo>
                    <a:pt x="13717" y="8254"/>
                  </a:lnTo>
                  <a:lnTo>
                    <a:pt x="11431" y="10922"/>
                  </a:lnTo>
                  <a:lnTo>
                    <a:pt x="10287" y="13716"/>
                  </a:lnTo>
                  <a:lnTo>
                    <a:pt x="11431" y="16510"/>
                  </a:lnTo>
                  <a:lnTo>
                    <a:pt x="13717" y="18541"/>
                  </a:lnTo>
                  <a:lnTo>
                    <a:pt x="18288" y="20573"/>
                  </a:lnTo>
                  <a:lnTo>
                    <a:pt x="22860" y="21209"/>
                  </a:lnTo>
                  <a:lnTo>
                    <a:pt x="27433" y="20573"/>
                  </a:lnTo>
                  <a:lnTo>
                    <a:pt x="32005" y="18541"/>
                  </a:lnTo>
                  <a:lnTo>
                    <a:pt x="34291" y="16510"/>
                  </a:lnTo>
                  <a:lnTo>
                    <a:pt x="35433" y="13716"/>
                  </a:lnTo>
                  <a:lnTo>
                    <a:pt x="34291" y="10922"/>
                  </a:lnTo>
                  <a:lnTo>
                    <a:pt x="32005" y="8254"/>
                  </a:lnTo>
                  <a:lnTo>
                    <a:pt x="27433" y="6857"/>
                  </a:lnTo>
                  <a:lnTo>
                    <a:pt x="22860" y="6222"/>
                  </a:lnTo>
                  <a:close/>
                  <a:moveTo>
                    <a:pt x="-8421750" y="2825495"/>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70" name="Freeform 1470"/>
            <p:cNvSpPr/>
            <p:nvPr/>
          </p:nvSpPr>
          <p:spPr>
            <a:xfrm>
              <a:off x="11037285" y="4099212"/>
              <a:ext cx="51788" cy="27418"/>
            </a:xfrm>
            <a:custGeom>
              <a:avLst/>
              <a:gdLst/>
              <a:ahLst/>
              <a:cxnLst/>
              <a:rect l="0" t="0" r="0" b="0"/>
              <a:pathLst>
                <a:path w="51815" h="27432">
                  <a:moveTo>
                    <a:pt x="33782" y="27432"/>
                  </a:moveTo>
                  <a:lnTo>
                    <a:pt x="19050" y="27432"/>
                  </a:lnTo>
                  <a:lnTo>
                    <a:pt x="14859" y="27432"/>
                  </a:lnTo>
                  <a:lnTo>
                    <a:pt x="11684" y="26797"/>
                  </a:lnTo>
                  <a:lnTo>
                    <a:pt x="8509" y="25400"/>
                  </a:lnTo>
                  <a:lnTo>
                    <a:pt x="5334" y="24003"/>
                  </a:lnTo>
                  <a:lnTo>
                    <a:pt x="3175" y="22606"/>
                  </a:lnTo>
                  <a:lnTo>
                    <a:pt x="2159" y="20573"/>
                  </a:lnTo>
                  <a:lnTo>
                    <a:pt x="1015" y="18541"/>
                  </a:lnTo>
                  <a:lnTo>
                    <a:pt x="0" y="15747"/>
                  </a:lnTo>
                  <a:lnTo>
                    <a:pt x="0" y="0"/>
                  </a:lnTo>
                  <a:lnTo>
                    <a:pt x="51815" y="0"/>
                  </a:lnTo>
                  <a:lnTo>
                    <a:pt x="51815" y="15747"/>
                  </a:lnTo>
                  <a:lnTo>
                    <a:pt x="51815" y="18541"/>
                  </a:lnTo>
                  <a:lnTo>
                    <a:pt x="50800" y="20573"/>
                  </a:lnTo>
                  <a:lnTo>
                    <a:pt x="48640" y="22606"/>
                  </a:lnTo>
                  <a:lnTo>
                    <a:pt x="46482" y="24003"/>
                  </a:lnTo>
                  <a:lnTo>
                    <a:pt x="44450" y="25400"/>
                  </a:lnTo>
                  <a:lnTo>
                    <a:pt x="41275" y="26797"/>
                  </a:lnTo>
                  <a:lnTo>
                    <a:pt x="36957" y="27432"/>
                  </a:lnTo>
                  <a:lnTo>
                    <a:pt x="33782" y="27432"/>
                  </a:lnTo>
                  <a:close/>
                  <a:moveTo>
                    <a:pt x="-8308849" y="2758439"/>
                  </a:moveTo>
                  <a:moveTo>
                    <a:pt x="9525" y="6222"/>
                  </a:moveTo>
                  <a:lnTo>
                    <a:pt x="9525" y="15747"/>
                  </a:lnTo>
                  <a:lnTo>
                    <a:pt x="10540" y="17779"/>
                  </a:lnTo>
                  <a:lnTo>
                    <a:pt x="12700" y="19938"/>
                  </a:lnTo>
                  <a:lnTo>
                    <a:pt x="14859" y="21209"/>
                  </a:lnTo>
                  <a:lnTo>
                    <a:pt x="19050" y="21209"/>
                  </a:lnTo>
                  <a:lnTo>
                    <a:pt x="33782" y="21209"/>
                  </a:lnTo>
                  <a:lnTo>
                    <a:pt x="36957" y="21209"/>
                  </a:lnTo>
                  <a:lnTo>
                    <a:pt x="40132" y="19938"/>
                  </a:lnTo>
                  <a:lnTo>
                    <a:pt x="42290" y="17779"/>
                  </a:lnTo>
                  <a:lnTo>
                    <a:pt x="42290" y="15747"/>
                  </a:lnTo>
                  <a:lnTo>
                    <a:pt x="42290" y="6222"/>
                  </a:lnTo>
                  <a:lnTo>
                    <a:pt x="9525" y="6222"/>
                  </a:lnTo>
                  <a:close/>
                  <a:moveTo>
                    <a:pt x="-8287639" y="2758439"/>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71" name="Freeform 1471"/>
            <p:cNvSpPr/>
            <p:nvPr/>
          </p:nvSpPr>
          <p:spPr>
            <a:xfrm>
              <a:off x="11238347" y="4099212"/>
              <a:ext cx="54836" cy="27418"/>
            </a:xfrm>
            <a:custGeom>
              <a:avLst/>
              <a:gdLst/>
              <a:ahLst/>
              <a:cxnLst/>
              <a:rect l="0" t="0" r="0" b="0"/>
              <a:pathLst>
                <a:path w="54865" h="27432">
                  <a:moveTo>
                    <a:pt x="35815" y="27432"/>
                  </a:moveTo>
                  <a:lnTo>
                    <a:pt x="20194" y="27432"/>
                  </a:lnTo>
                  <a:lnTo>
                    <a:pt x="15621" y="27432"/>
                  </a:lnTo>
                  <a:lnTo>
                    <a:pt x="12320" y="26797"/>
                  </a:lnTo>
                  <a:lnTo>
                    <a:pt x="9018" y="25400"/>
                  </a:lnTo>
                  <a:lnTo>
                    <a:pt x="5588" y="24003"/>
                  </a:lnTo>
                  <a:lnTo>
                    <a:pt x="3303" y="22606"/>
                  </a:lnTo>
                  <a:lnTo>
                    <a:pt x="2286" y="20573"/>
                  </a:lnTo>
                  <a:lnTo>
                    <a:pt x="1144" y="18541"/>
                  </a:lnTo>
                  <a:lnTo>
                    <a:pt x="0" y="15747"/>
                  </a:lnTo>
                  <a:lnTo>
                    <a:pt x="0" y="0"/>
                  </a:lnTo>
                  <a:lnTo>
                    <a:pt x="54865" y="0"/>
                  </a:lnTo>
                  <a:lnTo>
                    <a:pt x="54865" y="15747"/>
                  </a:lnTo>
                  <a:lnTo>
                    <a:pt x="54865" y="18541"/>
                  </a:lnTo>
                  <a:lnTo>
                    <a:pt x="53721" y="20573"/>
                  </a:lnTo>
                  <a:lnTo>
                    <a:pt x="51562" y="22606"/>
                  </a:lnTo>
                  <a:lnTo>
                    <a:pt x="49277" y="24003"/>
                  </a:lnTo>
                  <a:lnTo>
                    <a:pt x="46991" y="25400"/>
                  </a:lnTo>
                  <a:lnTo>
                    <a:pt x="43688" y="26797"/>
                  </a:lnTo>
                  <a:lnTo>
                    <a:pt x="39244" y="27432"/>
                  </a:lnTo>
                  <a:lnTo>
                    <a:pt x="35815" y="27432"/>
                  </a:lnTo>
                  <a:close/>
                  <a:moveTo>
                    <a:pt x="-8510016" y="2758439"/>
                  </a:moveTo>
                  <a:moveTo>
                    <a:pt x="10033" y="6222"/>
                  </a:moveTo>
                  <a:lnTo>
                    <a:pt x="10033" y="15747"/>
                  </a:lnTo>
                  <a:lnTo>
                    <a:pt x="11177" y="17779"/>
                  </a:lnTo>
                  <a:lnTo>
                    <a:pt x="13462" y="19938"/>
                  </a:lnTo>
                  <a:lnTo>
                    <a:pt x="15621" y="21209"/>
                  </a:lnTo>
                  <a:lnTo>
                    <a:pt x="20194" y="21209"/>
                  </a:lnTo>
                  <a:lnTo>
                    <a:pt x="35815" y="21209"/>
                  </a:lnTo>
                  <a:lnTo>
                    <a:pt x="39244" y="21209"/>
                  </a:lnTo>
                  <a:lnTo>
                    <a:pt x="42545" y="19938"/>
                  </a:lnTo>
                  <a:lnTo>
                    <a:pt x="44832" y="17779"/>
                  </a:lnTo>
                  <a:lnTo>
                    <a:pt x="44832" y="15747"/>
                  </a:lnTo>
                  <a:lnTo>
                    <a:pt x="44832" y="6222"/>
                  </a:lnTo>
                  <a:lnTo>
                    <a:pt x="10033" y="6222"/>
                  </a:lnTo>
                  <a:close/>
                  <a:moveTo>
                    <a:pt x="-8488806" y="2758439"/>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72" name="Freeform 1472"/>
            <p:cNvSpPr/>
            <p:nvPr/>
          </p:nvSpPr>
          <p:spPr>
            <a:xfrm>
              <a:off x="11329741" y="3913381"/>
              <a:ext cx="39603" cy="42650"/>
            </a:xfrm>
            <a:custGeom>
              <a:avLst/>
              <a:gdLst/>
              <a:ahLst/>
              <a:cxnLst/>
              <a:rect l="0" t="0" r="0" b="0"/>
              <a:pathLst>
                <a:path w="39624" h="42672">
                  <a:moveTo>
                    <a:pt x="31750" y="42672"/>
                  </a:moveTo>
                  <a:lnTo>
                    <a:pt x="7874" y="42672"/>
                  </a:lnTo>
                  <a:lnTo>
                    <a:pt x="4571" y="42037"/>
                  </a:lnTo>
                  <a:lnTo>
                    <a:pt x="2286" y="41275"/>
                  </a:lnTo>
                  <a:lnTo>
                    <a:pt x="0" y="39242"/>
                  </a:lnTo>
                  <a:lnTo>
                    <a:pt x="0" y="37845"/>
                  </a:lnTo>
                  <a:lnTo>
                    <a:pt x="0" y="4825"/>
                  </a:lnTo>
                  <a:lnTo>
                    <a:pt x="0" y="2794"/>
                  </a:lnTo>
                  <a:lnTo>
                    <a:pt x="2286" y="1397"/>
                  </a:lnTo>
                  <a:lnTo>
                    <a:pt x="4571" y="635"/>
                  </a:lnTo>
                  <a:lnTo>
                    <a:pt x="7874" y="0"/>
                  </a:lnTo>
                  <a:lnTo>
                    <a:pt x="31750" y="0"/>
                  </a:lnTo>
                  <a:lnTo>
                    <a:pt x="35052" y="635"/>
                  </a:lnTo>
                  <a:lnTo>
                    <a:pt x="37338" y="1397"/>
                  </a:lnTo>
                  <a:lnTo>
                    <a:pt x="39624" y="2794"/>
                  </a:lnTo>
                  <a:lnTo>
                    <a:pt x="39624" y="4825"/>
                  </a:lnTo>
                  <a:lnTo>
                    <a:pt x="39624" y="37845"/>
                  </a:lnTo>
                  <a:lnTo>
                    <a:pt x="39624" y="39242"/>
                  </a:lnTo>
                  <a:lnTo>
                    <a:pt x="37338" y="41275"/>
                  </a:lnTo>
                  <a:lnTo>
                    <a:pt x="35052" y="42037"/>
                  </a:lnTo>
                  <a:lnTo>
                    <a:pt x="31750" y="42672"/>
                  </a:lnTo>
                  <a:close/>
                  <a:moveTo>
                    <a:pt x="-8430769" y="2944367"/>
                  </a:moveTo>
                  <a:moveTo>
                    <a:pt x="10159" y="36448"/>
                  </a:moveTo>
                  <a:lnTo>
                    <a:pt x="29464" y="36448"/>
                  </a:lnTo>
                  <a:lnTo>
                    <a:pt x="29464" y="6222"/>
                  </a:lnTo>
                  <a:lnTo>
                    <a:pt x="10159" y="6222"/>
                  </a:lnTo>
                  <a:lnTo>
                    <a:pt x="10159" y="36448"/>
                  </a:lnTo>
                  <a:close/>
                  <a:moveTo>
                    <a:pt x="-8424545" y="294436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73" name="Freeform 1473"/>
            <p:cNvSpPr/>
            <p:nvPr/>
          </p:nvSpPr>
          <p:spPr>
            <a:xfrm>
              <a:off x="10961125" y="3913381"/>
              <a:ext cx="39603" cy="42650"/>
            </a:xfrm>
            <a:custGeom>
              <a:avLst/>
              <a:gdLst/>
              <a:ahLst/>
              <a:cxnLst/>
              <a:rect l="0" t="0" r="0" b="0"/>
              <a:pathLst>
                <a:path w="39624" h="42672">
                  <a:moveTo>
                    <a:pt x="31876" y="42672"/>
                  </a:moveTo>
                  <a:lnTo>
                    <a:pt x="7747" y="42672"/>
                  </a:lnTo>
                  <a:lnTo>
                    <a:pt x="5461" y="42037"/>
                  </a:lnTo>
                  <a:lnTo>
                    <a:pt x="2159" y="41275"/>
                  </a:lnTo>
                  <a:lnTo>
                    <a:pt x="1142" y="39242"/>
                  </a:lnTo>
                  <a:lnTo>
                    <a:pt x="0" y="37845"/>
                  </a:lnTo>
                  <a:lnTo>
                    <a:pt x="0" y="4825"/>
                  </a:lnTo>
                  <a:lnTo>
                    <a:pt x="1142" y="2794"/>
                  </a:lnTo>
                  <a:lnTo>
                    <a:pt x="2159" y="1397"/>
                  </a:lnTo>
                  <a:lnTo>
                    <a:pt x="5461" y="635"/>
                  </a:lnTo>
                  <a:lnTo>
                    <a:pt x="7747" y="0"/>
                  </a:lnTo>
                  <a:lnTo>
                    <a:pt x="31876" y="0"/>
                  </a:lnTo>
                  <a:lnTo>
                    <a:pt x="35178" y="635"/>
                  </a:lnTo>
                  <a:lnTo>
                    <a:pt x="37464" y="1397"/>
                  </a:lnTo>
                  <a:lnTo>
                    <a:pt x="38480" y="2794"/>
                  </a:lnTo>
                  <a:lnTo>
                    <a:pt x="39624" y="4825"/>
                  </a:lnTo>
                  <a:lnTo>
                    <a:pt x="39624" y="37845"/>
                  </a:lnTo>
                  <a:lnTo>
                    <a:pt x="38480" y="39242"/>
                  </a:lnTo>
                  <a:lnTo>
                    <a:pt x="37464" y="41275"/>
                  </a:lnTo>
                  <a:lnTo>
                    <a:pt x="35178" y="42037"/>
                  </a:lnTo>
                  <a:lnTo>
                    <a:pt x="31876" y="42672"/>
                  </a:lnTo>
                  <a:close/>
                  <a:moveTo>
                    <a:pt x="-8061961" y="2944367"/>
                  </a:moveTo>
                  <a:moveTo>
                    <a:pt x="9905" y="36448"/>
                  </a:moveTo>
                  <a:lnTo>
                    <a:pt x="29717" y="36448"/>
                  </a:lnTo>
                  <a:lnTo>
                    <a:pt x="29717" y="6222"/>
                  </a:lnTo>
                  <a:lnTo>
                    <a:pt x="9905" y="6222"/>
                  </a:lnTo>
                  <a:lnTo>
                    <a:pt x="9905" y="36448"/>
                  </a:lnTo>
                  <a:close/>
                  <a:moveTo>
                    <a:pt x="-8055737" y="294436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74" name="Freeform 1474"/>
            <p:cNvSpPr/>
            <p:nvPr/>
          </p:nvSpPr>
          <p:spPr>
            <a:xfrm>
              <a:off x="10991588" y="3916427"/>
              <a:ext cx="27419" cy="6094"/>
            </a:xfrm>
            <a:custGeom>
              <a:avLst/>
              <a:gdLst/>
              <a:ahLst/>
              <a:cxnLst/>
              <a:rect l="0" t="0" r="0" b="0"/>
              <a:pathLst>
                <a:path w="27433" h="6097">
                  <a:moveTo>
                    <a:pt x="22098" y="6097"/>
                  </a:moveTo>
                  <a:lnTo>
                    <a:pt x="4192" y="6097"/>
                  </a:lnTo>
                  <a:lnTo>
                    <a:pt x="3175" y="5462"/>
                  </a:lnTo>
                  <a:lnTo>
                    <a:pt x="1017" y="4700"/>
                  </a:lnTo>
                  <a:lnTo>
                    <a:pt x="0" y="4065"/>
                  </a:lnTo>
                  <a:lnTo>
                    <a:pt x="0" y="2668"/>
                  </a:lnTo>
                  <a:lnTo>
                    <a:pt x="0" y="2032"/>
                  </a:lnTo>
                  <a:lnTo>
                    <a:pt x="1017" y="635"/>
                  </a:lnTo>
                  <a:lnTo>
                    <a:pt x="3175" y="0"/>
                  </a:lnTo>
                  <a:lnTo>
                    <a:pt x="4192" y="0"/>
                  </a:lnTo>
                  <a:lnTo>
                    <a:pt x="22098" y="0"/>
                  </a:lnTo>
                  <a:lnTo>
                    <a:pt x="24258" y="0"/>
                  </a:lnTo>
                  <a:lnTo>
                    <a:pt x="25273" y="635"/>
                  </a:lnTo>
                  <a:lnTo>
                    <a:pt x="26417" y="2032"/>
                  </a:lnTo>
                  <a:lnTo>
                    <a:pt x="27433" y="2668"/>
                  </a:lnTo>
                  <a:lnTo>
                    <a:pt x="26417" y="4065"/>
                  </a:lnTo>
                  <a:lnTo>
                    <a:pt x="25273" y="4700"/>
                  </a:lnTo>
                  <a:lnTo>
                    <a:pt x="24258" y="5462"/>
                  </a:lnTo>
                  <a:lnTo>
                    <a:pt x="22098" y="6097"/>
                  </a:lnTo>
                  <a:close/>
                  <a:moveTo>
                    <a:pt x="-8058912" y="294132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75" name="Freeform 1475"/>
            <p:cNvSpPr/>
            <p:nvPr/>
          </p:nvSpPr>
          <p:spPr>
            <a:xfrm>
              <a:off x="11311463" y="3916427"/>
              <a:ext cx="27417" cy="6094"/>
            </a:xfrm>
            <a:custGeom>
              <a:avLst/>
              <a:gdLst/>
              <a:ahLst/>
              <a:cxnLst/>
              <a:rect l="0" t="0" r="0" b="0"/>
              <a:pathLst>
                <a:path w="27431" h="6097">
                  <a:moveTo>
                    <a:pt x="22097" y="6097"/>
                  </a:moveTo>
                  <a:lnTo>
                    <a:pt x="5333" y="6097"/>
                  </a:lnTo>
                  <a:lnTo>
                    <a:pt x="3175" y="5462"/>
                  </a:lnTo>
                  <a:lnTo>
                    <a:pt x="2158" y="4700"/>
                  </a:lnTo>
                  <a:lnTo>
                    <a:pt x="1016" y="4065"/>
                  </a:lnTo>
                  <a:lnTo>
                    <a:pt x="0" y="2668"/>
                  </a:lnTo>
                  <a:lnTo>
                    <a:pt x="1016" y="2032"/>
                  </a:lnTo>
                  <a:lnTo>
                    <a:pt x="2158" y="635"/>
                  </a:lnTo>
                  <a:lnTo>
                    <a:pt x="3175" y="0"/>
                  </a:lnTo>
                  <a:lnTo>
                    <a:pt x="5333" y="0"/>
                  </a:lnTo>
                  <a:lnTo>
                    <a:pt x="22097" y="0"/>
                  </a:lnTo>
                  <a:lnTo>
                    <a:pt x="24256" y="0"/>
                  </a:lnTo>
                  <a:lnTo>
                    <a:pt x="26416" y="635"/>
                  </a:lnTo>
                  <a:lnTo>
                    <a:pt x="26416" y="2032"/>
                  </a:lnTo>
                  <a:lnTo>
                    <a:pt x="27431" y="2668"/>
                  </a:lnTo>
                  <a:lnTo>
                    <a:pt x="26416" y="4065"/>
                  </a:lnTo>
                  <a:lnTo>
                    <a:pt x="26416" y="4700"/>
                  </a:lnTo>
                  <a:lnTo>
                    <a:pt x="24256" y="5462"/>
                  </a:lnTo>
                  <a:lnTo>
                    <a:pt x="22097" y="6097"/>
                  </a:lnTo>
                  <a:close/>
                  <a:moveTo>
                    <a:pt x="-8378953" y="294132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76" name="Freeform 1476"/>
            <p:cNvSpPr/>
            <p:nvPr/>
          </p:nvSpPr>
          <p:spPr>
            <a:xfrm>
              <a:off x="10156871" y="3898150"/>
              <a:ext cx="651933" cy="228481"/>
            </a:xfrm>
            <a:custGeom>
              <a:avLst/>
              <a:gdLst/>
              <a:ahLst/>
              <a:cxnLst/>
              <a:rect l="0" t="0" r="0" b="0"/>
              <a:pathLst>
                <a:path w="652273" h="228600">
                  <a:moveTo>
                    <a:pt x="537210" y="171450"/>
                  </a:moveTo>
                  <a:lnTo>
                    <a:pt x="537210" y="171450"/>
                  </a:lnTo>
                  <a:lnTo>
                    <a:pt x="534544" y="171577"/>
                  </a:lnTo>
                  <a:lnTo>
                    <a:pt x="531876" y="171957"/>
                  </a:lnTo>
                  <a:lnTo>
                    <a:pt x="529336" y="172338"/>
                  </a:lnTo>
                  <a:lnTo>
                    <a:pt x="526923" y="172974"/>
                  </a:lnTo>
                  <a:lnTo>
                    <a:pt x="524637" y="173862"/>
                  </a:lnTo>
                  <a:lnTo>
                    <a:pt x="522478" y="174752"/>
                  </a:lnTo>
                  <a:lnTo>
                    <a:pt x="520573" y="175768"/>
                  </a:lnTo>
                  <a:lnTo>
                    <a:pt x="518796" y="177037"/>
                  </a:lnTo>
                  <a:lnTo>
                    <a:pt x="517018" y="178434"/>
                  </a:lnTo>
                  <a:lnTo>
                    <a:pt x="515494" y="179831"/>
                  </a:lnTo>
                  <a:lnTo>
                    <a:pt x="514223" y="181482"/>
                  </a:lnTo>
                  <a:lnTo>
                    <a:pt x="513081" y="183134"/>
                  </a:lnTo>
                  <a:lnTo>
                    <a:pt x="512192" y="184912"/>
                  </a:lnTo>
                  <a:lnTo>
                    <a:pt x="511557" y="186690"/>
                  </a:lnTo>
                  <a:lnTo>
                    <a:pt x="511302" y="188594"/>
                  </a:lnTo>
                  <a:lnTo>
                    <a:pt x="511048" y="190500"/>
                  </a:lnTo>
                  <a:lnTo>
                    <a:pt x="511302" y="192531"/>
                  </a:lnTo>
                  <a:lnTo>
                    <a:pt x="511557" y="194437"/>
                  </a:lnTo>
                  <a:lnTo>
                    <a:pt x="512192" y="196215"/>
                  </a:lnTo>
                  <a:lnTo>
                    <a:pt x="513081" y="197993"/>
                  </a:lnTo>
                  <a:lnTo>
                    <a:pt x="514223" y="199643"/>
                  </a:lnTo>
                  <a:lnTo>
                    <a:pt x="515494" y="201168"/>
                  </a:lnTo>
                  <a:lnTo>
                    <a:pt x="517018" y="202565"/>
                  </a:lnTo>
                  <a:lnTo>
                    <a:pt x="518796" y="203962"/>
                  </a:lnTo>
                  <a:lnTo>
                    <a:pt x="520573" y="205231"/>
                  </a:lnTo>
                  <a:lnTo>
                    <a:pt x="522478" y="206375"/>
                  </a:lnTo>
                  <a:lnTo>
                    <a:pt x="524637" y="207263"/>
                  </a:lnTo>
                  <a:lnTo>
                    <a:pt x="526923" y="208153"/>
                  </a:lnTo>
                  <a:lnTo>
                    <a:pt x="529336" y="208660"/>
                  </a:lnTo>
                  <a:lnTo>
                    <a:pt x="531876" y="209168"/>
                  </a:lnTo>
                  <a:lnTo>
                    <a:pt x="534544" y="209422"/>
                  </a:lnTo>
                  <a:lnTo>
                    <a:pt x="537210" y="209550"/>
                  </a:lnTo>
                  <a:lnTo>
                    <a:pt x="540005" y="209422"/>
                  </a:lnTo>
                  <a:lnTo>
                    <a:pt x="542545" y="209168"/>
                  </a:lnTo>
                  <a:lnTo>
                    <a:pt x="544958" y="208660"/>
                  </a:lnTo>
                  <a:lnTo>
                    <a:pt x="547371" y="208153"/>
                  </a:lnTo>
                  <a:lnTo>
                    <a:pt x="549784" y="207263"/>
                  </a:lnTo>
                  <a:lnTo>
                    <a:pt x="551815" y="206375"/>
                  </a:lnTo>
                  <a:lnTo>
                    <a:pt x="553848" y="205231"/>
                  </a:lnTo>
                  <a:lnTo>
                    <a:pt x="555880" y="203962"/>
                  </a:lnTo>
                  <a:lnTo>
                    <a:pt x="557531" y="202565"/>
                  </a:lnTo>
                  <a:lnTo>
                    <a:pt x="558927" y="201168"/>
                  </a:lnTo>
                  <a:lnTo>
                    <a:pt x="560198" y="199643"/>
                  </a:lnTo>
                  <a:lnTo>
                    <a:pt x="561340" y="197993"/>
                  </a:lnTo>
                  <a:lnTo>
                    <a:pt x="562357" y="196215"/>
                  </a:lnTo>
                  <a:lnTo>
                    <a:pt x="562737" y="194437"/>
                  </a:lnTo>
                  <a:lnTo>
                    <a:pt x="563246" y="192531"/>
                  </a:lnTo>
                  <a:lnTo>
                    <a:pt x="563499" y="190500"/>
                  </a:lnTo>
                  <a:lnTo>
                    <a:pt x="563246" y="188594"/>
                  </a:lnTo>
                  <a:lnTo>
                    <a:pt x="562737" y="186690"/>
                  </a:lnTo>
                  <a:lnTo>
                    <a:pt x="562357" y="184912"/>
                  </a:lnTo>
                  <a:lnTo>
                    <a:pt x="561340" y="183134"/>
                  </a:lnTo>
                  <a:lnTo>
                    <a:pt x="560198" y="181482"/>
                  </a:lnTo>
                  <a:lnTo>
                    <a:pt x="558927" y="179831"/>
                  </a:lnTo>
                  <a:lnTo>
                    <a:pt x="557531" y="178434"/>
                  </a:lnTo>
                  <a:lnTo>
                    <a:pt x="555880" y="177037"/>
                  </a:lnTo>
                  <a:lnTo>
                    <a:pt x="553848" y="175768"/>
                  </a:lnTo>
                  <a:lnTo>
                    <a:pt x="551815" y="174752"/>
                  </a:lnTo>
                  <a:lnTo>
                    <a:pt x="549784" y="173862"/>
                  </a:lnTo>
                  <a:lnTo>
                    <a:pt x="547371" y="172974"/>
                  </a:lnTo>
                  <a:lnTo>
                    <a:pt x="544958" y="172338"/>
                  </a:lnTo>
                  <a:lnTo>
                    <a:pt x="542545" y="171957"/>
                  </a:lnTo>
                  <a:lnTo>
                    <a:pt x="540005" y="171577"/>
                  </a:lnTo>
                  <a:lnTo>
                    <a:pt x="537210" y="171450"/>
                  </a:lnTo>
                  <a:close/>
                  <a:moveTo>
                    <a:pt x="-7370826" y="2959607"/>
                  </a:moveTo>
                  <a:moveTo>
                    <a:pt x="123190" y="189356"/>
                  </a:moveTo>
                  <a:lnTo>
                    <a:pt x="70739" y="189356"/>
                  </a:lnTo>
                  <a:lnTo>
                    <a:pt x="70739" y="190500"/>
                  </a:lnTo>
                  <a:lnTo>
                    <a:pt x="70867" y="192531"/>
                  </a:lnTo>
                  <a:lnTo>
                    <a:pt x="71248" y="194437"/>
                  </a:lnTo>
                  <a:lnTo>
                    <a:pt x="72010" y="196215"/>
                  </a:lnTo>
                  <a:lnTo>
                    <a:pt x="72898" y="197993"/>
                  </a:lnTo>
                  <a:lnTo>
                    <a:pt x="73914" y="199643"/>
                  </a:lnTo>
                  <a:lnTo>
                    <a:pt x="75185" y="201168"/>
                  </a:lnTo>
                  <a:lnTo>
                    <a:pt x="76835" y="202565"/>
                  </a:lnTo>
                  <a:lnTo>
                    <a:pt x="78486" y="203962"/>
                  </a:lnTo>
                  <a:lnTo>
                    <a:pt x="80264" y="205231"/>
                  </a:lnTo>
                  <a:lnTo>
                    <a:pt x="82423" y="206375"/>
                  </a:lnTo>
                  <a:lnTo>
                    <a:pt x="84583" y="207263"/>
                  </a:lnTo>
                  <a:lnTo>
                    <a:pt x="86869" y="208153"/>
                  </a:lnTo>
                  <a:lnTo>
                    <a:pt x="89282" y="208660"/>
                  </a:lnTo>
                  <a:lnTo>
                    <a:pt x="91695" y="209168"/>
                  </a:lnTo>
                  <a:lnTo>
                    <a:pt x="94361" y="209422"/>
                  </a:lnTo>
                  <a:lnTo>
                    <a:pt x="96901" y="209550"/>
                  </a:lnTo>
                  <a:lnTo>
                    <a:pt x="99696" y="209422"/>
                  </a:lnTo>
                  <a:lnTo>
                    <a:pt x="102235" y="209168"/>
                  </a:lnTo>
                  <a:lnTo>
                    <a:pt x="104902" y="208660"/>
                  </a:lnTo>
                  <a:lnTo>
                    <a:pt x="107061" y="208153"/>
                  </a:lnTo>
                  <a:lnTo>
                    <a:pt x="109474" y="207263"/>
                  </a:lnTo>
                  <a:lnTo>
                    <a:pt x="111760" y="206375"/>
                  </a:lnTo>
                  <a:lnTo>
                    <a:pt x="113665" y="205231"/>
                  </a:lnTo>
                  <a:lnTo>
                    <a:pt x="115571" y="203962"/>
                  </a:lnTo>
                  <a:lnTo>
                    <a:pt x="117222" y="202565"/>
                  </a:lnTo>
                  <a:lnTo>
                    <a:pt x="118746" y="201168"/>
                  </a:lnTo>
                  <a:lnTo>
                    <a:pt x="120015" y="199643"/>
                  </a:lnTo>
                  <a:lnTo>
                    <a:pt x="121285" y="197993"/>
                  </a:lnTo>
                  <a:lnTo>
                    <a:pt x="122048" y="196215"/>
                  </a:lnTo>
                  <a:lnTo>
                    <a:pt x="122683" y="194437"/>
                  </a:lnTo>
                  <a:lnTo>
                    <a:pt x="122936" y="192531"/>
                  </a:lnTo>
                  <a:lnTo>
                    <a:pt x="123190" y="190500"/>
                  </a:lnTo>
                  <a:lnTo>
                    <a:pt x="123190" y="189356"/>
                  </a:lnTo>
                  <a:close/>
                  <a:moveTo>
                    <a:pt x="-7388732" y="2959607"/>
                  </a:moveTo>
                  <a:moveTo>
                    <a:pt x="225425" y="189356"/>
                  </a:moveTo>
                  <a:lnTo>
                    <a:pt x="173101" y="189356"/>
                  </a:lnTo>
                  <a:lnTo>
                    <a:pt x="173101" y="190500"/>
                  </a:lnTo>
                  <a:lnTo>
                    <a:pt x="173101" y="192531"/>
                  </a:lnTo>
                  <a:lnTo>
                    <a:pt x="173610" y="194437"/>
                  </a:lnTo>
                  <a:lnTo>
                    <a:pt x="174245" y="196215"/>
                  </a:lnTo>
                  <a:lnTo>
                    <a:pt x="175134" y="197993"/>
                  </a:lnTo>
                  <a:lnTo>
                    <a:pt x="176276" y="199643"/>
                  </a:lnTo>
                  <a:lnTo>
                    <a:pt x="177547" y="201168"/>
                  </a:lnTo>
                  <a:lnTo>
                    <a:pt x="179071" y="202565"/>
                  </a:lnTo>
                  <a:lnTo>
                    <a:pt x="180848" y="203962"/>
                  </a:lnTo>
                  <a:lnTo>
                    <a:pt x="182626" y="205231"/>
                  </a:lnTo>
                  <a:lnTo>
                    <a:pt x="184532" y="206375"/>
                  </a:lnTo>
                  <a:lnTo>
                    <a:pt x="186690" y="207263"/>
                  </a:lnTo>
                  <a:lnTo>
                    <a:pt x="188976" y="208153"/>
                  </a:lnTo>
                  <a:lnTo>
                    <a:pt x="191389" y="208660"/>
                  </a:lnTo>
                  <a:lnTo>
                    <a:pt x="193930" y="209168"/>
                  </a:lnTo>
                  <a:lnTo>
                    <a:pt x="196597" y="209422"/>
                  </a:lnTo>
                  <a:lnTo>
                    <a:pt x="199390" y="209550"/>
                  </a:lnTo>
                  <a:lnTo>
                    <a:pt x="202058" y="209422"/>
                  </a:lnTo>
                  <a:lnTo>
                    <a:pt x="204598" y="209168"/>
                  </a:lnTo>
                  <a:lnTo>
                    <a:pt x="207010" y="208660"/>
                  </a:lnTo>
                  <a:lnTo>
                    <a:pt x="209550" y="208153"/>
                  </a:lnTo>
                  <a:lnTo>
                    <a:pt x="211836" y="207263"/>
                  </a:lnTo>
                  <a:lnTo>
                    <a:pt x="213869" y="206375"/>
                  </a:lnTo>
                  <a:lnTo>
                    <a:pt x="215900" y="205231"/>
                  </a:lnTo>
                  <a:lnTo>
                    <a:pt x="217933" y="203962"/>
                  </a:lnTo>
                  <a:lnTo>
                    <a:pt x="219584" y="202565"/>
                  </a:lnTo>
                  <a:lnTo>
                    <a:pt x="220981" y="201168"/>
                  </a:lnTo>
                  <a:lnTo>
                    <a:pt x="222377" y="199643"/>
                  </a:lnTo>
                  <a:lnTo>
                    <a:pt x="223394" y="197993"/>
                  </a:lnTo>
                  <a:lnTo>
                    <a:pt x="224283" y="196215"/>
                  </a:lnTo>
                  <a:lnTo>
                    <a:pt x="224918" y="194437"/>
                  </a:lnTo>
                  <a:lnTo>
                    <a:pt x="225425" y="192531"/>
                  </a:lnTo>
                  <a:lnTo>
                    <a:pt x="225552" y="190500"/>
                  </a:lnTo>
                  <a:lnTo>
                    <a:pt x="225425" y="189356"/>
                  </a:lnTo>
                  <a:close/>
                  <a:moveTo>
                    <a:pt x="-7388732" y="2959607"/>
                  </a:moveTo>
                  <a:moveTo>
                    <a:pt x="611633" y="158368"/>
                  </a:moveTo>
                  <a:lnTo>
                    <a:pt x="639192" y="158368"/>
                  </a:lnTo>
                  <a:lnTo>
                    <a:pt x="639192" y="151256"/>
                  </a:lnTo>
                  <a:lnTo>
                    <a:pt x="611633" y="151256"/>
                  </a:lnTo>
                  <a:lnTo>
                    <a:pt x="611633" y="141731"/>
                  </a:lnTo>
                  <a:lnTo>
                    <a:pt x="639192" y="141731"/>
                  </a:lnTo>
                  <a:lnTo>
                    <a:pt x="639192" y="134747"/>
                  </a:lnTo>
                  <a:lnTo>
                    <a:pt x="611633" y="134747"/>
                  </a:lnTo>
                  <a:lnTo>
                    <a:pt x="611633" y="125222"/>
                  </a:lnTo>
                  <a:lnTo>
                    <a:pt x="632587" y="125222"/>
                  </a:lnTo>
                  <a:lnTo>
                    <a:pt x="616205" y="109981"/>
                  </a:lnTo>
                  <a:lnTo>
                    <a:pt x="616077" y="109981"/>
                  </a:lnTo>
                  <a:lnTo>
                    <a:pt x="552577" y="109981"/>
                  </a:lnTo>
                  <a:lnTo>
                    <a:pt x="532638" y="69341"/>
                  </a:lnTo>
                  <a:lnTo>
                    <a:pt x="596647" y="69341"/>
                  </a:lnTo>
                  <a:lnTo>
                    <a:pt x="595123" y="66421"/>
                  </a:lnTo>
                  <a:lnTo>
                    <a:pt x="594234" y="65150"/>
                  </a:lnTo>
                  <a:lnTo>
                    <a:pt x="593472" y="63881"/>
                  </a:lnTo>
                  <a:lnTo>
                    <a:pt x="592583" y="62737"/>
                  </a:lnTo>
                  <a:lnTo>
                    <a:pt x="591439" y="61722"/>
                  </a:lnTo>
                  <a:lnTo>
                    <a:pt x="590423" y="60578"/>
                  </a:lnTo>
                  <a:lnTo>
                    <a:pt x="589281" y="59816"/>
                  </a:lnTo>
                  <a:lnTo>
                    <a:pt x="587884" y="59055"/>
                  </a:lnTo>
                  <a:lnTo>
                    <a:pt x="586486" y="58165"/>
                  </a:lnTo>
                  <a:lnTo>
                    <a:pt x="584835" y="57657"/>
                  </a:lnTo>
                  <a:lnTo>
                    <a:pt x="582931" y="57150"/>
                  </a:lnTo>
                  <a:lnTo>
                    <a:pt x="581025" y="56641"/>
                  </a:lnTo>
                  <a:lnTo>
                    <a:pt x="578867" y="56515"/>
                  </a:lnTo>
                  <a:lnTo>
                    <a:pt x="576581" y="56260"/>
                  </a:lnTo>
                  <a:lnTo>
                    <a:pt x="573913" y="56260"/>
                  </a:lnTo>
                  <a:lnTo>
                    <a:pt x="503556" y="56260"/>
                  </a:lnTo>
                  <a:lnTo>
                    <a:pt x="503556" y="46735"/>
                  </a:lnTo>
                  <a:lnTo>
                    <a:pt x="573913" y="46735"/>
                  </a:lnTo>
                  <a:lnTo>
                    <a:pt x="578105" y="46862"/>
                  </a:lnTo>
                  <a:lnTo>
                    <a:pt x="581660" y="47116"/>
                  </a:lnTo>
                  <a:lnTo>
                    <a:pt x="585089" y="47625"/>
                  </a:lnTo>
                  <a:lnTo>
                    <a:pt x="588264" y="48387"/>
                  </a:lnTo>
                  <a:lnTo>
                    <a:pt x="591185" y="49275"/>
                  </a:lnTo>
                  <a:lnTo>
                    <a:pt x="593598" y="50418"/>
                  </a:lnTo>
                  <a:lnTo>
                    <a:pt x="596138" y="51562"/>
                  </a:lnTo>
                  <a:lnTo>
                    <a:pt x="598298" y="52831"/>
                  </a:lnTo>
                  <a:lnTo>
                    <a:pt x="599948" y="54356"/>
                  </a:lnTo>
                  <a:lnTo>
                    <a:pt x="601853" y="55753"/>
                  </a:lnTo>
                  <a:lnTo>
                    <a:pt x="603250" y="57403"/>
                  </a:lnTo>
                  <a:lnTo>
                    <a:pt x="604774" y="59055"/>
                  </a:lnTo>
                  <a:lnTo>
                    <a:pt x="605918" y="60959"/>
                  </a:lnTo>
                  <a:lnTo>
                    <a:pt x="607060" y="62610"/>
                  </a:lnTo>
                  <a:lnTo>
                    <a:pt x="608076" y="64388"/>
                  </a:lnTo>
                  <a:lnTo>
                    <a:pt x="608965" y="66293"/>
                  </a:lnTo>
                  <a:lnTo>
                    <a:pt x="627888" y="105409"/>
                  </a:lnTo>
                  <a:lnTo>
                    <a:pt x="652273" y="127888"/>
                  </a:lnTo>
                  <a:lnTo>
                    <a:pt x="652273" y="149859"/>
                  </a:lnTo>
                  <a:lnTo>
                    <a:pt x="652273" y="165227"/>
                  </a:lnTo>
                  <a:lnTo>
                    <a:pt x="652019" y="172847"/>
                  </a:lnTo>
                  <a:lnTo>
                    <a:pt x="651764" y="174625"/>
                  </a:lnTo>
                  <a:lnTo>
                    <a:pt x="651130" y="176403"/>
                  </a:lnTo>
                  <a:lnTo>
                    <a:pt x="650495" y="178181"/>
                  </a:lnTo>
                  <a:lnTo>
                    <a:pt x="649478" y="179705"/>
                  </a:lnTo>
                  <a:lnTo>
                    <a:pt x="648462" y="181102"/>
                  </a:lnTo>
                  <a:lnTo>
                    <a:pt x="647193" y="182372"/>
                  </a:lnTo>
                  <a:lnTo>
                    <a:pt x="645669" y="183641"/>
                  </a:lnTo>
                  <a:lnTo>
                    <a:pt x="644272" y="184784"/>
                  </a:lnTo>
                  <a:lnTo>
                    <a:pt x="642494" y="185674"/>
                  </a:lnTo>
                  <a:lnTo>
                    <a:pt x="640588" y="186690"/>
                  </a:lnTo>
                  <a:lnTo>
                    <a:pt x="638557" y="187452"/>
                  </a:lnTo>
                  <a:lnTo>
                    <a:pt x="636398" y="187959"/>
                  </a:lnTo>
                  <a:lnTo>
                    <a:pt x="634111" y="188594"/>
                  </a:lnTo>
                  <a:lnTo>
                    <a:pt x="631698" y="188975"/>
                  </a:lnTo>
                  <a:lnTo>
                    <a:pt x="629159" y="188975"/>
                  </a:lnTo>
                  <a:lnTo>
                    <a:pt x="626364" y="189230"/>
                  </a:lnTo>
                  <a:lnTo>
                    <a:pt x="589661" y="189230"/>
                  </a:lnTo>
                  <a:lnTo>
                    <a:pt x="589661" y="190500"/>
                  </a:lnTo>
                  <a:lnTo>
                    <a:pt x="589535" y="192531"/>
                  </a:lnTo>
                  <a:lnTo>
                    <a:pt x="589281" y="194437"/>
                  </a:lnTo>
                  <a:lnTo>
                    <a:pt x="589026" y="196341"/>
                  </a:lnTo>
                  <a:lnTo>
                    <a:pt x="588519" y="198247"/>
                  </a:lnTo>
                  <a:lnTo>
                    <a:pt x="588010" y="200025"/>
                  </a:lnTo>
                  <a:lnTo>
                    <a:pt x="587248" y="201803"/>
                  </a:lnTo>
                  <a:lnTo>
                    <a:pt x="586486" y="203581"/>
                  </a:lnTo>
                  <a:lnTo>
                    <a:pt x="585598" y="205359"/>
                  </a:lnTo>
                  <a:lnTo>
                    <a:pt x="584455" y="207009"/>
                  </a:lnTo>
                  <a:lnTo>
                    <a:pt x="583311" y="208660"/>
                  </a:lnTo>
                  <a:lnTo>
                    <a:pt x="581914" y="210184"/>
                  </a:lnTo>
                  <a:lnTo>
                    <a:pt x="580772" y="211835"/>
                  </a:lnTo>
                  <a:lnTo>
                    <a:pt x="579248" y="213359"/>
                  </a:lnTo>
                  <a:lnTo>
                    <a:pt x="577723" y="214756"/>
                  </a:lnTo>
                  <a:lnTo>
                    <a:pt x="576073" y="216027"/>
                  </a:lnTo>
                  <a:lnTo>
                    <a:pt x="574295" y="217550"/>
                  </a:lnTo>
                  <a:lnTo>
                    <a:pt x="572517" y="218693"/>
                  </a:lnTo>
                  <a:lnTo>
                    <a:pt x="570485" y="219837"/>
                  </a:lnTo>
                  <a:lnTo>
                    <a:pt x="568580" y="221106"/>
                  </a:lnTo>
                  <a:lnTo>
                    <a:pt x="566548" y="222250"/>
                  </a:lnTo>
                  <a:lnTo>
                    <a:pt x="564388" y="223138"/>
                  </a:lnTo>
                  <a:lnTo>
                    <a:pt x="562230" y="224155"/>
                  </a:lnTo>
                  <a:lnTo>
                    <a:pt x="559944" y="224916"/>
                  </a:lnTo>
                  <a:lnTo>
                    <a:pt x="557531" y="225678"/>
                  </a:lnTo>
                  <a:lnTo>
                    <a:pt x="555372" y="226313"/>
                  </a:lnTo>
                  <a:lnTo>
                    <a:pt x="552832" y="226949"/>
                  </a:lnTo>
                  <a:lnTo>
                    <a:pt x="550419" y="227456"/>
                  </a:lnTo>
                  <a:lnTo>
                    <a:pt x="547751" y="227837"/>
                  </a:lnTo>
                  <a:lnTo>
                    <a:pt x="545211" y="228218"/>
                  </a:lnTo>
                  <a:lnTo>
                    <a:pt x="542545" y="228472"/>
                  </a:lnTo>
                  <a:lnTo>
                    <a:pt x="540005" y="228600"/>
                  </a:lnTo>
                  <a:lnTo>
                    <a:pt x="537210" y="228600"/>
                  </a:lnTo>
                  <a:lnTo>
                    <a:pt x="534544" y="228600"/>
                  </a:lnTo>
                  <a:lnTo>
                    <a:pt x="531876" y="228472"/>
                  </a:lnTo>
                  <a:lnTo>
                    <a:pt x="529336" y="228218"/>
                  </a:lnTo>
                  <a:lnTo>
                    <a:pt x="526670" y="227837"/>
                  </a:lnTo>
                  <a:lnTo>
                    <a:pt x="524130" y="227456"/>
                  </a:lnTo>
                  <a:lnTo>
                    <a:pt x="521717" y="226949"/>
                  </a:lnTo>
                  <a:lnTo>
                    <a:pt x="519176" y="226313"/>
                  </a:lnTo>
                  <a:lnTo>
                    <a:pt x="516763" y="225678"/>
                  </a:lnTo>
                  <a:lnTo>
                    <a:pt x="514477" y="224916"/>
                  </a:lnTo>
                  <a:lnTo>
                    <a:pt x="512192" y="224155"/>
                  </a:lnTo>
                  <a:lnTo>
                    <a:pt x="510160" y="223138"/>
                  </a:lnTo>
                  <a:lnTo>
                    <a:pt x="508000" y="222250"/>
                  </a:lnTo>
                  <a:lnTo>
                    <a:pt x="505842" y="221106"/>
                  </a:lnTo>
                  <a:lnTo>
                    <a:pt x="503810" y="219837"/>
                  </a:lnTo>
                  <a:lnTo>
                    <a:pt x="502032" y="218693"/>
                  </a:lnTo>
                  <a:lnTo>
                    <a:pt x="499999" y="217550"/>
                  </a:lnTo>
                  <a:lnTo>
                    <a:pt x="498475" y="216027"/>
                  </a:lnTo>
                  <a:lnTo>
                    <a:pt x="496824" y="214756"/>
                  </a:lnTo>
                  <a:lnTo>
                    <a:pt x="495173" y="213359"/>
                  </a:lnTo>
                  <a:lnTo>
                    <a:pt x="493776" y="211835"/>
                  </a:lnTo>
                  <a:lnTo>
                    <a:pt x="492380" y="210184"/>
                  </a:lnTo>
                  <a:lnTo>
                    <a:pt x="490983" y="208660"/>
                  </a:lnTo>
                  <a:lnTo>
                    <a:pt x="489967" y="207009"/>
                  </a:lnTo>
                  <a:lnTo>
                    <a:pt x="488950" y="205359"/>
                  </a:lnTo>
                  <a:lnTo>
                    <a:pt x="487935" y="203581"/>
                  </a:lnTo>
                  <a:lnTo>
                    <a:pt x="487173" y="201803"/>
                  </a:lnTo>
                  <a:lnTo>
                    <a:pt x="486537" y="200025"/>
                  </a:lnTo>
                  <a:lnTo>
                    <a:pt x="485775" y="198247"/>
                  </a:lnTo>
                  <a:lnTo>
                    <a:pt x="485268" y="196341"/>
                  </a:lnTo>
                  <a:lnTo>
                    <a:pt x="485013" y="194437"/>
                  </a:lnTo>
                  <a:lnTo>
                    <a:pt x="484886" y="192531"/>
                  </a:lnTo>
                  <a:lnTo>
                    <a:pt x="484886" y="190500"/>
                  </a:lnTo>
                  <a:lnTo>
                    <a:pt x="484886" y="189356"/>
                  </a:lnTo>
                  <a:lnTo>
                    <a:pt x="251714" y="189356"/>
                  </a:lnTo>
                  <a:lnTo>
                    <a:pt x="251714" y="190500"/>
                  </a:lnTo>
                  <a:lnTo>
                    <a:pt x="251587" y="192531"/>
                  </a:lnTo>
                  <a:lnTo>
                    <a:pt x="251460" y="194437"/>
                  </a:lnTo>
                  <a:lnTo>
                    <a:pt x="251080" y="196341"/>
                  </a:lnTo>
                  <a:lnTo>
                    <a:pt x="250572" y="198247"/>
                  </a:lnTo>
                  <a:lnTo>
                    <a:pt x="250063" y="200025"/>
                  </a:lnTo>
                  <a:lnTo>
                    <a:pt x="249301" y="201803"/>
                  </a:lnTo>
                  <a:lnTo>
                    <a:pt x="248412" y="203581"/>
                  </a:lnTo>
                  <a:lnTo>
                    <a:pt x="247650" y="205359"/>
                  </a:lnTo>
                  <a:lnTo>
                    <a:pt x="246508" y="207009"/>
                  </a:lnTo>
                  <a:lnTo>
                    <a:pt x="245364" y="208660"/>
                  </a:lnTo>
                  <a:lnTo>
                    <a:pt x="244095" y="210184"/>
                  </a:lnTo>
                  <a:lnTo>
                    <a:pt x="242824" y="211835"/>
                  </a:lnTo>
                  <a:lnTo>
                    <a:pt x="241300" y="213359"/>
                  </a:lnTo>
                  <a:lnTo>
                    <a:pt x="239903" y="214756"/>
                  </a:lnTo>
                  <a:lnTo>
                    <a:pt x="238252" y="216027"/>
                  </a:lnTo>
                  <a:lnTo>
                    <a:pt x="236348" y="217550"/>
                  </a:lnTo>
                  <a:lnTo>
                    <a:pt x="234570" y="218693"/>
                  </a:lnTo>
                  <a:lnTo>
                    <a:pt x="232537" y="219837"/>
                  </a:lnTo>
                  <a:lnTo>
                    <a:pt x="230633" y="221106"/>
                  </a:lnTo>
                  <a:lnTo>
                    <a:pt x="228600" y="222250"/>
                  </a:lnTo>
                  <a:lnTo>
                    <a:pt x="226442" y="223138"/>
                  </a:lnTo>
                  <a:lnTo>
                    <a:pt x="224283" y="224155"/>
                  </a:lnTo>
                  <a:lnTo>
                    <a:pt x="221997" y="224916"/>
                  </a:lnTo>
                  <a:lnTo>
                    <a:pt x="219584" y="225678"/>
                  </a:lnTo>
                  <a:lnTo>
                    <a:pt x="217424" y="226313"/>
                  </a:lnTo>
                  <a:lnTo>
                    <a:pt x="214885" y="226949"/>
                  </a:lnTo>
                  <a:lnTo>
                    <a:pt x="212472" y="227456"/>
                  </a:lnTo>
                  <a:lnTo>
                    <a:pt x="209805" y="227837"/>
                  </a:lnTo>
                  <a:lnTo>
                    <a:pt x="207264" y="228218"/>
                  </a:lnTo>
                  <a:lnTo>
                    <a:pt x="204598" y="228472"/>
                  </a:lnTo>
                  <a:lnTo>
                    <a:pt x="202058" y="228600"/>
                  </a:lnTo>
                  <a:lnTo>
                    <a:pt x="199390" y="228600"/>
                  </a:lnTo>
                  <a:lnTo>
                    <a:pt x="196850" y="228600"/>
                  </a:lnTo>
                  <a:lnTo>
                    <a:pt x="194692" y="228472"/>
                  </a:lnTo>
                  <a:lnTo>
                    <a:pt x="192278" y="228346"/>
                  </a:lnTo>
                  <a:lnTo>
                    <a:pt x="190120" y="228091"/>
                  </a:lnTo>
                  <a:lnTo>
                    <a:pt x="185674" y="227456"/>
                  </a:lnTo>
                  <a:lnTo>
                    <a:pt x="181484" y="226313"/>
                  </a:lnTo>
                  <a:lnTo>
                    <a:pt x="177420" y="225171"/>
                  </a:lnTo>
                  <a:lnTo>
                    <a:pt x="173483" y="223774"/>
                  </a:lnTo>
                  <a:lnTo>
                    <a:pt x="169799" y="221996"/>
                  </a:lnTo>
                  <a:lnTo>
                    <a:pt x="166244" y="220090"/>
                  </a:lnTo>
                  <a:lnTo>
                    <a:pt x="162942" y="217931"/>
                  </a:lnTo>
                  <a:lnTo>
                    <a:pt x="160021" y="215772"/>
                  </a:lnTo>
                  <a:lnTo>
                    <a:pt x="157226" y="213359"/>
                  </a:lnTo>
                  <a:lnTo>
                    <a:pt x="154813" y="210693"/>
                  </a:lnTo>
                  <a:lnTo>
                    <a:pt x="152655" y="208025"/>
                  </a:lnTo>
                  <a:lnTo>
                    <a:pt x="150876" y="204978"/>
                  </a:lnTo>
                  <a:lnTo>
                    <a:pt x="149225" y="202056"/>
                  </a:lnTo>
                  <a:lnTo>
                    <a:pt x="148083" y="198881"/>
                  </a:lnTo>
                  <a:lnTo>
                    <a:pt x="146939" y="202056"/>
                  </a:lnTo>
                  <a:lnTo>
                    <a:pt x="145415" y="204978"/>
                  </a:lnTo>
                  <a:lnTo>
                    <a:pt x="143637" y="208025"/>
                  </a:lnTo>
                  <a:lnTo>
                    <a:pt x="141606" y="210693"/>
                  </a:lnTo>
                  <a:lnTo>
                    <a:pt x="139065" y="213359"/>
                  </a:lnTo>
                  <a:lnTo>
                    <a:pt x="136272" y="215772"/>
                  </a:lnTo>
                  <a:lnTo>
                    <a:pt x="133097" y="217931"/>
                  </a:lnTo>
                  <a:lnTo>
                    <a:pt x="129795" y="220090"/>
                  </a:lnTo>
                  <a:lnTo>
                    <a:pt x="126493" y="221996"/>
                  </a:lnTo>
                  <a:lnTo>
                    <a:pt x="122936" y="223774"/>
                  </a:lnTo>
                  <a:lnTo>
                    <a:pt x="118873" y="225171"/>
                  </a:lnTo>
                  <a:lnTo>
                    <a:pt x="114809" y="226313"/>
                  </a:lnTo>
                  <a:lnTo>
                    <a:pt x="110618" y="227456"/>
                  </a:lnTo>
                  <a:lnTo>
                    <a:pt x="106173" y="228091"/>
                  </a:lnTo>
                  <a:lnTo>
                    <a:pt x="103760" y="228346"/>
                  </a:lnTo>
                  <a:lnTo>
                    <a:pt x="101600" y="228472"/>
                  </a:lnTo>
                  <a:lnTo>
                    <a:pt x="99314" y="228600"/>
                  </a:lnTo>
                  <a:lnTo>
                    <a:pt x="96901" y="228600"/>
                  </a:lnTo>
                  <a:lnTo>
                    <a:pt x="94361" y="228600"/>
                  </a:lnTo>
                  <a:lnTo>
                    <a:pt x="91568" y="228472"/>
                  </a:lnTo>
                  <a:lnTo>
                    <a:pt x="89027" y="228218"/>
                  </a:lnTo>
                  <a:lnTo>
                    <a:pt x="86487" y="227837"/>
                  </a:lnTo>
                  <a:lnTo>
                    <a:pt x="83821" y="227456"/>
                  </a:lnTo>
                  <a:lnTo>
                    <a:pt x="81408" y="226949"/>
                  </a:lnTo>
                  <a:lnTo>
                    <a:pt x="78868" y="226313"/>
                  </a:lnTo>
                  <a:lnTo>
                    <a:pt x="76709" y="225678"/>
                  </a:lnTo>
                  <a:lnTo>
                    <a:pt x="74169" y="224916"/>
                  </a:lnTo>
                  <a:lnTo>
                    <a:pt x="72010" y="224155"/>
                  </a:lnTo>
                  <a:lnTo>
                    <a:pt x="69850" y="223138"/>
                  </a:lnTo>
                  <a:lnTo>
                    <a:pt x="67692" y="222250"/>
                  </a:lnTo>
                  <a:lnTo>
                    <a:pt x="65660" y="221106"/>
                  </a:lnTo>
                  <a:lnTo>
                    <a:pt x="63755" y="219837"/>
                  </a:lnTo>
                  <a:lnTo>
                    <a:pt x="61723" y="218693"/>
                  </a:lnTo>
                  <a:lnTo>
                    <a:pt x="59945" y="217550"/>
                  </a:lnTo>
                  <a:lnTo>
                    <a:pt x="58167" y="216027"/>
                  </a:lnTo>
                  <a:lnTo>
                    <a:pt x="56515" y="214756"/>
                  </a:lnTo>
                  <a:lnTo>
                    <a:pt x="54992" y="213359"/>
                  </a:lnTo>
                  <a:lnTo>
                    <a:pt x="53595" y="211835"/>
                  </a:lnTo>
                  <a:lnTo>
                    <a:pt x="52071" y="210184"/>
                  </a:lnTo>
                  <a:lnTo>
                    <a:pt x="50927" y="208660"/>
                  </a:lnTo>
                  <a:lnTo>
                    <a:pt x="49785" y="207009"/>
                  </a:lnTo>
                  <a:lnTo>
                    <a:pt x="48642" y="205359"/>
                  </a:lnTo>
                  <a:lnTo>
                    <a:pt x="47880" y="203581"/>
                  </a:lnTo>
                  <a:lnTo>
                    <a:pt x="46863" y="201803"/>
                  </a:lnTo>
                  <a:lnTo>
                    <a:pt x="46228" y="200025"/>
                  </a:lnTo>
                  <a:lnTo>
                    <a:pt x="45721" y="198247"/>
                  </a:lnTo>
                  <a:lnTo>
                    <a:pt x="45212" y="196341"/>
                  </a:lnTo>
                  <a:lnTo>
                    <a:pt x="44959" y="194437"/>
                  </a:lnTo>
                  <a:lnTo>
                    <a:pt x="44705" y="192531"/>
                  </a:lnTo>
                  <a:lnTo>
                    <a:pt x="44577" y="190500"/>
                  </a:lnTo>
                  <a:lnTo>
                    <a:pt x="44577" y="189356"/>
                  </a:lnTo>
                  <a:lnTo>
                    <a:pt x="44577" y="170941"/>
                  </a:lnTo>
                  <a:lnTo>
                    <a:pt x="492252" y="170941"/>
                  </a:lnTo>
                  <a:lnTo>
                    <a:pt x="494031" y="168909"/>
                  </a:lnTo>
                  <a:lnTo>
                    <a:pt x="495935" y="166878"/>
                  </a:lnTo>
                  <a:lnTo>
                    <a:pt x="498095" y="165100"/>
                  </a:lnTo>
                  <a:lnTo>
                    <a:pt x="500381" y="163322"/>
                  </a:lnTo>
                  <a:lnTo>
                    <a:pt x="502921" y="161797"/>
                  </a:lnTo>
                  <a:lnTo>
                    <a:pt x="505460" y="160274"/>
                  </a:lnTo>
                  <a:lnTo>
                    <a:pt x="508127" y="158750"/>
                  </a:lnTo>
                  <a:lnTo>
                    <a:pt x="511048" y="157480"/>
                  </a:lnTo>
                  <a:lnTo>
                    <a:pt x="513970" y="156337"/>
                  </a:lnTo>
                  <a:lnTo>
                    <a:pt x="517018" y="155321"/>
                  </a:lnTo>
                  <a:lnTo>
                    <a:pt x="520320" y="154559"/>
                  </a:lnTo>
                  <a:lnTo>
                    <a:pt x="523368" y="153797"/>
                  </a:lnTo>
                  <a:lnTo>
                    <a:pt x="526797" y="153162"/>
                  </a:lnTo>
                  <a:lnTo>
                    <a:pt x="530225" y="152653"/>
                  </a:lnTo>
                  <a:lnTo>
                    <a:pt x="533655" y="152527"/>
                  </a:lnTo>
                  <a:lnTo>
                    <a:pt x="537210" y="152400"/>
                  </a:lnTo>
                  <a:lnTo>
                    <a:pt x="541656" y="152527"/>
                  </a:lnTo>
                  <a:lnTo>
                    <a:pt x="545973" y="153034"/>
                  </a:lnTo>
                  <a:lnTo>
                    <a:pt x="550164" y="153543"/>
                  </a:lnTo>
                  <a:lnTo>
                    <a:pt x="554228" y="154431"/>
                  </a:lnTo>
                  <a:lnTo>
                    <a:pt x="558038" y="155575"/>
                  </a:lnTo>
                  <a:lnTo>
                    <a:pt x="561848" y="156844"/>
                  </a:lnTo>
                  <a:lnTo>
                    <a:pt x="565405" y="158368"/>
                  </a:lnTo>
                  <a:lnTo>
                    <a:pt x="568960" y="160147"/>
                  </a:lnTo>
                  <a:lnTo>
                    <a:pt x="572009" y="162052"/>
                  </a:lnTo>
                  <a:lnTo>
                    <a:pt x="575057" y="164210"/>
                  </a:lnTo>
                  <a:lnTo>
                    <a:pt x="577723" y="166243"/>
                  </a:lnTo>
                  <a:lnTo>
                    <a:pt x="580263" y="168782"/>
                  </a:lnTo>
                  <a:lnTo>
                    <a:pt x="582423" y="171322"/>
                  </a:lnTo>
                  <a:lnTo>
                    <a:pt x="584455" y="173862"/>
                  </a:lnTo>
                  <a:lnTo>
                    <a:pt x="586106" y="176784"/>
                  </a:lnTo>
                  <a:lnTo>
                    <a:pt x="587630" y="179705"/>
                  </a:lnTo>
                  <a:lnTo>
                    <a:pt x="626364" y="179705"/>
                  </a:lnTo>
                  <a:lnTo>
                    <a:pt x="629159" y="179578"/>
                  </a:lnTo>
                  <a:lnTo>
                    <a:pt x="630428" y="179450"/>
                  </a:lnTo>
                  <a:lnTo>
                    <a:pt x="631698" y="179197"/>
                  </a:lnTo>
                  <a:lnTo>
                    <a:pt x="632587" y="178943"/>
                  </a:lnTo>
                  <a:lnTo>
                    <a:pt x="633603" y="178562"/>
                  </a:lnTo>
                  <a:lnTo>
                    <a:pt x="634493" y="178181"/>
                  </a:lnTo>
                  <a:lnTo>
                    <a:pt x="635382" y="177800"/>
                  </a:lnTo>
                  <a:lnTo>
                    <a:pt x="636144" y="177165"/>
                  </a:lnTo>
                  <a:lnTo>
                    <a:pt x="636906" y="176530"/>
                  </a:lnTo>
                  <a:lnTo>
                    <a:pt x="637413" y="175894"/>
                  </a:lnTo>
                  <a:lnTo>
                    <a:pt x="637795" y="175259"/>
                  </a:lnTo>
                  <a:lnTo>
                    <a:pt x="638302" y="174497"/>
                  </a:lnTo>
                  <a:lnTo>
                    <a:pt x="638684" y="173735"/>
                  </a:lnTo>
                  <a:lnTo>
                    <a:pt x="639192" y="171831"/>
                  </a:lnTo>
                  <a:lnTo>
                    <a:pt x="639192" y="169544"/>
                  </a:lnTo>
                  <a:lnTo>
                    <a:pt x="639192" y="167893"/>
                  </a:lnTo>
                  <a:lnTo>
                    <a:pt x="611633" y="167893"/>
                  </a:lnTo>
                  <a:lnTo>
                    <a:pt x="611633" y="158368"/>
                  </a:lnTo>
                  <a:close/>
                  <a:moveTo>
                    <a:pt x="-7357744" y="2959607"/>
                  </a:moveTo>
                  <a:moveTo>
                    <a:pt x="15875" y="9525"/>
                  </a:moveTo>
                  <a:lnTo>
                    <a:pt x="15875" y="9525"/>
                  </a:lnTo>
                  <a:lnTo>
                    <a:pt x="15240" y="9652"/>
                  </a:lnTo>
                  <a:lnTo>
                    <a:pt x="14733" y="9778"/>
                  </a:lnTo>
                  <a:lnTo>
                    <a:pt x="14224" y="9906"/>
                  </a:lnTo>
                  <a:lnTo>
                    <a:pt x="13971" y="10159"/>
                  </a:lnTo>
                  <a:lnTo>
                    <a:pt x="13589" y="10540"/>
                  </a:lnTo>
                  <a:lnTo>
                    <a:pt x="13209" y="10794"/>
                  </a:lnTo>
                  <a:lnTo>
                    <a:pt x="13082" y="11175"/>
                  </a:lnTo>
                  <a:lnTo>
                    <a:pt x="13082" y="11556"/>
                  </a:lnTo>
                  <a:lnTo>
                    <a:pt x="13082" y="142366"/>
                  </a:lnTo>
                  <a:lnTo>
                    <a:pt x="0" y="142366"/>
                  </a:lnTo>
                  <a:lnTo>
                    <a:pt x="0" y="11556"/>
                  </a:lnTo>
                  <a:lnTo>
                    <a:pt x="0" y="10287"/>
                  </a:lnTo>
                  <a:lnTo>
                    <a:pt x="255" y="9271"/>
                  </a:lnTo>
                  <a:lnTo>
                    <a:pt x="635" y="8128"/>
                  </a:lnTo>
                  <a:lnTo>
                    <a:pt x="1398" y="7238"/>
                  </a:lnTo>
                  <a:lnTo>
                    <a:pt x="1906" y="6096"/>
                  </a:lnTo>
                  <a:lnTo>
                    <a:pt x="2795" y="5080"/>
                  </a:lnTo>
                  <a:lnTo>
                    <a:pt x="3557" y="4318"/>
                  </a:lnTo>
                  <a:lnTo>
                    <a:pt x="4573" y="3428"/>
                  </a:lnTo>
                  <a:lnTo>
                    <a:pt x="5715" y="2793"/>
                  </a:lnTo>
                  <a:lnTo>
                    <a:pt x="7112" y="2031"/>
                  </a:lnTo>
                  <a:lnTo>
                    <a:pt x="8383" y="1397"/>
                  </a:lnTo>
                  <a:lnTo>
                    <a:pt x="9652" y="1015"/>
                  </a:lnTo>
                  <a:lnTo>
                    <a:pt x="11176" y="507"/>
                  </a:lnTo>
                  <a:lnTo>
                    <a:pt x="12573" y="253"/>
                  </a:lnTo>
                  <a:lnTo>
                    <a:pt x="14224" y="127"/>
                  </a:lnTo>
                  <a:lnTo>
                    <a:pt x="15875" y="0"/>
                  </a:lnTo>
                  <a:lnTo>
                    <a:pt x="474726" y="0"/>
                  </a:lnTo>
                  <a:lnTo>
                    <a:pt x="476250" y="127"/>
                  </a:lnTo>
                  <a:lnTo>
                    <a:pt x="477774" y="253"/>
                  </a:lnTo>
                  <a:lnTo>
                    <a:pt x="479298" y="507"/>
                  </a:lnTo>
                  <a:lnTo>
                    <a:pt x="480823" y="1015"/>
                  </a:lnTo>
                  <a:lnTo>
                    <a:pt x="482220" y="1397"/>
                  </a:lnTo>
                  <a:lnTo>
                    <a:pt x="483617" y="2031"/>
                  </a:lnTo>
                  <a:lnTo>
                    <a:pt x="484633" y="2793"/>
                  </a:lnTo>
                  <a:lnTo>
                    <a:pt x="485775" y="3428"/>
                  </a:lnTo>
                  <a:lnTo>
                    <a:pt x="486792" y="4318"/>
                  </a:lnTo>
                  <a:lnTo>
                    <a:pt x="487808" y="5080"/>
                  </a:lnTo>
                  <a:lnTo>
                    <a:pt x="488570" y="6096"/>
                  </a:lnTo>
                  <a:lnTo>
                    <a:pt x="489332" y="7238"/>
                  </a:lnTo>
                  <a:lnTo>
                    <a:pt x="489839" y="8128"/>
                  </a:lnTo>
                  <a:lnTo>
                    <a:pt x="490094" y="9271"/>
                  </a:lnTo>
                  <a:lnTo>
                    <a:pt x="490474" y="10287"/>
                  </a:lnTo>
                  <a:lnTo>
                    <a:pt x="490474" y="11556"/>
                  </a:lnTo>
                  <a:lnTo>
                    <a:pt x="490474" y="161416"/>
                  </a:lnTo>
                  <a:lnTo>
                    <a:pt x="0" y="161416"/>
                  </a:lnTo>
                  <a:lnTo>
                    <a:pt x="0" y="151891"/>
                  </a:lnTo>
                  <a:lnTo>
                    <a:pt x="477267" y="151891"/>
                  </a:lnTo>
                  <a:lnTo>
                    <a:pt x="477267" y="11556"/>
                  </a:lnTo>
                  <a:lnTo>
                    <a:pt x="477267" y="11175"/>
                  </a:lnTo>
                  <a:lnTo>
                    <a:pt x="477139" y="10794"/>
                  </a:lnTo>
                  <a:lnTo>
                    <a:pt x="476759" y="10540"/>
                  </a:lnTo>
                  <a:lnTo>
                    <a:pt x="476505" y="10159"/>
                  </a:lnTo>
                  <a:lnTo>
                    <a:pt x="476250" y="9906"/>
                  </a:lnTo>
                  <a:lnTo>
                    <a:pt x="475615" y="9778"/>
                  </a:lnTo>
                  <a:lnTo>
                    <a:pt x="475108" y="9652"/>
                  </a:lnTo>
                  <a:lnTo>
                    <a:pt x="474726" y="9525"/>
                  </a:lnTo>
                  <a:lnTo>
                    <a:pt x="15875" y="9525"/>
                  </a:lnTo>
                  <a:close/>
                  <a:moveTo>
                    <a:pt x="-7208901" y="2959607"/>
                  </a:moveTo>
                </a:path>
              </a:pathLst>
            </a:custGeom>
            <a:solidFill>
              <a:srgbClr val="188CE5"/>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77" name="Freeform 1477"/>
            <p:cNvSpPr/>
            <p:nvPr/>
          </p:nvSpPr>
          <p:spPr>
            <a:xfrm>
              <a:off x="10202567" y="4462635"/>
              <a:ext cx="475240" cy="207155"/>
            </a:xfrm>
            <a:custGeom>
              <a:avLst/>
              <a:gdLst/>
              <a:ahLst/>
              <a:cxnLst/>
              <a:rect l="0" t="0" r="0" b="0"/>
              <a:pathLst>
                <a:path w="475488" h="207263">
                  <a:moveTo>
                    <a:pt x="113918" y="156718"/>
                  </a:moveTo>
                  <a:lnTo>
                    <a:pt x="113918" y="156718"/>
                  </a:lnTo>
                  <a:lnTo>
                    <a:pt x="113538" y="154559"/>
                  </a:lnTo>
                  <a:lnTo>
                    <a:pt x="113156" y="152400"/>
                  </a:lnTo>
                  <a:lnTo>
                    <a:pt x="112902" y="150113"/>
                  </a:lnTo>
                  <a:lnTo>
                    <a:pt x="112394" y="148081"/>
                  </a:lnTo>
                  <a:lnTo>
                    <a:pt x="111760" y="145796"/>
                  </a:lnTo>
                  <a:lnTo>
                    <a:pt x="111125" y="143763"/>
                  </a:lnTo>
                  <a:lnTo>
                    <a:pt x="109601" y="139953"/>
                  </a:lnTo>
                  <a:lnTo>
                    <a:pt x="107441" y="136271"/>
                  </a:lnTo>
                  <a:lnTo>
                    <a:pt x="105155" y="132587"/>
                  </a:lnTo>
                  <a:lnTo>
                    <a:pt x="102615" y="129285"/>
                  </a:lnTo>
                  <a:lnTo>
                    <a:pt x="99822" y="126365"/>
                  </a:lnTo>
                  <a:lnTo>
                    <a:pt x="96774" y="123571"/>
                  </a:lnTo>
                  <a:lnTo>
                    <a:pt x="93344" y="121031"/>
                  </a:lnTo>
                  <a:lnTo>
                    <a:pt x="90042" y="118999"/>
                  </a:lnTo>
                  <a:lnTo>
                    <a:pt x="86105" y="117094"/>
                  </a:lnTo>
                  <a:lnTo>
                    <a:pt x="84454" y="116459"/>
                  </a:lnTo>
                  <a:lnTo>
                    <a:pt x="82296" y="115697"/>
                  </a:lnTo>
                  <a:lnTo>
                    <a:pt x="80390" y="115316"/>
                  </a:lnTo>
                  <a:lnTo>
                    <a:pt x="78231" y="114681"/>
                  </a:lnTo>
                  <a:lnTo>
                    <a:pt x="76200" y="114426"/>
                  </a:lnTo>
                  <a:lnTo>
                    <a:pt x="74040" y="113919"/>
                  </a:lnTo>
                  <a:lnTo>
                    <a:pt x="72009" y="113791"/>
                  </a:lnTo>
                  <a:lnTo>
                    <a:pt x="69850" y="113791"/>
                  </a:lnTo>
                  <a:lnTo>
                    <a:pt x="67690" y="113791"/>
                  </a:lnTo>
                  <a:lnTo>
                    <a:pt x="65277" y="113919"/>
                  </a:lnTo>
                  <a:lnTo>
                    <a:pt x="62991" y="114426"/>
                  </a:lnTo>
                  <a:lnTo>
                    <a:pt x="60832" y="114681"/>
                  </a:lnTo>
                  <a:lnTo>
                    <a:pt x="58674" y="115316"/>
                  </a:lnTo>
                  <a:lnTo>
                    <a:pt x="56641" y="115824"/>
                  </a:lnTo>
                  <a:lnTo>
                    <a:pt x="54482" y="116585"/>
                  </a:lnTo>
                  <a:lnTo>
                    <a:pt x="52577" y="117475"/>
                  </a:lnTo>
                  <a:lnTo>
                    <a:pt x="50546" y="118363"/>
                  </a:lnTo>
                  <a:lnTo>
                    <a:pt x="48767" y="119379"/>
                  </a:lnTo>
                  <a:lnTo>
                    <a:pt x="46863" y="120522"/>
                  </a:lnTo>
                  <a:lnTo>
                    <a:pt x="44957" y="121919"/>
                  </a:lnTo>
                  <a:lnTo>
                    <a:pt x="43306" y="123062"/>
                  </a:lnTo>
                  <a:lnTo>
                    <a:pt x="41655" y="124459"/>
                  </a:lnTo>
                  <a:lnTo>
                    <a:pt x="40004" y="125984"/>
                  </a:lnTo>
                  <a:lnTo>
                    <a:pt x="38607" y="127507"/>
                  </a:lnTo>
                  <a:lnTo>
                    <a:pt x="37084" y="129031"/>
                  </a:lnTo>
                  <a:lnTo>
                    <a:pt x="35687" y="130809"/>
                  </a:lnTo>
                  <a:lnTo>
                    <a:pt x="34416" y="132587"/>
                  </a:lnTo>
                  <a:lnTo>
                    <a:pt x="33147" y="134493"/>
                  </a:lnTo>
                  <a:lnTo>
                    <a:pt x="31877" y="136397"/>
                  </a:lnTo>
                  <a:lnTo>
                    <a:pt x="30988" y="138175"/>
                  </a:lnTo>
                  <a:lnTo>
                    <a:pt x="29717" y="140207"/>
                  </a:lnTo>
                  <a:lnTo>
                    <a:pt x="29082" y="142366"/>
                  </a:lnTo>
                  <a:lnTo>
                    <a:pt x="28193" y="144525"/>
                  </a:lnTo>
                  <a:lnTo>
                    <a:pt x="27559" y="146557"/>
                  </a:lnTo>
                  <a:lnTo>
                    <a:pt x="26924" y="148844"/>
                  </a:lnTo>
                  <a:lnTo>
                    <a:pt x="26415" y="151129"/>
                  </a:lnTo>
                  <a:lnTo>
                    <a:pt x="26162" y="153416"/>
                  </a:lnTo>
                  <a:lnTo>
                    <a:pt x="25907" y="155701"/>
                  </a:lnTo>
                  <a:lnTo>
                    <a:pt x="25527" y="158115"/>
                  </a:lnTo>
                  <a:lnTo>
                    <a:pt x="25400" y="160654"/>
                  </a:lnTo>
                  <a:lnTo>
                    <a:pt x="25527" y="162941"/>
                  </a:lnTo>
                  <a:lnTo>
                    <a:pt x="25907" y="165353"/>
                  </a:lnTo>
                  <a:lnTo>
                    <a:pt x="26162" y="167640"/>
                  </a:lnTo>
                  <a:lnTo>
                    <a:pt x="26415" y="169925"/>
                  </a:lnTo>
                  <a:lnTo>
                    <a:pt x="26924" y="172084"/>
                  </a:lnTo>
                  <a:lnTo>
                    <a:pt x="27559" y="174371"/>
                  </a:lnTo>
                  <a:lnTo>
                    <a:pt x="28193" y="176529"/>
                  </a:lnTo>
                  <a:lnTo>
                    <a:pt x="29082" y="178816"/>
                  </a:lnTo>
                  <a:lnTo>
                    <a:pt x="29717" y="180847"/>
                  </a:lnTo>
                  <a:lnTo>
                    <a:pt x="30988" y="182753"/>
                  </a:lnTo>
                  <a:lnTo>
                    <a:pt x="31877" y="184784"/>
                  </a:lnTo>
                  <a:lnTo>
                    <a:pt x="33147" y="186562"/>
                  </a:lnTo>
                  <a:lnTo>
                    <a:pt x="34416" y="188468"/>
                  </a:lnTo>
                  <a:lnTo>
                    <a:pt x="35687" y="190246"/>
                  </a:lnTo>
                  <a:lnTo>
                    <a:pt x="37084" y="191897"/>
                  </a:lnTo>
                  <a:lnTo>
                    <a:pt x="38607" y="193675"/>
                  </a:lnTo>
                  <a:lnTo>
                    <a:pt x="40004" y="195199"/>
                  </a:lnTo>
                  <a:lnTo>
                    <a:pt x="41655" y="196469"/>
                  </a:lnTo>
                  <a:lnTo>
                    <a:pt x="43306" y="197866"/>
                  </a:lnTo>
                  <a:lnTo>
                    <a:pt x="44957" y="199262"/>
                  </a:lnTo>
                  <a:lnTo>
                    <a:pt x="46863" y="200532"/>
                  </a:lnTo>
                  <a:lnTo>
                    <a:pt x="48767" y="201675"/>
                  </a:lnTo>
                  <a:lnTo>
                    <a:pt x="50546" y="202691"/>
                  </a:lnTo>
                  <a:lnTo>
                    <a:pt x="52577" y="203581"/>
                  </a:lnTo>
                  <a:lnTo>
                    <a:pt x="54482" y="204343"/>
                  </a:lnTo>
                  <a:lnTo>
                    <a:pt x="56641" y="205231"/>
                  </a:lnTo>
                  <a:lnTo>
                    <a:pt x="58674" y="205740"/>
                  </a:lnTo>
                  <a:lnTo>
                    <a:pt x="60832" y="206247"/>
                  </a:lnTo>
                  <a:lnTo>
                    <a:pt x="62991" y="206882"/>
                  </a:lnTo>
                  <a:lnTo>
                    <a:pt x="65277" y="207137"/>
                  </a:lnTo>
                  <a:lnTo>
                    <a:pt x="67690" y="207263"/>
                  </a:lnTo>
                  <a:lnTo>
                    <a:pt x="69850" y="207263"/>
                  </a:lnTo>
                  <a:lnTo>
                    <a:pt x="73278" y="207137"/>
                  </a:lnTo>
                  <a:lnTo>
                    <a:pt x="76580" y="206882"/>
                  </a:lnTo>
                  <a:lnTo>
                    <a:pt x="80010" y="206121"/>
                  </a:lnTo>
                  <a:lnTo>
                    <a:pt x="83185" y="205104"/>
                  </a:lnTo>
                  <a:lnTo>
                    <a:pt x="86232" y="203834"/>
                  </a:lnTo>
                  <a:lnTo>
                    <a:pt x="89280" y="202437"/>
                  </a:lnTo>
                  <a:lnTo>
                    <a:pt x="92202" y="200787"/>
                  </a:lnTo>
                  <a:lnTo>
                    <a:pt x="94996" y="198881"/>
                  </a:lnTo>
                  <a:lnTo>
                    <a:pt x="97536" y="196596"/>
                  </a:lnTo>
                  <a:lnTo>
                    <a:pt x="100202" y="194437"/>
                  </a:lnTo>
                  <a:lnTo>
                    <a:pt x="102489" y="192024"/>
                  </a:lnTo>
                  <a:lnTo>
                    <a:pt x="104521" y="189356"/>
                  </a:lnTo>
                  <a:lnTo>
                    <a:pt x="106552" y="186562"/>
                  </a:lnTo>
                  <a:lnTo>
                    <a:pt x="108077" y="183769"/>
                  </a:lnTo>
                  <a:lnTo>
                    <a:pt x="109727" y="180594"/>
                  </a:lnTo>
                  <a:lnTo>
                    <a:pt x="110998" y="177419"/>
                  </a:lnTo>
                  <a:lnTo>
                    <a:pt x="111125" y="177419"/>
                  </a:lnTo>
                  <a:lnTo>
                    <a:pt x="112394" y="173354"/>
                  </a:lnTo>
                  <a:lnTo>
                    <a:pt x="113411" y="169291"/>
                  </a:lnTo>
                  <a:lnTo>
                    <a:pt x="114046" y="165100"/>
                  </a:lnTo>
                  <a:lnTo>
                    <a:pt x="114173" y="162813"/>
                  </a:lnTo>
                  <a:lnTo>
                    <a:pt x="114173" y="160654"/>
                  </a:lnTo>
                  <a:lnTo>
                    <a:pt x="114046" y="156718"/>
                  </a:lnTo>
                  <a:lnTo>
                    <a:pt x="113918" y="156718"/>
                  </a:lnTo>
                  <a:close/>
                  <a:moveTo>
                    <a:pt x="-8078471" y="2282951"/>
                  </a:moveTo>
                  <a:moveTo>
                    <a:pt x="69850" y="186562"/>
                  </a:moveTo>
                  <a:lnTo>
                    <a:pt x="69850" y="186562"/>
                  </a:lnTo>
                  <a:lnTo>
                    <a:pt x="67182" y="186435"/>
                  </a:lnTo>
                  <a:lnTo>
                    <a:pt x="64897" y="186181"/>
                  </a:lnTo>
                  <a:lnTo>
                    <a:pt x="62484" y="185419"/>
                  </a:lnTo>
                  <a:lnTo>
                    <a:pt x="60071" y="184531"/>
                  </a:lnTo>
                  <a:lnTo>
                    <a:pt x="57912" y="183641"/>
                  </a:lnTo>
                  <a:lnTo>
                    <a:pt x="55879" y="182118"/>
                  </a:lnTo>
                  <a:lnTo>
                    <a:pt x="54102" y="180721"/>
                  </a:lnTo>
                  <a:lnTo>
                    <a:pt x="52324" y="178943"/>
                  </a:lnTo>
                  <a:lnTo>
                    <a:pt x="50546" y="177165"/>
                  </a:lnTo>
                  <a:lnTo>
                    <a:pt x="49149" y="175259"/>
                  </a:lnTo>
                  <a:lnTo>
                    <a:pt x="48132" y="172974"/>
                  </a:lnTo>
                  <a:lnTo>
                    <a:pt x="46989" y="170815"/>
                  </a:lnTo>
                  <a:lnTo>
                    <a:pt x="46101" y="168275"/>
                  </a:lnTo>
                  <a:lnTo>
                    <a:pt x="45465" y="165734"/>
                  </a:lnTo>
                  <a:lnTo>
                    <a:pt x="45085" y="163068"/>
                  </a:lnTo>
                  <a:lnTo>
                    <a:pt x="44957" y="160654"/>
                  </a:lnTo>
                  <a:lnTo>
                    <a:pt x="45085" y="157860"/>
                  </a:lnTo>
                  <a:lnTo>
                    <a:pt x="45465" y="155321"/>
                  </a:lnTo>
                  <a:lnTo>
                    <a:pt x="46101" y="152781"/>
                  </a:lnTo>
                  <a:lnTo>
                    <a:pt x="46989" y="150241"/>
                  </a:lnTo>
                  <a:lnTo>
                    <a:pt x="48132" y="148081"/>
                  </a:lnTo>
                  <a:lnTo>
                    <a:pt x="49149" y="145796"/>
                  </a:lnTo>
                  <a:lnTo>
                    <a:pt x="50546" y="143763"/>
                  </a:lnTo>
                  <a:lnTo>
                    <a:pt x="52324" y="141985"/>
                  </a:lnTo>
                  <a:lnTo>
                    <a:pt x="54102" y="140207"/>
                  </a:lnTo>
                  <a:lnTo>
                    <a:pt x="55879" y="138937"/>
                  </a:lnTo>
                  <a:lnTo>
                    <a:pt x="57912" y="137541"/>
                  </a:lnTo>
                  <a:lnTo>
                    <a:pt x="60071" y="136397"/>
                  </a:lnTo>
                  <a:lnTo>
                    <a:pt x="62484" y="135509"/>
                  </a:lnTo>
                  <a:lnTo>
                    <a:pt x="64897" y="134747"/>
                  </a:lnTo>
                  <a:lnTo>
                    <a:pt x="67182" y="134493"/>
                  </a:lnTo>
                  <a:lnTo>
                    <a:pt x="69850" y="134366"/>
                  </a:lnTo>
                  <a:lnTo>
                    <a:pt x="72263" y="134493"/>
                  </a:lnTo>
                  <a:lnTo>
                    <a:pt x="74802" y="134747"/>
                  </a:lnTo>
                  <a:lnTo>
                    <a:pt x="77089" y="135509"/>
                  </a:lnTo>
                  <a:lnTo>
                    <a:pt x="79375" y="136397"/>
                  </a:lnTo>
                  <a:lnTo>
                    <a:pt x="81661" y="137541"/>
                  </a:lnTo>
                  <a:lnTo>
                    <a:pt x="83565" y="138937"/>
                  </a:lnTo>
                  <a:lnTo>
                    <a:pt x="85598" y="140207"/>
                  </a:lnTo>
                  <a:lnTo>
                    <a:pt x="87249" y="141985"/>
                  </a:lnTo>
                  <a:lnTo>
                    <a:pt x="88900" y="143763"/>
                  </a:lnTo>
                  <a:lnTo>
                    <a:pt x="90297" y="145796"/>
                  </a:lnTo>
                  <a:lnTo>
                    <a:pt x="91566" y="148081"/>
                  </a:lnTo>
                  <a:lnTo>
                    <a:pt x="92582" y="150241"/>
                  </a:lnTo>
                  <a:lnTo>
                    <a:pt x="93344" y="152781"/>
                  </a:lnTo>
                  <a:lnTo>
                    <a:pt x="94106" y="155321"/>
                  </a:lnTo>
                  <a:lnTo>
                    <a:pt x="94361" y="157860"/>
                  </a:lnTo>
                  <a:lnTo>
                    <a:pt x="94488" y="160654"/>
                  </a:lnTo>
                  <a:lnTo>
                    <a:pt x="94361" y="163068"/>
                  </a:lnTo>
                  <a:lnTo>
                    <a:pt x="94106" y="165734"/>
                  </a:lnTo>
                  <a:lnTo>
                    <a:pt x="93344" y="168275"/>
                  </a:lnTo>
                  <a:lnTo>
                    <a:pt x="92582" y="170815"/>
                  </a:lnTo>
                  <a:lnTo>
                    <a:pt x="91566" y="172974"/>
                  </a:lnTo>
                  <a:lnTo>
                    <a:pt x="90297" y="175259"/>
                  </a:lnTo>
                  <a:lnTo>
                    <a:pt x="88900" y="177165"/>
                  </a:lnTo>
                  <a:lnTo>
                    <a:pt x="87249" y="178943"/>
                  </a:lnTo>
                  <a:lnTo>
                    <a:pt x="85598" y="180721"/>
                  </a:lnTo>
                  <a:lnTo>
                    <a:pt x="83565" y="182118"/>
                  </a:lnTo>
                  <a:lnTo>
                    <a:pt x="81661" y="183641"/>
                  </a:lnTo>
                  <a:lnTo>
                    <a:pt x="79375" y="184531"/>
                  </a:lnTo>
                  <a:lnTo>
                    <a:pt x="77089" y="185419"/>
                  </a:lnTo>
                  <a:lnTo>
                    <a:pt x="74802" y="186181"/>
                  </a:lnTo>
                  <a:lnTo>
                    <a:pt x="72263" y="186435"/>
                  </a:lnTo>
                  <a:lnTo>
                    <a:pt x="69850" y="186562"/>
                  </a:lnTo>
                  <a:close/>
                  <a:moveTo>
                    <a:pt x="-8108315" y="2282951"/>
                  </a:moveTo>
                  <a:moveTo>
                    <a:pt x="406018" y="113791"/>
                  </a:moveTo>
                  <a:lnTo>
                    <a:pt x="406018" y="113791"/>
                  </a:lnTo>
                  <a:lnTo>
                    <a:pt x="403605" y="113791"/>
                  </a:lnTo>
                  <a:lnTo>
                    <a:pt x="401447" y="113919"/>
                  </a:lnTo>
                  <a:lnTo>
                    <a:pt x="399288" y="114426"/>
                  </a:lnTo>
                  <a:lnTo>
                    <a:pt x="397128" y="114681"/>
                  </a:lnTo>
                  <a:lnTo>
                    <a:pt x="394969" y="115316"/>
                  </a:lnTo>
                  <a:lnTo>
                    <a:pt x="392938" y="115824"/>
                  </a:lnTo>
                  <a:lnTo>
                    <a:pt x="390778" y="116585"/>
                  </a:lnTo>
                  <a:lnTo>
                    <a:pt x="388874" y="117475"/>
                  </a:lnTo>
                  <a:lnTo>
                    <a:pt x="386714" y="118363"/>
                  </a:lnTo>
                  <a:lnTo>
                    <a:pt x="385064" y="119379"/>
                  </a:lnTo>
                  <a:lnTo>
                    <a:pt x="383159" y="120522"/>
                  </a:lnTo>
                  <a:lnTo>
                    <a:pt x="381253" y="121919"/>
                  </a:lnTo>
                  <a:lnTo>
                    <a:pt x="379476" y="123062"/>
                  </a:lnTo>
                  <a:lnTo>
                    <a:pt x="377952" y="124459"/>
                  </a:lnTo>
                  <a:lnTo>
                    <a:pt x="376301" y="125984"/>
                  </a:lnTo>
                  <a:lnTo>
                    <a:pt x="374777" y="127507"/>
                  </a:lnTo>
                  <a:lnTo>
                    <a:pt x="373126" y="129031"/>
                  </a:lnTo>
                  <a:lnTo>
                    <a:pt x="371982" y="130809"/>
                  </a:lnTo>
                  <a:lnTo>
                    <a:pt x="370713" y="132587"/>
                  </a:lnTo>
                  <a:lnTo>
                    <a:pt x="369442" y="134493"/>
                  </a:lnTo>
                  <a:lnTo>
                    <a:pt x="368300" y="136397"/>
                  </a:lnTo>
                  <a:lnTo>
                    <a:pt x="367156" y="138175"/>
                  </a:lnTo>
                  <a:lnTo>
                    <a:pt x="366140" y="140207"/>
                  </a:lnTo>
                  <a:lnTo>
                    <a:pt x="365378" y="142366"/>
                  </a:lnTo>
                  <a:lnTo>
                    <a:pt x="364489" y="144525"/>
                  </a:lnTo>
                  <a:lnTo>
                    <a:pt x="363727" y="146557"/>
                  </a:lnTo>
                  <a:lnTo>
                    <a:pt x="363219" y="148844"/>
                  </a:lnTo>
                  <a:lnTo>
                    <a:pt x="362712" y="151129"/>
                  </a:lnTo>
                  <a:lnTo>
                    <a:pt x="362330" y="153416"/>
                  </a:lnTo>
                  <a:lnTo>
                    <a:pt x="362077" y="155701"/>
                  </a:lnTo>
                  <a:lnTo>
                    <a:pt x="361696" y="158115"/>
                  </a:lnTo>
                  <a:lnTo>
                    <a:pt x="361696" y="160654"/>
                  </a:lnTo>
                  <a:lnTo>
                    <a:pt x="361696" y="162941"/>
                  </a:lnTo>
                  <a:lnTo>
                    <a:pt x="362077" y="165353"/>
                  </a:lnTo>
                  <a:lnTo>
                    <a:pt x="362330" y="167640"/>
                  </a:lnTo>
                  <a:lnTo>
                    <a:pt x="362712" y="169925"/>
                  </a:lnTo>
                  <a:lnTo>
                    <a:pt x="363219" y="172084"/>
                  </a:lnTo>
                  <a:lnTo>
                    <a:pt x="363727" y="174371"/>
                  </a:lnTo>
                  <a:lnTo>
                    <a:pt x="364489" y="176529"/>
                  </a:lnTo>
                  <a:lnTo>
                    <a:pt x="365378" y="178816"/>
                  </a:lnTo>
                  <a:lnTo>
                    <a:pt x="366140" y="180847"/>
                  </a:lnTo>
                  <a:lnTo>
                    <a:pt x="367156" y="182753"/>
                  </a:lnTo>
                  <a:lnTo>
                    <a:pt x="368300" y="184784"/>
                  </a:lnTo>
                  <a:lnTo>
                    <a:pt x="369442" y="186562"/>
                  </a:lnTo>
                  <a:lnTo>
                    <a:pt x="370713" y="188468"/>
                  </a:lnTo>
                  <a:lnTo>
                    <a:pt x="371982" y="190246"/>
                  </a:lnTo>
                  <a:lnTo>
                    <a:pt x="373126" y="191897"/>
                  </a:lnTo>
                  <a:lnTo>
                    <a:pt x="374777" y="193675"/>
                  </a:lnTo>
                  <a:lnTo>
                    <a:pt x="376301" y="195199"/>
                  </a:lnTo>
                  <a:lnTo>
                    <a:pt x="377952" y="196469"/>
                  </a:lnTo>
                  <a:lnTo>
                    <a:pt x="379476" y="197866"/>
                  </a:lnTo>
                  <a:lnTo>
                    <a:pt x="381253" y="199262"/>
                  </a:lnTo>
                  <a:lnTo>
                    <a:pt x="383159" y="200532"/>
                  </a:lnTo>
                  <a:lnTo>
                    <a:pt x="385064" y="201675"/>
                  </a:lnTo>
                  <a:lnTo>
                    <a:pt x="386714" y="202691"/>
                  </a:lnTo>
                  <a:lnTo>
                    <a:pt x="388874" y="203581"/>
                  </a:lnTo>
                  <a:lnTo>
                    <a:pt x="390778" y="204343"/>
                  </a:lnTo>
                  <a:lnTo>
                    <a:pt x="392938" y="205231"/>
                  </a:lnTo>
                  <a:lnTo>
                    <a:pt x="394969" y="205740"/>
                  </a:lnTo>
                  <a:lnTo>
                    <a:pt x="397128" y="206247"/>
                  </a:lnTo>
                  <a:lnTo>
                    <a:pt x="399288" y="206882"/>
                  </a:lnTo>
                  <a:lnTo>
                    <a:pt x="401447" y="207137"/>
                  </a:lnTo>
                  <a:lnTo>
                    <a:pt x="403605" y="207263"/>
                  </a:lnTo>
                  <a:lnTo>
                    <a:pt x="406018" y="207263"/>
                  </a:lnTo>
                  <a:lnTo>
                    <a:pt x="408304" y="207263"/>
                  </a:lnTo>
                  <a:lnTo>
                    <a:pt x="410464" y="207137"/>
                  </a:lnTo>
                  <a:lnTo>
                    <a:pt x="412750" y="206882"/>
                  </a:lnTo>
                  <a:lnTo>
                    <a:pt x="414909" y="206247"/>
                  </a:lnTo>
                  <a:lnTo>
                    <a:pt x="417067" y="205740"/>
                  </a:lnTo>
                  <a:lnTo>
                    <a:pt x="419100" y="205231"/>
                  </a:lnTo>
                  <a:lnTo>
                    <a:pt x="421259" y="204343"/>
                  </a:lnTo>
                  <a:lnTo>
                    <a:pt x="423164" y="203581"/>
                  </a:lnTo>
                  <a:lnTo>
                    <a:pt x="425196" y="202691"/>
                  </a:lnTo>
                  <a:lnTo>
                    <a:pt x="427101" y="201675"/>
                  </a:lnTo>
                  <a:lnTo>
                    <a:pt x="428752" y="200532"/>
                  </a:lnTo>
                  <a:lnTo>
                    <a:pt x="430784" y="199262"/>
                  </a:lnTo>
                  <a:lnTo>
                    <a:pt x="432435" y="197866"/>
                  </a:lnTo>
                  <a:lnTo>
                    <a:pt x="434213" y="196469"/>
                  </a:lnTo>
                  <a:lnTo>
                    <a:pt x="435737" y="195199"/>
                  </a:lnTo>
                  <a:lnTo>
                    <a:pt x="437388" y="193675"/>
                  </a:lnTo>
                  <a:lnTo>
                    <a:pt x="438785" y="191897"/>
                  </a:lnTo>
                  <a:lnTo>
                    <a:pt x="440181" y="190246"/>
                  </a:lnTo>
                  <a:lnTo>
                    <a:pt x="441578" y="188468"/>
                  </a:lnTo>
                  <a:lnTo>
                    <a:pt x="442722" y="186562"/>
                  </a:lnTo>
                  <a:lnTo>
                    <a:pt x="443864" y="184784"/>
                  </a:lnTo>
                  <a:lnTo>
                    <a:pt x="444880" y="182753"/>
                  </a:lnTo>
                  <a:lnTo>
                    <a:pt x="445897" y="180847"/>
                  </a:lnTo>
                  <a:lnTo>
                    <a:pt x="446786" y="178816"/>
                  </a:lnTo>
                  <a:lnTo>
                    <a:pt x="447548" y="176529"/>
                  </a:lnTo>
                  <a:lnTo>
                    <a:pt x="448182" y="174371"/>
                  </a:lnTo>
                  <a:lnTo>
                    <a:pt x="448944" y="172084"/>
                  </a:lnTo>
                  <a:lnTo>
                    <a:pt x="449326" y="169925"/>
                  </a:lnTo>
                  <a:lnTo>
                    <a:pt x="449579" y="167640"/>
                  </a:lnTo>
                  <a:lnTo>
                    <a:pt x="450088" y="165353"/>
                  </a:lnTo>
                  <a:lnTo>
                    <a:pt x="450214" y="162941"/>
                  </a:lnTo>
                  <a:lnTo>
                    <a:pt x="450214" y="160654"/>
                  </a:lnTo>
                  <a:lnTo>
                    <a:pt x="450214" y="158115"/>
                  </a:lnTo>
                  <a:lnTo>
                    <a:pt x="450088" y="155701"/>
                  </a:lnTo>
                  <a:lnTo>
                    <a:pt x="449579" y="153416"/>
                  </a:lnTo>
                  <a:lnTo>
                    <a:pt x="449326" y="151129"/>
                  </a:lnTo>
                  <a:lnTo>
                    <a:pt x="448944" y="148844"/>
                  </a:lnTo>
                  <a:lnTo>
                    <a:pt x="448182" y="146557"/>
                  </a:lnTo>
                  <a:lnTo>
                    <a:pt x="447548" y="144525"/>
                  </a:lnTo>
                  <a:lnTo>
                    <a:pt x="446786" y="142366"/>
                  </a:lnTo>
                  <a:lnTo>
                    <a:pt x="445897" y="140207"/>
                  </a:lnTo>
                  <a:lnTo>
                    <a:pt x="444880" y="138175"/>
                  </a:lnTo>
                  <a:lnTo>
                    <a:pt x="443864" y="136397"/>
                  </a:lnTo>
                  <a:lnTo>
                    <a:pt x="442722" y="134493"/>
                  </a:lnTo>
                  <a:lnTo>
                    <a:pt x="441578" y="132587"/>
                  </a:lnTo>
                  <a:lnTo>
                    <a:pt x="440181" y="130809"/>
                  </a:lnTo>
                  <a:lnTo>
                    <a:pt x="438785" y="129031"/>
                  </a:lnTo>
                  <a:lnTo>
                    <a:pt x="437388" y="127507"/>
                  </a:lnTo>
                  <a:lnTo>
                    <a:pt x="435737" y="125984"/>
                  </a:lnTo>
                  <a:lnTo>
                    <a:pt x="434213" y="124459"/>
                  </a:lnTo>
                  <a:lnTo>
                    <a:pt x="432435" y="123062"/>
                  </a:lnTo>
                  <a:lnTo>
                    <a:pt x="430784" y="121919"/>
                  </a:lnTo>
                  <a:lnTo>
                    <a:pt x="428752" y="120522"/>
                  </a:lnTo>
                  <a:lnTo>
                    <a:pt x="427101" y="119379"/>
                  </a:lnTo>
                  <a:lnTo>
                    <a:pt x="425196" y="118363"/>
                  </a:lnTo>
                  <a:lnTo>
                    <a:pt x="423164" y="117475"/>
                  </a:lnTo>
                  <a:lnTo>
                    <a:pt x="421259" y="116585"/>
                  </a:lnTo>
                  <a:lnTo>
                    <a:pt x="419100" y="115824"/>
                  </a:lnTo>
                  <a:lnTo>
                    <a:pt x="417067" y="115316"/>
                  </a:lnTo>
                  <a:lnTo>
                    <a:pt x="414909" y="114681"/>
                  </a:lnTo>
                  <a:lnTo>
                    <a:pt x="412750" y="114426"/>
                  </a:lnTo>
                  <a:lnTo>
                    <a:pt x="410464" y="113919"/>
                  </a:lnTo>
                  <a:lnTo>
                    <a:pt x="408304" y="113791"/>
                  </a:lnTo>
                  <a:lnTo>
                    <a:pt x="406018" y="113791"/>
                  </a:lnTo>
                  <a:close/>
                  <a:moveTo>
                    <a:pt x="-8035544" y="2282951"/>
                  </a:moveTo>
                  <a:moveTo>
                    <a:pt x="406018" y="186562"/>
                  </a:moveTo>
                  <a:lnTo>
                    <a:pt x="406018" y="186562"/>
                  </a:lnTo>
                  <a:lnTo>
                    <a:pt x="403478" y="186435"/>
                  </a:lnTo>
                  <a:lnTo>
                    <a:pt x="400939" y="186181"/>
                  </a:lnTo>
                  <a:lnTo>
                    <a:pt x="398779" y="185419"/>
                  </a:lnTo>
                  <a:lnTo>
                    <a:pt x="396493" y="184531"/>
                  </a:lnTo>
                  <a:lnTo>
                    <a:pt x="394080" y="183641"/>
                  </a:lnTo>
                  <a:lnTo>
                    <a:pt x="392049" y="182118"/>
                  </a:lnTo>
                  <a:lnTo>
                    <a:pt x="390398" y="180721"/>
                  </a:lnTo>
                  <a:lnTo>
                    <a:pt x="388492" y="178943"/>
                  </a:lnTo>
                  <a:lnTo>
                    <a:pt x="386841" y="177165"/>
                  </a:lnTo>
                  <a:lnTo>
                    <a:pt x="385444" y="175259"/>
                  </a:lnTo>
                  <a:lnTo>
                    <a:pt x="384175" y="172974"/>
                  </a:lnTo>
                  <a:lnTo>
                    <a:pt x="383286" y="170815"/>
                  </a:lnTo>
                  <a:lnTo>
                    <a:pt x="382397" y="168275"/>
                  </a:lnTo>
                  <a:lnTo>
                    <a:pt x="381889" y="165734"/>
                  </a:lnTo>
                  <a:lnTo>
                    <a:pt x="381380" y="163068"/>
                  </a:lnTo>
                  <a:lnTo>
                    <a:pt x="381253" y="160654"/>
                  </a:lnTo>
                  <a:lnTo>
                    <a:pt x="381380" y="157860"/>
                  </a:lnTo>
                  <a:lnTo>
                    <a:pt x="381889" y="155321"/>
                  </a:lnTo>
                  <a:lnTo>
                    <a:pt x="382397" y="152781"/>
                  </a:lnTo>
                  <a:lnTo>
                    <a:pt x="383286" y="150241"/>
                  </a:lnTo>
                  <a:lnTo>
                    <a:pt x="384175" y="148081"/>
                  </a:lnTo>
                  <a:lnTo>
                    <a:pt x="385444" y="145796"/>
                  </a:lnTo>
                  <a:lnTo>
                    <a:pt x="386841" y="143763"/>
                  </a:lnTo>
                  <a:lnTo>
                    <a:pt x="388492" y="141985"/>
                  </a:lnTo>
                  <a:lnTo>
                    <a:pt x="390398" y="140207"/>
                  </a:lnTo>
                  <a:lnTo>
                    <a:pt x="392049" y="138937"/>
                  </a:lnTo>
                  <a:lnTo>
                    <a:pt x="394080" y="137541"/>
                  </a:lnTo>
                  <a:lnTo>
                    <a:pt x="396493" y="136397"/>
                  </a:lnTo>
                  <a:lnTo>
                    <a:pt x="398779" y="135509"/>
                  </a:lnTo>
                  <a:lnTo>
                    <a:pt x="400939" y="134747"/>
                  </a:lnTo>
                  <a:lnTo>
                    <a:pt x="403478" y="134493"/>
                  </a:lnTo>
                  <a:lnTo>
                    <a:pt x="406018" y="134366"/>
                  </a:lnTo>
                  <a:lnTo>
                    <a:pt x="408559" y="134493"/>
                  </a:lnTo>
                  <a:lnTo>
                    <a:pt x="410972" y="134747"/>
                  </a:lnTo>
                  <a:lnTo>
                    <a:pt x="413385" y="135509"/>
                  </a:lnTo>
                  <a:lnTo>
                    <a:pt x="415671" y="136397"/>
                  </a:lnTo>
                  <a:lnTo>
                    <a:pt x="417702" y="137541"/>
                  </a:lnTo>
                  <a:lnTo>
                    <a:pt x="419862" y="138937"/>
                  </a:lnTo>
                  <a:lnTo>
                    <a:pt x="421766" y="140207"/>
                  </a:lnTo>
                  <a:lnTo>
                    <a:pt x="423544" y="141985"/>
                  </a:lnTo>
                  <a:lnTo>
                    <a:pt x="425196" y="143763"/>
                  </a:lnTo>
                  <a:lnTo>
                    <a:pt x="426465" y="145796"/>
                  </a:lnTo>
                  <a:lnTo>
                    <a:pt x="427736" y="148081"/>
                  </a:lnTo>
                  <a:lnTo>
                    <a:pt x="428752" y="150241"/>
                  </a:lnTo>
                  <a:lnTo>
                    <a:pt x="429640" y="152781"/>
                  </a:lnTo>
                  <a:lnTo>
                    <a:pt x="430402" y="155321"/>
                  </a:lnTo>
                  <a:lnTo>
                    <a:pt x="430656" y="157860"/>
                  </a:lnTo>
                  <a:lnTo>
                    <a:pt x="430784" y="160654"/>
                  </a:lnTo>
                  <a:lnTo>
                    <a:pt x="430656" y="163068"/>
                  </a:lnTo>
                  <a:lnTo>
                    <a:pt x="430402" y="165734"/>
                  </a:lnTo>
                  <a:lnTo>
                    <a:pt x="429640" y="168275"/>
                  </a:lnTo>
                  <a:lnTo>
                    <a:pt x="428752" y="170815"/>
                  </a:lnTo>
                  <a:lnTo>
                    <a:pt x="427736" y="172974"/>
                  </a:lnTo>
                  <a:lnTo>
                    <a:pt x="426465" y="175259"/>
                  </a:lnTo>
                  <a:lnTo>
                    <a:pt x="425196" y="177165"/>
                  </a:lnTo>
                  <a:lnTo>
                    <a:pt x="423544" y="178943"/>
                  </a:lnTo>
                  <a:lnTo>
                    <a:pt x="421766" y="180721"/>
                  </a:lnTo>
                  <a:lnTo>
                    <a:pt x="419862" y="182118"/>
                  </a:lnTo>
                  <a:lnTo>
                    <a:pt x="417702" y="183641"/>
                  </a:lnTo>
                  <a:lnTo>
                    <a:pt x="415671" y="184531"/>
                  </a:lnTo>
                  <a:lnTo>
                    <a:pt x="413385" y="185419"/>
                  </a:lnTo>
                  <a:lnTo>
                    <a:pt x="410972" y="186181"/>
                  </a:lnTo>
                  <a:lnTo>
                    <a:pt x="408559" y="186435"/>
                  </a:lnTo>
                  <a:lnTo>
                    <a:pt x="406018" y="186562"/>
                  </a:lnTo>
                  <a:close/>
                  <a:moveTo>
                    <a:pt x="-8108315" y="2282951"/>
                  </a:moveTo>
                  <a:moveTo>
                    <a:pt x="351789" y="156718"/>
                  </a:moveTo>
                  <a:lnTo>
                    <a:pt x="108965" y="156718"/>
                  </a:lnTo>
                  <a:lnTo>
                    <a:pt x="109219" y="160654"/>
                  </a:lnTo>
                  <a:lnTo>
                    <a:pt x="108965" y="164846"/>
                  </a:lnTo>
                  <a:lnTo>
                    <a:pt x="108712" y="169037"/>
                  </a:lnTo>
                  <a:lnTo>
                    <a:pt x="107950" y="173354"/>
                  </a:lnTo>
                  <a:lnTo>
                    <a:pt x="106934" y="177419"/>
                  </a:lnTo>
                  <a:lnTo>
                    <a:pt x="354076" y="177419"/>
                  </a:lnTo>
                  <a:lnTo>
                    <a:pt x="352932" y="173354"/>
                  </a:lnTo>
                  <a:lnTo>
                    <a:pt x="352171" y="169037"/>
                  </a:lnTo>
                  <a:lnTo>
                    <a:pt x="351789" y="164846"/>
                  </a:lnTo>
                  <a:lnTo>
                    <a:pt x="351663" y="160654"/>
                  </a:lnTo>
                  <a:lnTo>
                    <a:pt x="351789" y="156718"/>
                  </a:lnTo>
                  <a:close/>
                  <a:moveTo>
                    <a:pt x="-8078471" y="2282951"/>
                  </a:moveTo>
                  <a:moveTo>
                    <a:pt x="456311" y="86106"/>
                  </a:moveTo>
                  <a:lnTo>
                    <a:pt x="427609" y="70866"/>
                  </a:lnTo>
                  <a:lnTo>
                    <a:pt x="424052" y="69087"/>
                  </a:lnTo>
                  <a:lnTo>
                    <a:pt x="420242" y="66928"/>
                  </a:lnTo>
                  <a:lnTo>
                    <a:pt x="411988" y="61594"/>
                  </a:lnTo>
                  <a:lnTo>
                    <a:pt x="404114" y="56134"/>
                  </a:lnTo>
                  <a:lnTo>
                    <a:pt x="400430" y="53340"/>
                  </a:lnTo>
                  <a:lnTo>
                    <a:pt x="397382" y="50926"/>
                  </a:lnTo>
                  <a:lnTo>
                    <a:pt x="351154" y="12953"/>
                  </a:lnTo>
                  <a:lnTo>
                    <a:pt x="349123" y="11684"/>
                  </a:lnTo>
                  <a:lnTo>
                    <a:pt x="347344" y="10159"/>
                  </a:lnTo>
                  <a:lnTo>
                    <a:pt x="343280" y="7874"/>
                  </a:lnTo>
                  <a:lnTo>
                    <a:pt x="338709" y="5587"/>
                  </a:lnTo>
                  <a:lnTo>
                    <a:pt x="334010" y="3682"/>
                  </a:lnTo>
                  <a:lnTo>
                    <a:pt x="329184" y="2159"/>
                  </a:lnTo>
                  <a:lnTo>
                    <a:pt x="324357" y="1016"/>
                  </a:lnTo>
                  <a:lnTo>
                    <a:pt x="321944" y="762"/>
                  </a:lnTo>
                  <a:lnTo>
                    <a:pt x="319659" y="253"/>
                  </a:lnTo>
                  <a:lnTo>
                    <a:pt x="317373" y="126"/>
                  </a:lnTo>
                  <a:lnTo>
                    <a:pt x="315214" y="0"/>
                  </a:lnTo>
                  <a:lnTo>
                    <a:pt x="37338" y="0"/>
                  </a:lnTo>
                  <a:lnTo>
                    <a:pt x="34925" y="126"/>
                  </a:lnTo>
                  <a:lnTo>
                    <a:pt x="32512" y="381"/>
                  </a:lnTo>
                  <a:lnTo>
                    <a:pt x="30352" y="1143"/>
                  </a:lnTo>
                  <a:lnTo>
                    <a:pt x="28193" y="1904"/>
                  </a:lnTo>
                  <a:lnTo>
                    <a:pt x="26162" y="2921"/>
                  </a:lnTo>
                  <a:lnTo>
                    <a:pt x="24129" y="4191"/>
                  </a:lnTo>
                  <a:lnTo>
                    <a:pt x="22225" y="5460"/>
                  </a:lnTo>
                  <a:lnTo>
                    <a:pt x="20574" y="6984"/>
                  </a:lnTo>
                  <a:lnTo>
                    <a:pt x="18668" y="8762"/>
                  </a:lnTo>
                  <a:lnTo>
                    <a:pt x="17144" y="10287"/>
                  </a:lnTo>
                  <a:lnTo>
                    <a:pt x="15875" y="12446"/>
                  </a:lnTo>
                  <a:lnTo>
                    <a:pt x="14731" y="14478"/>
                  </a:lnTo>
                  <a:lnTo>
                    <a:pt x="13715" y="16637"/>
                  </a:lnTo>
                  <a:lnTo>
                    <a:pt x="12827" y="18922"/>
                  </a:lnTo>
                  <a:lnTo>
                    <a:pt x="12318" y="21209"/>
                  </a:lnTo>
                  <a:lnTo>
                    <a:pt x="11684" y="23622"/>
                  </a:lnTo>
                  <a:lnTo>
                    <a:pt x="253" y="117221"/>
                  </a:lnTo>
                  <a:lnTo>
                    <a:pt x="0" y="120015"/>
                  </a:lnTo>
                  <a:lnTo>
                    <a:pt x="0" y="123062"/>
                  </a:lnTo>
                  <a:lnTo>
                    <a:pt x="127" y="127126"/>
                  </a:lnTo>
                  <a:lnTo>
                    <a:pt x="380" y="131191"/>
                  </a:lnTo>
                  <a:lnTo>
                    <a:pt x="1142" y="135381"/>
                  </a:lnTo>
                  <a:lnTo>
                    <a:pt x="2159" y="139319"/>
                  </a:lnTo>
                  <a:lnTo>
                    <a:pt x="3175" y="143382"/>
                  </a:lnTo>
                  <a:lnTo>
                    <a:pt x="4572" y="146938"/>
                  </a:lnTo>
                  <a:lnTo>
                    <a:pt x="6350" y="150241"/>
                  </a:lnTo>
                  <a:lnTo>
                    <a:pt x="8127" y="153543"/>
                  </a:lnTo>
                  <a:lnTo>
                    <a:pt x="15113" y="163575"/>
                  </a:lnTo>
                  <a:lnTo>
                    <a:pt x="14986" y="160654"/>
                  </a:lnTo>
                  <a:lnTo>
                    <a:pt x="15113" y="157353"/>
                  </a:lnTo>
                  <a:lnTo>
                    <a:pt x="15366" y="154178"/>
                  </a:lnTo>
                  <a:lnTo>
                    <a:pt x="15748" y="151003"/>
                  </a:lnTo>
                  <a:lnTo>
                    <a:pt x="16382" y="147954"/>
                  </a:lnTo>
                  <a:lnTo>
                    <a:pt x="15875" y="147447"/>
                  </a:lnTo>
                  <a:lnTo>
                    <a:pt x="14731" y="145415"/>
                  </a:lnTo>
                  <a:lnTo>
                    <a:pt x="13589" y="142875"/>
                  </a:lnTo>
                  <a:lnTo>
                    <a:pt x="12446" y="139953"/>
                  </a:lnTo>
                  <a:lnTo>
                    <a:pt x="11429" y="136651"/>
                  </a:lnTo>
                  <a:lnTo>
                    <a:pt x="10667" y="133350"/>
                  </a:lnTo>
                  <a:lnTo>
                    <a:pt x="10160" y="129921"/>
                  </a:lnTo>
                  <a:lnTo>
                    <a:pt x="9778" y="126365"/>
                  </a:lnTo>
                  <a:lnTo>
                    <a:pt x="9652" y="123062"/>
                  </a:lnTo>
                  <a:lnTo>
                    <a:pt x="9652" y="120650"/>
                  </a:lnTo>
                  <a:lnTo>
                    <a:pt x="9778" y="118363"/>
                  </a:lnTo>
                  <a:lnTo>
                    <a:pt x="11556" y="104647"/>
                  </a:lnTo>
                  <a:lnTo>
                    <a:pt x="269493" y="104647"/>
                  </a:lnTo>
                  <a:lnTo>
                    <a:pt x="269493" y="94234"/>
                  </a:lnTo>
                  <a:lnTo>
                    <a:pt x="12827" y="94234"/>
                  </a:lnTo>
                  <a:lnTo>
                    <a:pt x="14224" y="84454"/>
                  </a:lnTo>
                  <a:lnTo>
                    <a:pt x="146812" y="84454"/>
                  </a:lnTo>
                  <a:lnTo>
                    <a:pt x="146812" y="74168"/>
                  </a:lnTo>
                  <a:lnTo>
                    <a:pt x="15366" y="74168"/>
                  </a:lnTo>
                  <a:lnTo>
                    <a:pt x="21336" y="25146"/>
                  </a:lnTo>
                  <a:lnTo>
                    <a:pt x="21716" y="23622"/>
                  </a:lnTo>
                  <a:lnTo>
                    <a:pt x="22098" y="22097"/>
                  </a:lnTo>
                  <a:lnTo>
                    <a:pt x="22605" y="20828"/>
                  </a:lnTo>
                  <a:lnTo>
                    <a:pt x="23240" y="19431"/>
                  </a:lnTo>
                  <a:lnTo>
                    <a:pt x="24002" y="18034"/>
                  </a:lnTo>
                  <a:lnTo>
                    <a:pt x="24891" y="16891"/>
                  </a:lnTo>
                  <a:lnTo>
                    <a:pt x="25907" y="15621"/>
                  </a:lnTo>
                  <a:lnTo>
                    <a:pt x="26924" y="14604"/>
                  </a:lnTo>
                  <a:lnTo>
                    <a:pt x="28066" y="13588"/>
                  </a:lnTo>
                  <a:lnTo>
                    <a:pt x="29210" y="12826"/>
                  </a:lnTo>
                  <a:lnTo>
                    <a:pt x="30479" y="12065"/>
                  </a:lnTo>
                  <a:lnTo>
                    <a:pt x="31750" y="11429"/>
                  </a:lnTo>
                  <a:lnTo>
                    <a:pt x="33274" y="10922"/>
                  </a:lnTo>
                  <a:lnTo>
                    <a:pt x="34543" y="10668"/>
                  </a:lnTo>
                  <a:lnTo>
                    <a:pt x="35940" y="10287"/>
                  </a:lnTo>
                  <a:lnTo>
                    <a:pt x="37338" y="10159"/>
                  </a:lnTo>
                  <a:lnTo>
                    <a:pt x="315214" y="10159"/>
                  </a:lnTo>
                  <a:lnTo>
                    <a:pt x="316738" y="10287"/>
                  </a:lnTo>
                  <a:lnTo>
                    <a:pt x="318515" y="10668"/>
                  </a:lnTo>
                  <a:lnTo>
                    <a:pt x="322579" y="11049"/>
                  </a:lnTo>
                  <a:lnTo>
                    <a:pt x="326643" y="12065"/>
                  </a:lnTo>
                  <a:lnTo>
                    <a:pt x="330835" y="13462"/>
                  </a:lnTo>
                  <a:lnTo>
                    <a:pt x="335026" y="15240"/>
                  </a:lnTo>
                  <a:lnTo>
                    <a:pt x="338963" y="17018"/>
                  </a:lnTo>
                  <a:lnTo>
                    <a:pt x="342264" y="19050"/>
                  </a:lnTo>
                  <a:lnTo>
                    <a:pt x="343662" y="20066"/>
                  </a:lnTo>
                  <a:lnTo>
                    <a:pt x="345186" y="21081"/>
                  </a:lnTo>
                  <a:lnTo>
                    <a:pt x="355853" y="29844"/>
                  </a:lnTo>
                  <a:lnTo>
                    <a:pt x="281431" y="29844"/>
                  </a:lnTo>
                  <a:lnTo>
                    <a:pt x="307466" y="75819"/>
                  </a:lnTo>
                  <a:lnTo>
                    <a:pt x="415671" y="75819"/>
                  </a:lnTo>
                  <a:lnTo>
                    <a:pt x="419607" y="78104"/>
                  </a:lnTo>
                  <a:lnTo>
                    <a:pt x="423164" y="80137"/>
                  </a:lnTo>
                  <a:lnTo>
                    <a:pt x="451992" y="95250"/>
                  </a:lnTo>
                  <a:lnTo>
                    <a:pt x="453263" y="96138"/>
                  </a:lnTo>
                  <a:lnTo>
                    <a:pt x="454532" y="97028"/>
                  </a:lnTo>
                  <a:lnTo>
                    <a:pt x="455802" y="98044"/>
                  </a:lnTo>
                  <a:lnTo>
                    <a:pt x="457073" y="99313"/>
                  </a:lnTo>
                  <a:lnTo>
                    <a:pt x="458469" y="100584"/>
                  </a:lnTo>
                  <a:lnTo>
                    <a:pt x="459613" y="102107"/>
                  </a:lnTo>
                  <a:lnTo>
                    <a:pt x="460502" y="103631"/>
                  </a:lnTo>
                  <a:lnTo>
                    <a:pt x="461644" y="105409"/>
                  </a:lnTo>
                  <a:lnTo>
                    <a:pt x="462534" y="107060"/>
                  </a:lnTo>
                  <a:lnTo>
                    <a:pt x="463296" y="108838"/>
                  </a:lnTo>
                  <a:lnTo>
                    <a:pt x="464057" y="110362"/>
                  </a:lnTo>
                  <a:lnTo>
                    <a:pt x="464692" y="112141"/>
                  </a:lnTo>
                  <a:lnTo>
                    <a:pt x="465201" y="113791"/>
                  </a:lnTo>
                  <a:lnTo>
                    <a:pt x="465454" y="115569"/>
                  </a:lnTo>
                  <a:lnTo>
                    <a:pt x="465709" y="117221"/>
                  </a:lnTo>
                  <a:lnTo>
                    <a:pt x="465709" y="118872"/>
                  </a:lnTo>
                  <a:lnTo>
                    <a:pt x="465709" y="145415"/>
                  </a:lnTo>
                  <a:lnTo>
                    <a:pt x="465709" y="148844"/>
                  </a:lnTo>
                  <a:lnTo>
                    <a:pt x="465201" y="152019"/>
                  </a:lnTo>
                  <a:lnTo>
                    <a:pt x="464565" y="154685"/>
                  </a:lnTo>
                  <a:lnTo>
                    <a:pt x="463930" y="157225"/>
                  </a:lnTo>
                  <a:lnTo>
                    <a:pt x="463041" y="158876"/>
                  </a:lnTo>
                  <a:lnTo>
                    <a:pt x="462534" y="159766"/>
                  </a:lnTo>
                  <a:lnTo>
                    <a:pt x="460502" y="159766"/>
                  </a:lnTo>
                  <a:lnTo>
                    <a:pt x="460502" y="160654"/>
                  </a:lnTo>
                  <a:lnTo>
                    <a:pt x="460375" y="162941"/>
                  </a:lnTo>
                  <a:lnTo>
                    <a:pt x="460121" y="165353"/>
                  </a:lnTo>
                  <a:lnTo>
                    <a:pt x="459739" y="169925"/>
                  </a:lnTo>
                  <a:lnTo>
                    <a:pt x="462914" y="169925"/>
                  </a:lnTo>
                  <a:lnTo>
                    <a:pt x="464947" y="169672"/>
                  </a:lnTo>
                  <a:lnTo>
                    <a:pt x="466725" y="168909"/>
                  </a:lnTo>
                  <a:lnTo>
                    <a:pt x="468122" y="168021"/>
                  </a:lnTo>
                  <a:lnTo>
                    <a:pt x="469391" y="166878"/>
                  </a:lnTo>
                  <a:lnTo>
                    <a:pt x="470407" y="165481"/>
                  </a:lnTo>
                  <a:lnTo>
                    <a:pt x="471297" y="164210"/>
                  </a:lnTo>
                  <a:lnTo>
                    <a:pt x="472186" y="162559"/>
                  </a:lnTo>
                  <a:lnTo>
                    <a:pt x="472948" y="161035"/>
                  </a:lnTo>
                  <a:lnTo>
                    <a:pt x="473328" y="159384"/>
                  </a:lnTo>
                  <a:lnTo>
                    <a:pt x="473837" y="157606"/>
                  </a:lnTo>
                  <a:lnTo>
                    <a:pt x="474599" y="153669"/>
                  </a:lnTo>
                  <a:lnTo>
                    <a:pt x="475361" y="149732"/>
                  </a:lnTo>
                  <a:lnTo>
                    <a:pt x="475488" y="145415"/>
                  </a:lnTo>
                  <a:lnTo>
                    <a:pt x="475488" y="118872"/>
                  </a:lnTo>
                  <a:lnTo>
                    <a:pt x="475361" y="116459"/>
                  </a:lnTo>
                  <a:lnTo>
                    <a:pt x="475106" y="113791"/>
                  </a:lnTo>
                  <a:lnTo>
                    <a:pt x="474472" y="111506"/>
                  </a:lnTo>
                  <a:lnTo>
                    <a:pt x="473837" y="109093"/>
                  </a:lnTo>
                  <a:lnTo>
                    <a:pt x="473075" y="106679"/>
                  </a:lnTo>
                  <a:lnTo>
                    <a:pt x="472186" y="104394"/>
                  </a:lnTo>
                  <a:lnTo>
                    <a:pt x="471169" y="102107"/>
                  </a:lnTo>
                  <a:lnTo>
                    <a:pt x="469900" y="99949"/>
                  </a:lnTo>
                  <a:lnTo>
                    <a:pt x="468502" y="97790"/>
                  </a:lnTo>
                  <a:lnTo>
                    <a:pt x="467105" y="95631"/>
                  </a:lnTo>
                  <a:lnTo>
                    <a:pt x="465454" y="93725"/>
                  </a:lnTo>
                  <a:lnTo>
                    <a:pt x="463930" y="91947"/>
                  </a:lnTo>
                  <a:lnTo>
                    <a:pt x="462026" y="90297"/>
                  </a:lnTo>
                  <a:lnTo>
                    <a:pt x="460375" y="88900"/>
                  </a:lnTo>
                  <a:lnTo>
                    <a:pt x="458469" y="87375"/>
                  </a:lnTo>
                  <a:lnTo>
                    <a:pt x="456311" y="86106"/>
                  </a:lnTo>
                  <a:close/>
                  <a:moveTo>
                    <a:pt x="-8007859" y="2282951"/>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78" name="Freeform 1478"/>
            <p:cNvSpPr/>
            <p:nvPr/>
          </p:nvSpPr>
          <p:spPr>
            <a:xfrm>
              <a:off x="11568114" y="3337124"/>
              <a:ext cx="311712" cy="251864"/>
            </a:xfrm>
            <a:custGeom>
              <a:avLst/>
              <a:gdLst/>
              <a:ahLst/>
              <a:cxnLst/>
              <a:rect l="0" t="0" r="0" b="0"/>
              <a:pathLst>
                <a:path w="381000" h="307849">
                  <a:moveTo>
                    <a:pt x="130049" y="307849"/>
                  </a:moveTo>
                  <a:lnTo>
                    <a:pt x="130049" y="307849"/>
                  </a:lnTo>
                  <a:lnTo>
                    <a:pt x="129033" y="307849"/>
                  </a:lnTo>
                  <a:lnTo>
                    <a:pt x="127000" y="306960"/>
                  </a:lnTo>
                  <a:lnTo>
                    <a:pt x="125985" y="306198"/>
                  </a:lnTo>
                  <a:lnTo>
                    <a:pt x="83694" y="254508"/>
                  </a:lnTo>
                  <a:lnTo>
                    <a:pt x="64009" y="263652"/>
                  </a:lnTo>
                  <a:lnTo>
                    <a:pt x="61976" y="263652"/>
                  </a:lnTo>
                  <a:lnTo>
                    <a:pt x="59945" y="263652"/>
                  </a:lnTo>
                  <a:lnTo>
                    <a:pt x="57786" y="263652"/>
                  </a:lnTo>
                  <a:lnTo>
                    <a:pt x="55753" y="262763"/>
                  </a:lnTo>
                  <a:lnTo>
                    <a:pt x="54737" y="261112"/>
                  </a:lnTo>
                  <a:lnTo>
                    <a:pt x="54737" y="259462"/>
                  </a:lnTo>
                  <a:lnTo>
                    <a:pt x="54737" y="257811"/>
                  </a:lnTo>
                  <a:lnTo>
                    <a:pt x="54737" y="256160"/>
                  </a:lnTo>
                  <a:lnTo>
                    <a:pt x="66040" y="240285"/>
                  </a:lnTo>
                  <a:lnTo>
                    <a:pt x="2033" y="206121"/>
                  </a:lnTo>
                  <a:lnTo>
                    <a:pt x="1016" y="205232"/>
                  </a:lnTo>
                  <a:lnTo>
                    <a:pt x="0" y="203581"/>
                  </a:lnTo>
                  <a:lnTo>
                    <a:pt x="1016" y="201931"/>
                  </a:lnTo>
                  <a:lnTo>
                    <a:pt x="2033" y="201042"/>
                  </a:lnTo>
                  <a:lnTo>
                    <a:pt x="9272" y="193549"/>
                  </a:lnTo>
                  <a:lnTo>
                    <a:pt x="11303" y="191898"/>
                  </a:lnTo>
                  <a:lnTo>
                    <a:pt x="14478" y="191008"/>
                  </a:lnTo>
                  <a:lnTo>
                    <a:pt x="17526" y="190246"/>
                  </a:lnTo>
                  <a:lnTo>
                    <a:pt x="20701" y="190246"/>
                  </a:lnTo>
                  <a:lnTo>
                    <a:pt x="97028" y="193549"/>
                  </a:lnTo>
                  <a:lnTo>
                    <a:pt x="99061" y="189357"/>
                  </a:lnTo>
                  <a:lnTo>
                    <a:pt x="105284" y="182754"/>
                  </a:lnTo>
                  <a:lnTo>
                    <a:pt x="111507" y="176912"/>
                  </a:lnTo>
                  <a:lnTo>
                    <a:pt x="152782" y="142621"/>
                  </a:lnTo>
                  <a:lnTo>
                    <a:pt x="37212" y="73406"/>
                  </a:lnTo>
                  <a:lnTo>
                    <a:pt x="35052" y="70867"/>
                  </a:lnTo>
                  <a:lnTo>
                    <a:pt x="33021" y="68454"/>
                  </a:lnTo>
                  <a:lnTo>
                    <a:pt x="30988" y="65913"/>
                  </a:lnTo>
                  <a:lnTo>
                    <a:pt x="30988" y="62612"/>
                  </a:lnTo>
                  <a:lnTo>
                    <a:pt x="30988" y="59182"/>
                  </a:lnTo>
                  <a:lnTo>
                    <a:pt x="32004" y="56769"/>
                  </a:lnTo>
                  <a:lnTo>
                    <a:pt x="33021" y="53340"/>
                  </a:lnTo>
                  <a:lnTo>
                    <a:pt x="36196" y="51689"/>
                  </a:lnTo>
                  <a:lnTo>
                    <a:pt x="45466" y="43435"/>
                  </a:lnTo>
                  <a:lnTo>
                    <a:pt x="49531" y="40894"/>
                  </a:lnTo>
                  <a:lnTo>
                    <a:pt x="53722" y="39244"/>
                  </a:lnTo>
                  <a:lnTo>
                    <a:pt x="57786" y="39244"/>
                  </a:lnTo>
                  <a:lnTo>
                    <a:pt x="62992" y="39244"/>
                  </a:lnTo>
                  <a:lnTo>
                    <a:pt x="133224" y="55119"/>
                  </a:lnTo>
                  <a:lnTo>
                    <a:pt x="165227" y="29211"/>
                  </a:lnTo>
                  <a:lnTo>
                    <a:pt x="166244" y="29211"/>
                  </a:lnTo>
                  <a:lnTo>
                    <a:pt x="168275" y="28321"/>
                  </a:lnTo>
                  <a:lnTo>
                    <a:pt x="170308" y="29211"/>
                  </a:lnTo>
                  <a:lnTo>
                    <a:pt x="171450" y="29211"/>
                  </a:lnTo>
                  <a:lnTo>
                    <a:pt x="197232" y="50038"/>
                  </a:lnTo>
                  <a:lnTo>
                    <a:pt x="198248" y="51689"/>
                  </a:lnTo>
                  <a:lnTo>
                    <a:pt x="198248" y="52579"/>
                  </a:lnTo>
                  <a:lnTo>
                    <a:pt x="198248" y="54230"/>
                  </a:lnTo>
                  <a:lnTo>
                    <a:pt x="197232" y="55881"/>
                  </a:lnTo>
                  <a:lnTo>
                    <a:pt x="183770" y="66802"/>
                  </a:lnTo>
                  <a:lnTo>
                    <a:pt x="234442" y="77598"/>
                  </a:lnTo>
                  <a:lnTo>
                    <a:pt x="300483" y="24257"/>
                  </a:lnTo>
                  <a:lnTo>
                    <a:pt x="306706" y="19177"/>
                  </a:lnTo>
                  <a:lnTo>
                    <a:pt x="313945" y="14987"/>
                  </a:lnTo>
                  <a:lnTo>
                    <a:pt x="321057" y="11685"/>
                  </a:lnTo>
                  <a:lnTo>
                    <a:pt x="329312" y="9144"/>
                  </a:lnTo>
                  <a:lnTo>
                    <a:pt x="357251" y="889"/>
                  </a:lnTo>
                  <a:lnTo>
                    <a:pt x="362459" y="0"/>
                  </a:lnTo>
                  <a:lnTo>
                    <a:pt x="367538" y="0"/>
                  </a:lnTo>
                  <a:lnTo>
                    <a:pt x="371729" y="1651"/>
                  </a:lnTo>
                  <a:lnTo>
                    <a:pt x="375794" y="4192"/>
                  </a:lnTo>
                  <a:lnTo>
                    <a:pt x="378969" y="7494"/>
                  </a:lnTo>
                  <a:lnTo>
                    <a:pt x="381000" y="10795"/>
                  </a:lnTo>
                  <a:lnTo>
                    <a:pt x="381000" y="14987"/>
                  </a:lnTo>
                  <a:lnTo>
                    <a:pt x="379985" y="19177"/>
                  </a:lnTo>
                  <a:lnTo>
                    <a:pt x="369698" y="41656"/>
                  </a:lnTo>
                  <a:lnTo>
                    <a:pt x="366523" y="48387"/>
                  </a:lnTo>
                  <a:lnTo>
                    <a:pt x="362459" y="54230"/>
                  </a:lnTo>
                  <a:lnTo>
                    <a:pt x="357251" y="60071"/>
                  </a:lnTo>
                  <a:lnTo>
                    <a:pt x="351028" y="65025"/>
                  </a:lnTo>
                  <a:lnTo>
                    <a:pt x="284988" y="119254"/>
                  </a:lnTo>
                  <a:lnTo>
                    <a:pt x="299466" y="159386"/>
                  </a:lnTo>
                  <a:lnTo>
                    <a:pt x="312801" y="148463"/>
                  </a:lnTo>
                  <a:lnTo>
                    <a:pt x="313945" y="147701"/>
                  </a:lnTo>
                  <a:lnTo>
                    <a:pt x="315976" y="147701"/>
                  </a:lnTo>
                  <a:lnTo>
                    <a:pt x="316992" y="147701"/>
                  </a:lnTo>
                  <a:lnTo>
                    <a:pt x="319024" y="148463"/>
                  </a:lnTo>
                  <a:lnTo>
                    <a:pt x="344806" y="169419"/>
                  </a:lnTo>
                  <a:lnTo>
                    <a:pt x="345949" y="171069"/>
                  </a:lnTo>
                  <a:lnTo>
                    <a:pt x="345949" y="171831"/>
                  </a:lnTo>
                  <a:lnTo>
                    <a:pt x="345949" y="173482"/>
                  </a:lnTo>
                  <a:lnTo>
                    <a:pt x="344806" y="174371"/>
                  </a:lnTo>
                  <a:lnTo>
                    <a:pt x="312801" y="200280"/>
                  </a:lnTo>
                  <a:lnTo>
                    <a:pt x="332487" y="256921"/>
                  </a:lnTo>
                  <a:lnTo>
                    <a:pt x="332487" y="261112"/>
                  </a:lnTo>
                  <a:lnTo>
                    <a:pt x="332487" y="264414"/>
                  </a:lnTo>
                  <a:lnTo>
                    <a:pt x="330454" y="267844"/>
                  </a:lnTo>
                  <a:lnTo>
                    <a:pt x="327279" y="271145"/>
                  </a:lnTo>
                  <a:lnTo>
                    <a:pt x="318009" y="279527"/>
                  </a:lnTo>
                  <a:lnTo>
                    <a:pt x="314961" y="281179"/>
                  </a:lnTo>
                  <a:lnTo>
                    <a:pt x="311786" y="282830"/>
                  </a:lnTo>
                  <a:lnTo>
                    <a:pt x="307722" y="283592"/>
                  </a:lnTo>
                  <a:lnTo>
                    <a:pt x="303531" y="283592"/>
                  </a:lnTo>
                  <a:lnTo>
                    <a:pt x="300483" y="282830"/>
                  </a:lnTo>
                  <a:lnTo>
                    <a:pt x="296291" y="281940"/>
                  </a:lnTo>
                  <a:lnTo>
                    <a:pt x="293244" y="279527"/>
                  </a:lnTo>
                  <a:lnTo>
                    <a:pt x="291212" y="277876"/>
                  </a:lnTo>
                  <a:lnTo>
                    <a:pt x="204471" y="184405"/>
                  </a:lnTo>
                  <a:lnTo>
                    <a:pt x="162052" y="217806"/>
                  </a:lnTo>
                  <a:lnTo>
                    <a:pt x="154940" y="223648"/>
                  </a:lnTo>
                  <a:lnTo>
                    <a:pt x="146559" y="227712"/>
                  </a:lnTo>
                  <a:lnTo>
                    <a:pt x="142495" y="229489"/>
                  </a:lnTo>
                  <a:lnTo>
                    <a:pt x="146559" y="291212"/>
                  </a:lnTo>
                  <a:lnTo>
                    <a:pt x="145542" y="293625"/>
                  </a:lnTo>
                  <a:lnTo>
                    <a:pt x="145542" y="296164"/>
                  </a:lnTo>
                  <a:lnTo>
                    <a:pt x="143511" y="298705"/>
                  </a:lnTo>
                  <a:lnTo>
                    <a:pt x="141478" y="301118"/>
                  </a:lnTo>
                  <a:lnTo>
                    <a:pt x="133224" y="306960"/>
                  </a:lnTo>
                  <a:lnTo>
                    <a:pt x="130049" y="307849"/>
                  </a:lnTo>
                  <a:close/>
                  <a:moveTo>
                    <a:pt x="-6891528" y="3672840"/>
                  </a:moveTo>
                  <a:moveTo>
                    <a:pt x="84710" y="246126"/>
                  </a:moveTo>
                  <a:lnTo>
                    <a:pt x="84710" y="246126"/>
                  </a:lnTo>
                  <a:lnTo>
                    <a:pt x="87758" y="246888"/>
                  </a:lnTo>
                  <a:lnTo>
                    <a:pt x="89789" y="247777"/>
                  </a:lnTo>
                  <a:lnTo>
                    <a:pt x="90806" y="249429"/>
                  </a:lnTo>
                  <a:lnTo>
                    <a:pt x="131191" y="297815"/>
                  </a:lnTo>
                  <a:lnTo>
                    <a:pt x="135256" y="295275"/>
                  </a:lnTo>
                  <a:lnTo>
                    <a:pt x="136272" y="293625"/>
                  </a:lnTo>
                  <a:lnTo>
                    <a:pt x="137287" y="291212"/>
                  </a:lnTo>
                  <a:lnTo>
                    <a:pt x="133224" y="227712"/>
                  </a:lnTo>
                  <a:lnTo>
                    <a:pt x="133224" y="225299"/>
                  </a:lnTo>
                  <a:lnTo>
                    <a:pt x="135256" y="223648"/>
                  </a:lnTo>
                  <a:lnTo>
                    <a:pt x="142495" y="221107"/>
                  </a:lnTo>
                  <a:lnTo>
                    <a:pt x="149734" y="216917"/>
                  </a:lnTo>
                  <a:lnTo>
                    <a:pt x="155957" y="212725"/>
                  </a:lnTo>
                  <a:lnTo>
                    <a:pt x="201296" y="176023"/>
                  </a:lnTo>
                  <a:lnTo>
                    <a:pt x="203454" y="175261"/>
                  </a:lnTo>
                  <a:lnTo>
                    <a:pt x="204471" y="175261"/>
                  </a:lnTo>
                  <a:lnTo>
                    <a:pt x="206502" y="175261"/>
                  </a:lnTo>
                  <a:lnTo>
                    <a:pt x="208535" y="176912"/>
                  </a:lnTo>
                  <a:lnTo>
                    <a:pt x="298450" y="272796"/>
                  </a:lnTo>
                  <a:lnTo>
                    <a:pt x="300483" y="275337"/>
                  </a:lnTo>
                  <a:lnTo>
                    <a:pt x="304547" y="276099"/>
                  </a:lnTo>
                  <a:lnTo>
                    <a:pt x="307722" y="275337"/>
                  </a:lnTo>
                  <a:lnTo>
                    <a:pt x="310770" y="273686"/>
                  </a:lnTo>
                  <a:lnTo>
                    <a:pt x="321057" y="266193"/>
                  </a:lnTo>
                  <a:lnTo>
                    <a:pt x="323215" y="262763"/>
                  </a:lnTo>
                  <a:lnTo>
                    <a:pt x="323215" y="259462"/>
                  </a:lnTo>
                  <a:lnTo>
                    <a:pt x="303531" y="200280"/>
                  </a:lnTo>
                  <a:lnTo>
                    <a:pt x="303531" y="198501"/>
                  </a:lnTo>
                  <a:lnTo>
                    <a:pt x="304547" y="196850"/>
                  </a:lnTo>
                  <a:lnTo>
                    <a:pt x="334519" y="171831"/>
                  </a:lnTo>
                  <a:lnTo>
                    <a:pt x="315976" y="156845"/>
                  </a:lnTo>
                  <a:lnTo>
                    <a:pt x="299466" y="169419"/>
                  </a:lnTo>
                  <a:lnTo>
                    <a:pt x="297308" y="170181"/>
                  </a:lnTo>
                  <a:lnTo>
                    <a:pt x="295275" y="170181"/>
                  </a:lnTo>
                  <a:lnTo>
                    <a:pt x="293244" y="169419"/>
                  </a:lnTo>
                  <a:lnTo>
                    <a:pt x="292227" y="167640"/>
                  </a:lnTo>
                  <a:lnTo>
                    <a:pt x="275717" y="119254"/>
                  </a:lnTo>
                  <a:lnTo>
                    <a:pt x="275717" y="116840"/>
                  </a:lnTo>
                  <a:lnTo>
                    <a:pt x="276734" y="115189"/>
                  </a:lnTo>
                  <a:lnTo>
                    <a:pt x="344806" y="60071"/>
                  </a:lnTo>
                  <a:lnTo>
                    <a:pt x="350012" y="55881"/>
                  </a:lnTo>
                  <a:lnTo>
                    <a:pt x="354203" y="50038"/>
                  </a:lnTo>
                  <a:lnTo>
                    <a:pt x="358267" y="45086"/>
                  </a:lnTo>
                  <a:lnTo>
                    <a:pt x="361442" y="39244"/>
                  </a:lnTo>
                  <a:lnTo>
                    <a:pt x="371729" y="16637"/>
                  </a:lnTo>
                  <a:lnTo>
                    <a:pt x="371729" y="14987"/>
                  </a:lnTo>
                  <a:lnTo>
                    <a:pt x="371729" y="12574"/>
                  </a:lnTo>
                  <a:lnTo>
                    <a:pt x="370713" y="10795"/>
                  </a:lnTo>
                  <a:lnTo>
                    <a:pt x="369698" y="9144"/>
                  </a:lnTo>
                  <a:lnTo>
                    <a:pt x="367538" y="8382"/>
                  </a:lnTo>
                  <a:lnTo>
                    <a:pt x="365507" y="7494"/>
                  </a:lnTo>
                  <a:lnTo>
                    <a:pt x="363474" y="7494"/>
                  </a:lnTo>
                  <a:lnTo>
                    <a:pt x="360299" y="7494"/>
                  </a:lnTo>
                  <a:lnTo>
                    <a:pt x="332487" y="15875"/>
                  </a:lnTo>
                  <a:lnTo>
                    <a:pt x="325248" y="18415"/>
                  </a:lnTo>
                  <a:lnTo>
                    <a:pt x="319024" y="21718"/>
                  </a:lnTo>
                  <a:lnTo>
                    <a:pt x="312801" y="25019"/>
                  </a:lnTo>
                  <a:lnTo>
                    <a:pt x="306706" y="29211"/>
                  </a:lnTo>
                  <a:lnTo>
                    <a:pt x="238507" y="84201"/>
                  </a:lnTo>
                  <a:lnTo>
                    <a:pt x="236474" y="85090"/>
                  </a:lnTo>
                  <a:lnTo>
                    <a:pt x="234442" y="85090"/>
                  </a:lnTo>
                  <a:lnTo>
                    <a:pt x="173483" y="71756"/>
                  </a:lnTo>
                  <a:lnTo>
                    <a:pt x="171450" y="70867"/>
                  </a:lnTo>
                  <a:lnTo>
                    <a:pt x="170308" y="69215"/>
                  </a:lnTo>
                  <a:lnTo>
                    <a:pt x="170308" y="67564"/>
                  </a:lnTo>
                  <a:lnTo>
                    <a:pt x="171450" y="65913"/>
                  </a:lnTo>
                  <a:lnTo>
                    <a:pt x="186945" y="52579"/>
                  </a:lnTo>
                  <a:lnTo>
                    <a:pt x="168275" y="37593"/>
                  </a:lnTo>
                  <a:lnTo>
                    <a:pt x="138303" y="61723"/>
                  </a:lnTo>
                  <a:lnTo>
                    <a:pt x="136272" y="63374"/>
                  </a:lnTo>
                  <a:lnTo>
                    <a:pt x="133224" y="63374"/>
                  </a:lnTo>
                  <a:lnTo>
                    <a:pt x="60961" y="46737"/>
                  </a:lnTo>
                  <a:lnTo>
                    <a:pt x="55753" y="46737"/>
                  </a:lnTo>
                  <a:lnTo>
                    <a:pt x="52706" y="48387"/>
                  </a:lnTo>
                  <a:lnTo>
                    <a:pt x="42291" y="56769"/>
                  </a:lnTo>
                  <a:lnTo>
                    <a:pt x="40260" y="59182"/>
                  </a:lnTo>
                  <a:lnTo>
                    <a:pt x="40260" y="61723"/>
                  </a:lnTo>
                  <a:lnTo>
                    <a:pt x="41275" y="65025"/>
                  </a:lnTo>
                  <a:lnTo>
                    <a:pt x="43308" y="66802"/>
                  </a:lnTo>
                  <a:lnTo>
                    <a:pt x="163196" y="139319"/>
                  </a:lnTo>
                  <a:lnTo>
                    <a:pt x="164212" y="140970"/>
                  </a:lnTo>
                  <a:lnTo>
                    <a:pt x="164212" y="142621"/>
                  </a:lnTo>
                  <a:lnTo>
                    <a:pt x="164212" y="144273"/>
                  </a:lnTo>
                  <a:lnTo>
                    <a:pt x="163196" y="145162"/>
                  </a:lnTo>
                  <a:lnTo>
                    <a:pt x="117729" y="181864"/>
                  </a:lnTo>
                  <a:lnTo>
                    <a:pt x="112523" y="186818"/>
                  </a:lnTo>
                  <a:lnTo>
                    <a:pt x="107442" y="192660"/>
                  </a:lnTo>
                  <a:lnTo>
                    <a:pt x="103251" y="199390"/>
                  </a:lnTo>
                  <a:lnTo>
                    <a:pt x="101220" y="201042"/>
                  </a:lnTo>
                  <a:lnTo>
                    <a:pt x="99061" y="201042"/>
                  </a:lnTo>
                  <a:lnTo>
                    <a:pt x="94997" y="201042"/>
                  </a:lnTo>
                  <a:lnTo>
                    <a:pt x="20701" y="197739"/>
                  </a:lnTo>
                  <a:lnTo>
                    <a:pt x="17526" y="197739"/>
                  </a:lnTo>
                  <a:lnTo>
                    <a:pt x="15495" y="198501"/>
                  </a:lnTo>
                  <a:lnTo>
                    <a:pt x="12447" y="202693"/>
                  </a:lnTo>
                  <a:lnTo>
                    <a:pt x="73279" y="234443"/>
                  </a:lnTo>
                  <a:lnTo>
                    <a:pt x="74296" y="236094"/>
                  </a:lnTo>
                  <a:lnTo>
                    <a:pt x="75312" y="236982"/>
                  </a:lnTo>
                  <a:lnTo>
                    <a:pt x="76454" y="239395"/>
                  </a:lnTo>
                  <a:lnTo>
                    <a:pt x="75312" y="241046"/>
                  </a:lnTo>
                  <a:lnTo>
                    <a:pt x="68199" y="252731"/>
                  </a:lnTo>
                  <a:lnTo>
                    <a:pt x="82550" y="246888"/>
                  </a:lnTo>
                  <a:lnTo>
                    <a:pt x="84710" y="246126"/>
                  </a:lnTo>
                  <a:close/>
                  <a:moveTo>
                    <a:pt x="-6829805" y="367284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81" name="Freeform 1481"/>
            <p:cNvSpPr/>
            <p:nvPr/>
          </p:nvSpPr>
          <p:spPr>
            <a:xfrm>
              <a:off x="10066204" y="3101511"/>
              <a:ext cx="1990186" cy="1904008"/>
            </a:xfrm>
            <a:custGeom>
              <a:avLst/>
              <a:gdLst/>
              <a:ahLst/>
              <a:cxnLst/>
              <a:rect l="0" t="0" r="0" b="0"/>
              <a:pathLst>
                <a:path w="2206752" h="1905000">
                  <a:moveTo>
                    <a:pt x="0" y="1905000"/>
                  </a:moveTo>
                  <a:lnTo>
                    <a:pt x="2206752" y="1905000"/>
                  </a:lnTo>
                  <a:lnTo>
                    <a:pt x="2206752" y="0"/>
                  </a:lnTo>
                  <a:lnTo>
                    <a:pt x="0" y="0"/>
                  </a:lnTo>
                  <a:lnTo>
                    <a:pt x="0" y="1905000"/>
                  </a:lnTo>
                  <a:close/>
                </a:path>
              </a:pathLst>
            </a:custGeom>
            <a:noFill/>
            <a:ln w="9525" cap="flat" cmpd="sng">
              <a:solidFill>
                <a:srgbClr val="FFFACC"/>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1571" name="Rectangle 1571"/>
            <p:cNvSpPr/>
            <p:nvPr/>
          </p:nvSpPr>
          <p:spPr>
            <a:xfrm>
              <a:off x="11543233" y="4115519"/>
              <a:ext cx="411938" cy="154658"/>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12" normalizeH="0" baseline="0" noProof="0" dirty="0">
                  <a:ln>
                    <a:noFill/>
                  </a:ln>
                  <a:solidFill>
                    <a:srgbClr val="8B8B90"/>
                  </a:solidFill>
                  <a:effectLst/>
                  <a:uLnTx/>
                  <a:uFillTx/>
                  <a:latin typeface="EYInterstate-LightBold"/>
                  <a:ea typeface="+mn-ea"/>
                  <a:cs typeface="+mn-cs"/>
                </a:rPr>
                <a:t>F</a:t>
              </a: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orklift</a:t>
              </a:r>
            </a:p>
          </p:txBody>
        </p:sp>
        <p:sp>
          <p:nvSpPr>
            <p:cNvPr id="1580" name="Rectangle 1580"/>
            <p:cNvSpPr/>
            <p:nvPr/>
          </p:nvSpPr>
          <p:spPr>
            <a:xfrm>
              <a:off x="10308421" y="3628603"/>
              <a:ext cx="192888" cy="154658"/>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Car</a:t>
              </a:r>
            </a:p>
          </p:txBody>
        </p:sp>
        <p:sp>
          <p:nvSpPr>
            <p:cNvPr id="1581" name="Rectangle 1581"/>
            <p:cNvSpPr/>
            <p:nvPr/>
          </p:nvSpPr>
          <p:spPr>
            <a:xfrm>
              <a:off x="11013168" y="4668325"/>
              <a:ext cx="288548" cy="154658"/>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13" normalizeH="0" baseline="0" noProof="0" dirty="0">
                  <a:ln>
                    <a:noFill/>
                  </a:ln>
                  <a:solidFill>
                    <a:srgbClr val="8B8B90"/>
                  </a:solidFill>
                  <a:effectLst/>
                  <a:uLnTx/>
                  <a:uFillTx/>
                  <a:latin typeface="EYInterstate-LightBold"/>
                  <a:ea typeface="+mn-ea"/>
                  <a:cs typeface="+mn-cs"/>
                </a:rPr>
                <a:t>T</a:t>
              </a: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rain</a:t>
              </a:r>
            </a:p>
          </p:txBody>
        </p:sp>
        <p:sp>
          <p:nvSpPr>
            <p:cNvPr id="1582" name="Rectangle 1582"/>
            <p:cNvSpPr/>
            <p:nvPr/>
          </p:nvSpPr>
          <p:spPr>
            <a:xfrm>
              <a:off x="11037030" y="3628603"/>
              <a:ext cx="243647" cy="155107"/>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8" b="1" i="0" u="none" strike="noStrike" kern="1200" cap="none" spc="0" normalizeH="0" baseline="0" noProof="0" dirty="0">
                  <a:ln>
                    <a:noFill/>
                  </a:ln>
                  <a:solidFill>
                    <a:srgbClr val="8B8B90"/>
                  </a:solidFill>
                  <a:effectLst/>
                  <a:uLnTx/>
                  <a:uFillTx/>
                  <a:latin typeface="EYInterstate-LightBold"/>
                  <a:ea typeface="+mn-ea"/>
                  <a:cs typeface="+mn-cs"/>
                </a:rPr>
                <a:t>Ship</a:t>
              </a:r>
            </a:p>
          </p:txBody>
        </p:sp>
        <p:sp>
          <p:nvSpPr>
            <p:cNvPr id="1583" name="Rectangle 1583"/>
            <p:cNvSpPr/>
            <p:nvPr/>
          </p:nvSpPr>
          <p:spPr>
            <a:xfrm>
              <a:off x="10277840" y="4121865"/>
              <a:ext cx="945496" cy="154739"/>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777350" algn="l"/>
                </a:tabLst>
                <a:defRPr/>
              </a:pPr>
              <a:r>
                <a:rPr kumimoji="0" lang="en-US" sz="1005" b="1" i="0" u="none" strike="noStrike" kern="1200" cap="none" spc="-13" normalizeH="0" baseline="0" noProof="0" dirty="0">
                  <a:ln>
                    <a:noFill/>
                  </a:ln>
                  <a:solidFill>
                    <a:srgbClr val="188CE5"/>
                  </a:solidFill>
                  <a:effectLst/>
                  <a:uLnTx/>
                  <a:uFillTx/>
                  <a:latin typeface="EYInterstate-LightBold"/>
                  <a:ea typeface="+mn-ea"/>
                  <a:cs typeface="+mn-cs"/>
                </a:rPr>
                <a:t>T</a:t>
              </a:r>
              <a:r>
                <a:rPr kumimoji="0" lang="en-US" sz="1005" b="1" i="0" u="none" strike="noStrike" kern="1200" cap="none" spc="0" normalizeH="0" baseline="0" noProof="0" dirty="0">
                  <a:ln>
                    <a:noFill/>
                  </a:ln>
                  <a:solidFill>
                    <a:srgbClr val="188CE5"/>
                  </a:solidFill>
                  <a:effectLst/>
                  <a:uLnTx/>
                  <a:uFillTx/>
                  <a:latin typeface="EYInterstate-LightBold"/>
                  <a:ea typeface="+mn-ea"/>
                  <a:cs typeface="+mn-cs"/>
                </a:rPr>
                <a:t>ruck</a:t>
              </a: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	 </a:t>
              </a: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Bus</a:t>
              </a:r>
            </a:p>
          </p:txBody>
        </p:sp>
        <p:sp>
          <p:nvSpPr>
            <p:cNvPr id="1584" name="Rectangle 1584"/>
            <p:cNvSpPr/>
            <p:nvPr/>
          </p:nvSpPr>
          <p:spPr>
            <a:xfrm>
              <a:off x="10329628" y="4668325"/>
              <a:ext cx="216093" cy="154658"/>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Van</a:t>
              </a:r>
            </a:p>
          </p:txBody>
        </p:sp>
        <p:sp>
          <p:nvSpPr>
            <p:cNvPr id="1585" name="Rectangle 1585"/>
            <p:cNvSpPr/>
            <p:nvPr/>
          </p:nvSpPr>
          <p:spPr>
            <a:xfrm>
              <a:off x="11477464" y="3628603"/>
              <a:ext cx="471342" cy="154658"/>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Aviation</a:t>
              </a:r>
            </a:p>
          </p:txBody>
        </p:sp>
      </p:grpSp>
      <p:grpSp>
        <p:nvGrpSpPr>
          <p:cNvPr id="12" name="5. End Use - Industry">
            <a:extLst>
              <a:ext uri="{FF2B5EF4-FFF2-40B4-BE49-F238E27FC236}">
                <a16:creationId xmlns:a16="http://schemas.microsoft.com/office/drawing/2014/main" id="{8C8673ED-E638-4B19-9652-30C0EA0839A5}"/>
              </a:ext>
            </a:extLst>
          </p:cNvPr>
          <p:cNvGrpSpPr/>
          <p:nvPr/>
        </p:nvGrpSpPr>
        <p:grpSpPr>
          <a:xfrm>
            <a:off x="9526460" y="1621629"/>
            <a:ext cx="2212693" cy="718083"/>
            <a:chOff x="10087384" y="1467284"/>
            <a:chExt cx="1998081" cy="718457"/>
          </a:xfrm>
        </p:grpSpPr>
        <p:sp>
          <p:nvSpPr>
            <p:cNvPr id="1482" name="Freeform 1482"/>
            <p:cNvSpPr/>
            <p:nvPr/>
          </p:nvSpPr>
          <p:spPr>
            <a:xfrm>
              <a:off x="11140863" y="1780893"/>
              <a:ext cx="258945" cy="191923"/>
            </a:xfrm>
            <a:custGeom>
              <a:avLst/>
              <a:gdLst/>
              <a:ahLst/>
              <a:cxnLst/>
              <a:rect l="0" t="0" r="0" b="0"/>
              <a:pathLst>
                <a:path w="259080" h="192023">
                  <a:moveTo>
                    <a:pt x="120015" y="21082"/>
                  </a:moveTo>
                  <a:lnTo>
                    <a:pt x="85597" y="43688"/>
                  </a:lnTo>
                  <a:lnTo>
                    <a:pt x="90169" y="42671"/>
                  </a:lnTo>
                  <a:lnTo>
                    <a:pt x="94868" y="41656"/>
                  </a:lnTo>
                  <a:lnTo>
                    <a:pt x="99568" y="40639"/>
                  </a:lnTo>
                  <a:lnTo>
                    <a:pt x="104013" y="39751"/>
                  </a:lnTo>
                  <a:lnTo>
                    <a:pt x="108330" y="38989"/>
                  </a:lnTo>
                  <a:lnTo>
                    <a:pt x="112394" y="38227"/>
                  </a:lnTo>
                  <a:lnTo>
                    <a:pt x="118871" y="37210"/>
                  </a:lnTo>
                  <a:lnTo>
                    <a:pt x="118364" y="38862"/>
                  </a:lnTo>
                  <a:lnTo>
                    <a:pt x="117093" y="43307"/>
                  </a:lnTo>
                  <a:lnTo>
                    <a:pt x="116205" y="46101"/>
                  </a:lnTo>
                  <a:lnTo>
                    <a:pt x="115062" y="49148"/>
                  </a:lnTo>
                  <a:lnTo>
                    <a:pt x="114045" y="52196"/>
                  </a:lnTo>
                  <a:lnTo>
                    <a:pt x="112776" y="55245"/>
                  </a:lnTo>
                  <a:lnTo>
                    <a:pt x="111887" y="57784"/>
                  </a:lnTo>
                  <a:lnTo>
                    <a:pt x="110743" y="60325"/>
                  </a:lnTo>
                  <a:lnTo>
                    <a:pt x="109601" y="62864"/>
                  </a:lnTo>
                  <a:lnTo>
                    <a:pt x="108457" y="65277"/>
                  </a:lnTo>
                  <a:lnTo>
                    <a:pt x="107060" y="67564"/>
                  </a:lnTo>
                  <a:lnTo>
                    <a:pt x="105791" y="69850"/>
                  </a:lnTo>
                  <a:lnTo>
                    <a:pt x="105155" y="70865"/>
                  </a:lnTo>
                  <a:lnTo>
                    <a:pt x="104393" y="71882"/>
                  </a:lnTo>
                  <a:lnTo>
                    <a:pt x="103758" y="72771"/>
                  </a:lnTo>
                  <a:lnTo>
                    <a:pt x="102996" y="73659"/>
                  </a:lnTo>
                  <a:lnTo>
                    <a:pt x="107695" y="72771"/>
                  </a:lnTo>
                  <a:lnTo>
                    <a:pt x="111887" y="72008"/>
                  </a:lnTo>
                  <a:lnTo>
                    <a:pt x="118871" y="70865"/>
                  </a:lnTo>
                  <a:lnTo>
                    <a:pt x="118364" y="72644"/>
                  </a:lnTo>
                  <a:lnTo>
                    <a:pt x="117093" y="76962"/>
                  </a:lnTo>
                  <a:lnTo>
                    <a:pt x="116205" y="79756"/>
                  </a:lnTo>
                  <a:lnTo>
                    <a:pt x="115062" y="82803"/>
                  </a:lnTo>
                  <a:lnTo>
                    <a:pt x="114045" y="85852"/>
                  </a:lnTo>
                  <a:lnTo>
                    <a:pt x="112776" y="89027"/>
                  </a:lnTo>
                  <a:lnTo>
                    <a:pt x="111887" y="91439"/>
                  </a:lnTo>
                  <a:lnTo>
                    <a:pt x="110743" y="93979"/>
                  </a:lnTo>
                  <a:lnTo>
                    <a:pt x="109601" y="96520"/>
                  </a:lnTo>
                  <a:lnTo>
                    <a:pt x="108457" y="98933"/>
                  </a:lnTo>
                  <a:lnTo>
                    <a:pt x="107060" y="101346"/>
                  </a:lnTo>
                  <a:lnTo>
                    <a:pt x="105791" y="103504"/>
                  </a:lnTo>
                  <a:lnTo>
                    <a:pt x="105155" y="104521"/>
                  </a:lnTo>
                  <a:lnTo>
                    <a:pt x="104393" y="105537"/>
                  </a:lnTo>
                  <a:lnTo>
                    <a:pt x="103758" y="106426"/>
                  </a:lnTo>
                  <a:lnTo>
                    <a:pt x="102996" y="107314"/>
                  </a:lnTo>
                  <a:lnTo>
                    <a:pt x="107695" y="106426"/>
                  </a:lnTo>
                  <a:lnTo>
                    <a:pt x="111887" y="105664"/>
                  </a:lnTo>
                  <a:lnTo>
                    <a:pt x="118871" y="104521"/>
                  </a:lnTo>
                  <a:lnTo>
                    <a:pt x="118364" y="106298"/>
                  </a:lnTo>
                  <a:lnTo>
                    <a:pt x="117093" y="110616"/>
                  </a:lnTo>
                  <a:lnTo>
                    <a:pt x="116205" y="113410"/>
                  </a:lnTo>
                  <a:lnTo>
                    <a:pt x="115062" y="116458"/>
                  </a:lnTo>
                  <a:lnTo>
                    <a:pt x="114045" y="119633"/>
                  </a:lnTo>
                  <a:lnTo>
                    <a:pt x="112776" y="122682"/>
                  </a:lnTo>
                  <a:lnTo>
                    <a:pt x="111632" y="125602"/>
                  </a:lnTo>
                  <a:lnTo>
                    <a:pt x="110363" y="128651"/>
                  </a:lnTo>
                  <a:lnTo>
                    <a:pt x="108966" y="131571"/>
                  </a:lnTo>
                  <a:lnTo>
                    <a:pt x="108077" y="133096"/>
                  </a:lnTo>
                  <a:lnTo>
                    <a:pt x="107442" y="134492"/>
                  </a:lnTo>
                  <a:lnTo>
                    <a:pt x="106680" y="135889"/>
                  </a:lnTo>
                  <a:lnTo>
                    <a:pt x="105791" y="137159"/>
                  </a:lnTo>
                  <a:lnTo>
                    <a:pt x="105029" y="138429"/>
                  </a:lnTo>
                  <a:lnTo>
                    <a:pt x="104140" y="139572"/>
                  </a:lnTo>
                  <a:lnTo>
                    <a:pt x="103378" y="140715"/>
                  </a:lnTo>
                  <a:lnTo>
                    <a:pt x="102489" y="141604"/>
                  </a:lnTo>
                  <a:lnTo>
                    <a:pt x="101600" y="142494"/>
                  </a:lnTo>
                  <a:lnTo>
                    <a:pt x="100710" y="143256"/>
                  </a:lnTo>
                  <a:lnTo>
                    <a:pt x="99821" y="143890"/>
                  </a:lnTo>
                  <a:lnTo>
                    <a:pt x="98932" y="144398"/>
                  </a:lnTo>
                  <a:lnTo>
                    <a:pt x="97917" y="145033"/>
                  </a:lnTo>
                  <a:lnTo>
                    <a:pt x="96901" y="145541"/>
                  </a:lnTo>
                  <a:lnTo>
                    <a:pt x="95884" y="145922"/>
                  </a:lnTo>
                  <a:lnTo>
                    <a:pt x="94868" y="146303"/>
                  </a:lnTo>
                  <a:lnTo>
                    <a:pt x="93853" y="146812"/>
                  </a:lnTo>
                  <a:lnTo>
                    <a:pt x="92709" y="147065"/>
                  </a:lnTo>
                  <a:lnTo>
                    <a:pt x="91567" y="147446"/>
                  </a:lnTo>
                  <a:lnTo>
                    <a:pt x="90551" y="147701"/>
                  </a:lnTo>
                  <a:lnTo>
                    <a:pt x="89407" y="147954"/>
                  </a:lnTo>
                  <a:lnTo>
                    <a:pt x="88265" y="148082"/>
                  </a:lnTo>
                  <a:lnTo>
                    <a:pt x="87121" y="148208"/>
                  </a:lnTo>
                  <a:lnTo>
                    <a:pt x="85979" y="148335"/>
                  </a:lnTo>
                  <a:lnTo>
                    <a:pt x="84835" y="148463"/>
                  </a:lnTo>
                  <a:lnTo>
                    <a:pt x="83693" y="148463"/>
                  </a:lnTo>
                  <a:lnTo>
                    <a:pt x="82550" y="148463"/>
                  </a:lnTo>
                  <a:lnTo>
                    <a:pt x="81406" y="148335"/>
                  </a:lnTo>
                  <a:lnTo>
                    <a:pt x="80264" y="148208"/>
                  </a:lnTo>
                  <a:lnTo>
                    <a:pt x="79120" y="148082"/>
                  </a:lnTo>
                  <a:lnTo>
                    <a:pt x="77978" y="147954"/>
                  </a:lnTo>
                  <a:lnTo>
                    <a:pt x="76834" y="147701"/>
                  </a:lnTo>
                  <a:lnTo>
                    <a:pt x="75692" y="147446"/>
                  </a:lnTo>
                  <a:lnTo>
                    <a:pt x="74676" y="147065"/>
                  </a:lnTo>
                  <a:lnTo>
                    <a:pt x="73532" y="146812"/>
                  </a:lnTo>
                  <a:lnTo>
                    <a:pt x="72517" y="146303"/>
                  </a:lnTo>
                  <a:lnTo>
                    <a:pt x="71501" y="145922"/>
                  </a:lnTo>
                  <a:lnTo>
                    <a:pt x="70484" y="145541"/>
                  </a:lnTo>
                  <a:lnTo>
                    <a:pt x="69468" y="145033"/>
                  </a:lnTo>
                  <a:lnTo>
                    <a:pt x="68580" y="144398"/>
                  </a:lnTo>
                  <a:lnTo>
                    <a:pt x="67691" y="143890"/>
                  </a:lnTo>
                  <a:lnTo>
                    <a:pt x="66675" y="143256"/>
                  </a:lnTo>
                  <a:lnTo>
                    <a:pt x="65913" y="142621"/>
                  </a:lnTo>
                  <a:lnTo>
                    <a:pt x="65151" y="141985"/>
                  </a:lnTo>
                  <a:lnTo>
                    <a:pt x="65151" y="191515"/>
                  </a:lnTo>
                  <a:lnTo>
                    <a:pt x="54864" y="191515"/>
                  </a:lnTo>
                  <a:lnTo>
                    <a:pt x="54864" y="141985"/>
                  </a:lnTo>
                  <a:lnTo>
                    <a:pt x="53975" y="142621"/>
                  </a:lnTo>
                  <a:lnTo>
                    <a:pt x="53213" y="143256"/>
                  </a:lnTo>
                  <a:lnTo>
                    <a:pt x="52323" y="143890"/>
                  </a:lnTo>
                  <a:lnTo>
                    <a:pt x="51434" y="144398"/>
                  </a:lnTo>
                  <a:lnTo>
                    <a:pt x="50545" y="145033"/>
                  </a:lnTo>
                  <a:lnTo>
                    <a:pt x="49403" y="145541"/>
                  </a:lnTo>
                  <a:lnTo>
                    <a:pt x="48514" y="145922"/>
                  </a:lnTo>
                  <a:lnTo>
                    <a:pt x="47370" y="146303"/>
                  </a:lnTo>
                  <a:lnTo>
                    <a:pt x="46355" y="146812"/>
                  </a:lnTo>
                  <a:lnTo>
                    <a:pt x="45212" y="147065"/>
                  </a:lnTo>
                  <a:lnTo>
                    <a:pt x="44195" y="147446"/>
                  </a:lnTo>
                  <a:lnTo>
                    <a:pt x="43053" y="147701"/>
                  </a:lnTo>
                  <a:lnTo>
                    <a:pt x="41909" y="147954"/>
                  </a:lnTo>
                  <a:lnTo>
                    <a:pt x="40893" y="148082"/>
                  </a:lnTo>
                  <a:lnTo>
                    <a:pt x="39751" y="148208"/>
                  </a:lnTo>
                  <a:lnTo>
                    <a:pt x="38607" y="148335"/>
                  </a:lnTo>
                  <a:lnTo>
                    <a:pt x="37338" y="148463"/>
                  </a:lnTo>
                  <a:lnTo>
                    <a:pt x="36321" y="148463"/>
                  </a:lnTo>
                  <a:lnTo>
                    <a:pt x="35052" y="148463"/>
                  </a:lnTo>
                  <a:lnTo>
                    <a:pt x="33908" y="148335"/>
                  </a:lnTo>
                  <a:lnTo>
                    <a:pt x="32766" y="148208"/>
                  </a:lnTo>
                  <a:lnTo>
                    <a:pt x="31622" y="148082"/>
                  </a:lnTo>
                  <a:lnTo>
                    <a:pt x="30480" y="147954"/>
                  </a:lnTo>
                  <a:lnTo>
                    <a:pt x="29464" y="147701"/>
                  </a:lnTo>
                  <a:lnTo>
                    <a:pt x="28320" y="147446"/>
                  </a:lnTo>
                  <a:lnTo>
                    <a:pt x="27178" y="147065"/>
                  </a:lnTo>
                  <a:lnTo>
                    <a:pt x="26162" y="146812"/>
                  </a:lnTo>
                  <a:lnTo>
                    <a:pt x="25018" y="146303"/>
                  </a:lnTo>
                  <a:lnTo>
                    <a:pt x="24130" y="145922"/>
                  </a:lnTo>
                  <a:lnTo>
                    <a:pt x="22987" y="145541"/>
                  </a:lnTo>
                  <a:lnTo>
                    <a:pt x="22097" y="145033"/>
                  </a:lnTo>
                  <a:lnTo>
                    <a:pt x="21081" y="144398"/>
                  </a:lnTo>
                  <a:lnTo>
                    <a:pt x="20193" y="143890"/>
                  </a:lnTo>
                  <a:lnTo>
                    <a:pt x="19177" y="143256"/>
                  </a:lnTo>
                  <a:lnTo>
                    <a:pt x="18415" y="142494"/>
                  </a:lnTo>
                  <a:lnTo>
                    <a:pt x="17526" y="141604"/>
                  </a:lnTo>
                  <a:lnTo>
                    <a:pt x="16637" y="140715"/>
                  </a:lnTo>
                  <a:lnTo>
                    <a:pt x="15747" y="139572"/>
                  </a:lnTo>
                  <a:lnTo>
                    <a:pt x="14985" y="138429"/>
                  </a:lnTo>
                  <a:lnTo>
                    <a:pt x="14223" y="137159"/>
                  </a:lnTo>
                  <a:lnTo>
                    <a:pt x="13334" y="135889"/>
                  </a:lnTo>
                  <a:lnTo>
                    <a:pt x="12572" y="134492"/>
                  </a:lnTo>
                  <a:lnTo>
                    <a:pt x="11810" y="133096"/>
                  </a:lnTo>
                  <a:lnTo>
                    <a:pt x="11048" y="131571"/>
                  </a:lnTo>
                  <a:lnTo>
                    <a:pt x="9652" y="128651"/>
                  </a:lnTo>
                  <a:lnTo>
                    <a:pt x="8381" y="125602"/>
                  </a:lnTo>
                  <a:lnTo>
                    <a:pt x="7112" y="122682"/>
                  </a:lnTo>
                  <a:lnTo>
                    <a:pt x="5968" y="119633"/>
                  </a:lnTo>
                  <a:lnTo>
                    <a:pt x="4826" y="116458"/>
                  </a:lnTo>
                  <a:lnTo>
                    <a:pt x="3809" y="113410"/>
                  </a:lnTo>
                  <a:lnTo>
                    <a:pt x="2920" y="110616"/>
                  </a:lnTo>
                  <a:lnTo>
                    <a:pt x="1523" y="106298"/>
                  </a:lnTo>
                  <a:lnTo>
                    <a:pt x="1016" y="104521"/>
                  </a:lnTo>
                  <a:lnTo>
                    <a:pt x="5842" y="105409"/>
                  </a:lnTo>
                  <a:lnTo>
                    <a:pt x="10921" y="106171"/>
                  </a:lnTo>
                  <a:lnTo>
                    <a:pt x="16891" y="107314"/>
                  </a:lnTo>
                  <a:lnTo>
                    <a:pt x="16255" y="106426"/>
                  </a:lnTo>
                  <a:lnTo>
                    <a:pt x="15493" y="105537"/>
                  </a:lnTo>
                  <a:lnTo>
                    <a:pt x="14858" y="104647"/>
                  </a:lnTo>
                  <a:lnTo>
                    <a:pt x="14223" y="103504"/>
                  </a:lnTo>
                  <a:lnTo>
                    <a:pt x="12827" y="101346"/>
                  </a:lnTo>
                  <a:lnTo>
                    <a:pt x="11556" y="98933"/>
                  </a:lnTo>
                  <a:lnTo>
                    <a:pt x="10287" y="96520"/>
                  </a:lnTo>
                  <a:lnTo>
                    <a:pt x="9143" y="93979"/>
                  </a:lnTo>
                  <a:lnTo>
                    <a:pt x="8128" y="91439"/>
                  </a:lnTo>
                  <a:lnTo>
                    <a:pt x="7112" y="89027"/>
                  </a:lnTo>
                  <a:lnTo>
                    <a:pt x="5968" y="85852"/>
                  </a:lnTo>
                  <a:lnTo>
                    <a:pt x="4826" y="82803"/>
                  </a:lnTo>
                  <a:lnTo>
                    <a:pt x="3809" y="79756"/>
                  </a:lnTo>
                  <a:lnTo>
                    <a:pt x="2920" y="76962"/>
                  </a:lnTo>
                  <a:lnTo>
                    <a:pt x="1523" y="72644"/>
                  </a:lnTo>
                  <a:lnTo>
                    <a:pt x="1016" y="70865"/>
                  </a:lnTo>
                  <a:lnTo>
                    <a:pt x="5842" y="71627"/>
                  </a:lnTo>
                  <a:lnTo>
                    <a:pt x="10921" y="72516"/>
                  </a:lnTo>
                  <a:lnTo>
                    <a:pt x="16891" y="73659"/>
                  </a:lnTo>
                  <a:lnTo>
                    <a:pt x="16255" y="72771"/>
                  </a:lnTo>
                  <a:lnTo>
                    <a:pt x="15493" y="71882"/>
                  </a:lnTo>
                  <a:lnTo>
                    <a:pt x="14858" y="70865"/>
                  </a:lnTo>
                  <a:lnTo>
                    <a:pt x="14223" y="69850"/>
                  </a:lnTo>
                  <a:lnTo>
                    <a:pt x="12827" y="67564"/>
                  </a:lnTo>
                  <a:lnTo>
                    <a:pt x="11556" y="65277"/>
                  </a:lnTo>
                  <a:lnTo>
                    <a:pt x="10287" y="62864"/>
                  </a:lnTo>
                  <a:lnTo>
                    <a:pt x="9143" y="60325"/>
                  </a:lnTo>
                  <a:lnTo>
                    <a:pt x="8128" y="57784"/>
                  </a:lnTo>
                  <a:lnTo>
                    <a:pt x="7112" y="55245"/>
                  </a:lnTo>
                  <a:lnTo>
                    <a:pt x="5968" y="52196"/>
                  </a:lnTo>
                  <a:lnTo>
                    <a:pt x="4826" y="49148"/>
                  </a:lnTo>
                  <a:lnTo>
                    <a:pt x="3809" y="46101"/>
                  </a:lnTo>
                  <a:lnTo>
                    <a:pt x="2920" y="43307"/>
                  </a:lnTo>
                  <a:lnTo>
                    <a:pt x="1523" y="38862"/>
                  </a:lnTo>
                  <a:lnTo>
                    <a:pt x="1016" y="37210"/>
                  </a:lnTo>
                  <a:lnTo>
                    <a:pt x="3302" y="37591"/>
                  </a:lnTo>
                  <a:lnTo>
                    <a:pt x="9143" y="38608"/>
                  </a:lnTo>
                  <a:lnTo>
                    <a:pt x="13080" y="39242"/>
                  </a:lnTo>
                  <a:lnTo>
                    <a:pt x="17144" y="40004"/>
                  </a:lnTo>
                  <a:lnTo>
                    <a:pt x="21463" y="40894"/>
                  </a:lnTo>
                  <a:lnTo>
                    <a:pt x="25527" y="41656"/>
                  </a:lnTo>
                  <a:lnTo>
                    <a:pt x="29971" y="42671"/>
                  </a:lnTo>
                  <a:lnTo>
                    <a:pt x="34670" y="43814"/>
                  </a:lnTo>
                  <a:lnTo>
                    <a:pt x="0" y="21082"/>
                  </a:lnTo>
                  <a:lnTo>
                    <a:pt x="3429" y="18288"/>
                  </a:lnTo>
                  <a:lnTo>
                    <a:pt x="36321" y="39751"/>
                  </a:lnTo>
                  <a:lnTo>
                    <a:pt x="36068" y="38227"/>
                  </a:lnTo>
                  <a:lnTo>
                    <a:pt x="35941" y="37591"/>
                  </a:lnTo>
                  <a:lnTo>
                    <a:pt x="35941" y="36829"/>
                  </a:lnTo>
                  <a:lnTo>
                    <a:pt x="36068" y="35940"/>
                  </a:lnTo>
                  <a:lnTo>
                    <a:pt x="36194" y="34797"/>
                  </a:lnTo>
                  <a:lnTo>
                    <a:pt x="36576" y="33654"/>
                  </a:lnTo>
                  <a:lnTo>
                    <a:pt x="36956" y="32512"/>
                  </a:lnTo>
                  <a:lnTo>
                    <a:pt x="37465" y="31241"/>
                  </a:lnTo>
                  <a:lnTo>
                    <a:pt x="37972" y="29971"/>
                  </a:lnTo>
                  <a:lnTo>
                    <a:pt x="38734" y="28575"/>
                  </a:lnTo>
                  <a:lnTo>
                    <a:pt x="39496" y="27177"/>
                  </a:lnTo>
                  <a:lnTo>
                    <a:pt x="40258" y="25781"/>
                  </a:lnTo>
                  <a:lnTo>
                    <a:pt x="41147" y="24383"/>
                  </a:lnTo>
                  <a:lnTo>
                    <a:pt x="43053" y="21589"/>
                  </a:lnTo>
                  <a:lnTo>
                    <a:pt x="44957" y="18669"/>
                  </a:lnTo>
                  <a:lnTo>
                    <a:pt x="46990" y="16002"/>
                  </a:lnTo>
                  <a:lnTo>
                    <a:pt x="49148" y="13208"/>
                  </a:lnTo>
                  <a:lnTo>
                    <a:pt x="51307" y="10414"/>
                  </a:lnTo>
                  <a:lnTo>
                    <a:pt x="53467" y="7746"/>
                  </a:lnTo>
                  <a:lnTo>
                    <a:pt x="55498" y="5333"/>
                  </a:lnTo>
                  <a:lnTo>
                    <a:pt x="58673" y="1396"/>
                  </a:lnTo>
                  <a:lnTo>
                    <a:pt x="60070" y="0"/>
                  </a:lnTo>
                  <a:lnTo>
                    <a:pt x="61214" y="1396"/>
                  </a:lnTo>
                  <a:lnTo>
                    <a:pt x="64389" y="5333"/>
                  </a:lnTo>
                  <a:lnTo>
                    <a:pt x="66420" y="7746"/>
                  </a:lnTo>
                  <a:lnTo>
                    <a:pt x="68706" y="10414"/>
                  </a:lnTo>
                  <a:lnTo>
                    <a:pt x="70866" y="13208"/>
                  </a:lnTo>
                  <a:lnTo>
                    <a:pt x="73025" y="16002"/>
                  </a:lnTo>
                  <a:lnTo>
                    <a:pt x="74930" y="18669"/>
                  </a:lnTo>
                  <a:lnTo>
                    <a:pt x="76962" y="21589"/>
                  </a:lnTo>
                  <a:lnTo>
                    <a:pt x="78740" y="24383"/>
                  </a:lnTo>
                  <a:lnTo>
                    <a:pt x="79629" y="25781"/>
                  </a:lnTo>
                  <a:lnTo>
                    <a:pt x="80518" y="27177"/>
                  </a:lnTo>
                  <a:lnTo>
                    <a:pt x="81280" y="28575"/>
                  </a:lnTo>
                  <a:lnTo>
                    <a:pt x="81915" y="29971"/>
                  </a:lnTo>
                  <a:lnTo>
                    <a:pt x="82550" y="31241"/>
                  </a:lnTo>
                  <a:lnTo>
                    <a:pt x="83057" y="32512"/>
                  </a:lnTo>
                  <a:lnTo>
                    <a:pt x="83439" y="33654"/>
                  </a:lnTo>
                  <a:lnTo>
                    <a:pt x="83693" y="34797"/>
                  </a:lnTo>
                  <a:lnTo>
                    <a:pt x="83946" y="35940"/>
                  </a:lnTo>
                  <a:lnTo>
                    <a:pt x="83946" y="36829"/>
                  </a:lnTo>
                  <a:lnTo>
                    <a:pt x="83946" y="37591"/>
                  </a:lnTo>
                  <a:lnTo>
                    <a:pt x="83946" y="38353"/>
                  </a:lnTo>
                  <a:lnTo>
                    <a:pt x="83819" y="39115"/>
                  </a:lnTo>
                  <a:lnTo>
                    <a:pt x="83693" y="39877"/>
                  </a:lnTo>
                  <a:lnTo>
                    <a:pt x="116585" y="18288"/>
                  </a:lnTo>
                  <a:lnTo>
                    <a:pt x="120015" y="21082"/>
                  </a:lnTo>
                  <a:close/>
                  <a:moveTo>
                    <a:pt x="-6086603" y="5077967"/>
                  </a:moveTo>
                  <a:moveTo>
                    <a:pt x="60070" y="50800"/>
                  </a:moveTo>
                  <a:lnTo>
                    <a:pt x="60070" y="50800"/>
                  </a:lnTo>
                  <a:lnTo>
                    <a:pt x="60959" y="50672"/>
                  </a:lnTo>
                  <a:lnTo>
                    <a:pt x="61848" y="50672"/>
                  </a:lnTo>
                  <a:lnTo>
                    <a:pt x="62865" y="50546"/>
                  </a:lnTo>
                  <a:lnTo>
                    <a:pt x="63754" y="50419"/>
                  </a:lnTo>
                  <a:lnTo>
                    <a:pt x="64769" y="50291"/>
                  </a:lnTo>
                  <a:lnTo>
                    <a:pt x="65531" y="50164"/>
                  </a:lnTo>
                  <a:lnTo>
                    <a:pt x="66420" y="49910"/>
                  </a:lnTo>
                  <a:lnTo>
                    <a:pt x="67309" y="49657"/>
                  </a:lnTo>
                  <a:lnTo>
                    <a:pt x="68198" y="49402"/>
                  </a:lnTo>
                  <a:lnTo>
                    <a:pt x="68960" y="49148"/>
                  </a:lnTo>
                  <a:lnTo>
                    <a:pt x="69722" y="48767"/>
                  </a:lnTo>
                  <a:lnTo>
                    <a:pt x="70484" y="48387"/>
                  </a:lnTo>
                  <a:lnTo>
                    <a:pt x="71246" y="48006"/>
                  </a:lnTo>
                  <a:lnTo>
                    <a:pt x="72008" y="47625"/>
                  </a:lnTo>
                  <a:lnTo>
                    <a:pt x="72643" y="47116"/>
                  </a:lnTo>
                  <a:lnTo>
                    <a:pt x="73279" y="46735"/>
                  </a:lnTo>
                  <a:lnTo>
                    <a:pt x="73914" y="46227"/>
                  </a:lnTo>
                  <a:lnTo>
                    <a:pt x="74421" y="45720"/>
                  </a:lnTo>
                  <a:lnTo>
                    <a:pt x="75056" y="45212"/>
                  </a:lnTo>
                  <a:lnTo>
                    <a:pt x="75565" y="44577"/>
                  </a:lnTo>
                  <a:lnTo>
                    <a:pt x="76072" y="44069"/>
                  </a:lnTo>
                  <a:lnTo>
                    <a:pt x="76580" y="43560"/>
                  </a:lnTo>
                  <a:lnTo>
                    <a:pt x="76962" y="42798"/>
                  </a:lnTo>
                  <a:lnTo>
                    <a:pt x="77343" y="42290"/>
                  </a:lnTo>
                  <a:lnTo>
                    <a:pt x="77723" y="41656"/>
                  </a:lnTo>
                  <a:lnTo>
                    <a:pt x="77978" y="41021"/>
                  </a:lnTo>
                  <a:lnTo>
                    <a:pt x="78231" y="40258"/>
                  </a:lnTo>
                  <a:lnTo>
                    <a:pt x="78358" y="39623"/>
                  </a:lnTo>
                  <a:lnTo>
                    <a:pt x="78613" y="38989"/>
                  </a:lnTo>
                  <a:lnTo>
                    <a:pt x="78740" y="38227"/>
                  </a:lnTo>
                  <a:lnTo>
                    <a:pt x="78740" y="37591"/>
                  </a:lnTo>
                  <a:lnTo>
                    <a:pt x="78740" y="36829"/>
                  </a:lnTo>
                  <a:lnTo>
                    <a:pt x="78740" y="36195"/>
                  </a:lnTo>
                  <a:lnTo>
                    <a:pt x="78613" y="35559"/>
                  </a:lnTo>
                  <a:lnTo>
                    <a:pt x="78485" y="34797"/>
                  </a:lnTo>
                  <a:lnTo>
                    <a:pt x="78231" y="34035"/>
                  </a:lnTo>
                  <a:lnTo>
                    <a:pt x="77851" y="33146"/>
                  </a:lnTo>
                  <a:lnTo>
                    <a:pt x="77596" y="32258"/>
                  </a:lnTo>
                  <a:lnTo>
                    <a:pt x="76707" y="30352"/>
                  </a:lnTo>
                  <a:lnTo>
                    <a:pt x="75565" y="28447"/>
                  </a:lnTo>
                  <a:lnTo>
                    <a:pt x="74294" y="26415"/>
                  </a:lnTo>
                  <a:lnTo>
                    <a:pt x="72897" y="24257"/>
                  </a:lnTo>
                  <a:lnTo>
                    <a:pt x="71373" y="22097"/>
                  </a:lnTo>
                  <a:lnTo>
                    <a:pt x="69850" y="19939"/>
                  </a:lnTo>
                  <a:lnTo>
                    <a:pt x="68326" y="17652"/>
                  </a:lnTo>
                  <a:lnTo>
                    <a:pt x="65151" y="13715"/>
                  </a:lnTo>
                  <a:lnTo>
                    <a:pt x="62356" y="10033"/>
                  </a:lnTo>
                  <a:lnTo>
                    <a:pt x="60070" y="7239"/>
                  </a:lnTo>
                  <a:lnTo>
                    <a:pt x="60070" y="50800"/>
                  </a:lnTo>
                  <a:close/>
                  <a:moveTo>
                    <a:pt x="-6116321" y="5077967"/>
                  </a:moveTo>
                  <a:moveTo>
                    <a:pt x="49403" y="140334"/>
                  </a:moveTo>
                  <a:lnTo>
                    <a:pt x="49403" y="140334"/>
                  </a:lnTo>
                  <a:lnTo>
                    <a:pt x="50292" y="139572"/>
                  </a:lnTo>
                  <a:lnTo>
                    <a:pt x="51180" y="138810"/>
                  </a:lnTo>
                  <a:lnTo>
                    <a:pt x="51943" y="138048"/>
                  </a:lnTo>
                  <a:lnTo>
                    <a:pt x="52705" y="137159"/>
                  </a:lnTo>
                  <a:lnTo>
                    <a:pt x="53340" y="136271"/>
                  </a:lnTo>
                  <a:lnTo>
                    <a:pt x="53975" y="135382"/>
                  </a:lnTo>
                  <a:lnTo>
                    <a:pt x="54355" y="134492"/>
                  </a:lnTo>
                  <a:lnTo>
                    <a:pt x="54864" y="133477"/>
                  </a:lnTo>
                  <a:lnTo>
                    <a:pt x="54991" y="132714"/>
                  </a:lnTo>
                  <a:lnTo>
                    <a:pt x="55118" y="131952"/>
                  </a:lnTo>
                  <a:lnTo>
                    <a:pt x="55244" y="131190"/>
                  </a:lnTo>
                  <a:lnTo>
                    <a:pt x="55244" y="130428"/>
                  </a:lnTo>
                  <a:lnTo>
                    <a:pt x="55244" y="129666"/>
                  </a:lnTo>
                  <a:lnTo>
                    <a:pt x="55244" y="128904"/>
                  </a:lnTo>
                  <a:lnTo>
                    <a:pt x="54991" y="128142"/>
                  </a:lnTo>
                  <a:lnTo>
                    <a:pt x="54864" y="127253"/>
                  </a:lnTo>
                  <a:lnTo>
                    <a:pt x="54355" y="126491"/>
                  </a:lnTo>
                  <a:lnTo>
                    <a:pt x="53975" y="125602"/>
                  </a:lnTo>
                  <a:lnTo>
                    <a:pt x="53467" y="124714"/>
                  </a:lnTo>
                  <a:lnTo>
                    <a:pt x="52831" y="123952"/>
                  </a:lnTo>
                  <a:lnTo>
                    <a:pt x="52196" y="123063"/>
                  </a:lnTo>
                  <a:lnTo>
                    <a:pt x="51434" y="122301"/>
                  </a:lnTo>
                  <a:lnTo>
                    <a:pt x="50545" y="121539"/>
                  </a:lnTo>
                  <a:lnTo>
                    <a:pt x="49530" y="120777"/>
                  </a:lnTo>
                  <a:lnTo>
                    <a:pt x="48894" y="120396"/>
                  </a:lnTo>
                  <a:lnTo>
                    <a:pt x="48132" y="119888"/>
                  </a:lnTo>
                  <a:lnTo>
                    <a:pt x="47243" y="119379"/>
                  </a:lnTo>
                  <a:lnTo>
                    <a:pt x="46228" y="118998"/>
                  </a:lnTo>
                  <a:lnTo>
                    <a:pt x="45212" y="118617"/>
                  </a:lnTo>
                  <a:lnTo>
                    <a:pt x="44068" y="118109"/>
                  </a:lnTo>
                  <a:lnTo>
                    <a:pt x="41402" y="117221"/>
                  </a:lnTo>
                  <a:lnTo>
                    <a:pt x="38607" y="116332"/>
                  </a:lnTo>
                  <a:lnTo>
                    <a:pt x="35559" y="115442"/>
                  </a:lnTo>
                  <a:lnTo>
                    <a:pt x="32384" y="114681"/>
                  </a:lnTo>
                  <a:lnTo>
                    <a:pt x="29082" y="113919"/>
                  </a:lnTo>
                  <a:lnTo>
                    <a:pt x="28829" y="113919"/>
                  </a:lnTo>
                  <a:lnTo>
                    <a:pt x="25907" y="113157"/>
                  </a:lnTo>
                  <a:lnTo>
                    <a:pt x="22987" y="112521"/>
                  </a:lnTo>
                  <a:lnTo>
                    <a:pt x="17271" y="111378"/>
                  </a:lnTo>
                  <a:lnTo>
                    <a:pt x="12065" y="110363"/>
                  </a:lnTo>
                  <a:lnTo>
                    <a:pt x="7873" y="109601"/>
                  </a:lnTo>
                  <a:lnTo>
                    <a:pt x="49403" y="140334"/>
                  </a:lnTo>
                  <a:close/>
                  <a:moveTo>
                    <a:pt x="-6205855" y="5077967"/>
                  </a:moveTo>
                  <a:moveTo>
                    <a:pt x="49403" y="106679"/>
                  </a:moveTo>
                  <a:lnTo>
                    <a:pt x="49403" y="106679"/>
                  </a:lnTo>
                  <a:lnTo>
                    <a:pt x="50292" y="105917"/>
                  </a:lnTo>
                  <a:lnTo>
                    <a:pt x="51180" y="105156"/>
                  </a:lnTo>
                  <a:lnTo>
                    <a:pt x="51943" y="104266"/>
                  </a:lnTo>
                  <a:lnTo>
                    <a:pt x="52705" y="103504"/>
                  </a:lnTo>
                  <a:lnTo>
                    <a:pt x="53340" y="102615"/>
                  </a:lnTo>
                  <a:lnTo>
                    <a:pt x="53975" y="101727"/>
                  </a:lnTo>
                  <a:lnTo>
                    <a:pt x="54355" y="100710"/>
                  </a:lnTo>
                  <a:lnTo>
                    <a:pt x="54864" y="99821"/>
                  </a:lnTo>
                  <a:lnTo>
                    <a:pt x="54991" y="99059"/>
                  </a:lnTo>
                  <a:lnTo>
                    <a:pt x="55118" y="98297"/>
                  </a:lnTo>
                  <a:lnTo>
                    <a:pt x="55244" y="97408"/>
                  </a:lnTo>
                  <a:lnTo>
                    <a:pt x="55244" y="96646"/>
                  </a:lnTo>
                  <a:lnTo>
                    <a:pt x="55244" y="95884"/>
                  </a:lnTo>
                  <a:lnTo>
                    <a:pt x="55244" y="95122"/>
                  </a:lnTo>
                  <a:lnTo>
                    <a:pt x="54991" y="94360"/>
                  </a:lnTo>
                  <a:lnTo>
                    <a:pt x="54864" y="93598"/>
                  </a:lnTo>
                  <a:lnTo>
                    <a:pt x="54355" y="92709"/>
                  </a:lnTo>
                  <a:lnTo>
                    <a:pt x="53975" y="91947"/>
                  </a:lnTo>
                  <a:lnTo>
                    <a:pt x="53467" y="91058"/>
                  </a:lnTo>
                  <a:lnTo>
                    <a:pt x="52831" y="90296"/>
                  </a:lnTo>
                  <a:lnTo>
                    <a:pt x="52196" y="89408"/>
                  </a:lnTo>
                  <a:lnTo>
                    <a:pt x="51434" y="88646"/>
                  </a:lnTo>
                  <a:lnTo>
                    <a:pt x="50545" y="87883"/>
                  </a:lnTo>
                  <a:lnTo>
                    <a:pt x="49530" y="87121"/>
                  </a:lnTo>
                  <a:lnTo>
                    <a:pt x="48894" y="86614"/>
                  </a:lnTo>
                  <a:lnTo>
                    <a:pt x="48259" y="86233"/>
                  </a:lnTo>
                  <a:lnTo>
                    <a:pt x="47370" y="85852"/>
                  </a:lnTo>
                  <a:lnTo>
                    <a:pt x="46481" y="85344"/>
                  </a:lnTo>
                  <a:lnTo>
                    <a:pt x="45339" y="84963"/>
                  </a:lnTo>
                  <a:lnTo>
                    <a:pt x="44322" y="84582"/>
                  </a:lnTo>
                  <a:lnTo>
                    <a:pt x="41909" y="83692"/>
                  </a:lnTo>
                  <a:lnTo>
                    <a:pt x="39243" y="82803"/>
                  </a:lnTo>
                  <a:lnTo>
                    <a:pt x="36321" y="82041"/>
                  </a:lnTo>
                  <a:lnTo>
                    <a:pt x="33401" y="81279"/>
                  </a:lnTo>
                  <a:lnTo>
                    <a:pt x="30226" y="80517"/>
                  </a:lnTo>
                  <a:lnTo>
                    <a:pt x="27051" y="79756"/>
                  </a:lnTo>
                  <a:lnTo>
                    <a:pt x="23876" y="79121"/>
                  </a:lnTo>
                  <a:lnTo>
                    <a:pt x="17780" y="77851"/>
                  </a:lnTo>
                  <a:lnTo>
                    <a:pt x="12318" y="76708"/>
                  </a:lnTo>
                  <a:lnTo>
                    <a:pt x="7873" y="75946"/>
                  </a:lnTo>
                  <a:lnTo>
                    <a:pt x="49403" y="106679"/>
                  </a:lnTo>
                  <a:close/>
                  <a:moveTo>
                    <a:pt x="-6172200" y="5077967"/>
                  </a:moveTo>
                  <a:moveTo>
                    <a:pt x="49403" y="72897"/>
                  </a:moveTo>
                  <a:lnTo>
                    <a:pt x="49403" y="72897"/>
                  </a:lnTo>
                  <a:lnTo>
                    <a:pt x="50292" y="72263"/>
                  </a:lnTo>
                  <a:lnTo>
                    <a:pt x="51180" y="71501"/>
                  </a:lnTo>
                  <a:lnTo>
                    <a:pt x="51943" y="70612"/>
                  </a:lnTo>
                  <a:lnTo>
                    <a:pt x="52705" y="69722"/>
                  </a:lnTo>
                  <a:lnTo>
                    <a:pt x="53340" y="68960"/>
                  </a:lnTo>
                  <a:lnTo>
                    <a:pt x="53975" y="67945"/>
                  </a:lnTo>
                  <a:lnTo>
                    <a:pt x="54355" y="67056"/>
                  </a:lnTo>
                  <a:lnTo>
                    <a:pt x="54864" y="66039"/>
                  </a:lnTo>
                  <a:lnTo>
                    <a:pt x="54991" y="65277"/>
                  </a:lnTo>
                  <a:lnTo>
                    <a:pt x="55118" y="64515"/>
                  </a:lnTo>
                  <a:lnTo>
                    <a:pt x="55244" y="63753"/>
                  </a:lnTo>
                  <a:lnTo>
                    <a:pt x="55244" y="62991"/>
                  </a:lnTo>
                  <a:lnTo>
                    <a:pt x="55244" y="62229"/>
                  </a:lnTo>
                  <a:lnTo>
                    <a:pt x="55244" y="61467"/>
                  </a:lnTo>
                  <a:lnTo>
                    <a:pt x="54991" y="60706"/>
                  </a:lnTo>
                  <a:lnTo>
                    <a:pt x="54864" y="59816"/>
                  </a:lnTo>
                  <a:lnTo>
                    <a:pt x="54355" y="59054"/>
                  </a:lnTo>
                  <a:lnTo>
                    <a:pt x="53975" y="58165"/>
                  </a:lnTo>
                  <a:lnTo>
                    <a:pt x="53467" y="57403"/>
                  </a:lnTo>
                  <a:lnTo>
                    <a:pt x="52831" y="56514"/>
                  </a:lnTo>
                  <a:lnTo>
                    <a:pt x="52196" y="55752"/>
                  </a:lnTo>
                  <a:lnTo>
                    <a:pt x="51434" y="54990"/>
                  </a:lnTo>
                  <a:lnTo>
                    <a:pt x="50545" y="54102"/>
                  </a:lnTo>
                  <a:lnTo>
                    <a:pt x="49530" y="53339"/>
                  </a:lnTo>
                  <a:lnTo>
                    <a:pt x="48894" y="52958"/>
                  </a:lnTo>
                  <a:lnTo>
                    <a:pt x="48259" y="52577"/>
                  </a:lnTo>
                  <a:lnTo>
                    <a:pt x="47370" y="52070"/>
                  </a:lnTo>
                  <a:lnTo>
                    <a:pt x="46481" y="51689"/>
                  </a:lnTo>
                  <a:lnTo>
                    <a:pt x="45339" y="51308"/>
                  </a:lnTo>
                  <a:lnTo>
                    <a:pt x="44322" y="50800"/>
                  </a:lnTo>
                  <a:lnTo>
                    <a:pt x="41909" y="50038"/>
                  </a:lnTo>
                  <a:lnTo>
                    <a:pt x="39243" y="49148"/>
                  </a:lnTo>
                  <a:lnTo>
                    <a:pt x="36321" y="48387"/>
                  </a:lnTo>
                  <a:lnTo>
                    <a:pt x="33401" y="47497"/>
                  </a:lnTo>
                  <a:lnTo>
                    <a:pt x="30226" y="46735"/>
                  </a:lnTo>
                  <a:lnTo>
                    <a:pt x="27051" y="46101"/>
                  </a:lnTo>
                  <a:lnTo>
                    <a:pt x="23876" y="45339"/>
                  </a:lnTo>
                  <a:lnTo>
                    <a:pt x="17780" y="44069"/>
                  </a:lnTo>
                  <a:lnTo>
                    <a:pt x="12318" y="43052"/>
                  </a:lnTo>
                  <a:lnTo>
                    <a:pt x="7873" y="42290"/>
                  </a:lnTo>
                  <a:lnTo>
                    <a:pt x="49403" y="72897"/>
                  </a:lnTo>
                  <a:close/>
                  <a:moveTo>
                    <a:pt x="-6138418" y="5077967"/>
                  </a:moveTo>
                  <a:moveTo>
                    <a:pt x="112014" y="75946"/>
                  </a:moveTo>
                  <a:lnTo>
                    <a:pt x="112014" y="75946"/>
                  </a:lnTo>
                  <a:lnTo>
                    <a:pt x="107695" y="76708"/>
                  </a:lnTo>
                  <a:lnTo>
                    <a:pt x="102234" y="77851"/>
                  </a:lnTo>
                  <a:lnTo>
                    <a:pt x="96139" y="78994"/>
                  </a:lnTo>
                  <a:lnTo>
                    <a:pt x="92964" y="79756"/>
                  </a:lnTo>
                  <a:lnTo>
                    <a:pt x="89789" y="80517"/>
                  </a:lnTo>
                  <a:lnTo>
                    <a:pt x="86614" y="81279"/>
                  </a:lnTo>
                  <a:lnTo>
                    <a:pt x="83693" y="82041"/>
                  </a:lnTo>
                  <a:lnTo>
                    <a:pt x="80898" y="82803"/>
                  </a:lnTo>
                  <a:lnTo>
                    <a:pt x="78105" y="83692"/>
                  </a:lnTo>
                  <a:lnTo>
                    <a:pt x="75692" y="84582"/>
                  </a:lnTo>
                  <a:lnTo>
                    <a:pt x="74548" y="84963"/>
                  </a:lnTo>
                  <a:lnTo>
                    <a:pt x="73532" y="85344"/>
                  </a:lnTo>
                  <a:lnTo>
                    <a:pt x="72643" y="85852"/>
                  </a:lnTo>
                  <a:lnTo>
                    <a:pt x="71755" y="86233"/>
                  </a:lnTo>
                  <a:lnTo>
                    <a:pt x="70993" y="86614"/>
                  </a:lnTo>
                  <a:lnTo>
                    <a:pt x="70357" y="87121"/>
                  </a:lnTo>
                  <a:lnTo>
                    <a:pt x="69595" y="87757"/>
                  </a:lnTo>
                  <a:lnTo>
                    <a:pt x="68833" y="88391"/>
                  </a:lnTo>
                  <a:lnTo>
                    <a:pt x="68198" y="89027"/>
                  </a:lnTo>
                  <a:lnTo>
                    <a:pt x="67691" y="89534"/>
                  </a:lnTo>
                  <a:lnTo>
                    <a:pt x="67055" y="90170"/>
                  </a:lnTo>
                  <a:lnTo>
                    <a:pt x="66675" y="90932"/>
                  </a:lnTo>
                  <a:lnTo>
                    <a:pt x="66167" y="91566"/>
                  </a:lnTo>
                  <a:lnTo>
                    <a:pt x="65785" y="92202"/>
                  </a:lnTo>
                  <a:lnTo>
                    <a:pt x="65531" y="92837"/>
                  </a:lnTo>
                  <a:lnTo>
                    <a:pt x="65151" y="93471"/>
                  </a:lnTo>
                  <a:lnTo>
                    <a:pt x="65023" y="94233"/>
                  </a:lnTo>
                  <a:lnTo>
                    <a:pt x="64769" y="94869"/>
                  </a:lnTo>
                  <a:lnTo>
                    <a:pt x="64769" y="95503"/>
                  </a:lnTo>
                  <a:lnTo>
                    <a:pt x="64769" y="96139"/>
                  </a:lnTo>
                  <a:lnTo>
                    <a:pt x="64769" y="96773"/>
                  </a:lnTo>
                  <a:lnTo>
                    <a:pt x="64769" y="97408"/>
                  </a:lnTo>
                  <a:lnTo>
                    <a:pt x="64769" y="98044"/>
                  </a:lnTo>
                  <a:lnTo>
                    <a:pt x="64896" y="98806"/>
                  </a:lnTo>
                  <a:lnTo>
                    <a:pt x="65151" y="99440"/>
                  </a:lnTo>
                  <a:lnTo>
                    <a:pt x="65278" y="100076"/>
                  </a:lnTo>
                  <a:lnTo>
                    <a:pt x="65531" y="100583"/>
                  </a:lnTo>
                  <a:lnTo>
                    <a:pt x="65785" y="101219"/>
                  </a:lnTo>
                  <a:lnTo>
                    <a:pt x="66167" y="101853"/>
                  </a:lnTo>
                  <a:lnTo>
                    <a:pt x="66547" y="102489"/>
                  </a:lnTo>
                  <a:lnTo>
                    <a:pt x="67309" y="103632"/>
                  </a:lnTo>
                  <a:lnTo>
                    <a:pt x="68326" y="104647"/>
                  </a:lnTo>
                  <a:lnTo>
                    <a:pt x="69342" y="105664"/>
                  </a:lnTo>
                  <a:lnTo>
                    <a:pt x="70612" y="106679"/>
                  </a:lnTo>
                  <a:lnTo>
                    <a:pt x="71881" y="107569"/>
                  </a:lnTo>
                  <a:lnTo>
                    <a:pt x="73279" y="108331"/>
                  </a:lnTo>
                  <a:lnTo>
                    <a:pt x="74676" y="109092"/>
                  </a:lnTo>
                  <a:lnTo>
                    <a:pt x="76327" y="109601"/>
                  </a:lnTo>
                  <a:lnTo>
                    <a:pt x="77089" y="109854"/>
                  </a:lnTo>
                  <a:lnTo>
                    <a:pt x="77851" y="110108"/>
                  </a:lnTo>
                  <a:lnTo>
                    <a:pt x="78740" y="110363"/>
                  </a:lnTo>
                  <a:lnTo>
                    <a:pt x="79629" y="110489"/>
                  </a:lnTo>
                  <a:lnTo>
                    <a:pt x="80391" y="110744"/>
                  </a:lnTo>
                  <a:lnTo>
                    <a:pt x="81280" y="110871"/>
                  </a:lnTo>
                  <a:lnTo>
                    <a:pt x="82168" y="110871"/>
                  </a:lnTo>
                  <a:lnTo>
                    <a:pt x="83057" y="110997"/>
                  </a:lnTo>
                  <a:lnTo>
                    <a:pt x="83946" y="110997"/>
                  </a:lnTo>
                  <a:lnTo>
                    <a:pt x="84835" y="110997"/>
                  </a:lnTo>
                  <a:lnTo>
                    <a:pt x="85597" y="110997"/>
                  </a:lnTo>
                  <a:lnTo>
                    <a:pt x="86614" y="110871"/>
                  </a:lnTo>
                  <a:lnTo>
                    <a:pt x="87503" y="110744"/>
                  </a:lnTo>
                  <a:lnTo>
                    <a:pt x="88265" y="110616"/>
                  </a:lnTo>
                  <a:lnTo>
                    <a:pt x="89280" y="110363"/>
                  </a:lnTo>
                  <a:lnTo>
                    <a:pt x="90169" y="110235"/>
                  </a:lnTo>
                  <a:lnTo>
                    <a:pt x="90931" y="109854"/>
                  </a:lnTo>
                  <a:lnTo>
                    <a:pt x="91947" y="109601"/>
                  </a:lnTo>
                  <a:lnTo>
                    <a:pt x="92709" y="109220"/>
                  </a:lnTo>
                  <a:lnTo>
                    <a:pt x="93598" y="108839"/>
                  </a:lnTo>
                  <a:lnTo>
                    <a:pt x="94488" y="108331"/>
                  </a:lnTo>
                  <a:lnTo>
                    <a:pt x="95377" y="107822"/>
                  </a:lnTo>
                  <a:lnTo>
                    <a:pt x="96139" y="107314"/>
                  </a:lnTo>
                  <a:lnTo>
                    <a:pt x="97028" y="106807"/>
                  </a:lnTo>
                  <a:lnTo>
                    <a:pt x="97535" y="106298"/>
                  </a:lnTo>
                  <a:lnTo>
                    <a:pt x="98170" y="105790"/>
                  </a:lnTo>
                  <a:lnTo>
                    <a:pt x="98805" y="105156"/>
                  </a:lnTo>
                  <a:lnTo>
                    <a:pt x="99314" y="104521"/>
                  </a:lnTo>
                  <a:lnTo>
                    <a:pt x="99948" y="103632"/>
                  </a:lnTo>
                  <a:lnTo>
                    <a:pt x="100456" y="102870"/>
                  </a:lnTo>
                  <a:lnTo>
                    <a:pt x="101600" y="101091"/>
                  </a:lnTo>
                  <a:lnTo>
                    <a:pt x="102743" y="99059"/>
                  </a:lnTo>
                  <a:lnTo>
                    <a:pt x="103885" y="96901"/>
                  </a:lnTo>
                  <a:lnTo>
                    <a:pt x="105029" y="94741"/>
                  </a:lnTo>
                  <a:lnTo>
                    <a:pt x="106044" y="92456"/>
                  </a:lnTo>
                  <a:lnTo>
                    <a:pt x="106933" y="90042"/>
                  </a:lnTo>
                  <a:lnTo>
                    <a:pt x="107822" y="87757"/>
                  </a:lnTo>
                  <a:lnTo>
                    <a:pt x="109601" y="83312"/>
                  </a:lnTo>
                  <a:lnTo>
                    <a:pt x="110997" y="79247"/>
                  </a:lnTo>
                  <a:lnTo>
                    <a:pt x="112014" y="75946"/>
                  </a:lnTo>
                  <a:close/>
                  <a:moveTo>
                    <a:pt x="-6141467" y="5077967"/>
                  </a:moveTo>
                  <a:moveTo>
                    <a:pt x="112014" y="109601"/>
                  </a:moveTo>
                  <a:lnTo>
                    <a:pt x="112014" y="109601"/>
                  </a:lnTo>
                  <a:lnTo>
                    <a:pt x="107695" y="110489"/>
                  </a:lnTo>
                  <a:lnTo>
                    <a:pt x="102234" y="111506"/>
                  </a:lnTo>
                  <a:lnTo>
                    <a:pt x="96139" y="112776"/>
                  </a:lnTo>
                  <a:lnTo>
                    <a:pt x="92964" y="113410"/>
                  </a:lnTo>
                  <a:lnTo>
                    <a:pt x="89789" y="114172"/>
                  </a:lnTo>
                  <a:lnTo>
                    <a:pt x="86614" y="114934"/>
                  </a:lnTo>
                  <a:lnTo>
                    <a:pt x="83693" y="115696"/>
                  </a:lnTo>
                  <a:lnTo>
                    <a:pt x="80898" y="116458"/>
                  </a:lnTo>
                  <a:lnTo>
                    <a:pt x="78105" y="117347"/>
                  </a:lnTo>
                  <a:lnTo>
                    <a:pt x="75692" y="118237"/>
                  </a:lnTo>
                  <a:lnTo>
                    <a:pt x="74548" y="118617"/>
                  </a:lnTo>
                  <a:lnTo>
                    <a:pt x="73532" y="119126"/>
                  </a:lnTo>
                  <a:lnTo>
                    <a:pt x="72643" y="119507"/>
                  </a:lnTo>
                  <a:lnTo>
                    <a:pt x="71755" y="119888"/>
                  </a:lnTo>
                  <a:lnTo>
                    <a:pt x="70993" y="120396"/>
                  </a:lnTo>
                  <a:lnTo>
                    <a:pt x="70357" y="120777"/>
                  </a:lnTo>
                  <a:lnTo>
                    <a:pt x="69595" y="121412"/>
                  </a:lnTo>
                  <a:lnTo>
                    <a:pt x="68833" y="122046"/>
                  </a:lnTo>
                  <a:lnTo>
                    <a:pt x="68198" y="122682"/>
                  </a:lnTo>
                  <a:lnTo>
                    <a:pt x="67691" y="123316"/>
                  </a:lnTo>
                  <a:lnTo>
                    <a:pt x="67055" y="123952"/>
                  </a:lnTo>
                  <a:lnTo>
                    <a:pt x="66675" y="124587"/>
                  </a:lnTo>
                  <a:lnTo>
                    <a:pt x="66167" y="125221"/>
                  </a:lnTo>
                  <a:lnTo>
                    <a:pt x="65785" y="125857"/>
                  </a:lnTo>
                  <a:lnTo>
                    <a:pt x="65531" y="126491"/>
                  </a:lnTo>
                  <a:lnTo>
                    <a:pt x="65151" y="127253"/>
                  </a:lnTo>
                  <a:lnTo>
                    <a:pt x="65023" y="127889"/>
                  </a:lnTo>
                  <a:lnTo>
                    <a:pt x="64769" y="128523"/>
                  </a:lnTo>
                  <a:lnTo>
                    <a:pt x="64769" y="129158"/>
                  </a:lnTo>
                  <a:lnTo>
                    <a:pt x="64769" y="129794"/>
                  </a:lnTo>
                  <a:lnTo>
                    <a:pt x="64769" y="130428"/>
                  </a:lnTo>
                  <a:lnTo>
                    <a:pt x="64769" y="131190"/>
                  </a:lnTo>
                  <a:lnTo>
                    <a:pt x="64769" y="131826"/>
                  </a:lnTo>
                  <a:lnTo>
                    <a:pt x="64896" y="132460"/>
                  </a:lnTo>
                  <a:lnTo>
                    <a:pt x="65151" y="133096"/>
                  </a:lnTo>
                  <a:lnTo>
                    <a:pt x="65278" y="133731"/>
                  </a:lnTo>
                  <a:lnTo>
                    <a:pt x="65531" y="134365"/>
                  </a:lnTo>
                  <a:lnTo>
                    <a:pt x="65785" y="134873"/>
                  </a:lnTo>
                  <a:lnTo>
                    <a:pt x="66167" y="135508"/>
                  </a:lnTo>
                  <a:lnTo>
                    <a:pt x="66547" y="136144"/>
                  </a:lnTo>
                  <a:lnTo>
                    <a:pt x="67309" y="137287"/>
                  </a:lnTo>
                  <a:lnTo>
                    <a:pt x="68326" y="138302"/>
                  </a:lnTo>
                  <a:lnTo>
                    <a:pt x="69342" y="139446"/>
                  </a:lnTo>
                  <a:lnTo>
                    <a:pt x="70612" y="140334"/>
                  </a:lnTo>
                  <a:lnTo>
                    <a:pt x="71881" y="141223"/>
                  </a:lnTo>
                  <a:lnTo>
                    <a:pt x="73279" y="141985"/>
                  </a:lnTo>
                  <a:lnTo>
                    <a:pt x="74676" y="142747"/>
                  </a:lnTo>
                  <a:lnTo>
                    <a:pt x="76327" y="143383"/>
                  </a:lnTo>
                  <a:lnTo>
                    <a:pt x="77089" y="143637"/>
                  </a:lnTo>
                  <a:lnTo>
                    <a:pt x="77851" y="143890"/>
                  </a:lnTo>
                  <a:lnTo>
                    <a:pt x="78740" y="144145"/>
                  </a:lnTo>
                  <a:lnTo>
                    <a:pt x="79629" y="144271"/>
                  </a:lnTo>
                  <a:lnTo>
                    <a:pt x="80391" y="144398"/>
                  </a:lnTo>
                  <a:lnTo>
                    <a:pt x="81280" y="144526"/>
                  </a:lnTo>
                  <a:lnTo>
                    <a:pt x="82168" y="144652"/>
                  </a:lnTo>
                  <a:lnTo>
                    <a:pt x="83057" y="144652"/>
                  </a:lnTo>
                  <a:lnTo>
                    <a:pt x="83946" y="144779"/>
                  </a:lnTo>
                  <a:lnTo>
                    <a:pt x="84835" y="144779"/>
                  </a:lnTo>
                  <a:lnTo>
                    <a:pt x="85597" y="144652"/>
                  </a:lnTo>
                  <a:lnTo>
                    <a:pt x="86614" y="144526"/>
                  </a:lnTo>
                  <a:lnTo>
                    <a:pt x="87503" y="144526"/>
                  </a:lnTo>
                  <a:lnTo>
                    <a:pt x="88265" y="144271"/>
                  </a:lnTo>
                  <a:lnTo>
                    <a:pt x="89280" y="144145"/>
                  </a:lnTo>
                  <a:lnTo>
                    <a:pt x="90169" y="143890"/>
                  </a:lnTo>
                  <a:lnTo>
                    <a:pt x="90931" y="143637"/>
                  </a:lnTo>
                  <a:lnTo>
                    <a:pt x="91947" y="143256"/>
                  </a:lnTo>
                  <a:lnTo>
                    <a:pt x="92709" y="142875"/>
                  </a:lnTo>
                  <a:lnTo>
                    <a:pt x="93598" y="142494"/>
                  </a:lnTo>
                  <a:lnTo>
                    <a:pt x="94488" y="142113"/>
                  </a:lnTo>
                  <a:lnTo>
                    <a:pt x="95377" y="141604"/>
                  </a:lnTo>
                  <a:lnTo>
                    <a:pt x="96139" y="141096"/>
                  </a:lnTo>
                  <a:lnTo>
                    <a:pt x="97028" y="140462"/>
                  </a:lnTo>
                  <a:lnTo>
                    <a:pt x="97535" y="139953"/>
                  </a:lnTo>
                  <a:lnTo>
                    <a:pt x="98170" y="139446"/>
                  </a:lnTo>
                  <a:lnTo>
                    <a:pt x="98805" y="138810"/>
                  </a:lnTo>
                  <a:lnTo>
                    <a:pt x="99314" y="138176"/>
                  </a:lnTo>
                  <a:lnTo>
                    <a:pt x="99948" y="137414"/>
                  </a:lnTo>
                  <a:lnTo>
                    <a:pt x="100456" y="136525"/>
                  </a:lnTo>
                  <a:lnTo>
                    <a:pt x="101600" y="134746"/>
                  </a:lnTo>
                  <a:lnTo>
                    <a:pt x="102743" y="132841"/>
                  </a:lnTo>
                  <a:lnTo>
                    <a:pt x="103885" y="130683"/>
                  </a:lnTo>
                  <a:lnTo>
                    <a:pt x="105029" y="128396"/>
                  </a:lnTo>
                  <a:lnTo>
                    <a:pt x="106044" y="126110"/>
                  </a:lnTo>
                  <a:lnTo>
                    <a:pt x="106933" y="123825"/>
                  </a:lnTo>
                  <a:lnTo>
                    <a:pt x="107822" y="121412"/>
                  </a:lnTo>
                  <a:lnTo>
                    <a:pt x="109601" y="116966"/>
                  </a:lnTo>
                  <a:lnTo>
                    <a:pt x="110997" y="112902"/>
                  </a:lnTo>
                  <a:lnTo>
                    <a:pt x="112014" y="109601"/>
                  </a:lnTo>
                  <a:close/>
                  <a:moveTo>
                    <a:pt x="-6175122" y="5077967"/>
                  </a:moveTo>
                  <a:moveTo>
                    <a:pt x="112014" y="42290"/>
                  </a:moveTo>
                  <a:lnTo>
                    <a:pt x="112014" y="42290"/>
                  </a:lnTo>
                  <a:lnTo>
                    <a:pt x="107695" y="43052"/>
                  </a:lnTo>
                  <a:lnTo>
                    <a:pt x="102234" y="44069"/>
                  </a:lnTo>
                  <a:lnTo>
                    <a:pt x="96139" y="45339"/>
                  </a:lnTo>
                  <a:lnTo>
                    <a:pt x="92964" y="46101"/>
                  </a:lnTo>
                  <a:lnTo>
                    <a:pt x="89789" y="46735"/>
                  </a:lnTo>
                  <a:lnTo>
                    <a:pt x="86614" y="47497"/>
                  </a:lnTo>
                  <a:lnTo>
                    <a:pt x="83693" y="48387"/>
                  </a:lnTo>
                  <a:lnTo>
                    <a:pt x="80898" y="49148"/>
                  </a:lnTo>
                  <a:lnTo>
                    <a:pt x="78105" y="49910"/>
                  </a:lnTo>
                  <a:lnTo>
                    <a:pt x="75692" y="50800"/>
                  </a:lnTo>
                  <a:lnTo>
                    <a:pt x="74548" y="51308"/>
                  </a:lnTo>
                  <a:lnTo>
                    <a:pt x="73532" y="51689"/>
                  </a:lnTo>
                  <a:lnTo>
                    <a:pt x="72643" y="52070"/>
                  </a:lnTo>
                  <a:lnTo>
                    <a:pt x="71755" y="52577"/>
                  </a:lnTo>
                  <a:lnTo>
                    <a:pt x="70993" y="52958"/>
                  </a:lnTo>
                  <a:lnTo>
                    <a:pt x="70357" y="53339"/>
                  </a:lnTo>
                  <a:lnTo>
                    <a:pt x="69595" y="53975"/>
                  </a:lnTo>
                  <a:lnTo>
                    <a:pt x="68833" y="54609"/>
                  </a:lnTo>
                  <a:lnTo>
                    <a:pt x="68198" y="55245"/>
                  </a:lnTo>
                  <a:lnTo>
                    <a:pt x="67691" y="55879"/>
                  </a:lnTo>
                  <a:lnTo>
                    <a:pt x="67055" y="56514"/>
                  </a:lnTo>
                  <a:lnTo>
                    <a:pt x="66675" y="57150"/>
                  </a:lnTo>
                  <a:lnTo>
                    <a:pt x="66167" y="57784"/>
                  </a:lnTo>
                  <a:lnTo>
                    <a:pt x="65785" y="58546"/>
                  </a:lnTo>
                  <a:lnTo>
                    <a:pt x="65531" y="59182"/>
                  </a:lnTo>
                  <a:lnTo>
                    <a:pt x="65151" y="59816"/>
                  </a:lnTo>
                  <a:lnTo>
                    <a:pt x="65023" y="60452"/>
                  </a:lnTo>
                  <a:lnTo>
                    <a:pt x="64769" y="61087"/>
                  </a:lnTo>
                  <a:lnTo>
                    <a:pt x="64769" y="61848"/>
                  </a:lnTo>
                  <a:lnTo>
                    <a:pt x="64769" y="62483"/>
                  </a:lnTo>
                  <a:lnTo>
                    <a:pt x="64769" y="63119"/>
                  </a:lnTo>
                  <a:lnTo>
                    <a:pt x="64769" y="63753"/>
                  </a:lnTo>
                  <a:lnTo>
                    <a:pt x="64769" y="64389"/>
                  </a:lnTo>
                  <a:lnTo>
                    <a:pt x="64896" y="65023"/>
                  </a:lnTo>
                  <a:lnTo>
                    <a:pt x="65151" y="65658"/>
                  </a:lnTo>
                  <a:lnTo>
                    <a:pt x="65278" y="66294"/>
                  </a:lnTo>
                  <a:lnTo>
                    <a:pt x="65531" y="66928"/>
                  </a:lnTo>
                  <a:lnTo>
                    <a:pt x="65785" y="67564"/>
                  </a:lnTo>
                  <a:lnTo>
                    <a:pt x="66167" y="68198"/>
                  </a:lnTo>
                  <a:lnTo>
                    <a:pt x="66547" y="68707"/>
                  </a:lnTo>
                  <a:lnTo>
                    <a:pt x="67309" y="69850"/>
                  </a:lnTo>
                  <a:lnTo>
                    <a:pt x="68326" y="70992"/>
                  </a:lnTo>
                  <a:lnTo>
                    <a:pt x="69342" y="72008"/>
                  </a:lnTo>
                  <a:lnTo>
                    <a:pt x="70612" y="72897"/>
                  </a:lnTo>
                  <a:lnTo>
                    <a:pt x="71881" y="73914"/>
                  </a:lnTo>
                  <a:lnTo>
                    <a:pt x="73279" y="74676"/>
                  </a:lnTo>
                  <a:lnTo>
                    <a:pt x="74676" y="75310"/>
                  </a:lnTo>
                  <a:lnTo>
                    <a:pt x="76327" y="75946"/>
                  </a:lnTo>
                  <a:lnTo>
                    <a:pt x="77089" y="76200"/>
                  </a:lnTo>
                  <a:lnTo>
                    <a:pt x="77851" y="76453"/>
                  </a:lnTo>
                  <a:lnTo>
                    <a:pt x="78740" y="76708"/>
                  </a:lnTo>
                  <a:lnTo>
                    <a:pt x="79629" y="76834"/>
                  </a:lnTo>
                  <a:lnTo>
                    <a:pt x="80391" y="77089"/>
                  </a:lnTo>
                  <a:lnTo>
                    <a:pt x="81280" y="77089"/>
                  </a:lnTo>
                  <a:lnTo>
                    <a:pt x="82168" y="77215"/>
                  </a:lnTo>
                  <a:lnTo>
                    <a:pt x="83057" y="77342"/>
                  </a:lnTo>
                  <a:lnTo>
                    <a:pt x="83946" y="77342"/>
                  </a:lnTo>
                  <a:lnTo>
                    <a:pt x="84835" y="77342"/>
                  </a:lnTo>
                  <a:lnTo>
                    <a:pt x="85597" y="77342"/>
                  </a:lnTo>
                  <a:lnTo>
                    <a:pt x="86614" y="77215"/>
                  </a:lnTo>
                  <a:lnTo>
                    <a:pt x="87503" y="77089"/>
                  </a:lnTo>
                  <a:lnTo>
                    <a:pt x="88265" y="76834"/>
                  </a:lnTo>
                  <a:lnTo>
                    <a:pt x="89280" y="76708"/>
                  </a:lnTo>
                  <a:lnTo>
                    <a:pt x="90169" y="76581"/>
                  </a:lnTo>
                  <a:lnTo>
                    <a:pt x="90931" y="76200"/>
                  </a:lnTo>
                  <a:lnTo>
                    <a:pt x="91947" y="75819"/>
                  </a:lnTo>
                  <a:lnTo>
                    <a:pt x="92709" y="75564"/>
                  </a:lnTo>
                  <a:lnTo>
                    <a:pt x="93598" y="75183"/>
                  </a:lnTo>
                  <a:lnTo>
                    <a:pt x="94488" y="74676"/>
                  </a:lnTo>
                  <a:lnTo>
                    <a:pt x="95377" y="74167"/>
                  </a:lnTo>
                  <a:lnTo>
                    <a:pt x="96139" y="73659"/>
                  </a:lnTo>
                  <a:lnTo>
                    <a:pt x="97028" y="73152"/>
                  </a:lnTo>
                  <a:lnTo>
                    <a:pt x="97535" y="72644"/>
                  </a:lnTo>
                  <a:lnTo>
                    <a:pt x="98170" y="72135"/>
                  </a:lnTo>
                  <a:lnTo>
                    <a:pt x="98805" y="71501"/>
                  </a:lnTo>
                  <a:lnTo>
                    <a:pt x="99314" y="70739"/>
                  </a:lnTo>
                  <a:lnTo>
                    <a:pt x="99948" y="69977"/>
                  </a:lnTo>
                  <a:lnTo>
                    <a:pt x="100456" y="69214"/>
                  </a:lnTo>
                  <a:lnTo>
                    <a:pt x="101600" y="67309"/>
                  </a:lnTo>
                  <a:lnTo>
                    <a:pt x="102743" y="65404"/>
                  </a:lnTo>
                  <a:lnTo>
                    <a:pt x="103885" y="63246"/>
                  </a:lnTo>
                  <a:lnTo>
                    <a:pt x="105029" y="60959"/>
                  </a:lnTo>
                  <a:lnTo>
                    <a:pt x="106044" y="58801"/>
                  </a:lnTo>
                  <a:lnTo>
                    <a:pt x="106933" y="56388"/>
                  </a:lnTo>
                  <a:lnTo>
                    <a:pt x="107822" y="54102"/>
                  </a:lnTo>
                  <a:lnTo>
                    <a:pt x="109601" y="49529"/>
                  </a:lnTo>
                  <a:lnTo>
                    <a:pt x="110997" y="45465"/>
                  </a:lnTo>
                  <a:lnTo>
                    <a:pt x="112014" y="42290"/>
                  </a:lnTo>
                  <a:close/>
                  <a:moveTo>
                    <a:pt x="-6107811" y="5077967"/>
                  </a:moveTo>
                  <a:moveTo>
                    <a:pt x="200405" y="80898"/>
                  </a:moveTo>
                  <a:lnTo>
                    <a:pt x="205105" y="74929"/>
                  </a:lnTo>
                  <a:lnTo>
                    <a:pt x="182753" y="46482"/>
                  </a:lnTo>
                  <a:lnTo>
                    <a:pt x="138303" y="46482"/>
                  </a:lnTo>
                  <a:lnTo>
                    <a:pt x="137921" y="46989"/>
                  </a:lnTo>
                  <a:lnTo>
                    <a:pt x="167131" y="89534"/>
                  </a:lnTo>
                  <a:lnTo>
                    <a:pt x="150114" y="107441"/>
                  </a:lnTo>
                  <a:lnTo>
                    <a:pt x="135255" y="107441"/>
                  </a:lnTo>
                  <a:lnTo>
                    <a:pt x="118744" y="86233"/>
                  </a:lnTo>
                  <a:lnTo>
                    <a:pt x="120015" y="82931"/>
                  </a:lnTo>
                  <a:lnTo>
                    <a:pt x="121030" y="79628"/>
                  </a:lnTo>
                  <a:lnTo>
                    <a:pt x="123063" y="73152"/>
                  </a:lnTo>
                  <a:lnTo>
                    <a:pt x="124587" y="68198"/>
                  </a:lnTo>
                  <a:lnTo>
                    <a:pt x="125221" y="66294"/>
                  </a:lnTo>
                  <a:lnTo>
                    <a:pt x="122428" y="66675"/>
                  </a:lnTo>
                  <a:lnTo>
                    <a:pt x="115569" y="67817"/>
                  </a:lnTo>
                  <a:lnTo>
                    <a:pt x="135255" y="42545"/>
                  </a:lnTo>
                  <a:lnTo>
                    <a:pt x="185928" y="42545"/>
                  </a:lnTo>
                  <a:lnTo>
                    <a:pt x="211201" y="74929"/>
                  </a:lnTo>
                  <a:lnTo>
                    <a:pt x="206502" y="80898"/>
                  </a:lnTo>
                  <a:lnTo>
                    <a:pt x="200405" y="80898"/>
                  </a:lnTo>
                  <a:close/>
                  <a:moveTo>
                    <a:pt x="-6146419" y="5077967"/>
                  </a:moveTo>
                  <a:moveTo>
                    <a:pt x="236728" y="84835"/>
                  </a:moveTo>
                  <a:lnTo>
                    <a:pt x="259080" y="131064"/>
                  </a:lnTo>
                  <a:lnTo>
                    <a:pt x="202692" y="192023"/>
                  </a:lnTo>
                  <a:lnTo>
                    <a:pt x="107695" y="192023"/>
                  </a:lnTo>
                  <a:lnTo>
                    <a:pt x="124968" y="140589"/>
                  </a:lnTo>
                  <a:lnTo>
                    <a:pt x="177927" y="84835"/>
                  </a:lnTo>
                  <a:lnTo>
                    <a:pt x="236728" y="84835"/>
                  </a:lnTo>
                  <a:close/>
                  <a:moveTo>
                    <a:pt x="-6150356" y="5077967"/>
                  </a:moveTo>
                  <a:moveTo>
                    <a:pt x="134239" y="144526"/>
                  </a:moveTo>
                  <a:lnTo>
                    <a:pt x="121030" y="184277"/>
                  </a:lnTo>
                  <a:lnTo>
                    <a:pt x="194944" y="184277"/>
                  </a:lnTo>
                  <a:lnTo>
                    <a:pt x="134239" y="144526"/>
                  </a:lnTo>
                  <a:close/>
                  <a:moveTo>
                    <a:pt x="-6210047" y="5077967"/>
                  </a:moveTo>
                  <a:moveTo>
                    <a:pt x="181737" y="142621"/>
                  </a:moveTo>
                  <a:lnTo>
                    <a:pt x="199643" y="181609"/>
                  </a:lnTo>
                  <a:lnTo>
                    <a:pt x="247522" y="129921"/>
                  </a:lnTo>
                  <a:lnTo>
                    <a:pt x="230378" y="94614"/>
                  </a:lnTo>
                  <a:lnTo>
                    <a:pt x="181737" y="142621"/>
                  </a:lnTo>
                  <a:close/>
                  <a:moveTo>
                    <a:pt x="-6208142" y="5077967"/>
                  </a:moveTo>
                  <a:moveTo>
                    <a:pt x="137921" y="140334"/>
                  </a:moveTo>
                  <a:lnTo>
                    <a:pt x="177418" y="140334"/>
                  </a:lnTo>
                  <a:lnTo>
                    <a:pt x="225932" y="92583"/>
                  </a:lnTo>
                  <a:lnTo>
                    <a:pt x="183388" y="92583"/>
                  </a:lnTo>
                  <a:lnTo>
                    <a:pt x="137921" y="140334"/>
                  </a:lnTo>
                  <a:close/>
                  <a:moveTo>
                    <a:pt x="-6205855" y="507796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83" name="Freeform 1483"/>
            <p:cNvSpPr/>
            <p:nvPr/>
          </p:nvSpPr>
          <p:spPr>
            <a:xfrm>
              <a:off x="11125630" y="1780891"/>
              <a:ext cx="140135" cy="134042"/>
            </a:xfrm>
            <a:custGeom>
              <a:avLst/>
              <a:gdLst/>
              <a:ahLst/>
              <a:cxnLst/>
              <a:rect l="0" t="0" r="0" b="0"/>
              <a:pathLst>
                <a:path w="140208" h="134112">
                  <a:moveTo>
                    <a:pt x="0" y="134112"/>
                  </a:moveTo>
                  <a:lnTo>
                    <a:pt x="140208" y="134112"/>
                  </a:lnTo>
                  <a:lnTo>
                    <a:pt x="140208" y="0"/>
                  </a:lnTo>
                  <a:lnTo>
                    <a:pt x="0" y="0"/>
                  </a:lnTo>
                  <a:lnTo>
                    <a:pt x="0" y="134112"/>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84" name="Freeform 1484"/>
            <p:cNvSpPr/>
            <p:nvPr/>
          </p:nvSpPr>
          <p:spPr>
            <a:xfrm>
              <a:off x="11134770" y="1844865"/>
              <a:ext cx="112717" cy="130996"/>
            </a:xfrm>
            <a:custGeom>
              <a:avLst/>
              <a:gdLst/>
              <a:ahLst/>
              <a:cxnLst/>
              <a:rect l="0" t="0" r="0" b="0"/>
              <a:pathLst>
                <a:path w="112776" h="131064">
                  <a:moveTo>
                    <a:pt x="0" y="131064"/>
                  </a:moveTo>
                  <a:lnTo>
                    <a:pt x="112776" y="131064"/>
                  </a:lnTo>
                  <a:lnTo>
                    <a:pt x="112776" y="0"/>
                  </a:lnTo>
                  <a:lnTo>
                    <a:pt x="0" y="0"/>
                  </a:lnTo>
                  <a:lnTo>
                    <a:pt x="0" y="13106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85" name="Freeform 1485"/>
            <p:cNvSpPr/>
            <p:nvPr/>
          </p:nvSpPr>
          <p:spPr>
            <a:xfrm>
              <a:off x="10875824" y="1823541"/>
              <a:ext cx="374710" cy="97486"/>
            </a:xfrm>
            <a:custGeom>
              <a:avLst/>
              <a:gdLst/>
              <a:ahLst/>
              <a:cxnLst/>
              <a:rect l="0" t="0" r="0" b="0"/>
              <a:pathLst>
                <a:path w="374905" h="97537">
                  <a:moveTo>
                    <a:pt x="369317" y="97537"/>
                  </a:moveTo>
                  <a:lnTo>
                    <a:pt x="5589" y="97537"/>
                  </a:lnTo>
                  <a:lnTo>
                    <a:pt x="3303" y="97537"/>
                  </a:lnTo>
                  <a:lnTo>
                    <a:pt x="2286" y="96775"/>
                  </a:lnTo>
                  <a:lnTo>
                    <a:pt x="1144" y="96012"/>
                  </a:lnTo>
                  <a:lnTo>
                    <a:pt x="0" y="94488"/>
                  </a:lnTo>
                  <a:lnTo>
                    <a:pt x="0" y="3811"/>
                  </a:lnTo>
                  <a:lnTo>
                    <a:pt x="1144" y="2287"/>
                  </a:lnTo>
                  <a:lnTo>
                    <a:pt x="2286" y="762"/>
                  </a:lnTo>
                  <a:lnTo>
                    <a:pt x="3303" y="0"/>
                  </a:lnTo>
                  <a:lnTo>
                    <a:pt x="5589" y="0"/>
                  </a:lnTo>
                  <a:lnTo>
                    <a:pt x="369317" y="0"/>
                  </a:lnTo>
                  <a:lnTo>
                    <a:pt x="371603" y="0"/>
                  </a:lnTo>
                  <a:lnTo>
                    <a:pt x="373761" y="762"/>
                  </a:lnTo>
                  <a:lnTo>
                    <a:pt x="374905" y="2287"/>
                  </a:lnTo>
                  <a:lnTo>
                    <a:pt x="374905" y="3811"/>
                  </a:lnTo>
                  <a:lnTo>
                    <a:pt x="374905" y="94488"/>
                  </a:lnTo>
                  <a:lnTo>
                    <a:pt x="374905" y="96012"/>
                  </a:lnTo>
                  <a:lnTo>
                    <a:pt x="373761" y="96775"/>
                  </a:lnTo>
                  <a:lnTo>
                    <a:pt x="371603" y="97537"/>
                  </a:lnTo>
                  <a:lnTo>
                    <a:pt x="369317" y="97537"/>
                  </a:lnTo>
                  <a:close/>
                  <a:moveTo>
                    <a:pt x="-5940552" y="5035296"/>
                  </a:moveTo>
                  <a:moveTo>
                    <a:pt x="10033" y="90679"/>
                  </a:moveTo>
                  <a:lnTo>
                    <a:pt x="364871" y="90679"/>
                  </a:lnTo>
                  <a:lnTo>
                    <a:pt x="364871" y="6858"/>
                  </a:lnTo>
                  <a:lnTo>
                    <a:pt x="10033" y="6858"/>
                  </a:lnTo>
                  <a:lnTo>
                    <a:pt x="10033" y="90679"/>
                  </a:lnTo>
                  <a:close/>
                  <a:moveTo>
                    <a:pt x="-5933694" y="5035296"/>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86" name="Freeform 1486"/>
            <p:cNvSpPr/>
            <p:nvPr/>
          </p:nvSpPr>
          <p:spPr>
            <a:xfrm>
              <a:off x="10875823" y="1896655"/>
              <a:ext cx="298550" cy="24372"/>
            </a:xfrm>
            <a:custGeom>
              <a:avLst/>
              <a:gdLst/>
              <a:ahLst/>
              <a:cxnLst/>
              <a:rect l="0" t="0" r="0" b="0"/>
              <a:pathLst>
                <a:path w="298705" h="24385">
                  <a:moveTo>
                    <a:pt x="294259" y="24385"/>
                  </a:moveTo>
                  <a:lnTo>
                    <a:pt x="5589" y="24385"/>
                  </a:lnTo>
                  <a:lnTo>
                    <a:pt x="3303" y="24385"/>
                  </a:lnTo>
                  <a:lnTo>
                    <a:pt x="2286" y="23623"/>
                  </a:lnTo>
                  <a:lnTo>
                    <a:pt x="1144" y="22860"/>
                  </a:lnTo>
                  <a:lnTo>
                    <a:pt x="0" y="21464"/>
                  </a:lnTo>
                  <a:lnTo>
                    <a:pt x="0" y="3684"/>
                  </a:lnTo>
                  <a:lnTo>
                    <a:pt x="1144" y="2160"/>
                  </a:lnTo>
                  <a:lnTo>
                    <a:pt x="2286" y="1524"/>
                  </a:lnTo>
                  <a:lnTo>
                    <a:pt x="3303" y="762"/>
                  </a:lnTo>
                  <a:lnTo>
                    <a:pt x="5589" y="0"/>
                  </a:lnTo>
                  <a:lnTo>
                    <a:pt x="294259" y="0"/>
                  </a:lnTo>
                  <a:lnTo>
                    <a:pt x="296419" y="762"/>
                  </a:lnTo>
                  <a:lnTo>
                    <a:pt x="297561" y="1524"/>
                  </a:lnTo>
                  <a:lnTo>
                    <a:pt x="298705" y="2160"/>
                  </a:lnTo>
                  <a:lnTo>
                    <a:pt x="298705" y="3684"/>
                  </a:lnTo>
                  <a:lnTo>
                    <a:pt x="298705" y="21464"/>
                  </a:lnTo>
                  <a:lnTo>
                    <a:pt x="298705" y="22860"/>
                  </a:lnTo>
                  <a:lnTo>
                    <a:pt x="297561" y="23623"/>
                  </a:lnTo>
                  <a:lnTo>
                    <a:pt x="296419" y="24385"/>
                  </a:lnTo>
                  <a:lnTo>
                    <a:pt x="294259" y="24385"/>
                  </a:lnTo>
                  <a:close/>
                  <a:moveTo>
                    <a:pt x="-5940552" y="4962144"/>
                  </a:moveTo>
                  <a:moveTo>
                    <a:pt x="10033" y="17780"/>
                  </a:moveTo>
                  <a:lnTo>
                    <a:pt x="288671" y="17780"/>
                  </a:lnTo>
                  <a:lnTo>
                    <a:pt x="288671" y="6604"/>
                  </a:lnTo>
                  <a:lnTo>
                    <a:pt x="10033" y="6604"/>
                  </a:lnTo>
                  <a:lnTo>
                    <a:pt x="10033" y="17780"/>
                  </a:lnTo>
                  <a:close/>
                  <a:moveTo>
                    <a:pt x="-5933947" y="4962144"/>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87" name="Freeform 1487"/>
            <p:cNvSpPr/>
            <p:nvPr/>
          </p:nvSpPr>
          <p:spPr>
            <a:xfrm>
              <a:off x="10848408" y="1914934"/>
              <a:ext cx="429543" cy="21324"/>
            </a:xfrm>
            <a:custGeom>
              <a:avLst/>
              <a:gdLst/>
              <a:ahLst/>
              <a:cxnLst/>
              <a:rect l="0" t="0" r="0" b="0"/>
              <a:pathLst>
                <a:path w="429767" h="21335">
                  <a:moveTo>
                    <a:pt x="424179" y="21335"/>
                  </a:moveTo>
                  <a:lnTo>
                    <a:pt x="424179" y="21335"/>
                  </a:lnTo>
                  <a:lnTo>
                    <a:pt x="423163" y="20573"/>
                  </a:lnTo>
                  <a:lnTo>
                    <a:pt x="420877" y="19939"/>
                  </a:lnTo>
                  <a:lnTo>
                    <a:pt x="419735" y="19177"/>
                  </a:lnTo>
                  <a:lnTo>
                    <a:pt x="419735" y="17779"/>
                  </a:lnTo>
                  <a:lnTo>
                    <a:pt x="419735" y="6350"/>
                  </a:lnTo>
                  <a:lnTo>
                    <a:pt x="10033" y="6350"/>
                  </a:lnTo>
                  <a:lnTo>
                    <a:pt x="10033" y="17779"/>
                  </a:lnTo>
                  <a:lnTo>
                    <a:pt x="8889" y="19177"/>
                  </a:lnTo>
                  <a:lnTo>
                    <a:pt x="7747" y="19939"/>
                  </a:lnTo>
                  <a:lnTo>
                    <a:pt x="6603" y="20573"/>
                  </a:lnTo>
                  <a:lnTo>
                    <a:pt x="4445" y="21335"/>
                  </a:lnTo>
                  <a:lnTo>
                    <a:pt x="2159" y="20573"/>
                  </a:lnTo>
                  <a:lnTo>
                    <a:pt x="1142" y="19939"/>
                  </a:lnTo>
                  <a:lnTo>
                    <a:pt x="0" y="19177"/>
                  </a:lnTo>
                  <a:lnTo>
                    <a:pt x="0" y="17779"/>
                  </a:lnTo>
                  <a:lnTo>
                    <a:pt x="0" y="3555"/>
                  </a:lnTo>
                  <a:lnTo>
                    <a:pt x="0" y="2159"/>
                  </a:lnTo>
                  <a:lnTo>
                    <a:pt x="1142" y="1396"/>
                  </a:lnTo>
                  <a:lnTo>
                    <a:pt x="2159" y="761"/>
                  </a:lnTo>
                  <a:lnTo>
                    <a:pt x="4445" y="0"/>
                  </a:lnTo>
                  <a:lnTo>
                    <a:pt x="424179" y="0"/>
                  </a:lnTo>
                  <a:lnTo>
                    <a:pt x="426465" y="761"/>
                  </a:lnTo>
                  <a:lnTo>
                    <a:pt x="428625" y="1396"/>
                  </a:lnTo>
                  <a:lnTo>
                    <a:pt x="429767" y="2159"/>
                  </a:lnTo>
                  <a:lnTo>
                    <a:pt x="429767" y="3555"/>
                  </a:lnTo>
                  <a:lnTo>
                    <a:pt x="429767" y="17779"/>
                  </a:lnTo>
                  <a:lnTo>
                    <a:pt x="429767" y="19177"/>
                  </a:lnTo>
                  <a:lnTo>
                    <a:pt x="428625" y="19939"/>
                  </a:lnTo>
                  <a:lnTo>
                    <a:pt x="426465" y="20573"/>
                  </a:lnTo>
                  <a:lnTo>
                    <a:pt x="424179" y="21335"/>
                  </a:lnTo>
                  <a:close/>
                  <a:moveTo>
                    <a:pt x="-5928360" y="4943855"/>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88" name="Freeform 1488"/>
            <p:cNvSpPr/>
            <p:nvPr/>
          </p:nvSpPr>
          <p:spPr>
            <a:xfrm>
              <a:off x="10894103" y="1841820"/>
              <a:ext cx="79206" cy="60929"/>
            </a:xfrm>
            <a:custGeom>
              <a:avLst/>
              <a:gdLst/>
              <a:ahLst/>
              <a:cxnLst/>
              <a:rect l="0" t="0" r="0" b="0"/>
              <a:pathLst>
                <a:path w="79247" h="60961">
                  <a:moveTo>
                    <a:pt x="73786" y="60961"/>
                  </a:moveTo>
                  <a:lnTo>
                    <a:pt x="5460" y="60961"/>
                  </a:lnTo>
                  <a:lnTo>
                    <a:pt x="3302" y="60961"/>
                  </a:lnTo>
                  <a:lnTo>
                    <a:pt x="2158" y="60199"/>
                  </a:lnTo>
                  <a:lnTo>
                    <a:pt x="1143" y="59437"/>
                  </a:lnTo>
                  <a:lnTo>
                    <a:pt x="0" y="57786"/>
                  </a:lnTo>
                  <a:lnTo>
                    <a:pt x="0" y="3175"/>
                  </a:lnTo>
                  <a:lnTo>
                    <a:pt x="1143" y="1524"/>
                  </a:lnTo>
                  <a:lnTo>
                    <a:pt x="2158" y="762"/>
                  </a:lnTo>
                  <a:lnTo>
                    <a:pt x="3302" y="0"/>
                  </a:lnTo>
                  <a:lnTo>
                    <a:pt x="5460" y="0"/>
                  </a:lnTo>
                  <a:lnTo>
                    <a:pt x="73786" y="0"/>
                  </a:lnTo>
                  <a:lnTo>
                    <a:pt x="75945" y="0"/>
                  </a:lnTo>
                  <a:lnTo>
                    <a:pt x="77089" y="762"/>
                  </a:lnTo>
                  <a:lnTo>
                    <a:pt x="78105" y="1524"/>
                  </a:lnTo>
                  <a:lnTo>
                    <a:pt x="79247" y="3175"/>
                  </a:lnTo>
                  <a:lnTo>
                    <a:pt x="79247" y="57786"/>
                  </a:lnTo>
                  <a:lnTo>
                    <a:pt x="78105" y="59437"/>
                  </a:lnTo>
                  <a:lnTo>
                    <a:pt x="77089" y="60199"/>
                  </a:lnTo>
                  <a:lnTo>
                    <a:pt x="75945" y="60961"/>
                  </a:lnTo>
                  <a:lnTo>
                    <a:pt x="73786" y="60961"/>
                  </a:lnTo>
                  <a:close/>
                  <a:moveTo>
                    <a:pt x="-5940553" y="5017008"/>
                  </a:moveTo>
                  <a:moveTo>
                    <a:pt x="9906" y="53849"/>
                  </a:moveTo>
                  <a:lnTo>
                    <a:pt x="69342" y="53849"/>
                  </a:lnTo>
                  <a:lnTo>
                    <a:pt x="69342" y="7112"/>
                  </a:lnTo>
                  <a:lnTo>
                    <a:pt x="9906" y="7112"/>
                  </a:lnTo>
                  <a:lnTo>
                    <a:pt x="9906" y="53849"/>
                  </a:lnTo>
                  <a:close/>
                  <a:moveTo>
                    <a:pt x="-5933441" y="501700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89" name="Freeform 1489"/>
            <p:cNvSpPr/>
            <p:nvPr/>
          </p:nvSpPr>
          <p:spPr>
            <a:xfrm>
              <a:off x="10985496" y="1841820"/>
              <a:ext cx="79207" cy="60929"/>
            </a:xfrm>
            <a:custGeom>
              <a:avLst/>
              <a:gdLst/>
              <a:ahLst/>
              <a:cxnLst/>
              <a:rect l="0" t="0" r="0" b="0"/>
              <a:pathLst>
                <a:path w="79248" h="60961">
                  <a:moveTo>
                    <a:pt x="74803" y="60961"/>
                  </a:moveTo>
                  <a:lnTo>
                    <a:pt x="4444" y="60961"/>
                  </a:lnTo>
                  <a:lnTo>
                    <a:pt x="3302" y="60961"/>
                  </a:lnTo>
                  <a:lnTo>
                    <a:pt x="1142" y="60199"/>
                  </a:lnTo>
                  <a:lnTo>
                    <a:pt x="0" y="59437"/>
                  </a:lnTo>
                  <a:lnTo>
                    <a:pt x="0" y="57786"/>
                  </a:lnTo>
                  <a:lnTo>
                    <a:pt x="0" y="3175"/>
                  </a:lnTo>
                  <a:lnTo>
                    <a:pt x="0" y="1524"/>
                  </a:lnTo>
                  <a:lnTo>
                    <a:pt x="1142" y="762"/>
                  </a:lnTo>
                  <a:lnTo>
                    <a:pt x="3302" y="0"/>
                  </a:lnTo>
                  <a:lnTo>
                    <a:pt x="4444" y="0"/>
                  </a:lnTo>
                  <a:lnTo>
                    <a:pt x="74803" y="0"/>
                  </a:lnTo>
                  <a:lnTo>
                    <a:pt x="76962" y="0"/>
                  </a:lnTo>
                  <a:lnTo>
                    <a:pt x="78104" y="762"/>
                  </a:lnTo>
                  <a:lnTo>
                    <a:pt x="79248" y="1524"/>
                  </a:lnTo>
                  <a:lnTo>
                    <a:pt x="79248" y="3175"/>
                  </a:lnTo>
                  <a:lnTo>
                    <a:pt x="79248" y="57786"/>
                  </a:lnTo>
                  <a:lnTo>
                    <a:pt x="79248" y="59437"/>
                  </a:lnTo>
                  <a:lnTo>
                    <a:pt x="78104" y="60199"/>
                  </a:lnTo>
                  <a:lnTo>
                    <a:pt x="76962" y="60961"/>
                  </a:lnTo>
                  <a:lnTo>
                    <a:pt x="74803" y="60961"/>
                  </a:lnTo>
                  <a:close/>
                  <a:moveTo>
                    <a:pt x="-6031993" y="5017008"/>
                  </a:moveTo>
                  <a:moveTo>
                    <a:pt x="10032" y="53849"/>
                  </a:moveTo>
                  <a:lnTo>
                    <a:pt x="69215" y="53849"/>
                  </a:lnTo>
                  <a:lnTo>
                    <a:pt x="69215" y="7112"/>
                  </a:lnTo>
                  <a:lnTo>
                    <a:pt x="10032" y="7112"/>
                  </a:lnTo>
                  <a:lnTo>
                    <a:pt x="10032" y="53849"/>
                  </a:lnTo>
                  <a:close/>
                  <a:moveTo>
                    <a:pt x="-6024881" y="501700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90" name="Freeform 1490"/>
            <p:cNvSpPr/>
            <p:nvPr/>
          </p:nvSpPr>
          <p:spPr>
            <a:xfrm>
              <a:off x="11073840" y="1841820"/>
              <a:ext cx="79208" cy="60929"/>
            </a:xfrm>
            <a:custGeom>
              <a:avLst/>
              <a:gdLst/>
              <a:ahLst/>
              <a:cxnLst/>
              <a:rect l="0" t="0" r="0" b="0"/>
              <a:pathLst>
                <a:path w="79249" h="60961">
                  <a:moveTo>
                    <a:pt x="73787" y="60961"/>
                  </a:moveTo>
                  <a:lnTo>
                    <a:pt x="5462" y="60961"/>
                  </a:lnTo>
                  <a:lnTo>
                    <a:pt x="3302" y="60961"/>
                  </a:lnTo>
                  <a:lnTo>
                    <a:pt x="2160" y="60199"/>
                  </a:lnTo>
                  <a:lnTo>
                    <a:pt x="1144" y="59437"/>
                  </a:lnTo>
                  <a:lnTo>
                    <a:pt x="0" y="57786"/>
                  </a:lnTo>
                  <a:lnTo>
                    <a:pt x="0" y="3175"/>
                  </a:lnTo>
                  <a:lnTo>
                    <a:pt x="1144" y="1524"/>
                  </a:lnTo>
                  <a:lnTo>
                    <a:pt x="2160" y="762"/>
                  </a:lnTo>
                  <a:lnTo>
                    <a:pt x="3302" y="0"/>
                  </a:lnTo>
                  <a:lnTo>
                    <a:pt x="5462" y="0"/>
                  </a:lnTo>
                  <a:lnTo>
                    <a:pt x="73787" y="0"/>
                  </a:lnTo>
                  <a:lnTo>
                    <a:pt x="75947" y="0"/>
                  </a:lnTo>
                  <a:lnTo>
                    <a:pt x="77089" y="762"/>
                  </a:lnTo>
                  <a:lnTo>
                    <a:pt x="78105" y="1524"/>
                  </a:lnTo>
                  <a:lnTo>
                    <a:pt x="79249" y="3175"/>
                  </a:lnTo>
                  <a:lnTo>
                    <a:pt x="79249" y="57786"/>
                  </a:lnTo>
                  <a:lnTo>
                    <a:pt x="78105" y="59437"/>
                  </a:lnTo>
                  <a:lnTo>
                    <a:pt x="77089" y="60199"/>
                  </a:lnTo>
                  <a:lnTo>
                    <a:pt x="75947" y="60961"/>
                  </a:lnTo>
                  <a:lnTo>
                    <a:pt x="73787" y="60961"/>
                  </a:lnTo>
                  <a:close/>
                  <a:moveTo>
                    <a:pt x="-6120384" y="5017008"/>
                  </a:moveTo>
                  <a:moveTo>
                    <a:pt x="9907" y="53849"/>
                  </a:moveTo>
                  <a:lnTo>
                    <a:pt x="69342" y="53849"/>
                  </a:lnTo>
                  <a:lnTo>
                    <a:pt x="69342" y="7112"/>
                  </a:lnTo>
                  <a:lnTo>
                    <a:pt x="9907" y="7112"/>
                  </a:lnTo>
                  <a:lnTo>
                    <a:pt x="9907" y="53849"/>
                  </a:lnTo>
                  <a:close/>
                  <a:moveTo>
                    <a:pt x="-6113272" y="501700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91" name="Freeform 1491"/>
            <p:cNvSpPr/>
            <p:nvPr/>
          </p:nvSpPr>
          <p:spPr>
            <a:xfrm>
              <a:off x="10930660" y="1857052"/>
              <a:ext cx="9138" cy="45696"/>
            </a:xfrm>
            <a:custGeom>
              <a:avLst/>
              <a:gdLst/>
              <a:ahLst/>
              <a:cxnLst/>
              <a:rect l="0" t="0" r="0" b="0"/>
              <a:pathLst>
                <a:path w="9143" h="45720">
                  <a:moveTo>
                    <a:pt x="4064" y="45720"/>
                  </a:moveTo>
                  <a:lnTo>
                    <a:pt x="4064" y="45720"/>
                  </a:lnTo>
                  <a:lnTo>
                    <a:pt x="2031" y="45720"/>
                  </a:lnTo>
                  <a:lnTo>
                    <a:pt x="1016" y="44958"/>
                  </a:lnTo>
                  <a:lnTo>
                    <a:pt x="0" y="44196"/>
                  </a:lnTo>
                  <a:lnTo>
                    <a:pt x="0" y="42671"/>
                  </a:lnTo>
                  <a:lnTo>
                    <a:pt x="0" y="3047"/>
                  </a:lnTo>
                  <a:lnTo>
                    <a:pt x="0" y="1523"/>
                  </a:lnTo>
                  <a:lnTo>
                    <a:pt x="1016" y="762"/>
                  </a:lnTo>
                  <a:lnTo>
                    <a:pt x="2031" y="0"/>
                  </a:lnTo>
                  <a:lnTo>
                    <a:pt x="4064" y="0"/>
                  </a:lnTo>
                  <a:lnTo>
                    <a:pt x="6095" y="0"/>
                  </a:lnTo>
                  <a:lnTo>
                    <a:pt x="7112" y="762"/>
                  </a:lnTo>
                  <a:lnTo>
                    <a:pt x="8128" y="1523"/>
                  </a:lnTo>
                  <a:lnTo>
                    <a:pt x="9143" y="3047"/>
                  </a:lnTo>
                  <a:lnTo>
                    <a:pt x="9143" y="42671"/>
                  </a:lnTo>
                  <a:lnTo>
                    <a:pt x="8128" y="44196"/>
                  </a:lnTo>
                  <a:lnTo>
                    <a:pt x="7112" y="44958"/>
                  </a:lnTo>
                  <a:lnTo>
                    <a:pt x="6095" y="45720"/>
                  </a:lnTo>
                  <a:lnTo>
                    <a:pt x="4064" y="45720"/>
                  </a:lnTo>
                  <a:close/>
                  <a:moveTo>
                    <a:pt x="-5977129" y="500176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92" name="Freeform 1492"/>
            <p:cNvSpPr/>
            <p:nvPr/>
          </p:nvSpPr>
          <p:spPr>
            <a:xfrm>
              <a:off x="10897148" y="1857053"/>
              <a:ext cx="76160" cy="6093"/>
            </a:xfrm>
            <a:custGeom>
              <a:avLst/>
              <a:gdLst/>
              <a:ahLst/>
              <a:cxnLst/>
              <a:rect l="0" t="0" r="0" b="0"/>
              <a:pathLst>
                <a:path w="76200" h="6096">
                  <a:moveTo>
                    <a:pt x="71629" y="6096"/>
                  </a:moveTo>
                  <a:lnTo>
                    <a:pt x="5716" y="6096"/>
                  </a:lnTo>
                  <a:lnTo>
                    <a:pt x="3430" y="6096"/>
                  </a:lnTo>
                  <a:lnTo>
                    <a:pt x="1144" y="5460"/>
                  </a:lnTo>
                  <a:lnTo>
                    <a:pt x="0" y="4064"/>
                  </a:lnTo>
                  <a:lnTo>
                    <a:pt x="0" y="3428"/>
                  </a:lnTo>
                  <a:lnTo>
                    <a:pt x="0" y="2032"/>
                  </a:lnTo>
                  <a:lnTo>
                    <a:pt x="1144" y="634"/>
                  </a:lnTo>
                  <a:lnTo>
                    <a:pt x="3430" y="0"/>
                  </a:lnTo>
                  <a:lnTo>
                    <a:pt x="5716" y="0"/>
                  </a:lnTo>
                  <a:lnTo>
                    <a:pt x="71629" y="0"/>
                  </a:lnTo>
                  <a:lnTo>
                    <a:pt x="72771" y="0"/>
                  </a:lnTo>
                  <a:lnTo>
                    <a:pt x="75058" y="634"/>
                  </a:lnTo>
                  <a:lnTo>
                    <a:pt x="76200" y="2032"/>
                  </a:lnTo>
                  <a:lnTo>
                    <a:pt x="76200" y="3428"/>
                  </a:lnTo>
                  <a:lnTo>
                    <a:pt x="76200" y="4064"/>
                  </a:lnTo>
                  <a:lnTo>
                    <a:pt x="75058" y="5460"/>
                  </a:lnTo>
                  <a:lnTo>
                    <a:pt x="72771" y="6096"/>
                  </a:lnTo>
                  <a:lnTo>
                    <a:pt x="71629" y="6096"/>
                  </a:lnTo>
                  <a:close/>
                  <a:moveTo>
                    <a:pt x="-5903976" y="500176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93" name="Freeform 1493"/>
            <p:cNvSpPr/>
            <p:nvPr/>
          </p:nvSpPr>
          <p:spPr>
            <a:xfrm>
              <a:off x="11019006" y="1857052"/>
              <a:ext cx="9138" cy="45696"/>
            </a:xfrm>
            <a:custGeom>
              <a:avLst/>
              <a:gdLst/>
              <a:ahLst/>
              <a:cxnLst/>
              <a:rect l="0" t="0" r="0" b="0"/>
              <a:pathLst>
                <a:path w="9143" h="45720">
                  <a:moveTo>
                    <a:pt x="5079" y="45720"/>
                  </a:moveTo>
                  <a:lnTo>
                    <a:pt x="5079" y="45720"/>
                  </a:lnTo>
                  <a:lnTo>
                    <a:pt x="3048" y="45720"/>
                  </a:lnTo>
                  <a:lnTo>
                    <a:pt x="1015" y="44958"/>
                  </a:lnTo>
                  <a:lnTo>
                    <a:pt x="0" y="44196"/>
                  </a:lnTo>
                  <a:lnTo>
                    <a:pt x="0" y="42671"/>
                  </a:lnTo>
                  <a:lnTo>
                    <a:pt x="0" y="3047"/>
                  </a:lnTo>
                  <a:lnTo>
                    <a:pt x="0" y="1523"/>
                  </a:lnTo>
                  <a:lnTo>
                    <a:pt x="1015" y="762"/>
                  </a:lnTo>
                  <a:lnTo>
                    <a:pt x="3048" y="0"/>
                  </a:lnTo>
                  <a:lnTo>
                    <a:pt x="5079" y="0"/>
                  </a:lnTo>
                  <a:lnTo>
                    <a:pt x="6096" y="0"/>
                  </a:lnTo>
                  <a:lnTo>
                    <a:pt x="8127" y="762"/>
                  </a:lnTo>
                  <a:lnTo>
                    <a:pt x="9143" y="1523"/>
                  </a:lnTo>
                  <a:lnTo>
                    <a:pt x="9143" y="3047"/>
                  </a:lnTo>
                  <a:lnTo>
                    <a:pt x="9143" y="42671"/>
                  </a:lnTo>
                  <a:lnTo>
                    <a:pt x="9143" y="44196"/>
                  </a:lnTo>
                  <a:lnTo>
                    <a:pt x="8127" y="44958"/>
                  </a:lnTo>
                  <a:lnTo>
                    <a:pt x="6096" y="45720"/>
                  </a:lnTo>
                  <a:lnTo>
                    <a:pt x="5079" y="45720"/>
                  </a:lnTo>
                  <a:close/>
                  <a:moveTo>
                    <a:pt x="-6065521" y="500176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94" name="Freeform 1494"/>
            <p:cNvSpPr/>
            <p:nvPr/>
          </p:nvSpPr>
          <p:spPr>
            <a:xfrm>
              <a:off x="10988541" y="1857053"/>
              <a:ext cx="73114" cy="6093"/>
            </a:xfrm>
            <a:custGeom>
              <a:avLst/>
              <a:gdLst/>
              <a:ahLst/>
              <a:cxnLst/>
              <a:rect l="0" t="0" r="0" b="0"/>
              <a:pathLst>
                <a:path w="73152" h="6096">
                  <a:moveTo>
                    <a:pt x="67564" y="6096"/>
                  </a:moveTo>
                  <a:lnTo>
                    <a:pt x="4444" y="6096"/>
                  </a:lnTo>
                  <a:lnTo>
                    <a:pt x="2158" y="6096"/>
                  </a:lnTo>
                  <a:lnTo>
                    <a:pt x="1143" y="5460"/>
                  </a:lnTo>
                  <a:lnTo>
                    <a:pt x="0" y="4064"/>
                  </a:lnTo>
                  <a:lnTo>
                    <a:pt x="0" y="3428"/>
                  </a:lnTo>
                  <a:lnTo>
                    <a:pt x="0" y="2032"/>
                  </a:lnTo>
                  <a:lnTo>
                    <a:pt x="1143" y="634"/>
                  </a:lnTo>
                  <a:lnTo>
                    <a:pt x="2158" y="0"/>
                  </a:lnTo>
                  <a:lnTo>
                    <a:pt x="4444" y="0"/>
                  </a:lnTo>
                  <a:lnTo>
                    <a:pt x="67564" y="0"/>
                  </a:lnTo>
                  <a:lnTo>
                    <a:pt x="69850" y="0"/>
                  </a:lnTo>
                  <a:lnTo>
                    <a:pt x="70993" y="634"/>
                  </a:lnTo>
                  <a:lnTo>
                    <a:pt x="72008" y="2032"/>
                  </a:lnTo>
                  <a:lnTo>
                    <a:pt x="73152" y="3428"/>
                  </a:lnTo>
                  <a:lnTo>
                    <a:pt x="72008" y="4064"/>
                  </a:lnTo>
                  <a:lnTo>
                    <a:pt x="70993" y="5460"/>
                  </a:lnTo>
                  <a:lnTo>
                    <a:pt x="69850" y="6096"/>
                  </a:lnTo>
                  <a:lnTo>
                    <a:pt x="67564" y="6096"/>
                  </a:lnTo>
                  <a:close/>
                  <a:moveTo>
                    <a:pt x="-5995417" y="500176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95" name="Freeform 1495"/>
            <p:cNvSpPr/>
            <p:nvPr/>
          </p:nvSpPr>
          <p:spPr>
            <a:xfrm>
              <a:off x="11107351" y="1857052"/>
              <a:ext cx="9140" cy="45696"/>
            </a:xfrm>
            <a:custGeom>
              <a:avLst/>
              <a:gdLst/>
              <a:ahLst/>
              <a:cxnLst/>
              <a:rect l="0" t="0" r="0" b="0"/>
              <a:pathLst>
                <a:path w="9145" h="45720">
                  <a:moveTo>
                    <a:pt x="5081" y="45720"/>
                  </a:moveTo>
                  <a:lnTo>
                    <a:pt x="5081" y="45720"/>
                  </a:lnTo>
                  <a:lnTo>
                    <a:pt x="3048" y="45720"/>
                  </a:lnTo>
                  <a:lnTo>
                    <a:pt x="2033" y="44958"/>
                  </a:lnTo>
                  <a:lnTo>
                    <a:pt x="1017" y="44196"/>
                  </a:lnTo>
                  <a:lnTo>
                    <a:pt x="0" y="42671"/>
                  </a:lnTo>
                  <a:lnTo>
                    <a:pt x="0" y="3047"/>
                  </a:lnTo>
                  <a:lnTo>
                    <a:pt x="1017" y="1523"/>
                  </a:lnTo>
                  <a:lnTo>
                    <a:pt x="2033" y="762"/>
                  </a:lnTo>
                  <a:lnTo>
                    <a:pt x="3048" y="0"/>
                  </a:lnTo>
                  <a:lnTo>
                    <a:pt x="5081" y="0"/>
                  </a:lnTo>
                  <a:lnTo>
                    <a:pt x="6097" y="0"/>
                  </a:lnTo>
                  <a:lnTo>
                    <a:pt x="8129" y="762"/>
                  </a:lnTo>
                  <a:lnTo>
                    <a:pt x="9145" y="1523"/>
                  </a:lnTo>
                  <a:lnTo>
                    <a:pt x="9145" y="3047"/>
                  </a:lnTo>
                  <a:lnTo>
                    <a:pt x="9145" y="42671"/>
                  </a:lnTo>
                  <a:lnTo>
                    <a:pt x="9145" y="44196"/>
                  </a:lnTo>
                  <a:lnTo>
                    <a:pt x="8129" y="44958"/>
                  </a:lnTo>
                  <a:lnTo>
                    <a:pt x="6097" y="45720"/>
                  </a:lnTo>
                  <a:lnTo>
                    <a:pt x="5081" y="45720"/>
                  </a:lnTo>
                  <a:close/>
                  <a:moveTo>
                    <a:pt x="-6153912" y="500176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96" name="Freeform 1496"/>
            <p:cNvSpPr/>
            <p:nvPr/>
          </p:nvSpPr>
          <p:spPr>
            <a:xfrm>
              <a:off x="11076889" y="1857053"/>
              <a:ext cx="73113" cy="6093"/>
            </a:xfrm>
            <a:custGeom>
              <a:avLst/>
              <a:gdLst/>
              <a:ahLst/>
              <a:cxnLst/>
              <a:rect l="0" t="0" r="0" b="0"/>
              <a:pathLst>
                <a:path w="73151" h="6096">
                  <a:moveTo>
                    <a:pt x="67563" y="6096"/>
                  </a:moveTo>
                  <a:lnTo>
                    <a:pt x="4445" y="6096"/>
                  </a:lnTo>
                  <a:lnTo>
                    <a:pt x="2159" y="6096"/>
                  </a:lnTo>
                  <a:lnTo>
                    <a:pt x="1142" y="5460"/>
                  </a:lnTo>
                  <a:lnTo>
                    <a:pt x="0" y="4064"/>
                  </a:lnTo>
                  <a:lnTo>
                    <a:pt x="0" y="3428"/>
                  </a:lnTo>
                  <a:lnTo>
                    <a:pt x="0" y="2032"/>
                  </a:lnTo>
                  <a:lnTo>
                    <a:pt x="1142" y="634"/>
                  </a:lnTo>
                  <a:lnTo>
                    <a:pt x="2159" y="0"/>
                  </a:lnTo>
                  <a:lnTo>
                    <a:pt x="4445" y="0"/>
                  </a:lnTo>
                  <a:lnTo>
                    <a:pt x="67563" y="0"/>
                  </a:lnTo>
                  <a:lnTo>
                    <a:pt x="69850" y="0"/>
                  </a:lnTo>
                  <a:lnTo>
                    <a:pt x="70992" y="634"/>
                  </a:lnTo>
                  <a:lnTo>
                    <a:pt x="72009" y="2032"/>
                  </a:lnTo>
                  <a:lnTo>
                    <a:pt x="73151" y="3428"/>
                  </a:lnTo>
                  <a:lnTo>
                    <a:pt x="72009" y="4064"/>
                  </a:lnTo>
                  <a:lnTo>
                    <a:pt x="70992" y="5460"/>
                  </a:lnTo>
                  <a:lnTo>
                    <a:pt x="69850" y="6096"/>
                  </a:lnTo>
                  <a:lnTo>
                    <a:pt x="67563" y="6096"/>
                  </a:lnTo>
                  <a:close/>
                  <a:moveTo>
                    <a:pt x="-6083809" y="500176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97" name="Freeform 1497"/>
            <p:cNvSpPr/>
            <p:nvPr/>
          </p:nvSpPr>
          <p:spPr>
            <a:xfrm>
              <a:off x="10894103" y="1677313"/>
              <a:ext cx="79206" cy="152321"/>
            </a:xfrm>
            <a:custGeom>
              <a:avLst/>
              <a:gdLst/>
              <a:ahLst/>
              <a:cxnLst/>
              <a:rect l="0" t="0" r="0" b="0"/>
              <a:pathLst>
                <a:path w="79247" h="152400">
                  <a:moveTo>
                    <a:pt x="73786" y="152400"/>
                  </a:moveTo>
                  <a:lnTo>
                    <a:pt x="5460" y="152400"/>
                  </a:lnTo>
                  <a:lnTo>
                    <a:pt x="3302" y="152400"/>
                  </a:lnTo>
                  <a:lnTo>
                    <a:pt x="2158" y="151639"/>
                  </a:lnTo>
                  <a:lnTo>
                    <a:pt x="1143" y="150115"/>
                  </a:lnTo>
                  <a:lnTo>
                    <a:pt x="0" y="148591"/>
                  </a:lnTo>
                  <a:lnTo>
                    <a:pt x="9906" y="3048"/>
                  </a:lnTo>
                  <a:lnTo>
                    <a:pt x="11048" y="2286"/>
                  </a:lnTo>
                  <a:lnTo>
                    <a:pt x="12065" y="762"/>
                  </a:lnTo>
                  <a:lnTo>
                    <a:pt x="13207" y="762"/>
                  </a:lnTo>
                  <a:lnTo>
                    <a:pt x="15367" y="0"/>
                  </a:lnTo>
                  <a:lnTo>
                    <a:pt x="54991" y="0"/>
                  </a:lnTo>
                  <a:lnTo>
                    <a:pt x="56133" y="762"/>
                  </a:lnTo>
                  <a:lnTo>
                    <a:pt x="58293" y="762"/>
                  </a:lnTo>
                  <a:lnTo>
                    <a:pt x="59435" y="2286"/>
                  </a:lnTo>
                  <a:lnTo>
                    <a:pt x="59435" y="3048"/>
                  </a:lnTo>
                  <a:lnTo>
                    <a:pt x="79247" y="148591"/>
                  </a:lnTo>
                  <a:lnTo>
                    <a:pt x="79247" y="150115"/>
                  </a:lnTo>
                  <a:lnTo>
                    <a:pt x="78105" y="151639"/>
                  </a:lnTo>
                  <a:lnTo>
                    <a:pt x="75945" y="152400"/>
                  </a:lnTo>
                  <a:lnTo>
                    <a:pt x="73786" y="152400"/>
                  </a:lnTo>
                  <a:close/>
                  <a:moveTo>
                    <a:pt x="-5867400" y="5181600"/>
                  </a:moveTo>
                  <a:moveTo>
                    <a:pt x="11048" y="145416"/>
                  </a:moveTo>
                  <a:lnTo>
                    <a:pt x="68198" y="145416"/>
                  </a:lnTo>
                  <a:lnTo>
                    <a:pt x="50672" y="6985"/>
                  </a:lnTo>
                  <a:lnTo>
                    <a:pt x="19811" y="6985"/>
                  </a:lnTo>
                  <a:lnTo>
                    <a:pt x="11048" y="145416"/>
                  </a:lnTo>
                  <a:close/>
                  <a:moveTo>
                    <a:pt x="-5860416" y="518160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98" name="Freeform 1498"/>
            <p:cNvSpPr/>
            <p:nvPr/>
          </p:nvSpPr>
          <p:spPr>
            <a:xfrm>
              <a:off x="10982450" y="1732149"/>
              <a:ext cx="79207" cy="97484"/>
            </a:xfrm>
            <a:custGeom>
              <a:avLst/>
              <a:gdLst/>
              <a:ahLst/>
              <a:cxnLst/>
              <a:rect l="0" t="0" r="0" b="0"/>
              <a:pathLst>
                <a:path w="79248" h="97535">
                  <a:moveTo>
                    <a:pt x="73787" y="97535"/>
                  </a:moveTo>
                  <a:lnTo>
                    <a:pt x="5461" y="97535"/>
                  </a:lnTo>
                  <a:lnTo>
                    <a:pt x="3301" y="97535"/>
                  </a:lnTo>
                  <a:lnTo>
                    <a:pt x="1142" y="96774"/>
                  </a:lnTo>
                  <a:lnTo>
                    <a:pt x="1142" y="95250"/>
                  </a:lnTo>
                  <a:lnTo>
                    <a:pt x="0" y="93726"/>
                  </a:lnTo>
                  <a:lnTo>
                    <a:pt x="9905" y="3047"/>
                  </a:lnTo>
                  <a:lnTo>
                    <a:pt x="11049" y="1524"/>
                  </a:lnTo>
                  <a:lnTo>
                    <a:pt x="11049" y="762"/>
                  </a:lnTo>
                  <a:lnTo>
                    <a:pt x="13208" y="0"/>
                  </a:lnTo>
                  <a:lnTo>
                    <a:pt x="15366" y="0"/>
                  </a:lnTo>
                  <a:lnTo>
                    <a:pt x="54990" y="0"/>
                  </a:lnTo>
                  <a:lnTo>
                    <a:pt x="57276" y="762"/>
                  </a:lnTo>
                  <a:lnTo>
                    <a:pt x="59436" y="3047"/>
                  </a:lnTo>
                  <a:lnTo>
                    <a:pt x="79248" y="93726"/>
                  </a:lnTo>
                  <a:lnTo>
                    <a:pt x="78104" y="95250"/>
                  </a:lnTo>
                  <a:lnTo>
                    <a:pt x="78104" y="96774"/>
                  </a:lnTo>
                  <a:lnTo>
                    <a:pt x="75946" y="97535"/>
                  </a:lnTo>
                  <a:lnTo>
                    <a:pt x="73787" y="97535"/>
                  </a:lnTo>
                  <a:close/>
                  <a:moveTo>
                    <a:pt x="-5955792" y="5126735"/>
                  </a:moveTo>
                  <a:moveTo>
                    <a:pt x="11049" y="90551"/>
                  </a:moveTo>
                  <a:lnTo>
                    <a:pt x="68199" y="90551"/>
                  </a:lnTo>
                  <a:lnTo>
                    <a:pt x="50673" y="6984"/>
                  </a:lnTo>
                  <a:lnTo>
                    <a:pt x="19812" y="6984"/>
                  </a:lnTo>
                  <a:lnTo>
                    <a:pt x="11049" y="90551"/>
                  </a:lnTo>
                  <a:close/>
                  <a:moveTo>
                    <a:pt x="-5948808" y="5126735"/>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99" name="Freeform 1499"/>
            <p:cNvSpPr/>
            <p:nvPr/>
          </p:nvSpPr>
          <p:spPr>
            <a:xfrm>
              <a:off x="11073841" y="1796123"/>
              <a:ext cx="155368" cy="33511"/>
            </a:xfrm>
            <a:custGeom>
              <a:avLst/>
              <a:gdLst/>
              <a:ahLst/>
              <a:cxnLst/>
              <a:rect l="0" t="0" r="0" b="0"/>
              <a:pathLst>
                <a:path w="155449" h="33528">
                  <a:moveTo>
                    <a:pt x="149987" y="33528"/>
                  </a:moveTo>
                  <a:lnTo>
                    <a:pt x="5462" y="33528"/>
                  </a:lnTo>
                  <a:lnTo>
                    <a:pt x="3302" y="33528"/>
                  </a:lnTo>
                  <a:lnTo>
                    <a:pt x="2160" y="32767"/>
                  </a:lnTo>
                  <a:lnTo>
                    <a:pt x="1144" y="31115"/>
                  </a:lnTo>
                  <a:lnTo>
                    <a:pt x="0" y="30226"/>
                  </a:lnTo>
                  <a:lnTo>
                    <a:pt x="0" y="3302"/>
                  </a:lnTo>
                  <a:lnTo>
                    <a:pt x="1144" y="2413"/>
                  </a:lnTo>
                  <a:lnTo>
                    <a:pt x="2160" y="763"/>
                  </a:lnTo>
                  <a:lnTo>
                    <a:pt x="3302" y="0"/>
                  </a:lnTo>
                  <a:lnTo>
                    <a:pt x="5462" y="0"/>
                  </a:lnTo>
                  <a:lnTo>
                    <a:pt x="149987" y="0"/>
                  </a:lnTo>
                  <a:lnTo>
                    <a:pt x="152147" y="0"/>
                  </a:lnTo>
                  <a:lnTo>
                    <a:pt x="153289" y="763"/>
                  </a:lnTo>
                  <a:lnTo>
                    <a:pt x="154305" y="2413"/>
                  </a:lnTo>
                  <a:lnTo>
                    <a:pt x="155449" y="3302"/>
                  </a:lnTo>
                  <a:lnTo>
                    <a:pt x="155449" y="30226"/>
                  </a:lnTo>
                  <a:lnTo>
                    <a:pt x="154305" y="31115"/>
                  </a:lnTo>
                  <a:lnTo>
                    <a:pt x="153289" y="32767"/>
                  </a:lnTo>
                  <a:lnTo>
                    <a:pt x="152147" y="33528"/>
                  </a:lnTo>
                  <a:lnTo>
                    <a:pt x="149987" y="33528"/>
                  </a:lnTo>
                  <a:close/>
                  <a:moveTo>
                    <a:pt x="-6047231" y="5062728"/>
                  </a:moveTo>
                  <a:moveTo>
                    <a:pt x="9907" y="26163"/>
                  </a:moveTo>
                  <a:lnTo>
                    <a:pt x="145542" y="26163"/>
                  </a:lnTo>
                  <a:lnTo>
                    <a:pt x="145542" y="7367"/>
                  </a:lnTo>
                  <a:lnTo>
                    <a:pt x="9907" y="7367"/>
                  </a:lnTo>
                  <a:lnTo>
                    <a:pt x="9907" y="26163"/>
                  </a:lnTo>
                  <a:close/>
                  <a:moveTo>
                    <a:pt x="-6039866" y="506272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00" name="Freeform 1500"/>
            <p:cNvSpPr/>
            <p:nvPr/>
          </p:nvSpPr>
          <p:spPr>
            <a:xfrm>
              <a:off x="11113445" y="1780892"/>
              <a:ext cx="76160" cy="24370"/>
            </a:xfrm>
            <a:custGeom>
              <a:avLst/>
              <a:gdLst/>
              <a:ahLst/>
              <a:cxnLst/>
              <a:rect l="0" t="0" r="0" b="0"/>
              <a:pathLst>
                <a:path w="76200" h="24383">
                  <a:moveTo>
                    <a:pt x="71627" y="24383"/>
                  </a:moveTo>
                  <a:lnTo>
                    <a:pt x="4572" y="24383"/>
                  </a:lnTo>
                  <a:lnTo>
                    <a:pt x="3428" y="24383"/>
                  </a:lnTo>
                  <a:lnTo>
                    <a:pt x="1142" y="23495"/>
                  </a:lnTo>
                  <a:lnTo>
                    <a:pt x="0" y="21844"/>
                  </a:lnTo>
                  <a:lnTo>
                    <a:pt x="0" y="20192"/>
                  </a:lnTo>
                  <a:lnTo>
                    <a:pt x="0" y="4190"/>
                  </a:lnTo>
                  <a:lnTo>
                    <a:pt x="0" y="2539"/>
                  </a:lnTo>
                  <a:lnTo>
                    <a:pt x="1142" y="889"/>
                  </a:lnTo>
                  <a:lnTo>
                    <a:pt x="3428" y="889"/>
                  </a:lnTo>
                  <a:lnTo>
                    <a:pt x="4572" y="0"/>
                  </a:lnTo>
                  <a:lnTo>
                    <a:pt x="71627" y="0"/>
                  </a:lnTo>
                  <a:lnTo>
                    <a:pt x="72771" y="889"/>
                  </a:lnTo>
                  <a:lnTo>
                    <a:pt x="75057" y="889"/>
                  </a:lnTo>
                  <a:lnTo>
                    <a:pt x="76200" y="2539"/>
                  </a:lnTo>
                  <a:lnTo>
                    <a:pt x="76200" y="4190"/>
                  </a:lnTo>
                  <a:lnTo>
                    <a:pt x="76200" y="20192"/>
                  </a:lnTo>
                  <a:lnTo>
                    <a:pt x="76200" y="21844"/>
                  </a:lnTo>
                  <a:lnTo>
                    <a:pt x="75057" y="23495"/>
                  </a:lnTo>
                  <a:lnTo>
                    <a:pt x="72771" y="24383"/>
                  </a:lnTo>
                  <a:lnTo>
                    <a:pt x="71627" y="24383"/>
                  </a:lnTo>
                  <a:close/>
                  <a:moveTo>
                    <a:pt x="-6062472" y="5077967"/>
                  </a:moveTo>
                  <a:moveTo>
                    <a:pt x="10287" y="16764"/>
                  </a:moveTo>
                  <a:lnTo>
                    <a:pt x="65912" y="16764"/>
                  </a:lnTo>
                  <a:lnTo>
                    <a:pt x="65912" y="7620"/>
                  </a:lnTo>
                  <a:lnTo>
                    <a:pt x="10287" y="7620"/>
                  </a:lnTo>
                  <a:lnTo>
                    <a:pt x="10287" y="16764"/>
                  </a:lnTo>
                  <a:close/>
                  <a:moveTo>
                    <a:pt x="-6054853" y="507796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01" name="Freeform 1501"/>
            <p:cNvSpPr/>
            <p:nvPr/>
          </p:nvSpPr>
          <p:spPr>
            <a:xfrm>
              <a:off x="10903242" y="1689498"/>
              <a:ext cx="51789" cy="6094"/>
            </a:xfrm>
            <a:custGeom>
              <a:avLst/>
              <a:gdLst/>
              <a:ahLst/>
              <a:cxnLst/>
              <a:rect l="0" t="0" r="0" b="0"/>
              <a:pathLst>
                <a:path w="51816" h="6097">
                  <a:moveTo>
                    <a:pt x="46483" y="6097"/>
                  </a:moveTo>
                  <a:lnTo>
                    <a:pt x="5335" y="6097"/>
                  </a:lnTo>
                  <a:lnTo>
                    <a:pt x="3175" y="6097"/>
                  </a:lnTo>
                  <a:lnTo>
                    <a:pt x="2160" y="5462"/>
                  </a:lnTo>
                  <a:lnTo>
                    <a:pt x="1016" y="4699"/>
                  </a:lnTo>
                  <a:lnTo>
                    <a:pt x="0" y="3430"/>
                  </a:lnTo>
                  <a:lnTo>
                    <a:pt x="1016" y="2032"/>
                  </a:lnTo>
                  <a:lnTo>
                    <a:pt x="2160" y="1398"/>
                  </a:lnTo>
                  <a:lnTo>
                    <a:pt x="3175" y="636"/>
                  </a:lnTo>
                  <a:lnTo>
                    <a:pt x="5335" y="0"/>
                  </a:lnTo>
                  <a:lnTo>
                    <a:pt x="46483" y="0"/>
                  </a:lnTo>
                  <a:lnTo>
                    <a:pt x="48514" y="636"/>
                  </a:lnTo>
                  <a:lnTo>
                    <a:pt x="49658" y="1398"/>
                  </a:lnTo>
                  <a:lnTo>
                    <a:pt x="50674" y="2032"/>
                  </a:lnTo>
                  <a:lnTo>
                    <a:pt x="51816" y="3430"/>
                  </a:lnTo>
                  <a:lnTo>
                    <a:pt x="50674" y="4699"/>
                  </a:lnTo>
                  <a:lnTo>
                    <a:pt x="49658" y="5462"/>
                  </a:lnTo>
                  <a:lnTo>
                    <a:pt x="48514" y="6097"/>
                  </a:lnTo>
                  <a:lnTo>
                    <a:pt x="46483" y="6097"/>
                  </a:lnTo>
                  <a:close/>
                  <a:moveTo>
                    <a:pt x="-5742432" y="516940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02" name="Freeform 1502"/>
            <p:cNvSpPr/>
            <p:nvPr/>
          </p:nvSpPr>
          <p:spPr>
            <a:xfrm>
              <a:off x="10991587" y="1744334"/>
              <a:ext cx="51790" cy="6094"/>
            </a:xfrm>
            <a:custGeom>
              <a:avLst/>
              <a:gdLst/>
              <a:ahLst/>
              <a:cxnLst/>
              <a:rect l="0" t="0" r="0" b="0"/>
              <a:pathLst>
                <a:path w="51817" h="6097">
                  <a:moveTo>
                    <a:pt x="47371" y="6097"/>
                  </a:moveTo>
                  <a:lnTo>
                    <a:pt x="4446" y="6097"/>
                  </a:lnTo>
                  <a:lnTo>
                    <a:pt x="3303" y="6097"/>
                  </a:lnTo>
                  <a:lnTo>
                    <a:pt x="1144" y="5461"/>
                  </a:lnTo>
                  <a:lnTo>
                    <a:pt x="0" y="4065"/>
                  </a:lnTo>
                  <a:lnTo>
                    <a:pt x="0" y="3429"/>
                  </a:lnTo>
                  <a:lnTo>
                    <a:pt x="0" y="2033"/>
                  </a:lnTo>
                  <a:lnTo>
                    <a:pt x="1144" y="635"/>
                  </a:lnTo>
                  <a:lnTo>
                    <a:pt x="3303" y="635"/>
                  </a:lnTo>
                  <a:lnTo>
                    <a:pt x="4446" y="0"/>
                  </a:lnTo>
                  <a:lnTo>
                    <a:pt x="47371" y="0"/>
                  </a:lnTo>
                  <a:lnTo>
                    <a:pt x="48515" y="635"/>
                  </a:lnTo>
                  <a:lnTo>
                    <a:pt x="50673" y="635"/>
                  </a:lnTo>
                  <a:lnTo>
                    <a:pt x="51817" y="2033"/>
                  </a:lnTo>
                  <a:lnTo>
                    <a:pt x="51817" y="3429"/>
                  </a:lnTo>
                  <a:lnTo>
                    <a:pt x="51817" y="4065"/>
                  </a:lnTo>
                  <a:lnTo>
                    <a:pt x="50673" y="5461"/>
                  </a:lnTo>
                  <a:lnTo>
                    <a:pt x="48515" y="6097"/>
                  </a:lnTo>
                  <a:lnTo>
                    <a:pt x="47371" y="6097"/>
                  </a:lnTo>
                  <a:close/>
                  <a:moveTo>
                    <a:pt x="-5885688" y="5114544"/>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03" name="Freeform 1503"/>
            <p:cNvSpPr/>
            <p:nvPr/>
          </p:nvSpPr>
          <p:spPr>
            <a:xfrm>
              <a:off x="11165233" y="1841819"/>
              <a:ext cx="63976" cy="79208"/>
            </a:xfrm>
            <a:custGeom>
              <a:avLst/>
              <a:gdLst/>
              <a:ahLst/>
              <a:cxnLst/>
              <a:rect l="0" t="0" r="0" b="0"/>
              <a:pathLst>
                <a:path w="64009" h="79249">
                  <a:moveTo>
                    <a:pt x="58547" y="79249"/>
                  </a:moveTo>
                  <a:lnTo>
                    <a:pt x="5461" y="79249"/>
                  </a:lnTo>
                  <a:lnTo>
                    <a:pt x="3302" y="79249"/>
                  </a:lnTo>
                  <a:lnTo>
                    <a:pt x="2160" y="78487"/>
                  </a:lnTo>
                  <a:lnTo>
                    <a:pt x="1144" y="77724"/>
                  </a:lnTo>
                  <a:lnTo>
                    <a:pt x="0" y="76074"/>
                  </a:lnTo>
                  <a:lnTo>
                    <a:pt x="0" y="3175"/>
                  </a:lnTo>
                  <a:lnTo>
                    <a:pt x="1144" y="1524"/>
                  </a:lnTo>
                  <a:lnTo>
                    <a:pt x="2160" y="762"/>
                  </a:lnTo>
                  <a:lnTo>
                    <a:pt x="3302" y="0"/>
                  </a:lnTo>
                  <a:lnTo>
                    <a:pt x="5461" y="0"/>
                  </a:lnTo>
                  <a:lnTo>
                    <a:pt x="58547" y="0"/>
                  </a:lnTo>
                  <a:lnTo>
                    <a:pt x="60707" y="0"/>
                  </a:lnTo>
                  <a:lnTo>
                    <a:pt x="61849" y="762"/>
                  </a:lnTo>
                  <a:lnTo>
                    <a:pt x="62865" y="1524"/>
                  </a:lnTo>
                  <a:lnTo>
                    <a:pt x="64009" y="3175"/>
                  </a:lnTo>
                  <a:lnTo>
                    <a:pt x="64009" y="76074"/>
                  </a:lnTo>
                  <a:lnTo>
                    <a:pt x="62865" y="77724"/>
                  </a:lnTo>
                  <a:lnTo>
                    <a:pt x="61849" y="78487"/>
                  </a:lnTo>
                  <a:lnTo>
                    <a:pt x="60707" y="79249"/>
                  </a:lnTo>
                  <a:lnTo>
                    <a:pt x="58547" y="79249"/>
                  </a:lnTo>
                  <a:close/>
                  <a:moveTo>
                    <a:pt x="-6230112" y="5017008"/>
                  </a:moveTo>
                  <a:moveTo>
                    <a:pt x="9780" y="72137"/>
                  </a:moveTo>
                  <a:lnTo>
                    <a:pt x="54230" y="72137"/>
                  </a:lnTo>
                  <a:lnTo>
                    <a:pt x="54230" y="7112"/>
                  </a:lnTo>
                  <a:lnTo>
                    <a:pt x="9780" y="7112"/>
                  </a:lnTo>
                  <a:lnTo>
                    <a:pt x="9780" y="72137"/>
                  </a:lnTo>
                  <a:close/>
                  <a:moveTo>
                    <a:pt x="-6223000" y="501700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04" name="Freeform 1504"/>
            <p:cNvSpPr/>
            <p:nvPr/>
          </p:nvSpPr>
          <p:spPr>
            <a:xfrm>
              <a:off x="11192652" y="1841819"/>
              <a:ext cx="9138" cy="79208"/>
            </a:xfrm>
            <a:custGeom>
              <a:avLst/>
              <a:gdLst/>
              <a:ahLst/>
              <a:cxnLst/>
              <a:rect l="0" t="0" r="0" b="0"/>
              <a:pathLst>
                <a:path w="9143" h="79249">
                  <a:moveTo>
                    <a:pt x="5079" y="79249"/>
                  </a:moveTo>
                  <a:lnTo>
                    <a:pt x="5079" y="79249"/>
                  </a:lnTo>
                  <a:lnTo>
                    <a:pt x="3048" y="79249"/>
                  </a:lnTo>
                  <a:lnTo>
                    <a:pt x="1015" y="78487"/>
                  </a:lnTo>
                  <a:lnTo>
                    <a:pt x="0" y="77724"/>
                  </a:lnTo>
                  <a:lnTo>
                    <a:pt x="0" y="76074"/>
                  </a:lnTo>
                  <a:lnTo>
                    <a:pt x="0" y="3175"/>
                  </a:lnTo>
                  <a:lnTo>
                    <a:pt x="0" y="1524"/>
                  </a:lnTo>
                  <a:lnTo>
                    <a:pt x="1015" y="762"/>
                  </a:lnTo>
                  <a:lnTo>
                    <a:pt x="3048" y="0"/>
                  </a:lnTo>
                  <a:lnTo>
                    <a:pt x="5079" y="0"/>
                  </a:lnTo>
                  <a:lnTo>
                    <a:pt x="6096" y="0"/>
                  </a:lnTo>
                  <a:lnTo>
                    <a:pt x="8127" y="762"/>
                  </a:lnTo>
                  <a:lnTo>
                    <a:pt x="9143" y="1524"/>
                  </a:lnTo>
                  <a:lnTo>
                    <a:pt x="9143" y="3175"/>
                  </a:lnTo>
                  <a:lnTo>
                    <a:pt x="9143" y="76074"/>
                  </a:lnTo>
                  <a:lnTo>
                    <a:pt x="9143" y="77724"/>
                  </a:lnTo>
                  <a:lnTo>
                    <a:pt x="8127" y="78487"/>
                  </a:lnTo>
                  <a:lnTo>
                    <a:pt x="6096" y="79249"/>
                  </a:lnTo>
                  <a:lnTo>
                    <a:pt x="5079" y="79249"/>
                  </a:lnTo>
                  <a:close/>
                  <a:moveTo>
                    <a:pt x="-6257545" y="501700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05" name="Freeform 1505"/>
            <p:cNvSpPr/>
            <p:nvPr/>
          </p:nvSpPr>
          <p:spPr>
            <a:xfrm>
              <a:off x="10951985" y="1613338"/>
              <a:ext cx="155367" cy="63975"/>
            </a:xfrm>
            <a:custGeom>
              <a:avLst/>
              <a:gdLst/>
              <a:ahLst/>
              <a:cxnLst/>
              <a:rect l="0" t="0" r="0" b="0"/>
              <a:pathLst>
                <a:path w="155448" h="64008">
                  <a:moveTo>
                    <a:pt x="31496" y="64008"/>
                  </a:moveTo>
                  <a:lnTo>
                    <a:pt x="31496" y="64008"/>
                  </a:lnTo>
                  <a:lnTo>
                    <a:pt x="24766" y="64008"/>
                  </a:lnTo>
                  <a:lnTo>
                    <a:pt x="19178" y="63247"/>
                  </a:lnTo>
                  <a:lnTo>
                    <a:pt x="13462" y="60961"/>
                  </a:lnTo>
                  <a:lnTo>
                    <a:pt x="9018" y="59437"/>
                  </a:lnTo>
                  <a:lnTo>
                    <a:pt x="5589" y="56516"/>
                  </a:lnTo>
                  <a:lnTo>
                    <a:pt x="2286" y="53468"/>
                  </a:lnTo>
                  <a:lnTo>
                    <a:pt x="1144" y="50419"/>
                  </a:lnTo>
                  <a:lnTo>
                    <a:pt x="0" y="46737"/>
                  </a:lnTo>
                  <a:lnTo>
                    <a:pt x="1144" y="43688"/>
                  </a:lnTo>
                  <a:lnTo>
                    <a:pt x="2286" y="39879"/>
                  </a:lnTo>
                  <a:lnTo>
                    <a:pt x="5589" y="36957"/>
                  </a:lnTo>
                  <a:lnTo>
                    <a:pt x="10160" y="33910"/>
                  </a:lnTo>
                  <a:lnTo>
                    <a:pt x="14606" y="32386"/>
                  </a:lnTo>
                  <a:lnTo>
                    <a:pt x="20320" y="30862"/>
                  </a:lnTo>
                  <a:lnTo>
                    <a:pt x="27052" y="30099"/>
                  </a:lnTo>
                  <a:lnTo>
                    <a:pt x="33782" y="30099"/>
                  </a:lnTo>
                  <a:lnTo>
                    <a:pt x="36069" y="27051"/>
                  </a:lnTo>
                  <a:lnTo>
                    <a:pt x="39370" y="24893"/>
                  </a:lnTo>
                  <a:lnTo>
                    <a:pt x="42799" y="22606"/>
                  </a:lnTo>
                  <a:lnTo>
                    <a:pt x="47371" y="20320"/>
                  </a:lnTo>
                  <a:lnTo>
                    <a:pt x="51817" y="19558"/>
                  </a:lnTo>
                  <a:lnTo>
                    <a:pt x="56261" y="18035"/>
                  </a:lnTo>
                  <a:lnTo>
                    <a:pt x="61977" y="17273"/>
                  </a:lnTo>
                  <a:lnTo>
                    <a:pt x="67565" y="17273"/>
                  </a:lnTo>
                  <a:lnTo>
                    <a:pt x="69850" y="13589"/>
                  </a:lnTo>
                  <a:lnTo>
                    <a:pt x="73280" y="10542"/>
                  </a:lnTo>
                  <a:lnTo>
                    <a:pt x="77724" y="7493"/>
                  </a:lnTo>
                  <a:lnTo>
                    <a:pt x="83312" y="4573"/>
                  </a:lnTo>
                  <a:lnTo>
                    <a:pt x="89028" y="3049"/>
                  </a:lnTo>
                  <a:lnTo>
                    <a:pt x="95758" y="1524"/>
                  </a:lnTo>
                  <a:lnTo>
                    <a:pt x="103632" y="0"/>
                  </a:lnTo>
                  <a:lnTo>
                    <a:pt x="110364" y="0"/>
                  </a:lnTo>
                  <a:lnTo>
                    <a:pt x="119381" y="762"/>
                  </a:lnTo>
                  <a:lnTo>
                    <a:pt x="128397" y="1524"/>
                  </a:lnTo>
                  <a:lnTo>
                    <a:pt x="135129" y="3811"/>
                  </a:lnTo>
                  <a:lnTo>
                    <a:pt x="141986" y="6731"/>
                  </a:lnTo>
                  <a:lnTo>
                    <a:pt x="147574" y="10542"/>
                  </a:lnTo>
                  <a:lnTo>
                    <a:pt x="152020" y="14351"/>
                  </a:lnTo>
                  <a:lnTo>
                    <a:pt x="154306" y="18797"/>
                  </a:lnTo>
                  <a:lnTo>
                    <a:pt x="155448" y="23368"/>
                  </a:lnTo>
                  <a:lnTo>
                    <a:pt x="154306" y="27813"/>
                  </a:lnTo>
                  <a:lnTo>
                    <a:pt x="152020" y="32386"/>
                  </a:lnTo>
                  <a:lnTo>
                    <a:pt x="147574" y="36195"/>
                  </a:lnTo>
                  <a:lnTo>
                    <a:pt x="141986" y="39879"/>
                  </a:lnTo>
                  <a:lnTo>
                    <a:pt x="135129" y="42926"/>
                  </a:lnTo>
                  <a:lnTo>
                    <a:pt x="128397" y="45212"/>
                  </a:lnTo>
                  <a:lnTo>
                    <a:pt x="119381" y="46737"/>
                  </a:lnTo>
                  <a:lnTo>
                    <a:pt x="110364" y="46737"/>
                  </a:lnTo>
                  <a:lnTo>
                    <a:pt x="103632" y="46737"/>
                  </a:lnTo>
                  <a:lnTo>
                    <a:pt x="96902" y="45974"/>
                  </a:lnTo>
                  <a:lnTo>
                    <a:pt x="93472" y="48133"/>
                  </a:lnTo>
                  <a:lnTo>
                    <a:pt x="90170" y="50419"/>
                  </a:lnTo>
                  <a:lnTo>
                    <a:pt x="85598" y="51943"/>
                  </a:lnTo>
                  <a:lnTo>
                    <a:pt x="81154" y="53468"/>
                  </a:lnTo>
                  <a:lnTo>
                    <a:pt x="75439" y="54230"/>
                  </a:lnTo>
                  <a:lnTo>
                    <a:pt x="69850" y="54230"/>
                  </a:lnTo>
                  <a:lnTo>
                    <a:pt x="64262" y="54230"/>
                  </a:lnTo>
                  <a:lnTo>
                    <a:pt x="58547" y="54230"/>
                  </a:lnTo>
                  <a:lnTo>
                    <a:pt x="54103" y="58039"/>
                  </a:lnTo>
                  <a:lnTo>
                    <a:pt x="47371" y="61723"/>
                  </a:lnTo>
                  <a:lnTo>
                    <a:pt x="39370" y="63247"/>
                  </a:lnTo>
                  <a:lnTo>
                    <a:pt x="31496" y="64008"/>
                  </a:lnTo>
                  <a:close/>
                  <a:moveTo>
                    <a:pt x="-5772911" y="5245608"/>
                  </a:moveTo>
                  <a:moveTo>
                    <a:pt x="31496" y="36195"/>
                  </a:moveTo>
                  <a:lnTo>
                    <a:pt x="31496" y="36195"/>
                  </a:lnTo>
                  <a:lnTo>
                    <a:pt x="22480" y="37593"/>
                  </a:lnTo>
                  <a:lnTo>
                    <a:pt x="15748" y="39879"/>
                  </a:lnTo>
                  <a:lnTo>
                    <a:pt x="13462" y="41403"/>
                  </a:lnTo>
                  <a:lnTo>
                    <a:pt x="12446" y="42926"/>
                  </a:lnTo>
                  <a:lnTo>
                    <a:pt x="10160" y="45212"/>
                  </a:lnTo>
                  <a:lnTo>
                    <a:pt x="10160" y="46737"/>
                  </a:lnTo>
                  <a:lnTo>
                    <a:pt x="10160" y="48895"/>
                  </a:lnTo>
                  <a:lnTo>
                    <a:pt x="12446" y="51181"/>
                  </a:lnTo>
                  <a:lnTo>
                    <a:pt x="13462" y="52705"/>
                  </a:lnTo>
                  <a:lnTo>
                    <a:pt x="15748" y="54230"/>
                  </a:lnTo>
                  <a:lnTo>
                    <a:pt x="22480" y="56516"/>
                  </a:lnTo>
                  <a:lnTo>
                    <a:pt x="31496" y="57278"/>
                  </a:lnTo>
                  <a:lnTo>
                    <a:pt x="38355" y="57278"/>
                  </a:lnTo>
                  <a:lnTo>
                    <a:pt x="43943" y="54992"/>
                  </a:lnTo>
                  <a:lnTo>
                    <a:pt x="48387" y="52705"/>
                  </a:lnTo>
                  <a:lnTo>
                    <a:pt x="50673" y="48895"/>
                  </a:lnTo>
                  <a:lnTo>
                    <a:pt x="51817" y="48133"/>
                  </a:lnTo>
                  <a:lnTo>
                    <a:pt x="54103" y="47499"/>
                  </a:lnTo>
                  <a:lnTo>
                    <a:pt x="55245" y="46737"/>
                  </a:lnTo>
                  <a:lnTo>
                    <a:pt x="57405" y="46737"/>
                  </a:lnTo>
                  <a:lnTo>
                    <a:pt x="63120" y="47499"/>
                  </a:lnTo>
                  <a:lnTo>
                    <a:pt x="67565" y="47499"/>
                  </a:lnTo>
                  <a:lnTo>
                    <a:pt x="72136" y="47499"/>
                  </a:lnTo>
                  <a:lnTo>
                    <a:pt x="77724" y="46737"/>
                  </a:lnTo>
                  <a:lnTo>
                    <a:pt x="81154" y="45974"/>
                  </a:lnTo>
                  <a:lnTo>
                    <a:pt x="85598" y="44450"/>
                  </a:lnTo>
                  <a:lnTo>
                    <a:pt x="87884" y="42164"/>
                  </a:lnTo>
                  <a:lnTo>
                    <a:pt x="90170" y="39879"/>
                  </a:lnTo>
                  <a:lnTo>
                    <a:pt x="93472" y="38355"/>
                  </a:lnTo>
                  <a:lnTo>
                    <a:pt x="96902" y="38355"/>
                  </a:lnTo>
                  <a:lnTo>
                    <a:pt x="103632" y="39879"/>
                  </a:lnTo>
                  <a:lnTo>
                    <a:pt x="110364" y="39879"/>
                  </a:lnTo>
                  <a:lnTo>
                    <a:pt x="117095" y="39879"/>
                  </a:lnTo>
                  <a:lnTo>
                    <a:pt x="123953" y="38355"/>
                  </a:lnTo>
                  <a:lnTo>
                    <a:pt x="129541" y="36957"/>
                  </a:lnTo>
                  <a:lnTo>
                    <a:pt x="135129" y="35433"/>
                  </a:lnTo>
                  <a:lnTo>
                    <a:pt x="139700" y="32386"/>
                  </a:lnTo>
                  <a:lnTo>
                    <a:pt x="141986" y="30099"/>
                  </a:lnTo>
                  <a:lnTo>
                    <a:pt x="144145" y="27051"/>
                  </a:lnTo>
                  <a:lnTo>
                    <a:pt x="145289" y="23368"/>
                  </a:lnTo>
                  <a:lnTo>
                    <a:pt x="144145" y="20320"/>
                  </a:lnTo>
                  <a:lnTo>
                    <a:pt x="141986" y="16511"/>
                  </a:lnTo>
                  <a:lnTo>
                    <a:pt x="139700" y="14351"/>
                  </a:lnTo>
                  <a:lnTo>
                    <a:pt x="135129" y="11304"/>
                  </a:lnTo>
                  <a:lnTo>
                    <a:pt x="129541" y="9780"/>
                  </a:lnTo>
                  <a:lnTo>
                    <a:pt x="123953" y="8255"/>
                  </a:lnTo>
                  <a:lnTo>
                    <a:pt x="117095" y="6731"/>
                  </a:lnTo>
                  <a:lnTo>
                    <a:pt x="110364" y="6731"/>
                  </a:lnTo>
                  <a:lnTo>
                    <a:pt x="104775" y="6731"/>
                  </a:lnTo>
                  <a:lnTo>
                    <a:pt x="98045" y="7493"/>
                  </a:lnTo>
                  <a:lnTo>
                    <a:pt x="92330" y="9018"/>
                  </a:lnTo>
                  <a:lnTo>
                    <a:pt x="87884" y="11304"/>
                  </a:lnTo>
                  <a:lnTo>
                    <a:pt x="83312" y="12828"/>
                  </a:lnTo>
                  <a:lnTo>
                    <a:pt x="80010" y="15875"/>
                  </a:lnTo>
                  <a:lnTo>
                    <a:pt x="77724" y="18797"/>
                  </a:lnTo>
                  <a:lnTo>
                    <a:pt x="76582" y="21844"/>
                  </a:lnTo>
                  <a:lnTo>
                    <a:pt x="75439" y="22606"/>
                  </a:lnTo>
                  <a:lnTo>
                    <a:pt x="74295" y="23368"/>
                  </a:lnTo>
                  <a:lnTo>
                    <a:pt x="73280" y="24130"/>
                  </a:lnTo>
                  <a:lnTo>
                    <a:pt x="70994" y="24130"/>
                  </a:lnTo>
                  <a:lnTo>
                    <a:pt x="66421" y="24130"/>
                  </a:lnTo>
                  <a:lnTo>
                    <a:pt x="58547" y="24893"/>
                  </a:lnTo>
                  <a:lnTo>
                    <a:pt x="50673" y="27051"/>
                  </a:lnTo>
                  <a:lnTo>
                    <a:pt x="45085" y="30099"/>
                  </a:lnTo>
                  <a:lnTo>
                    <a:pt x="42799" y="32386"/>
                  </a:lnTo>
                  <a:lnTo>
                    <a:pt x="41657" y="34672"/>
                  </a:lnTo>
                  <a:lnTo>
                    <a:pt x="41657" y="35433"/>
                  </a:lnTo>
                  <a:lnTo>
                    <a:pt x="40514" y="36195"/>
                  </a:lnTo>
                  <a:lnTo>
                    <a:pt x="38355" y="36957"/>
                  </a:lnTo>
                  <a:lnTo>
                    <a:pt x="36069" y="36957"/>
                  </a:lnTo>
                  <a:lnTo>
                    <a:pt x="31496" y="36195"/>
                  </a:lnTo>
                  <a:close/>
                  <a:moveTo>
                    <a:pt x="-5745098" y="524560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07" name="Freeform 1507"/>
            <p:cNvSpPr/>
            <p:nvPr/>
          </p:nvSpPr>
          <p:spPr>
            <a:xfrm>
              <a:off x="10138592" y="1881424"/>
              <a:ext cx="612329" cy="24370"/>
            </a:xfrm>
            <a:custGeom>
              <a:avLst/>
              <a:gdLst/>
              <a:ahLst/>
              <a:cxnLst/>
              <a:rect l="0" t="0" r="0" b="0"/>
              <a:pathLst>
                <a:path w="612648" h="24383">
                  <a:moveTo>
                    <a:pt x="0" y="24383"/>
                  </a:moveTo>
                  <a:lnTo>
                    <a:pt x="612648" y="24383"/>
                  </a:lnTo>
                  <a:lnTo>
                    <a:pt x="612648" y="0"/>
                  </a:lnTo>
                  <a:lnTo>
                    <a:pt x="0" y="0"/>
                  </a:lnTo>
                  <a:lnTo>
                    <a:pt x="0" y="24383"/>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08" name="Freeform 1508"/>
            <p:cNvSpPr/>
            <p:nvPr/>
          </p:nvSpPr>
          <p:spPr>
            <a:xfrm>
              <a:off x="10546811" y="1765659"/>
              <a:ext cx="188878" cy="106624"/>
            </a:xfrm>
            <a:custGeom>
              <a:avLst/>
              <a:gdLst/>
              <a:ahLst/>
              <a:cxnLst/>
              <a:rect l="0" t="0" r="0" b="0"/>
              <a:pathLst>
                <a:path w="188976" h="106680">
                  <a:moveTo>
                    <a:pt x="0" y="0"/>
                  </a:moveTo>
                  <a:lnTo>
                    <a:pt x="0" y="106680"/>
                  </a:lnTo>
                  <a:lnTo>
                    <a:pt x="188976" y="106680"/>
                  </a:lnTo>
                  <a:lnTo>
                    <a:pt x="188976" y="0"/>
                  </a:lnTo>
                  <a:lnTo>
                    <a:pt x="0" y="0"/>
                  </a:lnTo>
                  <a:close/>
                  <a:moveTo>
                    <a:pt x="-5455920" y="5093208"/>
                  </a:moveTo>
                  <a:moveTo>
                    <a:pt x="95123" y="91949"/>
                  </a:moveTo>
                  <a:lnTo>
                    <a:pt x="20954" y="91949"/>
                  </a:lnTo>
                  <a:lnTo>
                    <a:pt x="20954" y="74549"/>
                  </a:lnTo>
                  <a:lnTo>
                    <a:pt x="95123" y="74549"/>
                  </a:lnTo>
                  <a:lnTo>
                    <a:pt x="95123" y="91949"/>
                  </a:lnTo>
                  <a:close/>
                  <a:moveTo>
                    <a:pt x="-5547869" y="5093208"/>
                  </a:moveTo>
                  <a:moveTo>
                    <a:pt x="95123" y="62104"/>
                  </a:moveTo>
                  <a:lnTo>
                    <a:pt x="20954" y="62104"/>
                  </a:lnTo>
                  <a:lnTo>
                    <a:pt x="20954" y="44578"/>
                  </a:lnTo>
                  <a:lnTo>
                    <a:pt x="95123" y="44578"/>
                  </a:lnTo>
                  <a:lnTo>
                    <a:pt x="95123" y="62104"/>
                  </a:lnTo>
                  <a:close/>
                  <a:moveTo>
                    <a:pt x="-5518024" y="5093208"/>
                  </a:moveTo>
                  <a:moveTo>
                    <a:pt x="95123" y="31243"/>
                  </a:moveTo>
                  <a:lnTo>
                    <a:pt x="20954" y="31243"/>
                  </a:lnTo>
                  <a:lnTo>
                    <a:pt x="20954" y="13336"/>
                  </a:lnTo>
                  <a:lnTo>
                    <a:pt x="95123" y="13336"/>
                  </a:lnTo>
                  <a:lnTo>
                    <a:pt x="95123" y="31243"/>
                  </a:lnTo>
                  <a:close/>
                  <a:moveTo>
                    <a:pt x="-5487163" y="5093208"/>
                  </a:moveTo>
                  <a:moveTo>
                    <a:pt x="165480" y="91949"/>
                  </a:moveTo>
                  <a:lnTo>
                    <a:pt x="116078" y="91949"/>
                  </a:lnTo>
                  <a:lnTo>
                    <a:pt x="116078" y="74549"/>
                  </a:lnTo>
                  <a:lnTo>
                    <a:pt x="165480" y="74549"/>
                  </a:lnTo>
                  <a:lnTo>
                    <a:pt x="165480" y="91949"/>
                  </a:lnTo>
                  <a:close/>
                  <a:moveTo>
                    <a:pt x="-5547869" y="5093208"/>
                  </a:moveTo>
                  <a:moveTo>
                    <a:pt x="165480" y="62104"/>
                  </a:moveTo>
                  <a:lnTo>
                    <a:pt x="116078" y="62104"/>
                  </a:lnTo>
                  <a:lnTo>
                    <a:pt x="116078" y="44578"/>
                  </a:lnTo>
                  <a:lnTo>
                    <a:pt x="165480" y="44578"/>
                  </a:lnTo>
                  <a:lnTo>
                    <a:pt x="165480" y="62104"/>
                  </a:lnTo>
                  <a:close/>
                  <a:moveTo>
                    <a:pt x="-5518024" y="5093208"/>
                  </a:moveTo>
                  <a:moveTo>
                    <a:pt x="165480" y="31243"/>
                  </a:moveTo>
                  <a:lnTo>
                    <a:pt x="116078" y="31243"/>
                  </a:lnTo>
                  <a:lnTo>
                    <a:pt x="116078" y="13336"/>
                  </a:lnTo>
                  <a:lnTo>
                    <a:pt x="165480" y="13336"/>
                  </a:lnTo>
                  <a:lnTo>
                    <a:pt x="165480" y="31243"/>
                  </a:lnTo>
                  <a:close/>
                  <a:moveTo>
                    <a:pt x="-5487163" y="509320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09" name="Freeform 1509"/>
            <p:cNvSpPr/>
            <p:nvPr/>
          </p:nvSpPr>
          <p:spPr>
            <a:xfrm>
              <a:off x="10498069" y="1826587"/>
              <a:ext cx="48743" cy="45696"/>
            </a:xfrm>
            <a:custGeom>
              <a:avLst/>
              <a:gdLst/>
              <a:ahLst/>
              <a:cxnLst/>
              <a:rect l="0" t="0" r="0" b="0"/>
              <a:pathLst>
                <a:path w="48768" h="45720">
                  <a:moveTo>
                    <a:pt x="0" y="45720"/>
                  </a:moveTo>
                  <a:lnTo>
                    <a:pt x="48768" y="45720"/>
                  </a:lnTo>
                  <a:lnTo>
                    <a:pt x="48768" y="0"/>
                  </a:lnTo>
                  <a:lnTo>
                    <a:pt x="0" y="0"/>
                  </a:lnTo>
                  <a:lnTo>
                    <a:pt x="0" y="45720"/>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10" name="Freeform 1510"/>
            <p:cNvSpPr/>
            <p:nvPr/>
          </p:nvSpPr>
          <p:spPr>
            <a:xfrm>
              <a:off x="10373166" y="1659035"/>
              <a:ext cx="134042" cy="213249"/>
            </a:xfrm>
            <a:custGeom>
              <a:avLst/>
              <a:gdLst/>
              <a:ahLst/>
              <a:cxnLst/>
              <a:rect l="0" t="0" r="0" b="0"/>
              <a:pathLst>
                <a:path w="134112" h="213360">
                  <a:moveTo>
                    <a:pt x="102615" y="48896"/>
                  </a:moveTo>
                  <a:lnTo>
                    <a:pt x="102615" y="0"/>
                  </a:lnTo>
                  <a:lnTo>
                    <a:pt x="31496" y="0"/>
                  </a:lnTo>
                  <a:lnTo>
                    <a:pt x="31496" y="48896"/>
                  </a:lnTo>
                  <a:lnTo>
                    <a:pt x="25018" y="50038"/>
                  </a:lnTo>
                  <a:lnTo>
                    <a:pt x="18668" y="51817"/>
                  </a:lnTo>
                  <a:lnTo>
                    <a:pt x="14097" y="53594"/>
                  </a:lnTo>
                  <a:lnTo>
                    <a:pt x="9016" y="55754"/>
                  </a:lnTo>
                  <a:lnTo>
                    <a:pt x="5079" y="57531"/>
                  </a:lnTo>
                  <a:lnTo>
                    <a:pt x="2539" y="60072"/>
                  </a:lnTo>
                  <a:lnTo>
                    <a:pt x="635" y="62611"/>
                  </a:lnTo>
                  <a:lnTo>
                    <a:pt x="0" y="64771"/>
                  </a:lnTo>
                  <a:lnTo>
                    <a:pt x="0" y="213360"/>
                  </a:lnTo>
                  <a:lnTo>
                    <a:pt x="134112" y="213360"/>
                  </a:lnTo>
                  <a:lnTo>
                    <a:pt x="134112" y="64771"/>
                  </a:lnTo>
                  <a:lnTo>
                    <a:pt x="133476" y="62611"/>
                  </a:lnTo>
                  <a:lnTo>
                    <a:pt x="132206" y="60072"/>
                  </a:lnTo>
                  <a:lnTo>
                    <a:pt x="129666" y="57531"/>
                  </a:lnTo>
                  <a:lnTo>
                    <a:pt x="125729" y="55754"/>
                  </a:lnTo>
                  <a:lnTo>
                    <a:pt x="121285" y="53594"/>
                  </a:lnTo>
                  <a:lnTo>
                    <a:pt x="115442" y="51817"/>
                  </a:lnTo>
                  <a:lnTo>
                    <a:pt x="109727" y="50038"/>
                  </a:lnTo>
                  <a:lnTo>
                    <a:pt x="102615" y="48896"/>
                  </a:lnTo>
                  <a:close/>
                  <a:moveTo>
                    <a:pt x="-5224400" y="5199888"/>
                  </a:moveTo>
                  <a:moveTo>
                    <a:pt x="115442" y="121285"/>
                  </a:moveTo>
                  <a:lnTo>
                    <a:pt x="115442" y="121285"/>
                  </a:lnTo>
                  <a:lnTo>
                    <a:pt x="111633" y="124842"/>
                  </a:lnTo>
                  <a:lnTo>
                    <a:pt x="107188" y="128143"/>
                  </a:lnTo>
                  <a:lnTo>
                    <a:pt x="104013" y="129922"/>
                  </a:lnTo>
                  <a:lnTo>
                    <a:pt x="101346" y="130937"/>
                  </a:lnTo>
                  <a:lnTo>
                    <a:pt x="97536" y="131699"/>
                  </a:lnTo>
                  <a:lnTo>
                    <a:pt x="94361" y="132080"/>
                  </a:lnTo>
                  <a:lnTo>
                    <a:pt x="88518" y="132461"/>
                  </a:lnTo>
                  <a:lnTo>
                    <a:pt x="82803" y="132080"/>
                  </a:lnTo>
                  <a:lnTo>
                    <a:pt x="79628" y="131318"/>
                  </a:lnTo>
                  <a:lnTo>
                    <a:pt x="76962" y="130556"/>
                  </a:lnTo>
                  <a:lnTo>
                    <a:pt x="71247" y="128143"/>
                  </a:lnTo>
                  <a:lnTo>
                    <a:pt x="60325" y="124842"/>
                  </a:lnTo>
                  <a:lnTo>
                    <a:pt x="55244" y="123444"/>
                  </a:lnTo>
                  <a:lnTo>
                    <a:pt x="49402" y="121667"/>
                  </a:lnTo>
                  <a:lnTo>
                    <a:pt x="46227" y="121285"/>
                  </a:lnTo>
                  <a:lnTo>
                    <a:pt x="41655" y="121285"/>
                  </a:lnTo>
                  <a:lnTo>
                    <a:pt x="37211" y="121667"/>
                  </a:lnTo>
                  <a:lnTo>
                    <a:pt x="34036" y="122302"/>
                  </a:lnTo>
                  <a:lnTo>
                    <a:pt x="29464" y="123825"/>
                  </a:lnTo>
                  <a:lnTo>
                    <a:pt x="26289" y="124842"/>
                  </a:lnTo>
                  <a:lnTo>
                    <a:pt x="18668" y="127762"/>
                  </a:lnTo>
                  <a:lnTo>
                    <a:pt x="18668" y="64771"/>
                  </a:lnTo>
                  <a:lnTo>
                    <a:pt x="19303" y="64009"/>
                  </a:lnTo>
                  <a:lnTo>
                    <a:pt x="23114" y="62611"/>
                  </a:lnTo>
                  <a:lnTo>
                    <a:pt x="28828" y="60453"/>
                  </a:lnTo>
                  <a:lnTo>
                    <a:pt x="37211" y="59055"/>
                  </a:lnTo>
                  <a:lnTo>
                    <a:pt x="50673" y="56516"/>
                  </a:lnTo>
                  <a:lnTo>
                    <a:pt x="50673" y="10415"/>
                  </a:lnTo>
                  <a:lnTo>
                    <a:pt x="84074" y="10415"/>
                  </a:lnTo>
                  <a:lnTo>
                    <a:pt x="84074" y="56516"/>
                  </a:lnTo>
                  <a:lnTo>
                    <a:pt x="96901" y="59055"/>
                  </a:lnTo>
                  <a:lnTo>
                    <a:pt x="105917" y="60453"/>
                  </a:lnTo>
                  <a:lnTo>
                    <a:pt x="111633" y="62611"/>
                  </a:lnTo>
                  <a:lnTo>
                    <a:pt x="114808" y="64009"/>
                  </a:lnTo>
                  <a:lnTo>
                    <a:pt x="115442" y="64771"/>
                  </a:lnTo>
                  <a:lnTo>
                    <a:pt x="115442" y="121285"/>
                  </a:lnTo>
                  <a:close/>
                  <a:moveTo>
                    <a:pt x="-5296789" y="519988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11" name="Freeform 1511"/>
            <p:cNvSpPr/>
            <p:nvPr/>
          </p:nvSpPr>
          <p:spPr>
            <a:xfrm>
              <a:off x="10342702" y="1689500"/>
              <a:ext cx="30465" cy="118811"/>
            </a:xfrm>
            <a:custGeom>
              <a:avLst/>
              <a:gdLst/>
              <a:ahLst/>
              <a:cxnLst/>
              <a:rect l="0" t="0" r="0" b="0"/>
              <a:pathLst>
                <a:path w="30481" h="118873">
                  <a:moveTo>
                    <a:pt x="30481" y="110999"/>
                  </a:moveTo>
                  <a:lnTo>
                    <a:pt x="30481" y="118873"/>
                  </a:lnTo>
                  <a:lnTo>
                    <a:pt x="25400" y="118873"/>
                  </a:lnTo>
                  <a:lnTo>
                    <a:pt x="21336" y="118111"/>
                  </a:lnTo>
                  <a:lnTo>
                    <a:pt x="18034" y="117094"/>
                  </a:lnTo>
                  <a:lnTo>
                    <a:pt x="15368" y="115698"/>
                  </a:lnTo>
                  <a:lnTo>
                    <a:pt x="13590" y="114300"/>
                  </a:lnTo>
                  <a:lnTo>
                    <a:pt x="12446" y="112523"/>
                  </a:lnTo>
                  <a:lnTo>
                    <a:pt x="11811" y="110744"/>
                  </a:lnTo>
                  <a:lnTo>
                    <a:pt x="10287" y="107188"/>
                  </a:lnTo>
                  <a:lnTo>
                    <a:pt x="10287" y="103887"/>
                  </a:lnTo>
                  <a:lnTo>
                    <a:pt x="10287" y="102489"/>
                  </a:lnTo>
                  <a:lnTo>
                    <a:pt x="10287" y="12828"/>
                  </a:lnTo>
                  <a:lnTo>
                    <a:pt x="9907" y="10287"/>
                  </a:lnTo>
                  <a:lnTo>
                    <a:pt x="9145" y="8891"/>
                  </a:lnTo>
                  <a:lnTo>
                    <a:pt x="7747" y="8129"/>
                  </a:lnTo>
                  <a:lnTo>
                    <a:pt x="5843" y="7493"/>
                  </a:lnTo>
                  <a:lnTo>
                    <a:pt x="2921" y="7112"/>
                  </a:lnTo>
                  <a:lnTo>
                    <a:pt x="2541" y="7112"/>
                  </a:lnTo>
                  <a:lnTo>
                    <a:pt x="0" y="7112"/>
                  </a:lnTo>
                  <a:lnTo>
                    <a:pt x="0" y="0"/>
                  </a:lnTo>
                  <a:lnTo>
                    <a:pt x="2541" y="0"/>
                  </a:lnTo>
                  <a:lnTo>
                    <a:pt x="4445" y="0"/>
                  </a:lnTo>
                  <a:lnTo>
                    <a:pt x="7367" y="381"/>
                  </a:lnTo>
                  <a:lnTo>
                    <a:pt x="11049" y="1398"/>
                  </a:lnTo>
                  <a:lnTo>
                    <a:pt x="12446" y="2541"/>
                  </a:lnTo>
                  <a:lnTo>
                    <a:pt x="14352" y="3556"/>
                  </a:lnTo>
                  <a:lnTo>
                    <a:pt x="15748" y="5716"/>
                  </a:lnTo>
                  <a:lnTo>
                    <a:pt x="16892" y="7493"/>
                  </a:lnTo>
                  <a:lnTo>
                    <a:pt x="18034" y="9906"/>
                  </a:lnTo>
                  <a:lnTo>
                    <a:pt x="18034" y="12828"/>
                  </a:lnTo>
                  <a:lnTo>
                    <a:pt x="18034" y="102870"/>
                  </a:lnTo>
                  <a:lnTo>
                    <a:pt x="18034" y="106045"/>
                  </a:lnTo>
                  <a:lnTo>
                    <a:pt x="18670" y="107443"/>
                  </a:lnTo>
                  <a:lnTo>
                    <a:pt x="19432" y="109601"/>
                  </a:lnTo>
                  <a:lnTo>
                    <a:pt x="20574" y="110363"/>
                  </a:lnTo>
                  <a:lnTo>
                    <a:pt x="21971" y="110744"/>
                  </a:lnTo>
                  <a:lnTo>
                    <a:pt x="23495" y="110999"/>
                  </a:lnTo>
                  <a:lnTo>
                    <a:pt x="25400" y="110999"/>
                  </a:lnTo>
                  <a:lnTo>
                    <a:pt x="30481" y="110999"/>
                  </a:lnTo>
                  <a:close/>
                  <a:moveTo>
                    <a:pt x="-5286502" y="516940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12" name="Freeform 1512"/>
            <p:cNvSpPr/>
            <p:nvPr/>
          </p:nvSpPr>
          <p:spPr>
            <a:xfrm>
              <a:off x="10342702" y="1820495"/>
              <a:ext cx="30465" cy="45697"/>
            </a:xfrm>
            <a:custGeom>
              <a:avLst/>
              <a:gdLst/>
              <a:ahLst/>
              <a:cxnLst/>
              <a:rect l="0" t="0" r="0" b="0"/>
              <a:pathLst>
                <a:path w="30481" h="45721">
                  <a:moveTo>
                    <a:pt x="30481" y="0"/>
                  </a:moveTo>
                  <a:lnTo>
                    <a:pt x="30481" y="7748"/>
                  </a:lnTo>
                  <a:lnTo>
                    <a:pt x="22353" y="7748"/>
                  </a:lnTo>
                  <a:lnTo>
                    <a:pt x="21336" y="7748"/>
                  </a:lnTo>
                  <a:lnTo>
                    <a:pt x="19812" y="8129"/>
                  </a:lnTo>
                  <a:lnTo>
                    <a:pt x="18670" y="9525"/>
                  </a:lnTo>
                  <a:lnTo>
                    <a:pt x="17272" y="11430"/>
                  </a:lnTo>
                  <a:lnTo>
                    <a:pt x="16510" y="14733"/>
                  </a:lnTo>
                  <a:lnTo>
                    <a:pt x="16130" y="16637"/>
                  </a:lnTo>
                  <a:lnTo>
                    <a:pt x="16130" y="29465"/>
                  </a:lnTo>
                  <a:lnTo>
                    <a:pt x="15748" y="33910"/>
                  </a:lnTo>
                  <a:lnTo>
                    <a:pt x="15114" y="37211"/>
                  </a:lnTo>
                  <a:lnTo>
                    <a:pt x="13590" y="40514"/>
                  </a:lnTo>
                  <a:lnTo>
                    <a:pt x="11811" y="42799"/>
                  </a:lnTo>
                  <a:lnTo>
                    <a:pt x="9525" y="44578"/>
                  </a:lnTo>
                  <a:lnTo>
                    <a:pt x="7367" y="45340"/>
                  </a:lnTo>
                  <a:lnTo>
                    <a:pt x="5461" y="45721"/>
                  </a:lnTo>
                  <a:lnTo>
                    <a:pt x="4445" y="45721"/>
                  </a:lnTo>
                  <a:lnTo>
                    <a:pt x="0" y="45721"/>
                  </a:lnTo>
                  <a:lnTo>
                    <a:pt x="0" y="38354"/>
                  </a:lnTo>
                  <a:lnTo>
                    <a:pt x="4445" y="38354"/>
                  </a:lnTo>
                  <a:lnTo>
                    <a:pt x="5081" y="37973"/>
                  </a:lnTo>
                  <a:lnTo>
                    <a:pt x="6605" y="37211"/>
                  </a:lnTo>
                  <a:lnTo>
                    <a:pt x="7747" y="35815"/>
                  </a:lnTo>
                  <a:lnTo>
                    <a:pt x="8129" y="34291"/>
                  </a:lnTo>
                  <a:lnTo>
                    <a:pt x="8382" y="32131"/>
                  </a:lnTo>
                  <a:lnTo>
                    <a:pt x="8764" y="29465"/>
                  </a:lnTo>
                  <a:lnTo>
                    <a:pt x="8764" y="16637"/>
                  </a:lnTo>
                  <a:lnTo>
                    <a:pt x="8764" y="13590"/>
                  </a:lnTo>
                  <a:lnTo>
                    <a:pt x="9145" y="11430"/>
                  </a:lnTo>
                  <a:lnTo>
                    <a:pt x="10287" y="8891"/>
                  </a:lnTo>
                  <a:lnTo>
                    <a:pt x="11431" y="6604"/>
                  </a:lnTo>
                  <a:lnTo>
                    <a:pt x="12446" y="5208"/>
                  </a:lnTo>
                  <a:lnTo>
                    <a:pt x="13590" y="3684"/>
                  </a:lnTo>
                  <a:lnTo>
                    <a:pt x="15114" y="2541"/>
                  </a:lnTo>
                  <a:lnTo>
                    <a:pt x="16510" y="1143"/>
                  </a:lnTo>
                  <a:lnTo>
                    <a:pt x="18670" y="762"/>
                  </a:lnTo>
                  <a:lnTo>
                    <a:pt x="20194" y="381"/>
                  </a:lnTo>
                  <a:lnTo>
                    <a:pt x="22353" y="0"/>
                  </a:lnTo>
                  <a:lnTo>
                    <a:pt x="30481" y="0"/>
                  </a:lnTo>
                  <a:close/>
                  <a:moveTo>
                    <a:pt x="-5306567" y="5038344"/>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13" name="Freeform 1513"/>
            <p:cNvSpPr/>
            <p:nvPr/>
          </p:nvSpPr>
          <p:spPr>
            <a:xfrm>
              <a:off x="10260449" y="1665129"/>
              <a:ext cx="82252" cy="207155"/>
            </a:xfrm>
            <a:custGeom>
              <a:avLst/>
              <a:gdLst/>
              <a:ahLst/>
              <a:cxnLst/>
              <a:rect l="0" t="0" r="0" b="0"/>
              <a:pathLst>
                <a:path w="82295" h="207263">
                  <a:moveTo>
                    <a:pt x="40893" y="0"/>
                  </a:moveTo>
                  <a:lnTo>
                    <a:pt x="40893" y="0"/>
                  </a:lnTo>
                  <a:lnTo>
                    <a:pt x="32639" y="381"/>
                  </a:lnTo>
                  <a:lnTo>
                    <a:pt x="25145" y="1396"/>
                  </a:lnTo>
                  <a:lnTo>
                    <a:pt x="18161" y="2794"/>
                  </a:lnTo>
                  <a:lnTo>
                    <a:pt x="12191" y="5333"/>
                  </a:lnTo>
                  <a:lnTo>
                    <a:pt x="7112" y="8255"/>
                  </a:lnTo>
                  <a:lnTo>
                    <a:pt x="5079" y="9270"/>
                  </a:lnTo>
                  <a:lnTo>
                    <a:pt x="3175" y="11430"/>
                  </a:lnTo>
                  <a:lnTo>
                    <a:pt x="1904" y="12826"/>
                  </a:lnTo>
                  <a:lnTo>
                    <a:pt x="380" y="14605"/>
                  </a:lnTo>
                  <a:lnTo>
                    <a:pt x="0" y="16763"/>
                  </a:lnTo>
                  <a:lnTo>
                    <a:pt x="0" y="18541"/>
                  </a:lnTo>
                  <a:lnTo>
                    <a:pt x="0" y="207263"/>
                  </a:lnTo>
                  <a:lnTo>
                    <a:pt x="82295" y="207263"/>
                  </a:lnTo>
                  <a:lnTo>
                    <a:pt x="82295" y="18541"/>
                  </a:lnTo>
                  <a:lnTo>
                    <a:pt x="81915" y="16763"/>
                  </a:lnTo>
                  <a:lnTo>
                    <a:pt x="81534" y="14605"/>
                  </a:lnTo>
                  <a:lnTo>
                    <a:pt x="80772" y="12826"/>
                  </a:lnTo>
                  <a:lnTo>
                    <a:pt x="79120" y="11430"/>
                  </a:lnTo>
                  <a:lnTo>
                    <a:pt x="77597" y="9270"/>
                  </a:lnTo>
                  <a:lnTo>
                    <a:pt x="75565" y="8255"/>
                  </a:lnTo>
                  <a:lnTo>
                    <a:pt x="70103" y="5333"/>
                  </a:lnTo>
                  <a:lnTo>
                    <a:pt x="64515" y="2794"/>
                  </a:lnTo>
                  <a:lnTo>
                    <a:pt x="57530" y="1396"/>
                  </a:lnTo>
                  <a:lnTo>
                    <a:pt x="49656" y="381"/>
                  </a:lnTo>
                  <a:lnTo>
                    <a:pt x="40893" y="0"/>
                  </a:lnTo>
                  <a:close/>
                  <a:moveTo>
                    <a:pt x="-5068825" y="5193791"/>
                  </a:moveTo>
                  <a:moveTo>
                    <a:pt x="70865" y="69214"/>
                  </a:moveTo>
                  <a:lnTo>
                    <a:pt x="70865" y="69214"/>
                  </a:lnTo>
                  <a:lnTo>
                    <a:pt x="66928" y="70993"/>
                  </a:lnTo>
                  <a:lnTo>
                    <a:pt x="62991" y="72008"/>
                  </a:lnTo>
                  <a:lnTo>
                    <a:pt x="59054" y="72008"/>
                  </a:lnTo>
                  <a:lnTo>
                    <a:pt x="55117" y="71755"/>
                  </a:lnTo>
                  <a:lnTo>
                    <a:pt x="51562" y="70993"/>
                  </a:lnTo>
                  <a:lnTo>
                    <a:pt x="47625" y="69595"/>
                  </a:lnTo>
                  <a:lnTo>
                    <a:pt x="38989" y="66039"/>
                  </a:lnTo>
                  <a:lnTo>
                    <a:pt x="35432" y="64515"/>
                  </a:lnTo>
                  <a:lnTo>
                    <a:pt x="31495" y="63881"/>
                  </a:lnTo>
                  <a:lnTo>
                    <a:pt x="27559" y="63881"/>
                  </a:lnTo>
                  <a:lnTo>
                    <a:pt x="24002" y="63881"/>
                  </a:lnTo>
                  <a:lnTo>
                    <a:pt x="20447" y="64515"/>
                  </a:lnTo>
                  <a:lnTo>
                    <a:pt x="17272" y="66039"/>
                  </a:lnTo>
                  <a:lnTo>
                    <a:pt x="14224" y="67818"/>
                  </a:lnTo>
                  <a:lnTo>
                    <a:pt x="11049" y="69976"/>
                  </a:lnTo>
                  <a:lnTo>
                    <a:pt x="11049" y="18541"/>
                  </a:lnTo>
                  <a:lnTo>
                    <a:pt x="11429" y="17780"/>
                  </a:lnTo>
                  <a:lnTo>
                    <a:pt x="12953" y="17145"/>
                  </a:lnTo>
                  <a:lnTo>
                    <a:pt x="14986" y="15366"/>
                  </a:lnTo>
                  <a:lnTo>
                    <a:pt x="18541" y="13970"/>
                  </a:lnTo>
                  <a:lnTo>
                    <a:pt x="23622" y="12191"/>
                  </a:lnTo>
                  <a:lnTo>
                    <a:pt x="29082" y="11049"/>
                  </a:lnTo>
                  <a:lnTo>
                    <a:pt x="35052" y="10287"/>
                  </a:lnTo>
                  <a:lnTo>
                    <a:pt x="40893" y="10287"/>
                  </a:lnTo>
                  <a:lnTo>
                    <a:pt x="47243" y="10287"/>
                  </a:lnTo>
                  <a:lnTo>
                    <a:pt x="53593" y="11049"/>
                  </a:lnTo>
                  <a:lnTo>
                    <a:pt x="58674" y="12191"/>
                  </a:lnTo>
                  <a:lnTo>
                    <a:pt x="63373" y="13970"/>
                  </a:lnTo>
                  <a:lnTo>
                    <a:pt x="66928" y="15366"/>
                  </a:lnTo>
                  <a:lnTo>
                    <a:pt x="69341" y="17145"/>
                  </a:lnTo>
                  <a:lnTo>
                    <a:pt x="70485" y="17780"/>
                  </a:lnTo>
                  <a:lnTo>
                    <a:pt x="70865" y="18541"/>
                  </a:lnTo>
                  <a:lnTo>
                    <a:pt x="70865" y="69214"/>
                  </a:lnTo>
                  <a:close/>
                  <a:moveTo>
                    <a:pt x="-5138039" y="5193791"/>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14" name="Freeform 1514"/>
            <p:cNvSpPr/>
            <p:nvPr/>
          </p:nvSpPr>
          <p:spPr>
            <a:xfrm>
              <a:off x="10546812" y="1726057"/>
              <a:ext cx="60928" cy="33511"/>
            </a:xfrm>
            <a:custGeom>
              <a:avLst/>
              <a:gdLst/>
              <a:ahLst/>
              <a:cxnLst/>
              <a:rect l="0" t="0" r="0" b="0"/>
              <a:pathLst>
                <a:path w="60960" h="33528">
                  <a:moveTo>
                    <a:pt x="0" y="33528"/>
                  </a:moveTo>
                  <a:lnTo>
                    <a:pt x="60960" y="33528"/>
                  </a:lnTo>
                  <a:lnTo>
                    <a:pt x="60960" y="0"/>
                  </a:lnTo>
                  <a:lnTo>
                    <a:pt x="0" y="0"/>
                  </a:lnTo>
                  <a:lnTo>
                    <a:pt x="0" y="33528"/>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15" name="Freeform 1515"/>
            <p:cNvSpPr/>
            <p:nvPr/>
          </p:nvSpPr>
          <p:spPr>
            <a:xfrm>
              <a:off x="10558996" y="1695592"/>
              <a:ext cx="48744" cy="27418"/>
            </a:xfrm>
            <a:custGeom>
              <a:avLst/>
              <a:gdLst/>
              <a:ahLst/>
              <a:cxnLst/>
              <a:rect l="0" t="0" r="0" b="0"/>
              <a:pathLst>
                <a:path w="48769" h="27432">
                  <a:moveTo>
                    <a:pt x="48769" y="13461"/>
                  </a:moveTo>
                  <a:lnTo>
                    <a:pt x="48769" y="13461"/>
                  </a:lnTo>
                  <a:lnTo>
                    <a:pt x="48769" y="16636"/>
                  </a:lnTo>
                  <a:lnTo>
                    <a:pt x="47752" y="18922"/>
                  </a:lnTo>
                  <a:lnTo>
                    <a:pt x="46610" y="21590"/>
                  </a:lnTo>
                  <a:lnTo>
                    <a:pt x="45594" y="23367"/>
                  </a:lnTo>
                  <a:lnTo>
                    <a:pt x="44070" y="25146"/>
                  </a:lnTo>
                  <a:lnTo>
                    <a:pt x="41911" y="26542"/>
                  </a:lnTo>
                  <a:lnTo>
                    <a:pt x="40387" y="27432"/>
                  </a:lnTo>
                  <a:lnTo>
                    <a:pt x="37720" y="27432"/>
                  </a:lnTo>
                  <a:lnTo>
                    <a:pt x="10541" y="27432"/>
                  </a:lnTo>
                  <a:lnTo>
                    <a:pt x="7874" y="27432"/>
                  </a:lnTo>
                  <a:lnTo>
                    <a:pt x="6350" y="26542"/>
                  </a:lnTo>
                  <a:lnTo>
                    <a:pt x="4699" y="25146"/>
                  </a:lnTo>
                  <a:lnTo>
                    <a:pt x="2667" y="23367"/>
                  </a:lnTo>
                  <a:lnTo>
                    <a:pt x="1524" y="21590"/>
                  </a:lnTo>
                  <a:lnTo>
                    <a:pt x="509" y="18922"/>
                  </a:lnTo>
                  <a:lnTo>
                    <a:pt x="0" y="16636"/>
                  </a:lnTo>
                  <a:lnTo>
                    <a:pt x="0" y="13461"/>
                  </a:lnTo>
                  <a:lnTo>
                    <a:pt x="0" y="10795"/>
                  </a:lnTo>
                  <a:lnTo>
                    <a:pt x="509" y="8508"/>
                  </a:lnTo>
                  <a:lnTo>
                    <a:pt x="1524" y="5841"/>
                  </a:lnTo>
                  <a:lnTo>
                    <a:pt x="2667" y="4064"/>
                  </a:lnTo>
                  <a:lnTo>
                    <a:pt x="4699" y="1777"/>
                  </a:lnTo>
                  <a:lnTo>
                    <a:pt x="6350" y="889"/>
                  </a:lnTo>
                  <a:lnTo>
                    <a:pt x="7874" y="0"/>
                  </a:lnTo>
                  <a:lnTo>
                    <a:pt x="10541" y="0"/>
                  </a:lnTo>
                  <a:lnTo>
                    <a:pt x="37720" y="0"/>
                  </a:lnTo>
                  <a:lnTo>
                    <a:pt x="40387" y="0"/>
                  </a:lnTo>
                  <a:lnTo>
                    <a:pt x="41911" y="889"/>
                  </a:lnTo>
                  <a:lnTo>
                    <a:pt x="44070" y="1777"/>
                  </a:lnTo>
                  <a:lnTo>
                    <a:pt x="45594" y="4064"/>
                  </a:lnTo>
                  <a:lnTo>
                    <a:pt x="46610" y="5841"/>
                  </a:lnTo>
                  <a:lnTo>
                    <a:pt x="47752" y="8508"/>
                  </a:lnTo>
                  <a:lnTo>
                    <a:pt x="48769" y="10795"/>
                  </a:lnTo>
                  <a:lnTo>
                    <a:pt x="48769" y="13461"/>
                  </a:lnTo>
                  <a:close/>
                  <a:moveTo>
                    <a:pt x="-5411469" y="5163311"/>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16" name="Freeform 1516"/>
            <p:cNvSpPr/>
            <p:nvPr/>
          </p:nvSpPr>
          <p:spPr>
            <a:xfrm>
              <a:off x="10610785" y="1726057"/>
              <a:ext cx="60928" cy="33511"/>
            </a:xfrm>
            <a:custGeom>
              <a:avLst/>
              <a:gdLst/>
              <a:ahLst/>
              <a:cxnLst/>
              <a:rect l="0" t="0" r="0" b="0"/>
              <a:pathLst>
                <a:path w="60960" h="33528">
                  <a:moveTo>
                    <a:pt x="0" y="33528"/>
                  </a:moveTo>
                  <a:lnTo>
                    <a:pt x="60960" y="33528"/>
                  </a:lnTo>
                  <a:lnTo>
                    <a:pt x="60960" y="0"/>
                  </a:lnTo>
                  <a:lnTo>
                    <a:pt x="0" y="0"/>
                  </a:lnTo>
                  <a:lnTo>
                    <a:pt x="0" y="33528"/>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17" name="Freeform 1517"/>
            <p:cNvSpPr/>
            <p:nvPr/>
          </p:nvSpPr>
          <p:spPr>
            <a:xfrm>
              <a:off x="10619926" y="1695592"/>
              <a:ext cx="51788" cy="27418"/>
            </a:xfrm>
            <a:custGeom>
              <a:avLst/>
              <a:gdLst/>
              <a:ahLst/>
              <a:cxnLst/>
              <a:rect l="0" t="0" r="0" b="0"/>
              <a:pathLst>
                <a:path w="51815" h="27432">
                  <a:moveTo>
                    <a:pt x="51815" y="13461"/>
                  </a:moveTo>
                  <a:lnTo>
                    <a:pt x="51815" y="13461"/>
                  </a:lnTo>
                  <a:lnTo>
                    <a:pt x="51815" y="16636"/>
                  </a:lnTo>
                  <a:lnTo>
                    <a:pt x="50673" y="18922"/>
                  </a:lnTo>
                  <a:lnTo>
                    <a:pt x="49529" y="21590"/>
                  </a:lnTo>
                  <a:lnTo>
                    <a:pt x="48513" y="23367"/>
                  </a:lnTo>
                  <a:lnTo>
                    <a:pt x="46863" y="25146"/>
                  </a:lnTo>
                  <a:lnTo>
                    <a:pt x="44576" y="26542"/>
                  </a:lnTo>
                  <a:lnTo>
                    <a:pt x="42926" y="27432"/>
                  </a:lnTo>
                  <a:lnTo>
                    <a:pt x="40131" y="27432"/>
                  </a:lnTo>
                  <a:lnTo>
                    <a:pt x="11176" y="27432"/>
                  </a:lnTo>
                  <a:lnTo>
                    <a:pt x="8381" y="27432"/>
                  </a:lnTo>
                  <a:lnTo>
                    <a:pt x="6730" y="26542"/>
                  </a:lnTo>
                  <a:lnTo>
                    <a:pt x="4952" y="25146"/>
                  </a:lnTo>
                  <a:lnTo>
                    <a:pt x="2793" y="23367"/>
                  </a:lnTo>
                  <a:lnTo>
                    <a:pt x="1651" y="21590"/>
                  </a:lnTo>
                  <a:lnTo>
                    <a:pt x="508" y="18922"/>
                  </a:lnTo>
                  <a:lnTo>
                    <a:pt x="0" y="16636"/>
                  </a:lnTo>
                  <a:lnTo>
                    <a:pt x="0" y="13461"/>
                  </a:lnTo>
                  <a:lnTo>
                    <a:pt x="0" y="10795"/>
                  </a:lnTo>
                  <a:lnTo>
                    <a:pt x="508" y="8508"/>
                  </a:lnTo>
                  <a:lnTo>
                    <a:pt x="1651" y="5841"/>
                  </a:lnTo>
                  <a:lnTo>
                    <a:pt x="2793" y="4064"/>
                  </a:lnTo>
                  <a:lnTo>
                    <a:pt x="4952" y="1777"/>
                  </a:lnTo>
                  <a:lnTo>
                    <a:pt x="6730" y="889"/>
                  </a:lnTo>
                  <a:lnTo>
                    <a:pt x="8381" y="0"/>
                  </a:lnTo>
                  <a:lnTo>
                    <a:pt x="11176" y="0"/>
                  </a:lnTo>
                  <a:lnTo>
                    <a:pt x="40131" y="0"/>
                  </a:lnTo>
                  <a:lnTo>
                    <a:pt x="42926" y="0"/>
                  </a:lnTo>
                  <a:lnTo>
                    <a:pt x="44576" y="889"/>
                  </a:lnTo>
                  <a:lnTo>
                    <a:pt x="46863" y="1777"/>
                  </a:lnTo>
                  <a:lnTo>
                    <a:pt x="48513" y="4064"/>
                  </a:lnTo>
                  <a:lnTo>
                    <a:pt x="49529" y="5841"/>
                  </a:lnTo>
                  <a:lnTo>
                    <a:pt x="50673" y="8508"/>
                  </a:lnTo>
                  <a:lnTo>
                    <a:pt x="51815" y="10795"/>
                  </a:lnTo>
                  <a:lnTo>
                    <a:pt x="51815" y="13461"/>
                  </a:lnTo>
                  <a:close/>
                  <a:moveTo>
                    <a:pt x="-5472430" y="5163311"/>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18" name="Freeform 1518"/>
            <p:cNvSpPr/>
            <p:nvPr/>
          </p:nvSpPr>
          <p:spPr>
            <a:xfrm>
              <a:off x="10674760" y="1726057"/>
              <a:ext cx="57882" cy="33511"/>
            </a:xfrm>
            <a:custGeom>
              <a:avLst/>
              <a:gdLst/>
              <a:ahLst/>
              <a:cxnLst/>
              <a:rect l="0" t="0" r="0" b="0"/>
              <a:pathLst>
                <a:path w="57912" h="33528">
                  <a:moveTo>
                    <a:pt x="0" y="33528"/>
                  </a:moveTo>
                  <a:lnTo>
                    <a:pt x="57912" y="33528"/>
                  </a:lnTo>
                  <a:lnTo>
                    <a:pt x="57912" y="0"/>
                  </a:lnTo>
                  <a:lnTo>
                    <a:pt x="0" y="0"/>
                  </a:lnTo>
                  <a:lnTo>
                    <a:pt x="0" y="33528"/>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19" name="Freeform 1519"/>
            <p:cNvSpPr/>
            <p:nvPr/>
          </p:nvSpPr>
          <p:spPr>
            <a:xfrm>
              <a:off x="10683901" y="1692547"/>
              <a:ext cx="51789" cy="27417"/>
            </a:xfrm>
            <a:custGeom>
              <a:avLst/>
              <a:gdLst/>
              <a:ahLst/>
              <a:cxnLst/>
              <a:rect l="0" t="0" r="0" b="0"/>
              <a:pathLst>
                <a:path w="51816" h="27431">
                  <a:moveTo>
                    <a:pt x="51816" y="13462"/>
                  </a:moveTo>
                  <a:lnTo>
                    <a:pt x="51816" y="13462"/>
                  </a:lnTo>
                  <a:lnTo>
                    <a:pt x="51816" y="16637"/>
                  </a:lnTo>
                  <a:lnTo>
                    <a:pt x="50672" y="18923"/>
                  </a:lnTo>
                  <a:lnTo>
                    <a:pt x="49530" y="21589"/>
                  </a:lnTo>
                  <a:lnTo>
                    <a:pt x="48514" y="23368"/>
                  </a:lnTo>
                  <a:lnTo>
                    <a:pt x="46863" y="25145"/>
                  </a:lnTo>
                  <a:lnTo>
                    <a:pt x="44577" y="26543"/>
                  </a:lnTo>
                  <a:lnTo>
                    <a:pt x="42926" y="27431"/>
                  </a:lnTo>
                  <a:lnTo>
                    <a:pt x="40131" y="27431"/>
                  </a:lnTo>
                  <a:lnTo>
                    <a:pt x="11176" y="27431"/>
                  </a:lnTo>
                  <a:lnTo>
                    <a:pt x="8381" y="27431"/>
                  </a:lnTo>
                  <a:lnTo>
                    <a:pt x="6730" y="26543"/>
                  </a:lnTo>
                  <a:lnTo>
                    <a:pt x="4953" y="25145"/>
                  </a:lnTo>
                  <a:lnTo>
                    <a:pt x="2793" y="23368"/>
                  </a:lnTo>
                  <a:lnTo>
                    <a:pt x="1651" y="21589"/>
                  </a:lnTo>
                  <a:lnTo>
                    <a:pt x="507" y="18923"/>
                  </a:lnTo>
                  <a:lnTo>
                    <a:pt x="0" y="16637"/>
                  </a:lnTo>
                  <a:lnTo>
                    <a:pt x="0" y="13462"/>
                  </a:lnTo>
                  <a:lnTo>
                    <a:pt x="0" y="10794"/>
                  </a:lnTo>
                  <a:lnTo>
                    <a:pt x="507" y="8508"/>
                  </a:lnTo>
                  <a:lnTo>
                    <a:pt x="1651" y="5842"/>
                  </a:lnTo>
                  <a:lnTo>
                    <a:pt x="2793" y="4063"/>
                  </a:lnTo>
                  <a:lnTo>
                    <a:pt x="4953" y="1777"/>
                  </a:lnTo>
                  <a:lnTo>
                    <a:pt x="6730" y="888"/>
                  </a:lnTo>
                  <a:lnTo>
                    <a:pt x="8381" y="0"/>
                  </a:lnTo>
                  <a:lnTo>
                    <a:pt x="11176" y="0"/>
                  </a:lnTo>
                  <a:lnTo>
                    <a:pt x="40131" y="0"/>
                  </a:lnTo>
                  <a:lnTo>
                    <a:pt x="42926" y="0"/>
                  </a:lnTo>
                  <a:lnTo>
                    <a:pt x="44577" y="888"/>
                  </a:lnTo>
                  <a:lnTo>
                    <a:pt x="46863" y="1777"/>
                  </a:lnTo>
                  <a:lnTo>
                    <a:pt x="48514" y="4063"/>
                  </a:lnTo>
                  <a:lnTo>
                    <a:pt x="49530" y="5842"/>
                  </a:lnTo>
                  <a:lnTo>
                    <a:pt x="50672" y="8508"/>
                  </a:lnTo>
                  <a:lnTo>
                    <a:pt x="51816" y="10794"/>
                  </a:lnTo>
                  <a:lnTo>
                    <a:pt x="51816" y="13462"/>
                  </a:lnTo>
                  <a:close/>
                  <a:moveTo>
                    <a:pt x="-5533391" y="5166359"/>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20" name="Freeform 1520"/>
            <p:cNvSpPr/>
            <p:nvPr/>
          </p:nvSpPr>
          <p:spPr>
            <a:xfrm>
              <a:off x="10236076" y="1689500"/>
              <a:ext cx="30464" cy="118811"/>
            </a:xfrm>
            <a:custGeom>
              <a:avLst/>
              <a:gdLst/>
              <a:ahLst/>
              <a:cxnLst/>
              <a:rect l="0" t="0" r="0" b="0"/>
              <a:pathLst>
                <a:path w="30480" h="118873">
                  <a:moveTo>
                    <a:pt x="30480" y="110999"/>
                  </a:moveTo>
                  <a:lnTo>
                    <a:pt x="30480" y="118873"/>
                  </a:lnTo>
                  <a:lnTo>
                    <a:pt x="25400" y="118873"/>
                  </a:lnTo>
                  <a:lnTo>
                    <a:pt x="21337" y="118111"/>
                  </a:lnTo>
                  <a:lnTo>
                    <a:pt x="18035" y="117094"/>
                  </a:lnTo>
                  <a:lnTo>
                    <a:pt x="15367" y="115698"/>
                  </a:lnTo>
                  <a:lnTo>
                    <a:pt x="13589" y="114300"/>
                  </a:lnTo>
                  <a:lnTo>
                    <a:pt x="12447" y="112523"/>
                  </a:lnTo>
                  <a:lnTo>
                    <a:pt x="11812" y="110744"/>
                  </a:lnTo>
                  <a:lnTo>
                    <a:pt x="10287" y="107188"/>
                  </a:lnTo>
                  <a:lnTo>
                    <a:pt x="10287" y="103887"/>
                  </a:lnTo>
                  <a:lnTo>
                    <a:pt x="10287" y="102489"/>
                  </a:lnTo>
                  <a:lnTo>
                    <a:pt x="10287" y="12828"/>
                  </a:lnTo>
                  <a:lnTo>
                    <a:pt x="9907" y="10287"/>
                  </a:lnTo>
                  <a:lnTo>
                    <a:pt x="9145" y="8891"/>
                  </a:lnTo>
                  <a:lnTo>
                    <a:pt x="7748" y="8129"/>
                  </a:lnTo>
                  <a:lnTo>
                    <a:pt x="5842" y="7493"/>
                  </a:lnTo>
                  <a:lnTo>
                    <a:pt x="2922" y="7112"/>
                  </a:lnTo>
                  <a:lnTo>
                    <a:pt x="2540" y="7112"/>
                  </a:lnTo>
                  <a:lnTo>
                    <a:pt x="0" y="7112"/>
                  </a:lnTo>
                  <a:lnTo>
                    <a:pt x="0" y="0"/>
                  </a:lnTo>
                  <a:lnTo>
                    <a:pt x="2540" y="0"/>
                  </a:lnTo>
                  <a:lnTo>
                    <a:pt x="4446" y="0"/>
                  </a:lnTo>
                  <a:lnTo>
                    <a:pt x="7366" y="381"/>
                  </a:lnTo>
                  <a:lnTo>
                    <a:pt x="11050" y="1398"/>
                  </a:lnTo>
                  <a:lnTo>
                    <a:pt x="12447" y="2541"/>
                  </a:lnTo>
                  <a:lnTo>
                    <a:pt x="14351" y="3556"/>
                  </a:lnTo>
                  <a:lnTo>
                    <a:pt x="15749" y="5716"/>
                  </a:lnTo>
                  <a:lnTo>
                    <a:pt x="16891" y="7493"/>
                  </a:lnTo>
                  <a:lnTo>
                    <a:pt x="18035" y="9906"/>
                  </a:lnTo>
                  <a:lnTo>
                    <a:pt x="18035" y="12828"/>
                  </a:lnTo>
                  <a:lnTo>
                    <a:pt x="18035" y="102870"/>
                  </a:lnTo>
                  <a:lnTo>
                    <a:pt x="18035" y="106045"/>
                  </a:lnTo>
                  <a:lnTo>
                    <a:pt x="18670" y="107443"/>
                  </a:lnTo>
                  <a:lnTo>
                    <a:pt x="19432" y="109601"/>
                  </a:lnTo>
                  <a:lnTo>
                    <a:pt x="20575" y="110363"/>
                  </a:lnTo>
                  <a:lnTo>
                    <a:pt x="21972" y="110744"/>
                  </a:lnTo>
                  <a:lnTo>
                    <a:pt x="23496" y="110999"/>
                  </a:lnTo>
                  <a:lnTo>
                    <a:pt x="25400" y="110999"/>
                  </a:lnTo>
                  <a:lnTo>
                    <a:pt x="30480" y="110999"/>
                  </a:lnTo>
                  <a:close/>
                  <a:moveTo>
                    <a:pt x="-5179822" y="516940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21" name="Freeform 1521"/>
            <p:cNvSpPr/>
            <p:nvPr/>
          </p:nvSpPr>
          <p:spPr>
            <a:xfrm>
              <a:off x="10236076" y="1820495"/>
              <a:ext cx="30464" cy="45697"/>
            </a:xfrm>
            <a:custGeom>
              <a:avLst/>
              <a:gdLst/>
              <a:ahLst/>
              <a:cxnLst/>
              <a:rect l="0" t="0" r="0" b="0"/>
              <a:pathLst>
                <a:path w="30480" h="45721">
                  <a:moveTo>
                    <a:pt x="30480" y="0"/>
                  </a:moveTo>
                  <a:lnTo>
                    <a:pt x="30480" y="7748"/>
                  </a:lnTo>
                  <a:lnTo>
                    <a:pt x="22352" y="7748"/>
                  </a:lnTo>
                  <a:lnTo>
                    <a:pt x="21337" y="7748"/>
                  </a:lnTo>
                  <a:lnTo>
                    <a:pt x="19812" y="8129"/>
                  </a:lnTo>
                  <a:lnTo>
                    <a:pt x="18670" y="9525"/>
                  </a:lnTo>
                  <a:lnTo>
                    <a:pt x="17273" y="11430"/>
                  </a:lnTo>
                  <a:lnTo>
                    <a:pt x="16511" y="14733"/>
                  </a:lnTo>
                  <a:lnTo>
                    <a:pt x="16129" y="16637"/>
                  </a:lnTo>
                  <a:lnTo>
                    <a:pt x="16129" y="29465"/>
                  </a:lnTo>
                  <a:lnTo>
                    <a:pt x="15749" y="33910"/>
                  </a:lnTo>
                  <a:lnTo>
                    <a:pt x="15113" y="37211"/>
                  </a:lnTo>
                  <a:lnTo>
                    <a:pt x="13589" y="40514"/>
                  </a:lnTo>
                  <a:lnTo>
                    <a:pt x="11812" y="42799"/>
                  </a:lnTo>
                  <a:lnTo>
                    <a:pt x="9525" y="44578"/>
                  </a:lnTo>
                  <a:lnTo>
                    <a:pt x="7366" y="45340"/>
                  </a:lnTo>
                  <a:lnTo>
                    <a:pt x="5462" y="45721"/>
                  </a:lnTo>
                  <a:lnTo>
                    <a:pt x="4446" y="45721"/>
                  </a:lnTo>
                  <a:lnTo>
                    <a:pt x="0" y="45721"/>
                  </a:lnTo>
                  <a:lnTo>
                    <a:pt x="0" y="38354"/>
                  </a:lnTo>
                  <a:lnTo>
                    <a:pt x="4446" y="38354"/>
                  </a:lnTo>
                  <a:lnTo>
                    <a:pt x="5080" y="37973"/>
                  </a:lnTo>
                  <a:lnTo>
                    <a:pt x="6604" y="37211"/>
                  </a:lnTo>
                  <a:lnTo>
                    <a:pt x="7748" y="35815"/>
                  </a:lnTo>
                  <a:lnTo>
                    <a:pt x="8128" y="34291"/>
                  </a:lnTo>
                  <a:lnTo>
                    <a:pt x="8510" y="32131"/>
                  </a:lnTo>
                  <a:lnTo>
                    <a:pt x="8763" y="29465"/>
                  </a:lnTo>
                  <a:lnTo>
                    <a:pt x="8763" y="16637"/>
                  </a:lnTo>
                  <a:lnTo>
                    <a:pt x="8763" y="13590"/>
                  </a:lnTo>
                  <a:lnTo>
                    <a:pt x="9145" y="11430"/>
                  </a:lnTo>
                  <a:lnTo>
                    <a:pt x="10287" y="8891"/>
                  </a:lnTo>
                  <a:lnTo>
                    <a:pt x="11430" y="6604"/>
                  </a:lnTo>
                  <a:lnTo>
                    <a:pt x="12447" y="5208"/>
                  </a:lnTo>
                  <a:lnTo>
                    <a:pt x="13589" y="3684"/>
                  </a:lnTo>
                  <a:lnTo>
                    <a:pt x="15113" y="2541"/>
                  </a:lnTo>
                  <a:lnTo>
                    <a:pt x="16511" y="1143"/>
                  </a:lnTo>
                  <a:lnTo>
                    <a:pt x="18670" y="762"/>
                  </a:lnTo>
                  <a:lnTo>
                    <a:pt x="20194" y="381"/>
                  </a:lnTo>
                  <a:lnTo>
                    <a:pt x="22352" y="0"/>
                  </a:lnTo>
                  <a:lnTo>
                    <a:pt x="30480" y="0"/>
                  </a:lnTo>
                  <a:close/>
                  <a:moveTo>
                    <a:pt x="-5199887" y="5038344"/>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22" name="Freeform 1522"/>
            <p:cNvSpPr/>
            <p:nvPr/>
          </p:nvSpPr>
          <p:spPr>
            <a:xfrm>
              <a:off x="10153824" y="1665129"/>
              <a:ext cx="82253" cy="207155"/>
            </a:xfrm>
            <a:custGeom>
              <a:avLst/>
              <a:gdLst/>
              <a:ahLst/>
              <a:cxnLst/>
              <a:rect l="0" t="0" r="0" b="0"/>
              <a:pathLst>
                <a:path w="82296" h="207263">
                  <a:moveTo>
                    <a:pt x="40895" y="0"/>
                  </a:moveTo>
                  <a:lnTo>
                    <a:pt x="40895" y="0"/>
                  </a:lnTo>
                  <a:lnTo>
                    <a:pt x="32640" y="381"/>
                  </a:lnTo>
                  <a:lnTo>
                    <a:pt x="25146" y="1396"/>
                  </a:lnTo>
                  <a:lnTo>
                    <a:pt x="18161" y="2794"/>
                  </a:lnTo>
                  <a:lnTo>
                    <a:pt x="12193" y="5333"/>
                  </a:lnTo>
                  <a:lnTo>
                    <a:pt x="7112" y="8255"/>
                  </a:lnTo>
                  <a:lnTo>
                    <a:pt x="5081" y="9270"/>
                  </a:lnTo>
                  <a:lnTo>
                    <a:pt x="3175" y="11430"/>
                  </a:lnTo>
                  <a:lnTo>
                    <a:pt x="1906" y="12826"/>
                  </a:lnTo>
                  <a:lnTo>
                    <a:pt x="382" y="14605"/>
                  </a:lnTo>
                  <a:lnTo>
                    <a:pt x="0" y="16763"/>
                  </a:lnTo>
                  <a:lnTo>
                    <a:pt x="0" y="18541"/>
                  </a:lnTo>
                  <a:lnTo>
                    <a:pt x="0" y="207263"/>
                  </a:lnTo>
                  <a:lnTo>
                    <a:pt x="82296" y="207263"/>
                  </a:lnTo>
                  <a:lnTo>
                    <a:pt x="82296" y="18541"/>
                  </a:lnTo>
                  <a:lnTo>
                    <a:pt x="81916" y="16763"/>
                  </a:lnTo>
                  <a:lnTo>
                    <a:pt x="81534" y="14605"/>
                  </a:lnTo>
                  <a:lnTo>
                    <a:pt x="80772" y="12826"/>
                  </a:lnTo>
                  <a:lnTo>
                    <a:pt x="79121" y="11430"/>
                  </a:lnTo>
                  <a:lnTo>
                    <a:pt x="77597" y="9270"/>
                  </a:lnTo>
                  <a:lnTo>
                    <a:pt x="75566" y="8255"/>
                  </a:lnTo>
                  <a:lnTo>
                    <a:pt x="70105" y="5333"/>
                  </a:lnTo>
                  <a:lnTo>
                    <a:pt x="64517" y="2794"/>
                  </a:lnTo>
                  <a:lnTo>
                    <a:pt x="57532" y="1396"/>
                  </a:lnTo>
                  <a:lnTo>
                    <a:pt x="49658" y="381"/>
                  </a:lnTo>
                  <a:lnTo>
                    <a:pt x="40895" y="0"/>
                  </a:lnTo>
                  <a:close/>
                  <a:moveTo>
                    <a:pt x="-4962144" y="5193791"/>
                  </a:moveTo>
                  <a:moveTo>
                    <a:pt x="70867" y="69214"/>
                  </a:moveTo>
                  <a:lnTo>
                    <a:pt x="70867" y="69214"/>
                  </a:lnTo>
                  <a:lnTo>
                    <a:pt x="66930" y="70993"/>
                  </a:lnTo>
                  <a:lnTo>
                    <a:pt x="62993" y="72008"/>
                  </a:lnTo>
                  <a:lnTo>
                    <a:pt x="59056" y="72008"/>
                  </a:lnTo>
                  <a:lnTo>
                    <a:pt x="55119" y="71755"/>
                  </a:lnTo>
                  <a:lnTo>
                    <a:pt x="51562" y="70993"/>
                  </a:lnTo>
                  <a:lnTo>
                    <a:pt x="47625" y="69595"/>
                  </a:lnTo>
                  <a:lnTo>
                    <a:pt x="38990" y="66039"/>
                  </a:lnTo>
                  <a:lnTo>
                    <a:pt x="35433" y="64515"/>
                  </a:lnTo>
                  <a:lnTo>
                    <a:pt x="31496" y="63881"/>
                  </a:lnTo>
                  <a:lnTo>
                    <a:pt x="27559" y="63881"/>
                  </a:lnTo>
                  <a:lnTo>
                    <a:pt x="24004" y="63881"/>
                  </a:lnTo>
                  <a:lnTo>
                    <a:pt x="20447" y="64515"/>
                  </a:lnTo>
                  <a:lnTo>
                    <a:pt x="17272" y="66039"/>
                  </a:lnTo>
                  <a:lnTo>
                    <a:pt x="14224" y="67818"/>
                  </a:lnTo>
                  <a:lnTo>
                    <a:pt x="11049" y="69976"/>
                  </a:lnTo>
                  <a:lnTo>
                    <a:pt x="11049" y="18541"/>
                  </a:lnTo>
                  <a:lnTo>
                    <a:pt x="11431" y="17780"/>
                  </a:lnTo>
                  <a:lnTo>
                    <a:pt x="12955" y="17145"/>
                  </a:lnTo>
                  <a:lnTo>
                    <a:pt x="14986" y="15366"/>
                  </a:lnTo>
                  <a:lnTo>
                    <a:pt x="18543" y="13970"/>
                  </a:lnTo>
                  <a:lnTo>
                    <a:pt x="23622" y="12191"/>
                  </a:lnTo>
                  <a:lnTo>
                    <a:pt x="29083" y="11049"/>
                  </a:lnTo>
                  <a:lnTo>
                    <a:pt x="35053" y="10287"/>
                  </a:lnTo>
                  <a:lnTo>
                    <a:pt x="40895" y="10287"/>
                  </a:lnTo>
                  <a:lnTo>
                    <a:pt x="47245" y="10287"/>
                  </a:lnTo>
                  <a:lnTo>
                    <a:pt x="53595" y="11049"/>
                  </a:lnTo>
                  <a:lnTo>
                    <a:pt x="58674" y="12191"/>
                  </a:lnTo>
                  <a:lnTo>
                    <a:pt x="63373" y="13970"/>
                  </a:lnTo>
                  <a:lnTo>
                    <a:pt x="66930" y="15366"/>
                  </a:lnTo>
                  <a:lnTo>
                    <a:pt x="69343" y="17145"/>
                  </a:lnTo>
                  <a:lnTo>
                    <a:pt x="70485" y="17780"/>
                  </a:lnTo>
                  <a:lnTo>
                    <a:pt x="70867" y="18541"/>
                  </a:lnTo>
                  <a:lnTo>
                    <a:pt x="70867" y="69214"/>
                  </a:lnTo>
                  <a:close/>
                  <a:moveTo>
                    <a:pt x="-5031358" y="5193791"/>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23" name="Freeform 1523"/>
            <p:cNvSpPr/>
            <p:nvPr/>
          </p:nvSpPr>
          <p:spPr>
            <a:xfrm>
              <a:off x="11543973" y="1580748"/>
              <a:ext cx="450869" cy="344245"/>
            </a:xfrm>
            <a:custGeom>
              <a:avLst/>
              <a:gdLst/>
              <a:ahLst/>
              <a:cxnLst/>
              <a:rect l="0" t="0" r="0" b="0"/>
              <a:pathLst>
                <a:path w="451104" h="344424">
                  <a:moveTo>
                    <a:pt x="211328" y="45846"/>
                  </a:moveTo>
                  <a:lnTo>
                    <a:pt x="211328" y="45846"/>
                  </a:lnTo>
                  <a:lnTo>
                    <a:pt x="211456" y="44831"/>
                  </a:lnTo>
                  <a:lnTo>
                    <a:pt x="211583" y="43942"/>
                  </a:lnTo>
                  <a:lnTo>
                    <a:pt x="211837" y="43052"/>
                  </a:lnTo>
                  <a:lnTo>
                    <a:pt x="211963" y="42163"/>
                  </a:lnTo>
                  <a:lnTo>
                    <a:pt x="212345" y="41275"/>
                  </a:lnTo>
                  <a:lnTo>
                    <a:pt x="212725" y="40386"/>
                  </a:lnTo>
                  <a:lnTo>
                    <a:pt x="213361" y="39496"/>
                  </a:lnTo>
                  <a:lnTo>
                    <a:pt x="213869" y="38735"/>
                  </a:lnTo>
                  <a:lnTo>
                    <a:pt x="215138" y="37211"/>
                  </a:lnTo>
                  <a:lnTo>
                    <a:pt x="216789" y="35687"/>
                  </a:lnTo>
                  <a:lnTo>
                    <a:pt x="218567" y="34289"/>
                  </a:lnTo>
                  <a:lnTo>
                    <a:pt x="220599" y="33019"/>
                  </a:lnTo>
                  <a:lnTo>
                    <a:pt x="222886" y="31876"/>
                  </a:lnTo>
                  <a:lnTo>
                    <a:pt x="225299" y="30733"/>
                  </a:lnTo>
                  <a:lnTo>
                    <a:pt x="227838" y="29844"/>
                  </a:lnTo>
                  <a:lnTo>
                    <a:pt x="230633" y="29082"/>
                  </a:lnTo>
                  <a:lnTo>
                    <a:pt x="233553" y="28448"/>
                  </a:lnTo>
                  <a:lnTo>
                    <a:pt x="236601" y="27939"/>
                  </a:lnTo>
                  <a:lnTo>
                    <a:pt x="239649" y="27812"/>
                  </a:lnTo>
                  <a:lnTo>
                    <a:pt x="242951" y="27686"/>
                  </a:lnTo>
                  <a:lnTo>
                    <a:pt x="245111" y="27686"/>
                  </a:lnTo>
                  <a:lnTo>
                    <a:pt x="247015" y="27812"/>
                  </a:lnTo>
                  <a:lnTo>
                    <a:pt x="247524" y="26669"/>
                  </a:lnTo>
                  <a:lnTo>
                    <a:pt x="247904" y="25654"/>
                  </a:lnTo>
                  <a:lnTo>
                    <a:pt x="248539" y="24511"/>
                  </a:lnTo>
                  <a:lnTo>
                    <a:pt x="249174" y="23368"/>
                  </a:lnTo>
                  <a:lnTo>
                    <a:pt x="250063" y="22479"/>
                  </a:lnTo>
                  <a:lnTo>
                    <a:pt x="250952" y="21462"/>
                  </a:lnTo>
                  <a:lnTo>
                    <a:pt x="251969" y="20446"/>
                  </a:lnTo>
                  <a:lnTo>
                    <a:pt x="252985" y="19431"/>
                  </a:lnTo>
                  <a:lnTo>
                    <a:pt x="255144" y="17652"/>
                  </a:lnTo>
                  <a:lnTo>
                    <a:pt x="257684" y="15875"/>
                  </a:lnTo>
                  <a:lnTo>
                    <a:pt x="260350" y="14350"/>
                  </a:lnTo>
                  <a:lnTo>
                    <a:pt x="263399" y="12826"/>
                  </a:lnTo>
                  <a:lnTo>
                    <a:pt x="266700" y="11556"/>
                  </a:lnTo>
                  <a:lnTo>
                    <a:pt x="270129" y="10413"/>
                  </a:lnTo>
                  <a:lnTo>
                    <a:pt x="273686" y="9270"/>
                  </a:lnTo>
                  <a:lnTo>
                    <a:pt x="277496" y="8508"/>
                  </a:lnTo>
                  <a:lnTo>
                    <a:pt x="281560" y="7746"/>
                  </a:lnTo>
                  <a:lnTo>
                    <a:pt x="285624" y="7238"/>
                  </a:lnTo>
                  <a:lnTo>
                    <a:pt x="289814" y="6985"/>
                  </a:lnTo>
                  <a:lnTo>
                    <a:pt x="294133" y="6985"/>
                  </a:lnTo>
                  <a:lnTo>
                    <a:pt x="298070" y="6985"/>
                  </a:lnTo>
                  <a:lnTo>
                    <a:pt x="301752" y="7238"/>
                  </a:lnTo>
                  <a:lnTo>
                    <a:pt x="304292" y="5587"/>
                  </a:lnTo>
                  <a:lnTo>
                    <a:pt x="306960" y="4191"/>
                  </a:lnTo>
                  <a:lnTo>
                    <a:pt x="309753" y="2920"/>
                  </a:lnTo>
                  <a:lnTo>
                    <a:pt x="312548" y="1905"/>
                  </a:lnTo>
                  <a:lnTo>
                    <a:pt x="315723" y="1143"/>
                  </a:lnTo>
                  <a:lnTo>
                    <a:pt x="318898" y="381"/>
                  </a:lnTo>
                  <a:lnTo>
                    <a:pt x="322326" y="126"/>
                  </a:lnTo>
                  <a:lnTo>
                    <a:pt x="325756" y="0"/>
                  </a:lnTo>
                  <a:lnTo>
                    <a:pt x="327534" y="0"/>
                  </a:lnTo>
                  <a:lnTo>
                    <a:pt x="329312" y="126"/>
                  </a:lnTo>
                  <a:lnTo>
                    <a:pt x="332613" y="381"/>
                  </a:lnTo>
                  <a:lnTo>
                    <a:pt x="335915" y="1143"/>
                  </a:lnTo>
                  <a:lnTo>
                    <a:pt x="339090" y="1905"/>
                  </a:lnTo>
                  <a:lnTo>
                    <a:pt x="342012" y="3048"/>
                  </a:lnTo>
                  <a:lnTo>
                    <a:pt x="344933" y="4318"/>
                  </a:lnTo>
                  <a:lnTo>
                    <a:pt x="347473" y="5714"/>
                  </a:lnTo>
                  <a:lnTo>
                    <a:pt x="349886" y="7366"/>
                  </a:lnTo>
                  <a:lnTo>
                    <a:pt x="351028" y="8255"/>
                  </a:lnTo>
                  <a:lnTo>
                    <a:pt x="352172" y="9143"/>
                  </a:lnTo>
                  <a:lnTo>
                    <a:pt x="353061" y="10032"/>
                  </a:lnTo>
                  <a:lnTo>
                    <a:pt x="354203" y="11175"/>
                  </a:lnTo>
                  <a:lnTo>
                    <a:pt x="355092" y="12064"/>
                  </a:lnTo>
                  <a:lnTo>
                    <a:pt x="355727" y="13207"/>
                  </a:lnTo>
                  <a:lnTo>
                    <a:pt x="356616" y="14224"/>
                  </a:lnTo>
                  <a:lnTo>
                    <a:pt x="357251" y="15367"/>
                  </a:lnTo>
                  <a:lnTo>
                    <a:pt x="357887" y="16510"/>
                  </a:lnTo>
                  <a:lnTo>
                    <a:pt x="358522" y="17652"/>
                  </a:lnTo>
                  <a:lnTo>
                    <a:pt x="358902" y="18923"/>
                  </a:lnTo>
                  <a:lnTo>
                    <a:pt x="359411" y="20066"/>
                  </a:lnTo>
                  <a:lnTo>
                    <a:pt x="359537" y="21462"/>
                  </a:lnTo>
                  <a:lnTo>
                    <a:pt x="359919" y="22606"/>
                  </a:lnTo>
                  <a:lnTo>
                    <a:pt x="360046" y="23875"/>
                  </a:lnTo>
                  <a:lnTo>
                    <a:pt x="360046" y="25145"/>
                  </a:lnTo>
                  <a:lnTo>
                    <a:pt x="362459" y="24637"/>
                  </a:lnTo>
                  <a:lnTo>
                    <a:pt x="364999" y="24002"/>
                  </a:lnTo>
                  <a:lnTo>
                    <a:pt x="367665" y="23621"/>
                  </a:lnTo>
                  <a:lnTo>
                    <a:pt x="370333" y="23113"/>
                  </a:lnTo>
                  <a:lnTo>
                    <a:pt x="373126" y="22732"/>
                  </a:lnTo>
                  <a:lnTo>
                    <a:pt x="376048" y="22606"/>
                  </a:lnTo>
                  <a:lnTo>
                    <a:pt x="378969" y="22479"/>
                  </a:lnTo>
                  <a:lnTo>
                    <a:pt x="381889" y="22479"/>
                  </a:lnTo>
                  <a:lnTo>
                    <a:pt x="386335" y="22606"/>
                  </a:lnTo>
                  <a:lnTo>
                    <a:pt x="390652" y="22732"/>
                  </a:lnTo>
                  <a:lnTo>
                    <a:pt x="394716" y="23368"/>
                  </a:lnTo>
                  <a:lnTo>
                    <a:pt x="398653" y="24002"/>
                  </a:lnTo>
                  <a:lnTo>
                    <a:pt x="402463" y="24892"/>
                  </a:lnTo>
                  <a:lnTo>
                    <a:pt x="406020" y="25907"/>
                  </a:lnTo>
                  <a:lnTo>
                    <a:pt x="409322" y="27177"/>
                  </a:lnTo>
                  <a:lnTo>
                    <a:pt x="412497" y="28448"/>
                  </a:lnTo>
                  <a:lnTo>
                    <a:pt x="415290" y="29844"/>
                  </a:lnTo>
                  <a:lnTo>
                    <a:pt x="416434" y="30606"/>
                  </a:lnTo>
                  <a:lnTo>
                    <a:pt x="417703" y="31495"/>
                  </a:lnTo>
                  <a:lnTo>
                    <a:pt x="418847" y="32257"/>
                  </a:lnTo>
                  <a:lnTo>
                    <a:pt x="419862" y="33019"/>
                  </a:lnTo>
                  <a:lnTo>
                    <a:pt x="420751" y="33908"/>
                  </a:lnTo>
                  <a:lnTo>
                    <a:pt x="421640" y="34798"/>
                  </a:lnTo>
                  <a:lnTo>
                    <a:pt x="422529" y="35813"/>
                  </a:lnTo>
                  <a:lnTo>
                    <a:pt x="423164" y="36702"/>
                  </a:lnTo>
                  <a:lnTo>
                    <a:pt x="423673" y="37718"/>
                  </a:lnTo>
                  <a:lnTo>
                    <a:pt x="424308" y="38735"/>
                  </a:lnTo>
                  <a:lnTo>
                    <a:pt x="424562" y="39750"/>
                  </a:lnTo>
                  <a:lnTo>
                    <a:pt x="424815" y="40639"/>
                  </a:lnTo>
                  <a:lnTo>
                    <a:pt x="425070" y="41782"/>
                  </a:lnTo>
                  <a:lnTo>
                    <a:pt x="425070" y="42799"/>
                  </a:lnTo>
                  <a:lnTo>
                    <a:pt x="425070" y="43561"/>
                  </a:lnTo>
                  <a:lnTo>
                    <a:pt x="424942" y="44450"/>
                  </a:lnTo>
                  <a:lnTo>
                    <a:pt x="424815" y="45212"/>
                  </a:lnTo>
                  <a:lnTo>
                    <a:pt x="424562" y="46100"/>
                  </a:lnTo>
                  <a:lnTo>
                    <a:pt x="423799" y="47625"/>
                  </a:lnTo>
                  <a:lnTo>
                    <a:pt x="422911" y="49149"/>
                  </a:lnTo>
                  <a:lnTo>
                    <a:pt x="421640" y="50673"/>
                  </a:lnTo>
                  <a:lnTo>
                    <a:pt x="420244" y="52196"/>
                  </a:lnTo>
                  <a:lnTo>
                    <a:pt x="418720" y="53467"/>
                  </a:lnTo>
                  <a:lnTo>
                    <a:pt x="416814" y="54610"/>
                  </a:lnTo>
                  <a:lnTo>
                    <a:pt x="382016" y="54610"/>
                  </a:lnTo>
                  <a:lnTo>
                    <a:pt x="382271" y="56514"/>
                  </a:lnTo>
                  <a:lnTo>
                    <a:pt x="382271" y="58293"/>
                  </a:lnTo>
                  <a:lnTo>
                    <a:pt x="382271" y="59689"/>
                  </a:lnTo>
                  <a:lnTo>
                    <a:pt x="382271" y="60960"/>
                  </a:lnTo>
                  <a:lnTo>
                    <a:pt x="382016" y="62230"/>
                  </a:lnTo>
                  <a:lnTo>
                    <a:pt x="381636" y="63500"/>
                  </a:lnTo>
                  <a:lnTo>
                    <a:pt x="381382" y="64769"/>
                  </a:lnTo>
                  <a:lnTo>
                    <a:pt x="380874" y="65912"/>
                  </a:lnTo>
                  <a:lnTo>
                    <a:pt x="380238" y="67056"/>
                  </a:lnTo>
                  <a:lnTo>
                    <a:pt x="379603" y="68325"/>
                  </a:lnTo>
                  <a:lnTo>
                    <a:pt x="378969" y="69468"/>
                  </a:lnTo>
                  <a:lnTo>
                    <a:pt x="378207" y="70485"/>
                  </a:lnTo>
                  <a:lnTo>
                    <a:pt x="377445" y="71627"/>
                  </a:lnTo>
                  <a:lnTo>
                    <a:pt x="376428" y="72643"/>
                  </a:lnTo>
                  <a:lnTo>
                    <a:pt x="375539" y="73660"/>
                  </a:lnTo>
                  <a:lnTo>
                    <a:pt x="374524" y="74675"/>
                  </a:lnTo>
                  <a:lnTo>
                    <a:pt x="373381" y="75437"/>
                  </a:lnTo>
                  <a:lnTo>
                    <a:pt x="372237" y="76454"/>
                  </a:lnTo>
                  <a:lnTo>
                    <a:pt x="369824" y="77977"/>
                  </a:lnTo>
                  <a:lnTo>
                    <a:pt x="367285" y="79501"/>
                  </a:lnTo>
                  <a:lnTo>
                    <a:pt x="364363" y="80771"/>
                  </a:lnTo>
                  <a:lnTo>
                    <a:pt x="361315" y="81914"/>
                  </a:lnTo>
                  <a:lnTo>
                    <a:pt x="358267" y="82676"/>
                  </a:lnTo>
                  <a:lnTo>
                    <a:pt x="354838" y="83438"/>
                  </a:lnTo>
                  <a:lnTo>
                    <a:pt x="353314" y="83566"/>
                  </a:lnTo>
                  <a:lnTo>
                    <a:pt x="351537" y="83693"/>
                  </a:lnTo>
                  <a:lnTo>
                    <a:pt x="349759" y="83819"/>
                  </a:lnTo>
                  <a:lnTo>
                    <a:pt x="348108" y="83819"/>
                  </a:lnTo>
                  <a:lnTo>
                    <a:pt x="346329" y="83819"/>
                  </a:lnTo>
                  <a:lnTo>
                    <a:pt x="344551" y="83693"/>
                  </a:lnTo>
                  <a:lnTo>
                    <a:pt x="342900" y="83566"/>
                  </a:lnTo>
                  <a:lnTo>
                    <a:pt x="341123" y="83438"/>
                  </a:lnTo>
                  <a:lnTo>
                    <a:pt x="337948" y="82676"/>
                  </a:lnTo>
                  <a:lnTo>
                    <a:pt x="334773" y="81914"/>
                  </a:lnTo>
                  <a:lnTo>
                    <a:pt x="331724" y="80771"/>
                  </a:lnTo>
                  <a:lnTo>
                    <a:pt x="328803" y="79501"/>
                  </a:lnTo>
                  <a:lnTo>
                    <a:pt x="326263" y="77977"/>
                  </a:lnTo>
                  <a:lnTo>
                    <a:pt x="323850" y="76454"/>
                  </a:lnTo>
                  <a:lnTo>
                    <a:pt x="322708" y="75437"/>
                  </a:lnTo>
                  <a:lnTo>
                    <a:pt x="321564" y="74675"/>
                  </a:lnTo>
                  <a:lnTo>
                    <a:pt x="320675" y="73660"/>
                  </a:lnTo>
                  <a:lnTo>
                    <a:pt x="319660" y="72643"/>
                  </a:lnTo>
                  <a:lnTo>
                    <a:pt x="318771" y="71627"/>
                  </a:lnTo>
                  <a:lnTo>
                    <a:pt x="318009" y="70485"/>
                  </a:lnTo>
                  <a:lnTo>
                    <a:pt x="317120" y="69468"/>
                  </a:lnTo>
                  <a:lnTo>
                    <a:pt x="316485" y="68325"/>
                  </a:lnTo>
                  <a:lnTo>
                    <a:pt x="315849" y="67056"/>
                  </a:lnTo>
                  <a:lnTo>
                    <a:pt x="315341" y="65912"/>
                  </a:lnTo>
                  <a:lnTo>
                    <a:pt x="314834" y="64769"/>
                  </a:lnTo>
                  <a:lnTo>
                    <a:pt x="314579" y="63500"/>
                  </a:lnTo>
                  <a:lnTo>
                    <a:pt x="314199" y="62230"/>
                  </a:lnTo>
                  <a:lnTo>
                    <a:pt x="313945" y="60960"/>
                  </a:lnTo>
                  <a:lnTo>
                    <a:pt x="313817" y="59689"/>
                  </a:lnTo>
                  <a:lnTo>
                    <a:pt x="313690" y="58293"/>
                  </a:lnTo>
                  <a:lnTo>
                    <a:pt x="313817" y="56514"/>
                  </a:lnTo>
                  <a:lnTo>
                    <a:pt x="311659" y="57023"/>
                  </a:lnTo>
                  <a:lnTo>
                    <a:pt x="309246" y="57531"/>
                  </a:lnTo>
                  <a:lnTo>
                    <a:pt x="306833" y="57912"/>
                  </a:lnTo>
                  <a:lnTo>
                    <a:pt x="304420" y="58166"/>
                  </a:lnTo>
                  <a:lnTo>
                    <a:pt x="302007" y="58546"/>
                  </a:lnTo>
                  <a:lnTo>
                    <a:pt x="299339" y="58546"/>
                  </a:lnTo>
                  <a:lnTo>
                    <a:pt x="296799" y="58674"/>
                  </a:lnTo>
                  <a:lnTo>
                    <a:pt x="294133" y="58800"/>
                  </a:lnTo>
                  <a:lnTo>
                    <a:pt x="290958" y="58674"/>
                  </a:lnTo>
                  <a:lnTo>
                    <a:pt x="287656" y="58546"/>
                  </a:lnTo>
                  <a:lnTo>
                    <a:pt x="284481" y="58293"/>
                  </a:lnTo>
                  <a:lnTo>
                    <a:pt x="281433" y="57912"/>
                  </a:lnTo>
                  <a:lnTo>
                    <a:pt x="278385" y="57276"/>
                  </a:lnTo>
                  <a:lnTo>
                    <a:pt x="275463" y="56768"/>
                  </a:lnTo>
                  <a:lnTo>
                    <a:pt x="272670" y="56006"/>
                  </a:lnTo>
                  <a:lnTo>
                    <a:pt x="270002" y="55244"/>
                  </a:lnTo>
                  <a:lnTo>
                    <a:pt x="268860" y="56133"/>
                  </a:lnTo>
                  <a:lnTo>
                    <a:pt x="267589" y="57023"/>
                  </a:lnTo>
                  <a:lnTo>
                    <a:pt x="266447" y="57912"/>
                  </a:lnTo>
                  <a:lnTo>
                    <a:pt x="264923" y="58800"/>
                  </a:lnTo>
                  <a:lnTo>
                    <a:pt x="263525" y="59562"/>
                  </a:lnTo>
                  <a:lnTo>
                    <a:pt x="262001" y="60325"/>
                  </a:lnTo>
                  <a:lnTo>
                    <a:pt x="260350" y="60960"/>
                  </a:lnTo>
                  <a:lnTo>
                    <a:pt x="258826" y="61594"/>
                  </a:lnTo>
                  <a:lnTo>
                    <a:pt x="256922" y="62102"/>
                  </a:lnTo>
                  <a:lnTo>
                    <a:pt x="255016" y="62611"/>
                  </a:lnTo>
                  <a:lnTo>
                    <a:pt x="253238" y="63118"/>
                  </a:lnTo>
                  <a:lnTo>
                    <a:pt x="251207" y="63373"/>
                  </a:lnTo>
                  <a:lnTo>
                    <a:pt x="249174" y="63500"/>
                  </a:lnTo>
                  <a:lnTo>
                    <a:pt x="247142" y="63754"/>
                  </a:lnTo>
                  <a:lnTo>
                    <a:pt x="245111" y="63881"/>
                  </a:lnTo>
                  <a:lnTo>
                    <a:pt x="242951" y="64007"/>
                  </a:lnTo>
                  <a:lnTo>
                    <a:pt x="239649" y="63881"/>
                  </a:lnTo>
                  <a:lnTo>
                    <a:pt x="236601" y="63500"/>
                  </a:lnTo>
                  <a:lnTo>
                    <a:pt x="233553" y="63118"/>
                  </a:lnTo>
                  <a:lnTo>
                    <a:pt x="230633" y="62483"/>
                  </a:lnTo>
                  <a:lnTo>
                    <a:pt x="227838" y="61721"/>
                  </a:lnTo>
                  <a:lnTo>
                    <a:pt x="225299" y="60832"/>
                  </a:lnTo>
                  <a:lnTo>
                    <a:pt x="222886" y="59817"/>
                  </a:lnTo>
                  <a:lnTo>
                    <a:pt x="220599" y="58546"/>
                  </a:lnTo>
                  <a:lnTo>
                    <a:pt x="218567" y="57404"/>
                  </a:lnTo>
                  <a:lnTo>
                    <a:pt x="216789" y="56006"/>
                  </a:lnTo>
                  <a:lnTo>
                    <a:pt x="215138" y="54482"/>
                  </a:lnTo>
                  <a:lnTo>
                    <a:pt x="213869" y="52831"/>
                  </a:lnTo>
                  <a:lnTo>
                    <a:pt x="213361" y="51943"/>
                  </a:lnTo>
                  <a:lnTo>
                    <a:pt x="212725" y="51307"/>
                  </a:lnTo>
                  <a:lnTo>
                    <a:pt x="212345" y="50418"/>
                  </a:lnTo>
                  <a:lnTo>
                    <a:pt x="211963" y="49530"/>
                  </a:lnTo>
                  <a:lnTo>
                    <a:pt x="211837" y="48513"/>
                  </a:lnTo>
                  <a:lnTo>
                    <a:pt x="211583" y="47625"/>
                  </a:lnTo>
                  <a:lnTo>
                    <a:pt x="211456" y="46736"/>
                  </a:lnTo>
                  <a:lnTo>
                    <a:pt x="211328" y="45846"/>
                  </a:lnTo>
                  <a:close/>
                  <a:moveTo>
                    <a:pt x="-5687694" y="4614671"/>
                  </a:moveTo>
                  <a:moveTo>
                    <a:pt x="175387" y="198374"/>
                  </a:moveTo>
                  <a:lnTo>
                    <a:pt x="175387" y="234823"/>
                  </a:lnTo>
                  <a:lnTo>
                    <a:pt x="0" y="234823"/>
                  </a:lnTo>
                  <a:lnTo>
                    <a:pt x="0" y="198374"/>
                  </a:lnTo>
                  <a:lnTo>
                    <a:pt x="175387" y="198374"/>
                  </a:lnTo>
                  <a:close/>
                  <a:moveTo>
                    <a:pt x="-5840222" y="4614671"/>
                  </a:moveTo>
                  <a:moveTo>
                    <a:pt x="277114" y="303402"/>
                  </a:moveTo>
                  <a:lnTo>
                    <a:pt x="304927" y="344424"/>
                  </a:lnTo>
                  <a:lnTo>
                    <a:pt x="294260" y="344424"/>
                  </a:lnTo>
                  <a:lnTo>
                    <a:pt x="268606" y="306705"/>
                  </a:lnTo>
                  <a:lnTo>
                    <a:pt x="268478" y="306831"/>
                  </a:lnTo>
                  <a:lnTo>
                    <a:pt x="268478" y="306450"/>
                  </a:lnTo>
                  <a:lnTo>
                    <a:pt x="263525" y="299212"/>
                  </a:lnTo>
                  <a:lnTo>
                    <a:pt x="265938" y="298450"/>
                  </a:lnTo>
                  <a:lnTo>
                    <a:pt x="268478" y="297687"/>
                  </a:lnTo>
                  <a:lnTo>
                    <a:pt x="270257" y="296925"/>
                  </a:lnTo>
                  <a:lnTo>
                    <a:pt x="272035" y="296163"/>
                  </a:lnTo>
                  <a:lnTo>
                    <a:pt x="275210" y="294639"/>
                  </a:lnTo>
                  <a:lnTo>
                    <a:pt x="278131" y="292862"/>
                  </a:lnTo>
                  <a:lnTo>
                    <a:pt x="281051" y="290956"/>
                  </a:lnTo>
                  <a:lnTo>
                    <a:pt x="283591" y="288925"/>
                  </a:lnTo>
                  <a:lnTo>
                    <a:pt x="286132" y="286512"/>
                  </a:lnTo>
                  <a:lnTo>
                    <a:pt x="288417" y="284099"/>
                  </a:lnTo>
                  <a:lnTo>
                    <a:pt x="290576" y="281558"/>
                  </a:lnTo>
                  <a:lnTo>
                    <a:pt x="292609" y="278892"/>
                  </a:lnTo>
                  <a:lnTo>
                    <a:pt x="294260" y="275843"/>
                  </a:lnTo>
                  <a:lnTo>
                    <a:pt x="295784" y="272795"/>
                  </a:lnTo>
                  <a:lnTo>
                    <a:pt x="297053" y="269748"/>
                  </a:lnTo>
                  <a:lnTo>
                    <a:pt x="298324" y="266573"/>
                  </a:lnTo>
                  <a:lnTo>
                    <a:pt x="299212" y="263270"/>
                  </a:lnTo>
                  <a:lnTo>
                    <a:pt x="299848" y="259842"/>
                  </a:lnTo>
                  <a:lnTo>
                    <a:pt x="300228" y="256286"/>
                  </a:lnTo>
                  <a:lnTo>
                    <a:pt x="300356" y="252730"/>
                  </a:lnTo>
                  <a:lnTo>
                    <a:pt x="300356" y="250062"/>
                  </a:lnTo>
                  <a:lnTo>
                    <a:pt x="300228" y="247395"/>
                  </a:lnTo>
                  <a:lnTo>
                    <a:pt x="299848" y="244729"/>
                  </a:lnTo>
                  <a:lnTo>
                    <a:pt x="299212" y="242188"/>
                  </a:lnTo>
                  <a:lnTo>
                    <a:pt x="298704" y="239902"/>
                  </a:lnTo>
                  <a:lnTo>
                    <a:pt x="298070" y="237617"/>
                  </a:lnTo>
                  <a:lnTo>
                    <a:pt x="297053" y="235331"/>
                  </a:lnTo>
                  <a:lnTo>
                    <a:pt x="296164" y="233171"/>
                  </a:lnTo>
                  <a:lnTo>
                    <a:pt x="295275" y="231267"/>
                  </a:lnTo>
                  <a:lnTo>
                    <a:pt x="294133" y="229107"/>
                  </a:lnTo>
                  <a:lnTo>
                    <a:pt x="292989" y="227330"/>
                  </a:lnTo>
                  <a:lnTo>
                    <a:pt x="291720" y="225551"/>
                  </a:lnTo>
                  <a:lnTo>
                    <a:pt x="290323" y="223900"/>
                  </a:lnTo>
                  <a:lnTo>
                    <a:pt x="288925" y="222250"/>
                  </a:lnTo>
                  <a:lnTo>
                    <a:pt x="287401" y="220599"/>
                  </a:lnTo>
                  <a:lnTo>
                    <a:pt x="286004" y="219201"/>
                  </a:lnTo>
                  <a:lnTo>
                    <a:pt x="284481" y="217805"/>
                  </a:lnTo>
                  <a:lnTo>
                    <a:pt x="282829" y="216535"/>
                  </a:lnTo>
                  <a:lnTo>
                    <a:pt x="281306" y="215264"/>
                  </a:lnTo>
                  <a:lnTo>
                    <a:pt x="279654" y="214249"/>
                  </a:lnTo>
                  <a:lnTo>
                    <a:pt x="278003" y="213106"/>
                  </a:lnTo>
                  <a:lnTo>
                    <a:pt x="276352" y="211962"/>
                  </a:lnTo>
                  <a:lnTo>
                    <a:pt x="273050" y="210312"/>
                  </a:lnTo>
                  <a:lnTo>
                    <a:pt x="269875" y="208661"/>
                  </a:lnTo>
                  <a:lnTo>
                    <a:pt x="266700" y="207518"/>
                  </a:lnTo>
                  <a:lnTo>
                    <a:pt x="263779" y="206501"/>
                  </a:lnTo>
                  <a:lnTo>
                    <a:pt x="261112" y="205739"/>
                  </a:lnTo>
                  <a:lnTo>
                    <a:pt x="260350" y="205486"/>
                  </a:lnTo>
                  <a:lnTo>
                    <a:pt x="259715" y="205105"/>
                  </a:lnTo>
                  <a:lnTo>
                    <a:pt x="259208" y="204724"/>
                  </a:lnTo>
                  <a:lnTo>
                    <a:pt x="258826" y="204216"/>
                  </a:lnTo>
                  <a:lnTo>
                    <a:pt x="258319" y="203707"/>
                  </a:lnTo>
                  <a:lnTo>
                    <a:pt x="257937" y="203073"/>
                  </a:lnTo>
                  <a:lnTo>
                    <a:pt x="257811" y="202311"/>
                  </a:lnTo>
                  <a:lnTo>
                    <a:pt x="257684" y="201549"/>
                  </a:lnTo>
                  <a:lnTo>
                    <a:pt x="257684" y="193548"/>
                  </a:lnTo>
                  <a:lnTo>
                    <a:pt x="244349" y="193548"/>
                  </a:lnTo>
                  <a:lnTo>
                    <a:pt x="244349" y="201549"/>
                  </a:lnTo>
                  <a:lnTo>
                    <a:pt x="244222" y="202183"/>
                  </a:lnTo>
                  <a:lnTo>
                    <a:pt x="243967" y="202818"/>
                  </a:lnTo>
                  <a:lnTo>
                    <a:pt x="243713" y="203454"/>
                  </a:lnTo>
                  <a:lnTo>
                    <a:pt x="243333" y="204088"/>
                  </a:lnTo>
                  <a:lnTo>
                    <a:pt x="242698" y="204596"/>
                  </a:lnTo>
                  <a:lnTo>
                    <a:pt x="242189" y="205105"/>
                  </a:lnTo>
                  <a:lnTo>
                    <a:pt x="241427" y="205486"/>
                  </a:lnTo>
                  <a:lnTo>
                    <a:pt x="240792" y="205739"/>
                  </a:lnTo>
                  <a:lnTo>
                    <a:pt x="238761" y="206248"/>
                  </a:lnTo>
                  <a:lnTo>
                    <a:pt x="236728" y="206756"/>
                  </a:lnTo>
                  <a:lnTo>
                    <a:pt x="234697" y="207518"/>
                  </a:lnTo>
                  <a:lnTo>
                    <a:pt x="232664" y="208152"/>
                  </a:lnTo>
                  <a:lnTo>
                    <a:pt x="230760" y="209042"/>
                  </a:lnTo>
                  <a:lnTo>
                    <a:pt x="228854" y="209804"/>
                  </a:lnTo>
                  <a:lnTo>
                    <a:pt x="226949" y="210693"/>
                  </a:lnTo>
                  <a:lnTo>
                    <a:pt x="225299" y="211836"/>
                  </a:lnTo>
                  <a:lnTo>
                    <a:pt x="223521" y="212851"/>
                  </a:lnTo>
                  <a:lnTo>
                    <a:pt x="221742" y="213994"/>
                  </a:lnTo>
                  <a:lnTo>
                    <a:pt x="220219" y="215264"/>
                  </a:lnTo>
                  <a:lnTo>
                    <a:pt x="218567" y="216535"/>
                  </a:lnTo>
                  <a:lnTo>
                    <a:pt x="217044" y="217805"/>
                  </a:lnTo>
                  <a:lnTo>
                    <a:pt x="215520" y="219201"/>
                  </a:lnTo>
                  <a:lnTo>
                    <a:pt x="214249" y="220725"/>
                  </a:lnTo>
                  <a:lnTo>
                    <a:pt x="212852" y="222250"/>
                  </a:lnTo>
                  <a:lnTo>
                    <a:pt x="211583" y="223900"/>
                  </a:lnTo>
                  <a:lnTo>
                    <a:pt x="210312" y="225551"/>
                  </a:lnTo>
                  <a:lnTo>
                    <a:pt x="209170" y="227075"/>
                  </a:lnTo>
                  <a:lnTo>
                    <a:pt x="208026" y="228854"/>
                  </a:lnTo>
                  <a:lnTo>
                    <a:pt x="207137" y="230631"/>
                  </a:lnTo>
                  <a:lnTo>
                    <a:pt x="206249" y="232537"/>
                  </a:lnTo>
                  <a:lnTo>
                    <a:pt x="205360" y="234314"/>
                  </a:lnTo>
                  <a:lnTo>
                    <a:pt x="204598" y="236346"/>
                  </a:lnTo>
                  <a:lnTo>
                    <a:pt x="203962" y="238251"/>
                  </a:lnTo>
                  <a:lnTo>
                    <a:pt x="203327" y="240283"/>
                  </a:lnTo>
                  <a:lnTo>
                    <a:pt x="202820" y="242188"/>
                  </a:lnTo>
                  <a:lnTo>
                    <a:pt x="202438" y="244220"/>
                  </a:lnTo>
                  <a:lnTo>
                    <a:pt x="202058" y="246380"/>
                  </a:lnTo>
                  <a:lnTo>
                    <a:pt x="201931" y="248412"/>
                  </a:lnTo>
                  <a:lnTo>
                    <a:pt x="201676" y="250570"/>
                  </a:lnTo>
                  <a:lnTo>
                    <a:pt x="201676" y="252730"/>
                  </a:lnTo>
                  <a:lnTo>
                    <a:pt x="201676" y="255269"/>
                  </a:lnTo>
                  <a:lnTo>
                    <a:pt x="201931" y="257682"/>
                  </a:lnTo>
                  <a:lnTo>
                    <a:pt x="202185" y="260223"/>
                  </a:lnTo>
                  <a:lnTo>
                    <a:pt x="202820" y="262762"/>
                  </a:lnTo>
                  <a:lnTo>
                    <a:pt x="192660" y="255143"/>
                  </a:lnTo>
                  <a:lnTo>
                    <a:pt x="192660" y="252730"/>
                  </a:lnTo>
                  <a:lnTo>
                    <a:pt x="192660" y="250317"/>
                  </a:lnTo>
                  <a:lnTo>
                    <a:pt x="192913" y="247904"/>
                  </a:lnTo>
                  <a:lnTo>
                    <a:pt x="193167" y="245491"/>
                  </a:lnTo>
                  <a:lnTo>
                    <a:pt x="193422" y="243077"/>
                  </a:lnTo>
                  <a:lnTo>
                    <a:pt x="194057" y="240918"/>
                  </a:lnTo>
                  <a:lnTo>
                    <a:pt x="194437" y="238506"/>
                  </a:lnTo>
                  <a:lnTo>
                    <a:pt x="195199" y="236346"/>
                  </a:lnTo>
                  <a:lnTo>
                    <a:pt x="195962" y="234187"/>
                  </a:lnTo>
                  <a:lnTo>
                    <a:pt x="196724" y="232029"/>
                  </a:lnTo>
                  <a:lnTo>
                    <a:pt x="197612" y="229869"/>
                  </a:lnTo>
                  <a:lnTo>
                    <a:pt x="198628" y="227837"/>
                  </a:lnTo>
                  <a:lnTo>
                    <a:pt x="199772" y="225806"/>
                  </a:lnTo>
                  <a:lnTo>
                    <a:pt x="201041" y="223774"/>
                  </a:lnTo>
                  <a:lnTo>
                    <a:pt x="202185" y="221868"/>
                  </a:lnTo>
                  <a:lnTo>
                    <a:pt x="203327" y="219963"/>
                  </a:lnTo>
                  <a:lnTo>
                    <a:pt x="204851" y="218186"/>
                  </a:lnTo>
                  <a:lnTo>
                    <a:pt x="206249" y="216281"/>
                  </a:lnTo>
                  <a:lnTo>
                    <a:pt x="207773" y="214756"/>
                  </a:lnTo>
                  <a:lnTo>
                    <a:pt x="209424" y="212979"/>
                  </a:lnTo>
                  <a:lnTo>
                    <a:pt x="211074" y="211455"/>
                  </a:lnTo>
                  <a:lnTo>
                    <a:pt x="212852" y="209931"/>
                  </a:lnTo>
                  <a:lnTo>
                    <a:pt x="214631" y="208406"/>
                  </a:lnTo>
                  <a:lnTo>
                    <a:pt x="216409" y="207137"/>
                  </a:lnTo>
                  <a:lnTo>
                    <a:pt x="218440" y="205739"/>
                  </a:lnTo>
                  <a:lnTo>
                    <a:pt x="220346" y="204469"/>
                  </a:lnTo>
                  <a:lnTo>
                    <a:pt x="222377" y="203326"/>
                  </a:lnTo>
                  <a:lnTo>
                    <a:pt x="224410" y="202311"/>
                  </a:lnTo>
                  <a:lnTo>
                    <a:pt x="226569" y="201294"/>
                  </a:lnTo>
                  <a:lnTo>
                    <a:pt x="228727" y="200279"/>
                  </a:lnTo>
                  <a:lnTo>
                    <a:pt x="230887" y="199643"/>
                  </a:lnTo>
                  <a:lnTo>
                    <a:pt x="233173" y="198755"/>
                  </a:lnTo>
                  <a:lnTo>
                    <a:pt x="235459" y="198119"/>
                  </a:lnTo>
                  <a:lnTo>
                    <a:pt x="235459" y="189230"/>
                  </a:lnTo>
                  <a:lnTo>
                    <a:pt x="235586" y="188341"/>
                  </a:lnTo>
                  <a:lnTo>
                    <a:pt x="235839" y="187451"/>
                  </a:lnTo>
                  <a:lnTo>
                    <a:pt x="236221" y="186817"/>
                  </a:lnTo>
                  <a:lnTo>
                    <a:pt x="236856" y="186181"/>
                  </a:lnTo>
                  <a:lnTo>
                    <a:pt x="237490" y="185674"/>
                  </a:lnTo>
                  <a:lnTo>
                    <a:pt x="238252" y="185166"/>
                  </a:lnTo>
                  <a:lnTo>
                    <a:pt x="239014" y="184912"/>
                  </a:lnTo>
                  <a:lnTo>
                    <a:pt x="239903" y="184785"/>
                  </a:lnTo>
                  <a:lnTo>
                    <a:pt x="262128" y="184785"/>
                  </a:lnTo>
                  <a:lnTo>
                    <a:pt x="263145" y="184912"/>
                  </a:lnTo>
                  <a:lnTo>
                    <a:pt x="263779" y="185166"/>
                  </a:lnTo>
                  <a:lnTo>
                    <a:pt x="264669" y="185674"/>
                  </a:lnTo>
                  <a:lnTo>
                    <a:pt x="265303" y="186181"/>
                  </a:lnTo>
                  <a:lnTo>
                    <a:pt x="265812" y="186817"/>
                  </a:lnTo>
                  <a:lnTo>
                    <a:pt x="266320" y="187451"/>
                  </a:lnTo>
                  <a:lnTo>
                    <a:pt x="266447" y="188341"/>
                  </a:lnTo>
                  <a:lnTo>
                    <a:pt x="266700" y="189230"/>
                  </a:lnTo>
                  <a:lnTo>
                    <a:pt x="266700" y="198119"/>
                  </a:lnTo>
                  <a:lnTo>
                    <a:pt x="268987" y="198755"/>
                  </a:lnTo>
                  <a:lnTo>
                    <a:pt x="271146" y="199643"/>
                  </a:lnTo>
                  <a:lnTo>
                    <a:pt x="273432" y="200279"/>
                  </a:lnTo>
                  <a:lnTo>
                    <a:pt x="275463" y="201294"/>
                  </a:lnTo>
                  <a:lnTo>
                    <a:pt x="277623" y="202311"/>
                  </a:lnTo>
                  <a:lnTo>
                    <a:pt x="279782" y="203326"/>
                  </a:lnTo>
                  <a:lnTo>
                    <a:pt x="281813" y="204469"/>
                  </a:lnTo>
                  <a:lnTo>
                    <a:pt x="283591" y="205739"/>
                  </a:lnTo>
                  <a:lnTo>
                    <a:pt x="285624" y="207137"/>
                  </a:lnTo>
                  <a:lnTo>
                    <a:pt x="287401" y="208406"/>
                  </a:lnTo>
                  <a:lnTo>
                    <a:pt x="289179" y="209931"/>
                  </a:lnTo>
                  <a:lnTo>
                    <a:pt x="290958" y="211455"/>
                  </a:lnTo>
                  <a:lnTo>
                    <a:pt x="292736" y="212979"/>
                  </a:lnTo>
                  <a:lnTo>
                    <a:pt x="294260" y="214756"/>
                  </a:lnTo>
                  <a:lnTo>
                    <a:pt x="295784" y="216281"/>
                  </a:lnTo>
                  <a:lnTo>
                    <a:pt x="297308" y="218186"/>
                  </a:lnTo>
                  <a:lnTo>
                    <a:pt x="298704" y="219963"/>
                  </a:lnTo>
                  <a:lnTo>
                    <a:pt x="299974" y="221868"/>
                  </a:lnTo>
                  <a:lnTo>
                    <a:pt x="301117" y="223774"/>
                  </a:lnTo>
                  <a:lnTo>
                    <a:pt x="302387" y="225806"/>
                  </a:lnTo>
                  <a:lnTo>
                    <a:pt x="303531" y="227837"/>
                  </a:lnTo>
                  <a:lnTo>
                    <a:pt x="304547" y="229869"/>
                  </a:lnTo>
                  <a:lnTo>
                    <a:pt x="305436" y="232029"/>
                  </a:lnTo>
                  <a:lnTo>
                    <a:pt x="306071" y="234187"/>
                  </a:lnTo>
                  <a:lnTo>
                    <a:pt x="306960" y="236346"/>
                  </a:lnTo>
                  <a:lnTo>
                    <a:pt x="307595" y="238506"/>
                  </a:lnTo>
                  <a:lnTo>
                    <a:pt x="308102" y="240918"/>
                  </a:lnTo>
                  <a:lnTo>
                    <a:pt x="308611" y="243077"/>
                  </a:lnTo>
                  <a:lnTo>
                    <a:pt x="308991" y="245491"/>
                  </a:lnTo>
                  <a:lnTo>
                    <a:pt x="309119" y="247904"/>
                  </a:lnTo>
                  <a:lnTo>
                    <a:pt x="309373" y="250317"/>
                  </a:lnTo>
                  <a:lnTo>
                    <a:pt x="309373" y="252730"/>
                  </a:lnTo>
                  <a:lnTo>
                    <a:pt x="309373" y="254888"/>
                  </a:lnTo>
                  <a:lnTo>
                    <a:pt x="309246" y="256793"/>
                  </a:lnTo>
                  <a:lnTo>
                    <a:pt x="308991" y="258825"/>
                  </a:lnTo>
                  <a:lnTo>
                    <a:pt x="308864" y="260857"/>
                  </a:lnTo>
                  <a:lnTo>
                    <a:pt x="308484" y="262889"/>
                  </a:lnTo>
                  <a:lnTo>
                    <a:pt x="308102" y="264921"/>
                  </a:lnTo>
                  <a:lnTo>
                    <a:pt x="307595" y="266826"/>
                  </a:lnTo>
                  <a:lnTo>
                    <a:pt x="306960" y="268731"/>
                  </a:lnTo>
                  <a:lnTo>
                    <a:pt x="306324" y="270637"/>
                  </a:lnTo>
                  <a:lnTo>
                    <a:pt x="305689" y="272414"/>
                  </a:lnTo>
                  <a:lnTo>
                    <a:pt x="305054" y="274319"/>
                  </a:lnTo>
                  <a:lnTo>
                    <a:pt x="304292" y="276098"/>
                  </a:lnTo>
                  <a:lnTo>
                    <a:pt x="303403" y="277875"/>
                  </a:lnTo>
                  <a:lnTo>
                    <a:pt x="302514" y="279526"/>
                  </a:lnTo>
                  <a:lnTo>
                    <a:pt x="301499" y="281305"/>
                  </a:lnTo>
                  <a:lnTo>
                    <a:pt x="300356" y="282829"/>
                  </a:lnTo>
                  <a:lnTo>
                    <a:pt x="299339" y="284606"/>
                  </a:lnTo>
                  <a:lnTo>
                    <a:pt x="298197" y="286131"/>
                  </a:lnTo>
                  <a:lnTo>
                    <a:pt x="296926" y="287655"/>
                  </a:lnTo>
                  <a:lnTo>
                    <a:pt x="295657" y="289179"/>
                  </a:lnTo>
                  <a:lnTo>
                    <a:pt x="294387" y="290575"/>
                  </a:lnTo>
                  <a:lnTo>
                    <a:pt x="292989" y="291973"/>
                  </a:lnTo>
                  <a:lnTo>
                    <a:pt x="291720" y="293369"/>
                  </a:lnTo>
                  <a:lnTo>
                    <a:pt x="290323" y="294639"/>
                  </a:lnTo>
                  <a:lnTo>
                    <a:pt x="288672" y="296037"/>
                  </a:lnTo>
                  <a:lnTo>
                    <a:pt x="287148" y="297180"/>
                  </a:lnTo>
                  <a:lnTo>
                    <a:pt x="285624" y="298323"/>
                  </a:lnTo>
                  <a:lnTo>
                    <a:pt x="283973" y="299466"/>
                  </a:lnTo>
                  <a:lnTo>
                    <a:pt x="282322" y="300481"/>
                  </a:lnTo>
                  <a:lnTo>
                    <a:pt x="280544" y="301625"/>
                  </a:lnTo>
                  <a:lnTo>
                    <a:pt x="278892" y="302513"/>
                  </a:lnTo>
                  <a:lnTo>
                    <a:pt x="277114" y="303402"/>
                  </a:lnTo>
                  <a:close/>
                  <a:moveTo>
                    <a:pt x="-5945250" y="4614671"/>
                  </a:moveTo>
                  <a:moveTo>
                    <a:pt x="17781" y="304164"/>
                  </a:moveTo>
                  <a:lnTo>
                    <a:pt x="55119" y="304164"/>
                  </a:lnTo>
                  <a:lnTo>
                    <a:pt x="55373" y="262508"/>
                  </a:lnTo>
                  <a:lnTo>
                    <a:pt x="55499" y="261874"/>
                  </a:lnTo>
                  <a:lnTo>
                    <a:pt x="55499" y="260985"/>
                  </a:lnTo>
                  <a:lnTo>
                    <a:pt x="55753" y="260350"/>
                  </a:lnTo>
                  <a:lnTo>
                    <a:pt x="56008" y="259842"/>
                  </a:lnTo>
                  <a:lnTo>
                    <a:pt x="56388" y="259333"/>
                  </a:lnTo>
                  <a:lnTo>
                    <a:pt x="56642" y="258825"/>
                  </a:lnTo>
                  <a:lnTo>
                    <a:pt x="57150" y="258444"/>
                  </a:lnTo>
                  <a:lnTo>
                    <a:pt x="57659" y="258318"/>
                  </a:lnTo>
                  <a:lnTo>
                    <a:pt x="58039" y="258063"/>
                  </a:lnTo>
                  <a:lnTo>
                    <a:pt x="58674" y="257937"/>
                  </a:lnTo>
                  <a:lnTo>
                    <a:pt x="59310" y="257937"/>
                  </a:lnTo>
                  <a:lnTo>
                    <a:pt x="59817" y="258063"/>
                  </a:lnTo>
                  <a:lnTo>
                    <a:pt x="60579" y="258191"/>
                  </a:lnTo>
                  <a:lnTo>
                    <a:pt x="61214" y="258444"/>
                  </a:lnTo>
                  <a:lnTo>
                    <a:pt x="61849" y="258825"/>
                  </a:lnTo>
                  <a:lnTo>
                    <a:pt x="62612" y="259206"/>
                  </a:lnTo>
                  <a:lnTo>
                    <a:pt x="113412" y="298323"/>
                  </a:lnTo>
                  <a:lnTo>
                    <a:pt x="113412" y="262762"/>
                  </a:lnTo>
                  <a:lnTo>
                    <a:pt x="113538" y="261874"/>
                  </a:lnTo>
                  <a:lnTo>
                    <a:pt x="113665" y="260985"/>
                  </a:lnTo>
                  <a:lnTo>
                    <a:pt x="113792" y="260350"/>
                  </a:lnTo>
                  <a:lnTo>
                    <a:pt x="114047" y="259842"/>
                  </a:lnTo>
                  <a:lnTo>
                    <a:pt x="114427" y="259333"/>
                  </a:lnTo>
                  <a:lnTo>
                    <a:pt x="114809" y="258825"/>
                  </a:lnTo>
                  <a:lnTo>
                    <a:pt x="115189" y="258444"/>
                  </a:lnTo>
                  <a:lnTo>
                    <a:pt x="115698" y="258318"/>
                  </a:lnTo>
                  <a:lnTo>
                    <a:pt x="116206" y="258063"/>
                  </a:lnTo>
                  <a:lnTo>
                    <a:pt x="116713" y="257937"/>
                  </a:lnTo>
                  <a:lnTo>
                    <a:pt x="117475" y="257937"/>
                  </a:lnTo>
                  <a:lnTo>
                    <a:pt x="117984" y="258063"/>
                  </a:lnTo>
                  <a:lnTo>
                    <a:pt x="118746" y="258191"/>
                  </a:lnTo>
                  <a:lnTo>
                    <a:pt x="119381" y="258444"/>
                  </a:lnTo>
                  <a:lnTo>
                    <a:pt x="120015" y="258825"/>
                  </a:lnTo>
                  <a:lnTo>
                    <a:pt x="120650" y="259206"/>
                  </a:lnTo>
                  <a:lnTo>
                    <a:pt x="146812" y="279400"/>
                  </a:lnTo>
                  <a:lnTo>
                    <a:pt x="146812" y="243458"/>
                  </a:lnTo>
                  <a:lnTo>
                    <a:pt x="164592" y="243458"/>
                  </a:lnTo>
                  <a:lnTo>
                    <a:pt x="164592" y="292988"/>
                  </a:lnTo>
                  <a:lnTo>
                    <a:pt x="171577" y="298323"/>
                  </a:lnTo>
                  <a:lnTo>
                    <a:pt x="171577" y="262762"/>
                  </a:lnTo>
                  <a:lnTo>
                    <a:pt x="171577" y="261874"/>
                  </a:lnTo>
                  <a:lnTo>
                    <a:pt x="171832" y="260985"/>
                  </a:lnTo>
                  <a:lnTo>
                    <a:pt x="171832" y="260350"/>
                  </a:lnTo>
                  <a:lnTo>
                    <a:pt x="172212" y="259842"/>
                  </a:lnTo>
                  <a:lnTo>
                    <a:pt x="172594" y="259333"/>
                  </a:lnTo>
                  <a:lnTo>
                    <a:pt x="172848" y="258825"/>
                  </a:lnTo>
                  <a:lnTo>
                    <a:pt x="173356" y="258444"/>
                  </a:lnTo>
                  <a:lnTo>
                    <a:pt x="173737" y="258318"/>
                  </a:lnTo>
                  <a:lnTo>
                    <a:pt x="174372" y="258063"/>
                  </a:lnTo>
                  <a:lnTo>
                    <a:pt x="174879" y="257937"/>
                  </a:lnTo>
                  <a:lnTo>
                    <a:pt x="175387" y="257937"/>
                  </a:lnTo>
                  <a:lnTo>
                    <a:pt x="176149" y="258063"/>
                  </a:lnTo>
                  <a:lnTo>
                    <a:pt x="176785" y="258191"/>
                  </a:lnTo>
                  <a:lnTo>
                    <a:pt x="177420" y="258444"/>
                  </a:lnTo>
                  <a:lnTo>
                    <a:pt x="178182" y="258825"/>
                  </a:lnTo>
                  <a:lnTo>
                    <a:pt x="178816" y="259206"/>
                  </a:lnTo>
                  <a:lnTo>
                    <a:pt x="226187" y="295529"/>
                  </a:lnTo>
                  <a:lnTo>
                    <a:pt x="260859" y="295529"/>
                  </a:lnTo>
                  <a:lnTo>
                    <a:pt x="260859" y="344424"/>
                  </a:lnTo>
                  <a:lnTo>
                    <a:pt x="0" y="344424"/>
                  </a:lnTo>
                  <a:lnTo>
                    <a:pt x="0" y="243458"/>
                  </a:lnTo>
                  <a:lnTo>
                    <a:pt x="17781" y="243458"/>
                  </a:lnTo>
                  <a:lnTo>
                    <a:pt x="17781" y="304164"/>
                  </a:lnTo>
                  <a:close/>
                  <a:moveTo>
                    <a:pt x="-5946012" y="4614671"/>
                  </a:moveTo>
                  <a:moveTo>
                    <a:pt x="228727" y="308610"/>
                  </a:moveTo>
                  <a:lnTo>
                    <a:pt x="180467" y="271525"/>
                  </a:lnTo>
                  <a:lnTo>
                    <a:pt x="180467" y="307086"/>
                  </a:lnTo>
                  <a:lnTo>
                    <a:pt x="180467" y="307975"/>
                  </a:lnTo>
                  <a:lnTo>
                    <a:pt x="180340" y="308610"/>
                  </a:lnTo>
                  <a:lnTo>
                    <a:pt x="180087" y="309371"/>
                  </a:lnTo>
                  <a:lnTo>
                    <a:pt x="179960" y="309880"/>
                  </a:lnTo>
                  <a:lnTo>
                    <a:pt x="179578" y="310514"/>
                  </a:lnTo>
                  <a:lnTo>
                    <a:pt x="179198" y="310895"/>
                  </a:lnTo>
                  <a:lnTo>
                    <a:pt x="178689" y="311276"/>
                  </a:lnTo>
                  <a:lnTo>
                    <a:pt x="178309" y="311531"/>
                  </a:lnTo>
                  <a:lnTo>
                    <a:pt x="177674" y="311785"/>
                  </a:lnTo>
                  <a:lnTo>
                    <a:pt x="177165" y="311912"/>
                  </a:lnTo>
                  <a:lnTo>
                    <a:pt x="176531" y="311912"/>
                  </a:lnTo>
                  <a:lnTo>
                    <a:pt x="175896" y="311785"/>
                  </a:lnTo>
                  <a:lnTo>
                    <a:pt x="175261" y="311657"/>
                  </a:lnTo>
                  <a:lnTo>
                    <a:pt x="174752" y="311404"/>
                  </a:lnTo>
                  <a:lnTo>
                    <a:pt x="173990" y="311023"/>
                  </a:lnTo>
                  <a:lnTo>
                    <a:pt x="173228" y="310642"/>
                  </a:lnTo>
                  <a:lnTo>
                    <a:pt x="122301" y="271525"/>
                  </a:lnTo>
                  <a:lnTo>
                    <a:pt x="122301" y="307086"/>
                  </a:lnTo>
                  <a:lnTo>
                    <a:pt x="122301" y="307975"/>
                  </a:lnTo>
                  <a:lnTo>
                    <a:pt x="122301" y="308610"/>
                  </a:lnTo>
                  <a:lnTo>
                    <a:pt x="122048" y="309371"/>
                  </a:lnTo>
                  <a:lnTo>
                    <a:pt x="121794" y="309880"/>
                  </a:lnTo>
                  <a:lnTo>
                    <a:pt x="121412" y="310514"/>
                  </a:lnTo>
                  <a:lnTo>
                    <a:pt x="121032" y="310895"/>
                  </a:lnTo>
                  <a:lnTo>
                    <a:pt x="120524" y="311276"/>
                  </a:lnTo>
                  <a:lnTo>
                    <a:pt x="120142" y="311531"/>
                  </a:lnTo>
                  <a:lnTo>
                    <a:pt x="119635" y="311785"/>
                  </a:lnTo>
                  <a:lnTo>
                    <a:pt x="118999" y="311912"/>
                  </a:lnTo>
                  <a:lnTo>
                    <a:pt x="118491" y="311912"/>
                  </a:lnTo>
                  <a:lnTo>
                    <a:pt x="117857" y="311785"/>
                  </a:lnTo>
                  <a:lnTo>
                    <a:pt x="117095" y="311657"/>
                  </a:lnTo>
                  <a:lnTo>
                    <a:pt x="116587" y="311404"/>
                  </a:lnTo>
                  <a:lnTo>
                    <a:pt x="115824" y="311023"/>
                  </a:lnTo>
                  <a:lnTo>
                    <a:pt x="115062" y="310642"/>
                  </a:lnTo>
                  <a:lnTo>
                    <a:pt x="64516" y="271525"/>
                  </a:lnTo>
                  <a:lnTo>
                    <a:pt x="64516" y="307212"/>
                  </a:lnTo>
                  <a:lnTo>
                    <a:pt x="64389" y="308356"/>
                  </a:lnTo>
                  <a:lnTo>
                    <a:pt x="64009" y="309625"/>
                  </a:lnTo>
                  <a:lnTo>
                    <a:pt x="63627" y="310514"/>
                  </a:lnTo>
                  <a:lnTo>
                    <a:pt x="62865" y="311404"/>
                  </a:lnTo>
                  <a:lnTo>
                    <a:pt x="62231" y="312038"/>
                  </a:lnTo>
                  <a:lnTo>
                    <a:pt x="61341" y="312419"/>
                  </a:lnTo>
                  <a:lnTo>
                    <a:pt x="60452" y="312800"/>
                  </a:lnTo>
                  <a:lnTo>
                    <a:pt x="59563" y="312800"/>
                  </a:lnTo>
                  <a:lnTo>
                    <a:pt x="17781" y="312800"/>
                  </a:lnTo>
                  <a:lnTo>
                    <a:pt x="17781" y="327151"/>
                  </a:lnTo>
                  <a:lnTo>
                    <a:pt x="18162" y="327151"/>
                  </a:lnTo>
                  <a:lnTo>
                    <a:pt x="245746" y="327151"/>
                  </a:lnTo>
                  <a:lnTo>
                    <a:pt x="245746" y="308610"/>
                  </a:lnTo>
                  <a:lnTo>
                    <a:pt x="228727" y="308610"/>
                  </a:lnTo>
                  <a:close/>
                  <a:moveTo>
                    <a:pt x="-5950458" y="4614671"/>
                  </a:moveTo>
                  <a:moveTo>
                    <a:pt x="391287" y="189737"/>
                  </a:moveTo>
                  <a:lnTo>
                    <a:pt x="395606" y="63118"/>
                  </a:lnTo>
                  <a:lnTo>
                    <a:pt x="415545" y="63118"/>
                  </a:lnTo>
                  <a:lnTo>
                    <a:pt x="419736" y="189737"/>
                  </a:lnTo>
                  <a:lnTo>
                    <a:pt x="391287" y="189737"/>
                  </a:lnTo>
                  <a:close/>
                  <a:moveTo>
                    <a:pt x="-5831585" y="4614671"/>
                  </a:moveTo>
                  <a:moveTo>
                    <a:pt x="404241" y="71755"/>
                  </a:moveTo>
                  <a:lnTo>
                    <a:pt x="400939" y="172974"/>
                  </a:lnTo>
                  <a:lnTo>
                    <a:pt x="409957" y="164211"/>
                  </a:lnTo>
                  <a:lnTo>
                    <a:pt x="406782" y="71755"/>
                  </a:lnTo>
                  <a:lnTo>
                    <a:pt x="404241" y="71755"/>
                  </a:lnTo>
                  <a:close/>
                  <a:moveTo>
                    <a:pt x="-5713603" y="4614671"/>
                  </a:moveTo>
                  <a:moveTo>
                    <a:pt x="429641" y="211708"/>
                  </a:moveTo>
                  <a:lnTo>
                    <a:pt x="436246" y="211708"/>
                  </a:lnTo>
                  <a:lnTo>
                    <a:pt x="436246" y="234314"/>
                  </a:lnTo>
                  <a:lnTo>
                    <a:pt x="451104" y="234314"/>
                  </a:lnTo>
                  <a:lnTo>
                    <a:pt x="451104" y="344424"/>
                  </a:lnTo>
                  <a:lnTo>
                    <a:pt x="329438" y="344424"/>
                  </a:lnTo>
                  <a:lnTo>
                    <a:pt x="329438" y="234314"/>
                  </a:lnTo>
                  <a:lnTo>
                    <a:pt x="371857" y="234314"/>
                  </a:lnTo>
                  <a:lnTo>
                    <a:pt x="371857" y="211708"/>
                  </a:lnTo>
                  <a:lnTo>
                    <a:pt x="379858" y="211708"/>
                  </a:lnTo>
                  <a:lnTo>
                    <a:pt x="379858" y="198374"/>
                  </a:lnTo>
                  <a:lnTo>
                    <a:pt x="429641" y="198374"/>
                  </a:lnTo>
                  <a:lnTo>
                    <a:pt x="429641" y="211708"/>
                  </a:lnTo>
                  <a:close/>
                  <a:moveTo>
                    <a:pt x="-5853556" y="4614671"/>
                  </a:moveTo>
                  <a:moveTo>
                    <a:pt x="397637" y="228981"/>
                  </a:moveTo>
                  <a:lnTo>
                    <a:pt x="389637" y="228981"/>
                  </a:lnTo>
                  <a:lnTo>
                    <a:pt x="389637" y="251587"/>
                  </a:lnTo>
                  <a:lnTo>
                    <a:pt x="347219" y="251587"/>
                  </a:lnTo>
                  <a:lnTo>
                    <a:pt x="347219" y="327151"/>
                  </a:lnTo>
                  <a:lnTo>
                    <a:pt x="433324" y="327151"/>
                  </a:lnTo>
                  <a:lnTo>
                    <a:pt x="433324" y="251587"/>
                  </a:lnTo>
                  <a:lnTo>
                    <a:pt x="418338" y="251587"/>
                  </a:lnTo>
                  <a:lnTo>
                    <a:pt x="418338" y="228981"/>
                  </a:lnTo>
                  <a:lnTo>
                    <a:pt x="411735" y="228981"/>
                  </a:lnTo>
                  <a:lnTo>
                    <a:pt x="411735" y="215645"/>
                  </a:lnTo>
                  <a:lnTo>
                    <a:pt x="397637" y="215645"/>
                  </a:lnTo>
                  <a:lnTo>
                    <a:pt x="397637" y="228981"/>
                  </a:lnTo>
                  <a:close/>
                  <a:moveTo>
                    <a:pt x="-5870829" y="4614671"/>
                  </a:moveTo>
                  <a:moveTo>
                    <a:pt x="360299" y="294258"/>
                  </a:moveTo>
                  <a:lnTo>
                    <a:pt x="389637" y="294258"/>
                  </a:lnTo>
                  <a:lnTo>
                    <a:pt x="389637" y="302894"/>
                  </a:lnTo>
                  <a:lnTo>
                    <a:pt x="360299" y="302894"/>
                  </a:lnTo>
                  <a:lnTo>
                    <a:pt x="360299" y="294258"/>
                  </a:lnTo>
                  <a:close/>
                  <a:moveTo>
                    <a:pt x="-5936106" y="4614671"/>
                  </a:moveTo>
                  <a:moveTo>
                    <a:pt x="360299" y="264032"/>
                  </a:moveTo>
                  <a:lnTo>
                    <a:pt x="389637" y="264032"/>
                  </a:lnTo>
                  <a:lnTo>
                    <a:pt x="389637" y="272668"/>
                  </a:lnTo>
                  <a:lnTo>
                    <a:pt x="360299" y="272668"/>
                  </a:lnTo>
                  <a:lnTo>
                    <a:pt x="360299" y="264032"/>
                  </a:lnTo>
                  <a:close/>
                  <a:moveTo>
                    <a:pt x="-5905880" y="4614671"/>
                  </a:moveTo>
                  <a:moveTo>
                    <a:pt x="360299" y="279145"/>
                  </a:moveTo>
                  <a:lnTo>
                    <a:pt x="389637" y="279145"/>
                  </a:lnTo>
                  <a:lnTo>
                    <a:pt x="389637" y="287781"/>
                  </a:lnTo>
                  <a:lnTo>
                    <a:pt x="360299" y="287781"/>
                  </a:lnTo>
                  <a:lnTo>
                    <a:pt x="360299" y="279145"/>
                  </a:lnTo>
                  <a:close/>
                  <a:moveTo>
                    <a:pt x="-5920993" y="4614671"/>
                  </a:moveTo>
                  <a:moveTo>
                    <a:pt x="115189" y="71755"/>
                  </a:moveTo>
                  <a:lnTo>
                    <a:pt x="111887" y="172974"/>
                  </a:lnTo>
                  <a:lnTo>
                    <a:pt x="120904" y="164211"/>
                  </a:lnTo>
                  <a:lnTo>
                    <a:pt x="117857" y="71755"/>
                  </a:lnTo>
                  <a:lnTo>
                    <a:pt x="115189" y="71755"/>
                  </a:lnTo>
                  <a:close/>
                  <a:moveTo>
                    <a:pt x="-5713603" y="4614671"/>
                  </a:moveTo>
                  <a:moveTo>
                    <a:pt x="102362" y="189737"/>
                  </a:moveTo>
                  <a:lnTo>
                    <a:pt x="106681" y="63118"/>
                  </a:lnTo>
                  <a:lnTo>
                    <a:pt x="126492" y="63118"/>
                  </a:lnTo>
                  <a:lnTo>
                    <a:pt x="130684" y="189737"/>
                  </a:lnTo>
                  <a:lnTo>
                    <a:pt x="102362" y="189737"/>
                  </a:lnTo>
                  <a:close/>
                  <a:moveTo>
                    <a:pt x="-5831585" y="4614671"/>
                  </a:moveTo>
                  <a:moveTo>
                    <a:pt x="75565" y="71755"/>
                  </a:moveTo>
                  <a:lnTo>
                    <a:pt x="72263" y="172974"/>
                  </a:lnTo>
                  <a:lnTo>
                    <a:pt x="81281" y="164211"/>
                  </a:lnTo>
                  <a:lnTo>
                    <a:pt x="78233" y="71755"/>
                  </a:lnTo>
                  <a:lnTo>
                    <a:pt x="75565" y="71755"/>
                  </a:lnTo>
                  <a:close/>
                  <a:moveTo>
                    <a:pt x="-5713603" y="4614671"/>
                  </a:moveTo>
                  <a:moveTo>
                    <a:pt x="62738" y="189737"/>
                  </a:moveTo>
                  <a:lnTo>
                    <a:pt x="67057" y="63118"/>
                  </a:lnTo>
                  <a:lnTo>
                    <a:pt x="86869" y="63118"/>
                  </a:lnTo>
                  <a:lnTo>
                    <a:pt x="91060" y="189737"/>
                  </a:lnTo>
                  <a:lnTo>
                    <a:pt x="62738" y="189737"/>
                  </a:lnTo>
                  <a:close/>
                  <a:moveTo>
                    <a:pt x="-5831585" y="4614671"/>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24" name="Freeform 1524"/>
            <p:cNvSpPr/>
            <p:nvPr/>
          </p:nvSpPr>
          <p:spPr>
            <a:xfrm>
              <a:off x="10087384" y="1467284"/>
              <a:ext cx="1990186" cy="718457"/>
            </a:xfrm>
            <a:custGeom>
              <a:avLst/>
              <a:gdLst/>
              <a:ahLst/>
              <a:cxnLst/>
              <a:rect l="0" t="0" r="0" b="0"/>
              <a:pathLst>
                <a:path w="1511808" h="1298447">
                  <a:moveTo>
                    <a:pt x="0" y="1298447"/>
                  </a:moveTo>
                  <a:lnTo>
                    <a:pt x="1511808" y="1298447"/>
                  </a:lnTo>
                  <a:lnTo>
                    <a:pt x="1511808" y="0"/>
                  </a:lnTo>
                  <a:lnTo>
                    <a:pt x="0" y="0"/>
                  </a:lnTo>
                  <a:lnTo>
                    <a:pt x="0" y="1298447"/>
                  </a:lnTo>
                  <a:close/>
                </a:path>
              </a:pathLst>
            </a:custGeom>
            <a:noFill/>
            <a:ln w="9525" cap="flat" cmpd="sng">
              <a:solidFill>
                <a:srgbClr val="FFFACC"/>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1586" name="Rectangle 1586"/>
            <p:cNvSpPr/>
            <p:nvPr/>
          </p:nvSpPr>
          <p:spPr>
            <a:xfrm>
              <a:off x="10970048" y="1946980"/>
              <a:ext cx="286461" cy="154658"/>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Steel</a:t>
              </a:r>
            </a:p>
          </p:txBody>
        </p:sp>
        <p:sp>
          <p:nvSpPr>
            <p:cNvPr id="1588" name="Rectangle 1588"/>
            <p:cNvSpPr/>
            <p:nvPr/>
          </p:nvSpPr>
          <p:spPr>
            <a:xfrm>
              <a:off x="10143798" y="1946980"/>
              <a:ext cx="567135" cy="154658"/>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Chemicals</a:t>
              </a:r>
            </a:p>
          </p:txBody>
        </p:sp>
        <p:sp>
          <p:nvSpPr>
            <p:cNvPr id="1589" name="Rectangle 1589"/>
            <p:cNvSpPr/>
            <p:nvPr/>
          </p:nvSpPr>
          <p:spPr>
            <a:xfrm>
              <a:off x="11490727" y="1943709"/>
              <a:ext cx="594738" cy="15478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Refineries</a:t>
              </a:r>
            </a:p>
          </p:txBody>
        </p:sp>
      </p:grpSp>
      <p:sp>
        <p:nvSpPr>
          <p:cNvPr id="1567" name="Rectangle 1567"/>
          <p:cNvSpPr/>
          <p:nvPr/>
        </p:nvSpPr>
        <p:spPr>
          <a:xfrm>
            <a:off x="9891884" y="1497374"/>
            <a:ext cx="1495979" cy="246990"/>
          </a:xfrm>
          <a:prstGeom prst="rect">
            <a:avLst/>
          </a:prstGeom>
          <a:solidFill>
            <a:srgbClr val="2E2E38"/>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5" b="1" i="0" u="none" strike="noStrike" kern="1200" cap="none" spc="0" normalizeH="0" baseline="0" noProof="0" dirty="0">
                <a:ln>
                  <a:noFill/>
                </a:ln>
                <a:solidFill>
                  <a:srgbClr val="FFE600"/>
                </a:solidFill>
                <a:effectLst/>
                <a:uLnTx/>
                <a:uFillTx/>
                <a:latin typeface="EYInterstate-LightBold"/>
                <a:ea typeface="+mn-ea"/>
                <a:cs typeface="+mn-cs"/>
              </a:rPr>
              <a:t>Industry </a:t>
            </a:r>
          </a:p>
        </p:txBody>
      </p:sp>
      <p:sp>
        <p:nvSpPr>
          <p:cNvPr id="1569" name="Rectangle 1569"/>
          <p:cNvSpPr/>
          <p:nvPr/>
        </p:nvSpPr>
        <p:spPr>
          <a:xfrm>
            <a:off x="9891884" y="4743016"/>
            <a:ext cx="1520336" cy="247503"/>
          </a:xfrm>
          <a:prstGeom prst="rect">
            <a:avLst/>
          </a:prstGeom>
          <a:solidFill>
            <a:srgbClr val="2E2E38"/>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1942426" algn="l"/>
              </a:tabLst>
              <a:defRPr/>
            </a:pPr>
            <a:r>
              <a:rPr kumimoji="0" lang="en-US" sz="1608" b="1" i="0" u="none" strike="noStrike" kern="1200" cap="none" spc="0" normalizeH="0" baseline="0" noProof="0" dirty="0">
                <a:ln>
                  <a:noFill/>
                </a:ln>
                <a:solidFill>
                  <a:srgbClr val="FFE600"/>
                </a:solidFill>
                <a:effectLst/>
                <a:uLnTx/>
                <a:uFillTx/>
                <a:latin typeface="EYInterstate-LightBold"/>
                <a:ea typeface="+mn-ea"/>
                <a:cs typeface="+mn-cs"/>
              </a:rPr>
              <a:t>Power &amp;</a:t>
            </a:r>
            <a:r>
              <a:rPr kumimoji="0" lang="en-US" sz="1608" b="1" i="0" u="none" strike="noStrike" kern="1200" cap="none" spc="-28" normalizeH="0" baseline="0" noProof="0" dirty="0">
                <a:ln>
                  <a:noFill/>
                </a:ln>
                <a:solidFill>
                  <a:srgbClr val="FFE600"/>
                </a:solidFill>
                <a:effectLst/>
                <a:uLnTx/>
                <a:uFillTx/>
                <a:latin typeface="EYInterstate-LightBold"/>
                <a:ea typeface="+mn-ea"/>
                <a:cs typeface="+mn-cs"/>
              </a:rPr>
              <a:t> </a:t>
            </a:r>
            <a:r>
              <a:rPr kumimoji="0" lang="en-US" sz="1608" b="1" i="0" u="none" strike="noStrike" kern="1200" cap="none" spc="0" normalizeH="0" baseline="0" noProof="0" dirty="0">
                <a:ln>
                  <a:noFill/>
                </a:ln>
                <a:solidFill>
                  <a:srgbClr val="FFE600"/>
                </a:solidFill>
                <a:effectLst/>
                <a:uLnTx/>
                <a:uFillTx/>
                <a:latin typeface="EYInterstate-LightBold"/>
                <a:ea typeface="+mn-ea"/>
                <a:cs typeface="+mn-cs"/>
              </a:rPr>
              <a:t>Heat </a:t>
            </a:r>
            <a:endParaRPr kumimoji="0" lang="en-US" sz="2432" b="1" i="0" u="none" strike="noStrike" kern="1200" cap="none" spc="0" normalizeH="0" baseline="17599" noProof="0" dirty="0">
              <a:ln>
                <a:noFill/>
              </a:ln>
              <a:solidFill>
                <a:srgbClr val="FFE600"/>
              </a:solidFill>
              <a:effectLst/>
              <a:uLnTx/>
              <a:uFillTx/>
              <a:latin typeface="EYInterstate-LightBold"/>
              <a:ea typeface="+mn-ea"/>
              <a:cs typeface="+mn-cs"/>
            </a:endParaRPr>
          </a:p>
        </p:txBody>
      </p:sp>
      <p:grpSp>
        <p:nvGrpSpPr>
          <p:cNvPr id="10" name="4. Distribution - Storage">
            <a:extLst>
              <a:ext uri="{FF2B5EF4-FFF2-40B4-BE49-F238E27FC236}">
                <a16:creationId xmlns:a16="http://schemas.microsoft.com/office/drawing/2014/main" id="{3BAB8D9D-E547-4C2D-9815-3BA4D59FB795}"/>
              </a:ext>
            </a:extLst>
          </p:cNvPr>
          <p:cNvGrpSpPr/>
          <p:nvPr/>
        </p:nvGrpSpPr>
        <p:grpSpPr>
          <a:xfrm>
            <a:off x="7521722" y="1530552"/>
            <a:ext cx="1516324" cy="968255"/>
            <a:chOff x="7316089" y="1529563"/>
            <a:chExt cx="1517114" cy="968759"/>
          </a:xfrm>
        </p:grpSpPr>
        <p:sp>
          <p:nvSpPr>
            <p:cNvPr id="1308" name="Freeform 1308"/>
            <p:cNvSpPr/>
            <p:nvPr/>
          </p:nvSpPr>
          <p:spPr>
            <a:xfrm>
              <a:off x="7466452" y="1840179"/>
              <a:ext cx="561768" cy="239136"/>
            </a:xfrm>
            <a:prstGeom prst="flowChartMagneticDrum">
              <a:avLst/>
            </a:prstGeom>
            <a:solidFill>
              <a:srgbClr val="188CE5"/>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09" name="Freeform 1309"/>
            <p:cNvSpPr/>
            <p:nvPr/>
          </p:nvSpPr>
          <p:spPr>
            <a:xfrm>
              <a:off x="7512534" y="1872280"/>
              <a:ext cx="477118" cy="177567"/>
            </a:xfrm>
            <a:custGeom>
              <a:avLst/>
              <a:gdLst/>
              <a:ahLst/>
              <a:cxnLst/>
              <a:rect l="0" t="0" r="0" b="0"/>
              <a:pathLst>
                <a:path w="170688" h="329183">
                  <a:moveTo>
                    <a:pt x="152655" y="329183"/>
                  </a:moveTo>
                  <a:lnTo>
                    <a:pt x="19050" y="329183"/>
                  </a:lnTo>
                  <a:lnTo>
                    <a:pt x="14860" y="328168"/>
                  </a:lnTo>
                  <a:lnTo>
                    <a:pt x="11685" y="327151"/>
                  </a:lnTo>
                  <a:lnTo>
                    <a:pt x="8510" y="326136"/>
                  </a:lnTo>
                  <a:lnTo>
                    <a:pt x="6350" y="324103"/>
                  </a:lnTo>
                  <a:lnTo>
                    <a:pt x="3175" y="320928"/>
                  </a:lnTo>
                  <a:lnTo>
                    <a:pt x="2160" y="317881"/>
                  </a:lnTo>
                  <a:lnTo>
                    <a:pt x="1017" y="314832"/>
                  </a:lnTo>
                  <a:lnTo>
                    <a:pt x="0" y="311784"/>
                  </a:lnTo>
                  <a:lnTo>
                    <a:pt x="0" y="17399"/>
                  </a:lnTo>
                  <a:lnTo>
                    <a:pt x="1017" y="14351"/>
                  </a:lnTo>
                  <a:lnTo>
                    <a:pt x="2160" y="11302"/>
                  </a:lnTo>
                  <a:lnTo>
                    <a:pt x="3175" y="8255"/>
                  </a:lnTo>
                  <a:lnTo>
                    <a:pt x="6350" y="5080"/>
                  </a:lnTo>
                  <a:lnTo>
                    <a:pt x="8510" y="3047"/>
                  </a:lnTo>
                  <a:lnTo>
                    <a:pt x="11685" y="1015"/>
                  </a:lnTo>
                  <a:lnTo>
                    <a:pt x="14860" y="0"/>
                  </a:lnTo>
                  <a:lnTo>
                    <a:pt x="19050" y="0"/>
                  </a:lnTo>
                  <a:lnTo>
                    <a:pt x="152655" y="0"/>
                  </a:lnTo>
                  <a:lnTo>
                    <a:pt x="156846" y="0"/>
                  </a:lnTo>
                  <a:lnTo>
                    <a:pt x="160148" y="1015"/>
                  </a:lnTo>
                  <a:lnTo>
                    <a:pt x="163323" y="3047"/>
                  </a:lnTo>
                  <a:lnTo>
                    <a:pt x="165355" y="5080"/>
                  </a:lnTo>
                  <a:lnTo>
                    <a:pt x="168530" y="8255"/>
                  </a:lnTo>
                  <a:lnTo>
                    <a:pt x="169673" y="11302"/>
                  </a:lnTo>
                  <a:lnTo>
                    <a:pt x="170688" y="14351"/>
                  </a:lnTo>
                  <a:lnTo>
                    <a:pt x="170688" y="17399"/>
                  </a:lnTo>
                  <a:lnTo>
                    <a:pt x="170688" y="311784"/>
                  </a:lnTo>
                  <a:lnTo>
                    <a:pt x="170688" y="314832"/>
                  </a:lnTo>
                  <a:lnTo>
                    <a:pt x="169673" y="317881"/>
                  </a:lnTo>
                  <a:lnTo>
                    <a:pt x="168530" y="320928"/>
                  </a:lnTo>
                  <a:lnTo>
                    <a:pt x="165355" y="324103"/>
                  </a:lnTo>
                  <a:lnTo>
                    <a:pt x="163323" y="326136"/>
                  </a:lnTo>
                  <a:lnTo>
                    <a:pt x="160148" y="327151"/>
                  </a:lnTo>
                  <a:lnTo>
                    <a:pt x="156846" y="328168"/>
                  </a:lnTo>
                  <a:lnTo>
                    <a:pt x="152655" y="329183"/>
                  </a:lnTo>
                  <a:close/>
                  <a:moveTo>
                    <a:pt x="-2636519" y="5108447"/>
                  </a:moveTo>
                  <a:moveTo>
                    <a:pt x="19050" y="9270"/>
                  </a:moveTo>
                  <a:lnTo>
                    <a:pt x="19050" y="9270"/>
                  </a:lnTo>
                  <a:lnTo>
                    <a:pt x="14860" y="10287"/>
                  </a:lnTo>
                  <a:lnTo>
                    <a:pt x="12700" y="11302"/>
                  </a:lnTo>
                  <a:lnTo>
                    <a:pt x="10542" y="14351"/>
                  </a:lnTo>
                  <a:lnTo>
                    <a:pt x="9525" y="17399"/>
                  </a:lnTo>
                  <a:lnTo>
                    <a:pt x="9525" y="311784"/>
                  </a:lnTo>
                  <a:lnTo>
                    <a:pt x="10542" y="314832"/>
                  </a:lnTo>
                  <a:lnTo>
                    <a:pt x="12700" y="316864"/>
                  </a:lnTo>
                  <a:lnTo>
                    <a:pt x="14860" y="318896"/>
                  </a:lnTo>
                  <a:lnTo>
                    <a:pt x="19050" y="319913"/>
                  </a:lnTo>
                  <a:lnTo>
                    <a:pt x="152655" y="319913"/>
                  </a:lnTo>
                  <a:lnTo>
                    <a:pt x="155830" y="318896"/>
                  </a:lnTo>
                  <a:lnTo>
                    <a:pt x="159005" y="316864"/>
                  </a:lnTo>
                  <a:lnTo>
                    <a:pt x="161163" y="314832"/>
                  </a:lnTo>
                  <a:lnTo>
                    <a:pt x="161163" y="311784"/>
                  </a:lnTo>
                  <a:lnTo>
                    <a:pt x="161163" y="17399"/>
                  </a:lnTo>
                  <a:lnTo>
                    <a:pt x="161163" y="14351"/>
                  </a:lnTo>
                  <a:lnTo>
                    <a:pt x="159005" y="11302"/>
                  </a:lnTo>
                  <a:lnTo>
                    <a:pt x="155830" y="10287"/>
                  </a:lnTo>
                  <a:lnTo>
                    <a:pt x="152655" y="9270"/>
                  </a:lnTo>
                  <a:lnTo>
                    <a:pt x="19050" y="9270"/>
                  </a:lnTo>
                  <a:close/>
                  <a:moveTo>
                    <a:pt x="-2316606" y="5108447"/>
                  </a:moveTo>
                </a:path>
              </a:pathLst>
            </a:custGeom>
            <a:solidFill>
              <a:srgbClr val="188CE5"/>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10" name="Freeform 1310"/>
            <p:cNvSpPr/>
            <p:nvPr/>
          </p:nvSpPr>
          <p:spPr>
            <a:xfrm>
              <a:off x="7681206" y="1781477"/>
              <a:ext cx="140776" cy="55448"/>
            </a:xfrm>
            <a:custGeom>
              <a:avLst/>
              <a:gdLst/>
              <a:ahLst/>
              <a:cxnLst/>
              <a:rect l="0" t="0" r="0" b="0"/>
              <a:pathLst>
                <a:path w="60960" h="27431">
                  <a:moveTo>
                    <a:pt x="60960" y="27431"/>
                  </a:moveTo>
                  <a:lnTo>
                    <a:pt x="0" y="27431"/>
                  </a:lnTo>
                  <a:lnTo>
                    <a:pt x="0" y="10160"/>
                  </a:lnTo>
                  <a:lnTo>
                    <a:pt x="0" y="6095"/>
                  </a:lnTo>
                  <a:lnTo>
                    <a:pt x="2159" y="3048"/>
                  </a:lnTo>
                  <a:lnTo>
                    <a:pt x="5461" y="1016"/>
                  </a:lnTo>
                  <a:lnTo>
                    <a:pt x="9780" y="0"/>
                  </a:lnTo>
                  <a:lnTo>
                    <a:pt x="51182" y="0"/>
                  </a:lnTo>
                  <a:lnTo>
                    <a:pt x="55499" y="1016"/>
                  </a:lnTo>
                  <a:lnTo>
                    <a:pt x="58801" y="3048"/>
                  </a:lnTo>
                  <a:lnTo>
                    <a:pt x="60960" y="6095"/>
                  </a:lnTo>
                  <a:lnTo>
                    <a:pt x="60960" y="10160"/>
                  </a:lnTo>
                  <a:lnTo>
                    <a:pt x="60960" y="27431"/>
                  </a:lnTo>
                  <a:close/>
                  <a:moveTo>
                    <a:pt x="-2350007" y="5148071"/>
                  </a:moveTo>
                  <a:moveTo>
                    <a:pt x="9780" y="18287"/>
                  </a:moveTo>
                  <a:lnTo>
                    <a:pt x="51182" y="18287"/>
                  </a:lnTo>
                  <a:lnTo>
                    <a:pt x="51182" y="10160"/>
                  </a:lnTo>
                  <a:lnTo>
                    <a:pt x="9780" y="9143"/>
                  </a:lnTo>
                  <a:lnTo>
                    <a:pt x="9780" y="18287"/>
                  </a:lnTo>
                  <a:close/>
                  <a:moveTo>
                    <a:pt x="-2340863" y="5148071"/>
                  </a:moveTo>
                </a:path>
              </a:pathLst>
            </a:custGeom>
            <a:solidFill>
              <a:srgbClr val="188CE5"/>
            </a:solidFill>
            <a:ln w="6350">
              <a:noFill/>
            </a:ln>
          </p:spPr>
          <p:style>
            <a:lnRef idx="2">
              <a:schemeClr val="accent1">
                <a:shade val="50000"/>
              </a:schemeClr>
            </a:lnRef>
            <a:fillRef idx="1">
              <a:schemeClr val="accent1"/>
            </a:fillRef>
            <a:effectRef idx="0">
              <a:schemeClr val="accent1"/>
            </a:effectRef>
            <a:fontRef idx="minor">
              <a:schemeClr val="lt1"/>
            </a:fontRef>
          </p:style>
        </p:sp>
        <p:pic>
          <p:nvPicPr>
            <p:cNvPr id="1319" name="Picture 1319"/>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a:xfrm>
              <a:off x="8155758" y="1784319"/>
              <a:ext cx="543276" cy="327615"/>
            </a:xfrm>
            <a:prstGeom prst="rect">
              <a:avLst/>
            </a:prstGeom>
            <a:noFill/>
          </p:spPr>
        </p:pic>
        <p:sp>
          <p:nvSpPr>
            <p:cNvPr id="1320" name="Freeform 1320"/>
            <p:cNvSpPr/>
            <p:nvPr/>
          </p:nvSpPr>
          <p:spPr>
            <a:xfrm>
              <a:off x="8208690" y="1718441"/>
              <a:ext cx="435637" cy="6093"/>
            </a:xfrm>
            <a:custGeom>
              <a:avLst/>
              <a:gdLst/>
              <a:ahLst/>
              <a:cxnLst/>
              <a:rect l="0" t="0" r="0" b="0"/>
              <a:pathLst>
                <a:path w="435864" h="6096">
                  <a:moveTo>
                    <a:pt x="0" y="6096"/>
                  </a:moveTo>
                  <a:lnTo>
                    <a:pt x="435864" y="6096"/>
                  </a:lnTo>
                  <a:lnTo>
                    <a:pt x="435864" y="0"/>
                  </a:lnTo>
                  <a:lnTo>
                    <a:pt x="0" y="0"/>
                  </a:lnTo>
                  <a:lnTo>
                    <a:pt x="0" y="6096"/>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21" name="Freeform 1321"/>
            <p:cNvSpPr/>
            <p:nvPr/>
          </p:nvSpPr>
          <p:spPr>
            <a:xfrm>
              <a:off x="8208690" y="1718441"/>
              <a:ext cx="435637" cy="6093"/>
            </a:xfrm>
            <a:custGeom>
              <a:avLst/>
              <a:gdLst/>
              <a:ahLst/>
              <a:cxnLst/>
              <a:rect l="0" t="0" r="0" b="0"/>
              <a:pathLst>
                <a:path w="435864" h="6096">
                  <a:moveTo>
                    <a:pt x="0" y="6096"/>
                  </a:moveTo>
                  <a:lnTo>
                    <a:pt x="435864" y="6096"/>
                  </a:lnTo>
                  <a:lnTo>
                    <a:pt x="435864" y="0"/>
                  </a:lnTo>
                  <a:lnTo>
                    <a:pt x="0" y="0"/>
                  </a:lnTo>
                  <a:lnTo>
                    <a:pt x="0" y="6096"/>
                  </a:lnTo>
                  <a:close/>
                </a:path>
              </a:pathLst>
            </a:custGeom>
            <a:noFill/>
            <a:ln w="9525" cap="flat" cmpd="sng">
              <a:solidFill>
                <a:srgbClr val="97979C">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sp>
          <p:nvSpPr>
            <p:cNvPr id="1322" name="Freeform 1322"/>
            <p:cNvSpPr/>
            <p:nvPr/>
          </p:nvSpPr>
          <p:spPr>
            <a:xfrm>
              <a:off x="8443264" y="1745857"/>
              <a:ext cx="7363" cy="112464"/>
            </a:xfrm>
            <a:custGeom>
              <a:avLst/>
              <a:gdLst/>
              <a:ahLst/>
              <a:cxnLst/>
              <a:rect l="0" t="0" r="0" b="0"/>
              <a:pathLst>
                <a:path w="7367" h="112523">
                  <a:moveTo>
                    <a:pt x="0" y="0"/>
                  </a:moveTo>
                  <a:lnTo>
                    <a:pt x="7367" y="112523"/>
                  </a:lnTo>
                </a:path>
              </a:pathLst>
            </a:custGeom>
            <a:noFill/>
            <a:ln w="28575" cap="sq" cmpd="sng">
              <a:solidFill>
                <a:srgbClr val="97979C">
                  <a:alpha val="100000"/>
                </a:srgbClr>
              </a:solidFill>
              <a:miter lim="101600"/>
            </a:ln>
          </p:spPr>
          <p:style>
            <a:lnRef idx="2">
              <a:schemeClr val="accent1">
                <a:shade val="50000"/>
              </a:schemeClr>
            </a:lnRef>
            <a:fillRef idx="1">
              <a:schemeClr val="accent1"/>
            </a:fillRef>
            <a:effectRef idx="0">
              <a:schemeClr val="accent1"/>
            </a:effectRef>
            <a:fontRef idx="minor">
              <a:schemeClr val="lt1"/>
            </a:fontRef>
          </p:style>
        </p:sp>
        <p:sp>
          <p:nvSpPr>
            <p:cNvPr id="1323" name="Freeform 1323"/>
            <p:cNvSpPr/>
            <p:nvPr/>
          </p:nvSpPr>
          <p:spPr>
            <a:xfrm>
              <a:off x="8204119" y="1786985"/>
              <a:ext cx="188878" cy="185830"/>
            </a:xfrm>
            <a:custGeom>
              <a:avLst/>
              <a:gdLst/>
              <a:ahLst/>
              <a:cxnLst/>
              <a:rect l="0" t="0" r="0" b="0"/>
              <a:pathLst>
                <a:path w="188976" h="185927">
                  <a:moveTo>
                    <a:pt x="0" y="92963"/>
                  </a:moveTo>
                  <a:cubicBezTo>
                    <a:pt x="0" y="41656"/>
                    <a:pt x="42290" y="0"/>
                    <a:pt x="94488" y="0"/>
                  </a:cubicBezTo>
                  <a:cubicBezTo>
                    <a:pt x="146685" y="0"/>
                    <a:pt x="188976" y="41656"/>
                    <a:pt x="188976" y="92963"/>
                  </a:cubicBezTo>
                  <a:cubicBezTo>
                    <a:pt x="188976" y="144271"/>
                    <a:pt x="146685" y="185927"/>
                    <a:pt x="94488" y="185927"/>
                  </a:cubicBezTo>
                  <a:cubicBezTo>
                    <a:pt x="42290" y="185927"/>
                    <a:pt x="0" y="144271"/>
                    <a:pt x="0" y="92963"/>
                  </a:cubicBezTo>
                  <a:close/>
                  <a:moveTo>
                    <a:pt x="-3226308" y="5071871"/>
                  </a:moveTo>
                </a:path>
              </a:pathLst>
            </a:custGeom>
            <a:solidFill>
              <a:srgbClr val="2E2E38">
                <a:alpha val="100000"/>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24" name="Freeform 1324"/>
            <p:cNvSpPr/>
            <p:nvPr/>
          </p:nvSpPr>
          <p:spPr>
            <a:xfrm>
              <a:off x="8185842" y="1777846"/>
              <a:ext cx="201062" cy="185830"/>
            </a:xfrm>
            <a:custGeom>
              <a:avLst/>
              <a:gdLst/>
              <a:ahLst/>
              <a:cxnLst/>
              <a:rect l="0" t="0" r="0" b="0"/>
              <a:pathLst>
                <a:path w="201167" h="185927">
                  <a:moveTo>
                    <a:pt x="94615" y="89535"/>
                  </a:moveTo>
                  <a:lnTo>
                    <a:pt x="94615" y="89535"/>
                  </a:lnTo>
                  <a:lnTo>
                    <a:pt x="94233" y="90169"/>
                  </a:lnTo>
                  <a:lnTo>
                    <a:pt x="93979" y="90805"/>
                  </a:lnTo>
                  <a:lnTo>
                    <a:pt x="93726" y="91312"/>
                  </a:lnTo>
                  <a:lnTo>
                    <a:pt x="93726" y="92075"/>
                  </a:lnTo>
                  <a:lnTo>
                    <a:pt x="93599" y="92710"/>
                  </a:lnTo>
                  <a:lnTo>
                    <a:pt x="93599" y="93218"/>
                  </a:lnTo>
                  <a:lnTo>
                    <a:pt x="93726" y="93852"/>
                  </a:lnTo>
                  <a:lnTo>
                    <a:pt x="93726" y="94487"/>
                  </a:lnTo>
                  <a:lnTo>
                    <a:pt x="93979" y="95123"/>
                  </a:lnTo>
                  <a:lnTo>
                    <a:pt x="94233" y="95631"/>
                  </a:lnTo>
                  <a:lnTo>
                    <a:pt x="94488" y="96138"/>
                  </a:lnTo>
                  <a:lnTo>
                    <a:pt x="94868" y="96774"/>
                  </a:lnTo>
                  <a:lnTo>
                    <a:pt x="95377" y="97155"/>
                  </a:lnTo>
                  <a:lnTo>
                    <a:pt x="95757" y="97662"/>
                  </a:lnTo>
                  <a:lnTo>
                    <a:pt x="96392" y="98044"/>
                  </a:lnTo>
                  <a:lnTo>
                    <a:pt x="96901" y="98551"/>
                  </a:lnTo>
                  <a:lnTo>
                    <a:pt x="97536" y="98806"/>
                  </a:lnTo>
                  <a:lnTo>
                    <a:pt x="98170" y="99060"/>
                  </a:lnTo>
                  <a:lnTo>
                    <a:pt x="98805" y="99187"/>
                  </a:lnTo>
                  <a:lnTo>
                    <a:pt x="99567" y="99313"/>
                  </a:lnTo>
                  <a:lnTo>
                    <a:pt x="100203" y="99440"/>
                  </a:lnTo>
                  <a:lnTo>
                    <a:pt x="100965" y="99313"/>
                  </a:lnTo>
                  <a:lnTo>
                    <a:pt x="101600" y="99313"/>
                  </a:lnTo>
                  <a:lnTo>
                    <a:pt x="102235" y="99187"/>
                  </a:lnTo>
                  <a:lnTo>
                    <a:pt x="102869" y="99060"/>
                  </a:lnTo>
                  <a:lnTo>
                    <a:pt x="103504" y="98806"/>
                  </a:lnTo>
                  <a:lnTo>
                    <a:pt x="104140" y="98551"/>
                  </a:lnTo>
                  <a:lnTo>
                    <a:pt x="104775" y="98170"/>
                  </a:lnTo>
                  <a:lnTo>
                    <a:pt x="105155" y="97662"/>
                  </a:lnTo>
                  <a:lnTo>
                    <a:pt x="105790" y="97281"/>
                  </a:lnTo>
                  <a:lnTo>
                    <a:pt x="106172" y="96774"/>
                  </a:lnTo>
                  <a:lnTo>
                    <a:pt x="106553" y="96265"/>
                  </a:lnTo>
                  <a:lnTo>
                    <a:pt x="106806" y="95631"/>
                  </a:lnTo>
                  <a:lnTo>
                    <a:pt x="107188" y="95123"/>
                  </a:lnTo>
                  <a:lnTo>
                    <a:pt x="107315" y="94487"/>
                  </a:lnTo>
                  <a:lnTo>
                    <a:pt x="107441" y="93852"/>
                  </a:lnTo>
                  <a:lnTo>
                    <a:pt x="107568" y="93218"/>
                  </a:lnTo>
                  <a:lnTo>
                    <a:pt x="107568" y="92582"/>
                  </a:lnTo>
                  <a:lnTo>
                    <a:pt x="107441" y="91948"/>
                  </a:lnTo>
                  <a:lnTo>
                    <a:pt x="107315" y="91312"/>
                  </a:lnTo>
                  <a:lnTo>
                    <a:pt x="107188" y="90805"/>
                  </a:lnTo>
                  <a:lnTo>
                    <a:pt x="106933" y="90169"/>
                  </a:lnTo>
                  <a:lnTo>
                    <a:pt x="106553" y="89662"/>
                  </a:lnTo>
                  <a:lnTo>
                    <a:pt x="106172" y="89154"/>
                  </a:lnTo>
                  <a:lnTo>
                    <a:pt x="105790" y="88645"/>
                  </a:lnTo>
                  <a:lnTo>
                    <a:pt x="105282" y="88264"/>
                  </a:lnTo>
                  <a:lnTo>
                    <a:pt x="104775" y="87756"/>
                  </a:lnTo>
                  <a:lnTo>
                    <a:pt x="104140" y="87375"/>
                  </a:lnTo>
                  <a:lnTo>
                    <a:pt x="103504" y="87121"/>
                  </a:lnTo>
                  <a:lnTo>
                    <a:pt x="102869" y="86868"/>
                  </a:lnTo>
                  <a:lnTo>
                    <a:pt x="102235" y="86613"/>
                  </a:lnTo>
                  <a:lnTo>
                    <a:pt x="101600" y="86613"/>
                  </a:lnTo>
                  <a:lnTo>
                    <a:pt x="100965" y="86487"/>
                  </a:lnTo>
                  <a:lnTo>
                    <a:pt x="100203" y="86487"/>
                  </a:lnTo>
                  <a:lnTo>
                    <a:pt x="99567" y="86613"/>
                  </a:lnTo>
                  <a:lnTo>
                    <a:pt x="98805" y="86613"/>
                  </a:lnTo>
                  <a:lnTo>
                    <a:pt x="98170" y="86868"/>
                  </a:lnTo>
                  <a:lnTo>
                    <a:pt x="97536" y="87121"/>
                  </a:lnTo>
                  <a:lnTo>
                    <a:pt x="97028" y="87375"/>
                  </a:lnTo>
                  <a:lnTo>
                    <a:pt x="96392" y="87630"/>
                  </a:lnTo>
                  <a:lnTo>
                    <a:pt x="95885" y="88137"/>
                  </a:lnTo>
                  <a:lnTo>
                    <a:pt x="95377" y="88519"/>
                  </a:lnTo>
                  <a:lnTo>
                    <a:pt x="94995" y="89026"/>
                  </a:lnTo>
                  <a:lnTo>
                    <a:pt x="94615" y="89535"/>
                  </a:lnTo>
                  <a:close/>
                  <a:moveTo>
                    <a:pt x="-3195448" y="5081015"/>
                  </a:moveTo>
                  <a:moveTo>
                    <a:pt x="35814" y="65912"/>
                  </a:moveTo>
                  <a:lnTo>
                    <a:pt x="35814" y="65912"/>
                  </a:lnTo>
                  <a:lnTo>
                    <a:pt x="35305" y="65405"/>
                  </a:lnTo>
                  <a:lnTo>
                    <a:pt x="35052" y="65150"/>
                  </a:lnTo>
                  <a:lnTo>
                    <a:pt x="35052" y="64643"/>
                  </a:lnTo>
                  <a:lnTo>
                    <a:pt x="35052" y="64388"/>
                  </a:lnTo>
                  <a:lnTo>
                    <a:pt x="35305" y="64135"/>
                  </a:lnTo>
                  <a:lnTo>
                    <a:pt x="35687" y="63881"/>
                  </a:lnTo>
                  <a:lnTo>
                    <a:pt x="36194" y="63881"/>
                  </a:lnTo>
                  <a:lnTo>
                    <a:pt x="36829" y="64007"/>
                  </a:lnTo>
                  <a:lnTo>
                    <a:pt x="71881" y="72517"/>
                  </a:lnTo>
                  <a:lnTo>
                    <a:pt x="96392" y="78612"/>
                  </a:lnTo>
                  <a:lnTo>
                    <a:pt x="104648" y="80771"/>
                  </a:lnTo>
                  <a:lnTo>
                    <a:pt x="107188" y="81280"/>
                  </a:lnTo>
                  <a:lnTo>
                    <a:pt x="108203" y="81787"/>
                  </a:lnTo>
                  <a:lnTo>
                    <a:pt x="109347" y="82423"/>
                  </a:lnTo>
                  <a:lnTo>
                    <a:pt x="110490" y="83312"/>
                  </a:lnTo>
                  <a:lnTo>
                    <a:pt x="111378" y="84200"/>
                  </a:lnTo>
                  <a:lnTo>
                    <a:pt x="112267" y="85089"/>
                  </a:lnTo>
                  <a:lnTo>
                    <a:pt x="113029" y="86106"/>
                  </a:lnTo>
                  <a:lnTo>
                    <a:pt x="113665" y="87249"/>
                  </a:lnTo>
                  <a:lnTo>
                    <a:pt x="114045" y="88392"/>
                  </a:lnTo>
                  <a:lnTo>
                    <a:pt x="114427" y="89535"/>
                  </a:lnTo>
                  <a:lnTo>
                    <a:pt x="114680" y="90805"/>
                  </a:lnTo>
                  <a:lnTo>
                    <a:pt x="114807" y="91948"/>
                  </a:lnTo>
                  <a:lnTo>
                    <a:pt x="114807" y="93218"/>
                  </a:lnTo>
                  <a:lnTo>
                    <a:pt x="114680" y="94487"/>
                  </a:lnTo>
                  <a:lnTo>
                    <a:pt x="114427" y="95631"/>
                  </a:lnTo>
                  <a:lnTo>
                    <a:pt x="114045" y="96900"/>
                  </a:lnTo>
                  <a:lnTo>
                    <a:pt x="113538" y="98044"/>
                  </a:lnTo>
                  <a:lnTo>
                    <a:pt x="112903" y="99313"/>
                  </a:lnTo>
                  <a:lnTo>
                    <a:pt x="112140" y="100330"/>
                  </a:lnTo>
                  <a:lnTo>
                    <a:pt x="111252" y="101345"/>
                  </a:lnTo>
                  <a:lnTo>
                    <a:pt x="110236" y="102235"/>
                  </a:lnTo>
                  <a:lnTo>
                    <a:pt x="109219" y="102996"/>
                  </a:lnTo>
                  <a:lnTo>
                    <a:pt x="108077" y="103631"/>
                  </a:lnTo>
                  <a:lnTo>
                    <a:pt x="106933" y="104267"/>
                  </a:lnTo>
                  <a:lnTo>
                    <a:pt x="105664" y="104648"/>
                  </a:lnTo>
                  <a:lnTo>
                    <a:pt x="104393" y="105029"/>
                  </a:lnTo>
                  <a:lnTo>
                    <a:pt x="103124" y="105282"/>
                  </a:lnTo>
                  <a:lnTo>
                    <a:pt x="101853" y="105410"/>
                  </a:lnTo>
                  <a:lnTo>
                    <a:pt x="100456" y="105410"/>
                  </a:lnTo>
                  <a:lnTo>
                    <a:pt x="99187" y="105282"/>
                  </a:lnTo>
                  <a:lnTo>
                    <a:pt x="97790" y="105029"/>
                  </a:lnTo>
                  <a:lnTo>
                    <a:pt x="96519" y="104648"/>
                  </a:lnTo>
                  <a:lnTo>
                    <a:pt x="95250" y="104267"/>
                  </a:lnTo>
                  <a:lnTo>
                    <a:pt x="93979" y="103505"/>
                  </a:lnTo>
                  <a:lnTo>
                    <a:pt x="84328" y="97408"/>
                  </a:lnTo>
                  <a:lnTo>
                    <a:pt x="64389" y="84455"/>
                  </a:lnTo>
                  <a:lnTo>
                    <a:pt x="35814" y="65912"/>
                  </a:lnTo>
                  <a:close/>
                  <a:moveTo>
                    <a:pt x="-3171825" y="5081015"/>
                  </a:moveTo>
                  <a:moveTo>
                    <a:pt x="76073" y="145033"/>
                  </a:moveTo>
                  <a:lnTo>
                    <a:pt x="127253" y="145033"/>
                  </a:lnTo>
                  <a:lnTo>
                    <a:pt x="127253" y="130175"/>
                  </a:lnTo>
                  <a:lnTo>
                    <a:pt x="69215" y="130175"/>
                  </a:lnTo>
                  <a:lnTo>
                    <a:pt x="69215" y="123951"/>
                  </a:lnTo>
                  <a:lnTo>
                    <a:pt x="134112" y="123951"/>
                  </a:lnTo>
                  <a:lnTo>
                    <a:pt x="134112" y="151383"/>
                  </a:lnTo>
                  <a:lnTo>
                    <a:pt x="69215" y="151383"/>
                  </a:lnTo>
                  <a:lnTo>
                    <a:pt x="69215" y="137287"/>
                  </a:lnTo>
                  <a:lnTo>
                    <a:pt x="76073" y="137287"/>
                  </a:lnTo>
                  <a:lnTo>
                    <a:pt x="76073" y="145033"/>
                  </a:lnTo>
                  <a:close/>
                  <a:moveTo>
                    <a:pt x="-3250946" y="5081015"/>
                  </a:moveTo>
                  <a:moveTo>
                    <a:pt x="100583" y="13715"/>
                  </a:moveTo>
                  <a:lnTo>
                    <a:pt x="100583" y="13715"/>
                  </a:lnTo>
                  <a:lnTo>
                    <a:pt x="96392" y="13843"/>
                  </a:lnTo>
                  <a:lnTo>
                    <a:pt x="92328" y="14096"/>
                  </a:lnTo>
                  <a:lnTo>
                    <a:pt x="88138" y="14477"/>
                  </a:lnTo>
                  <a:lnTo>
                    <a:pt x="84074" y="15239"/>
                  </a:lnTo>
                  <a:lnTo>
                    <a:pt x="80264" y="16001"/>
                  </a:lnTo>
                  <a:lnTo>
                    <a:pt x="76327" y="16890"/>
                  </a:lnTo>
                  <a:lnTo>
                    <a:pt x="72516" y="18033"/>
                  </a:lnTo>
                  <a:lnTo>
                    <a:pt x="68833" y="19304"/>
                  </a:lnTo>
                  <a:lnTo>
                    <a:pt x="65024" y="20700"/>
                  </a:lnTo>
                  <a:lnTo>
                    <a:pt x="61594" y="22351"/>
                  </a:lnTo>
                  <a:lnTo>
                    <a:pt x="58165" y="24130"/>
                  </a:lnTo>
                  <a:lnTo>
                    <a:pt x="54737" y="26035"/>
                  </a:lnTo>
                  <a:lnTo>
                    <a:pt x="51435" y="27939"/>
                  </a:lnTo>
                  <a:lnTo>
                    <a:pt x="48260" y="30099"/>
                  </a:lnTo>
                  <a:lnTo>
                    <a:pt x="45339" y="32385"/>
                  </a:lnTo>
                  <a:lnTo>
                    <a:pt x="42290" y="34798"/>
                  </a:lnTo>
                  <a:lnTo>
                    <a:pt x="39497" y="37337"/>
                  </a:lnTo>
                  <a:lnTo>
                    <a:pt x="36829" y="39877"/>
                  </a:lnTo>
                  <a:lnTo>
                    <a:pt x="34290" y="42671"/>
                  </a:lnTo>
                  <a:lnTo>
                    <a:pt x="31877" y="45465"/>
                  </a:lnTo>
                  <a:lnTo>
                    <a:pt x="29590" y="48513"/>
                  </a:lnTo>
                  <a:lnTo>
                    <a:pt x="27431" y="51435"/>
                  </a:lnTo>
                  <a:lnTo>
                    <a:pt x="25527" y="54610"/>
                  </a:lnTo>
                  <a:lnTo>
                    <a:pt x="23622" y="57785"/>
                  </a:lnTo>
                  <a:lnTo>
                    <a:pt x="21970" y="61213"/>
                  </a:lnTo>
                  <a:lnTo>
                    <a:pt x="20574" y="64643"/>
                  </a:lnTo>
                  <a:lnTo>
                    <a:pt x="19177" y="68071"/>
                  </a:lnTo>
                  <a:lnTo>
                    <a:pt x="18033" y="71500"/>
                  </a:lnTo>
                  <a:lnTo>
                    <a:pt x="17017" y="75183"/>
                  </a:lnTo>
                  <a:lnTo>
                    <a:pt x="16128" y="78867"/>
                  </a:lnTo>
                  <a:lnTo>
                    <a:pt x="15620" y="82676"/>
                  </a:lnTo>
                  <a:lnTo>
                    <a:pt x="15113" y="86360"/>
                  </a:lnTo>
                  <a:lnTo>
                    <a:pt x="127" y="86360"/>
                  </a:lnTo>
                  <a:lnTo>
                    <a:pt x="507" y="84200"/>
                  </a:lnTo>
                  <a:lnTo>
                    <a:pt x="635" y="81914"/>
                  </a:lnTo>
                  <a:lnTo>
                    <a:pt x="1015" y="79756"/>
                  </a:lnTo>
                  <a:lnTo>
                    <a:pt x="1397" y="77469"/>
                  </a:lnTo>
                  <a:lnTo>
                    <a:pt x="1778" y="75183"/>
                  </a:lnTo>
                  <a:lnTo>
                    <a:pt x="2286" y="73151"/>
                  </a:lnTo>
                  <a:lnTo>
                    <a:pt x="2793" y="70993"/>
                  </a:lnTo>
                  <a:lnTo>
                    <a:pt x="3428" y="68833"/>
                  </a:lnTo>
                  <a:lnTo>
                    <a:pt x="4064" y="66675"/>
                  </a:lnTo>
                  <a:lnTo>
                    <a:pt x="4699" y="64643"/>
                  </a:lnTo>
                  <a:lnTo>
                    <a:pt x="5461" y="62611"/>
                  </a:lnTo>
                  <a:lnTo>
                    <a:pt x="6350" y="60451"/>
                  </a:lnTo>
                  <a:lnTo>
                    <a:pt x="8001" y="56514"/>
                  </a:lnTo>
                  <a:lnTo>
                    <a:pt x="9905" y="52450"/>
                  </a:lnTo>
                  <a:lnTo>
                    <a:pt x="12065" y="48640"/>
                  </a:lnTo>
                  <a:lnTo>
                    <a:pt x="14351" y="44957"/>
                  </a:lnTo>
                  <a:lnTo>
                    <a:pt x="16890" y="41401"/>
                  </a:lnTo>
                  <a:lnTo>
                    <a:pt x="19557" y="37845"/>
                  </a:lnTo>
                  <a:lnTo>
                    <a:pt x="22352" y="34417"/>
                  </a:lnTo>
                  <a:lnTo>
                    <a:pt x="25400" y="31242"/>
                  </a:lnTo>
                  <a:lnTo>
                    <a:pt x="28448" y="28067"/>
                  </a:lnTo>
                  <a:lnTo>
                    <a:pt x="31877" y="25019"/>
                  </a:lnTo>
                  <a:lnTo>
                    <a:pt x="35305" y="22225"/>
                  </a:lnTo>
                  <a:lnTo>
                    <a:pt x="38862" y="19557"/>
                  </a:lnTo>
                  <a:lnTo>
                    <a:pt x="42544" y="17018"/>
                  </a:lnTo>
                  <a:lnTo>
                    <a:pt x="46354" y="14605"/>
                  </a:lnTo>
                  <a:lnTo>
                    <a:pt x="50418" y="12319"/>
                  </a:lnTo>
                  <a:lnTo>
                    <a:pt x="54482" y="10287"/>
                  </a:lnTo>
                  <a:lnTo>
                    <a:pt x="58674" y="8381"/>
                  </a:lnTo>
                  <a:lnTo>
                    <a:pt x="62991" y="6731"/>
                  </a:lnTo>
                  <a:lnTo>
                    <a:pt x="67437" y="5206"/>
                  </a:lnTo>
                  <a:lnTo>
                    <a:pt x="69595" y="4444"/>
                  </a:lnTo>
                  <a:lnTo>
                    <a:pt x="71881" y="3810"/>
                  </a:lnTo>
                  <a:lnTo>
                    <a:pt x="74167" y="3175"/>
                  </a:lnTo>
                  <a:lnTo>
                    <a:pt x="76453" y="2667"/>
                  </a:lnTo>
                  <a:lnTo>
                    <a:pt x="78866" y="2158"/>
                  </a:lnTo>
                  <a:lnTo>
                    <a:pt x="81153" y="1777"/>
                  </a:lnTo>
                  <a:lnTo>
                    <a:pt x="83439" y="1269"/>
                  </a:lnTo>
                  <a:lnTo>
                    <a:pt x="85852" y="888"/>
                  </a:lnTo>
                  <a:lnTo>
                    <a:pt x="88265" y="635"/>
                  </a:lnTo>
                  <a:lnTo>
                    <a:pt x="90678" y="381"/>
                  </a:lnTo>
                  <a:lnTo>
                    <a:pt x="93090" y="254"/>
                  </a:lnTo>
                  <a:lnTo>
                    <a:pt x="95630" y="126"/>
                  </a:lnTo>
                  <a:lnTo>
                    <a:pt x="98043" y="0"/>
                  </a:lnTo>
                  <a:lnTo>
                    <a:pt x="100583" y="0"/>
                  </a:lnTo>
                  <a:lnTo>
                    <a:pt x="102997" y="0"/>
                  </a:lnTo>
                  <a:lnTo>
                    <a:pt x="105537" y="126"/>
                  </a:lnTo>
                  <a:lnTo>
                    <a:pt x="107950" y="254"/>
                  </a:lnTo>
                  <a:lnTo>
                    <a:pt x="110363" y="381"/>
                  </a:lnTo>
                  <a:lnTo>
                    <a:pt x="112776" y="635"/>
                  </a:lnTo>
                  <a:lnTo>
                    <a:pt x="115189" y="888"/>
                  </a:lnTo>
                  <a:lnTo>
                    <a:pt x="117602" y="1269"/>
                  </a:lnTo>
                  <a:lnTo>
                    <a:pt x="119888" y="1777"/>
                  </a:lnTo>
                  <a:lnTo>
                    <a:pt x="122301" y="2158"/>
                  </a:lnTo>
                  <a:lnTo>
                    <a:pt x="124714" y="2667"/>
                  </a:lnTo>
                  <a:lnTo>
                    <a:pt x="127000" y="3175"/>
                  </a:lnTo>
                  <a:lnTo>
                    <a:pt x="129286" y="3810"/>
                  </a:lnTo>
                  <a:lnTo>
                    <a:pt x="131572" y="4444"/>
                  </a:lnTo>
                  <a:lnTo>
                    <a:pt x="133730" y="5206"/>
                  </a:lnTo>
                  <a:lnTo>
                    <a:pt x="138176" y="6731"/>
                  </a:lnTo>
                  <a:lnTo>
                    <a:pt x="142493" y="8381"/>
                  </a:lnTo>
                  <a:lnTo>
                    <a:pt x="146685" y="10287"/>
                  </a:lnTo>
                  <a:lnTo>
                    <a:pt x="150749" y="12319"/>
                  </a:lnTo>
                  <a:lnTo>
                    <a:pt x="154813" y="14605"/>
                  </a:lnTo>
                  <a:lnTo>
                    <a:pt x="158495" y="17018"/>
                  </a:lnTo>
                  <a:lnTo>
                    <a:pt x="162305" y="19557"/>
                  </a:lnTo>
                  <a:lnTo>
                    <a:pt x="165862" y="22225"/>
                  </a:lnTo>
                  <a:lnTo>
                    <a:pt x="169290" y="25019"/>
                  </a:lnTo>
                  <a:lnTo>
                    <a:pt x="172592" y="28067"/>
                  </a:lnTo>
                  <a:lnTo>
                    <a:pt x="175767" y="31242"/>
                  </a:lnTo>
                  <a:lnTo>
                    <a:pt x="178689" y="34417"/>
                  </a:lnTo>
                  <a:lnTo>
                    <a:pt x="181610" y="37845"/>
                  </a:lnTo>
                  <a:lnTo>
                    <a:pt x="184277" y="41401"/>
                  </a:lnTo>
                  <a:lnTo>
                    <a:pt x="186690" y="44957"/>
                  </a:lnTo>
                  <a:lnTo>
                    <a:pt x="188976" y="48640"/>
                  </a:lnTo>
                  <a:lnTo>
                    <a:pt x="191135" y="52450"/>
                  </a:lnTo>
                  <a:lnTo>
                    <a:pt x="193040" y="56514"/>
                  </a:lnTo>
                  <a:lnTo>
                    <a:pt x="194817" y="60451"/>
                  </a:lnTo>
                  <a:lnTo>
                    <a:pt x="195579" y="62611"/>
                  </a:lnTo>
                  <a:lnTo>
                    <a:pt x="196341" y="64643"/>
                  </a:lnTo>
                  <a:lnTo>
                    <a:pt x="197103" y="66675"/>
                  </a:lnTo>
                  <a:lnTo>
                    <a:pt x="197739" y="68833"/>
                  </a:lnTo>
                  <a:lnTo>
                    <a:pt x="198247" y="70993"/>
                  </a:lnTo>
                  <a:lnTo>
                    <a:pt x="198881" y="73151"/>
                  </a:lnTo>
                  <a:lnTo>
                    <a:pt x="199263" y="75183"/>
                  </a:lnTo>
                  <a:lnTo>
                    <a:pt x="199770" y="77469"/>
                  </a:lnTo>
                  <a:lnTo>
                    <a:pt x="200152" y="79756"/>
                  </a:lnTo>
                  <a:lnTo>
                    <a:pt x="200405" y="81914"/>
                  </a:lnTo>
                  <a:lnTo>
                    <a:pt x="200660" y="84200"/>
                  </a:lnTo>
                  <a:lnTo>
                    <a:pt x="200914" y="86360"/>
                  </a:lnTo>
                  <a:lnTo>
                    <a:pt x="186054" y="86360"/>
                  </a:lnTo>
                  <a:lnTo>
                    <a:pt x="185547" y="82676"/>
                  </a:lnTo>
                  <a:lnTo>
                    <a:pt x="184912" y="78867"/>
                  </a:lnTo>
                  <a:lnTo>
                    <a:pt x="184023" y="75183"/>
                  </a:lnTo>
                  <a:lnTo>
                    <a:pt x="183133" y="71500"/>
                  </a:lnTo>
                  <a:lnTo>
                    <a:pt x="181990" y="68071"/>
                  </a:lnTo>
                  <a:lnTo>
                    <a:pt x="180593" y="64643"/>
                  </a:lnTo>
                  <a:lnTo>
                    <a:pt x="179069" y="61213"/>
                  </a:lnTo>
                  <a:lnTo>
                    <a:pt x="177545" y="57785"/>
                  </a:lnTo>
                  <a:lnTo>
                    <a:pt x="175640" y="54610"/>
                  </a:lnTo>
                  <a:lnTo>
                    <a:pt x="173608" y="51435"/>
                  </a:lnTo>
                  <a:lnTo>
                    <a:pt x="171577" y="48513"/>
                  </a:lnTo>
                  <a:lnTo>
                    <a:pt x="169290" y="45465"/>
                  </a:lnTo>
                  <a:lnTo>
                    <a:pt x="166878" y="42671"/>
                  </a:lnTo>
                  <a:lnTo>
                    <a:pt x="164338" y="39877"/>
                  </a:lnTo>
                  <a:lnTo>
                    <a:pt x="161670" y="37337"/>
                  </a:lnTo>
                  <a:lnTo>
                    <a:pt x="158750" y="34798"/>
                  </a:lnTo>
                  <a:lnTo>
                    <a:pt x="155828" y="32385"/>
                  </a:lnTo>
                  <a:lnTo>
                    <a:pt x="152780" y="30099"/>
                  </a:lnTo>
                  <a:lnTo>
                    <a:pt x="149605" y="27939"/>
                  </a:lnTo>
                  <a:lnTo>
                    <a:pt x="146430" y="26035"/>
                  </a:lnTo>
                  <a:lnTo>
                    <a:pt x="143002" y="24130"/>
                  </a:lnTo>
                  <a:lnTo>
                    <a:pt x="139573" y="22351"/>
                  </a:lnTo>
                  <a:lnTo>
                    <a:pt x="136016" y="20700"/>
                  </a:lnTo>
                  <a:lnTo>
                    <a:pt x="132333" y="19304"/>
                  </a:lnTo>
                  <a:lnTo>
                    <a:pt x="128651" y="18033"/>
                  </a:lnTo>
                  <a:lnTo>
                    <a:pt x="124840" y="16890"/>
                  </a:lnTo>
                  <a:lnTo>
                    <a:pt x="120903" y="16001"/>
                  </a:lnTo>
                  <a:lnTo>
                    <a:pt x="116966" y="15239"/>
                  </a:lnTo>
                  <a:lnTo>
                    <a:pt x="113029" y="14477"/>
                  </a:lnTo>
                  <a:lnTo>
                    <a:pt x="108839" y="14096"/>
                  </a:lnTo>
                  <a:lnTo>
                    <a:pt x="104775" y="13843"/>
                  </a:lnTo>
                  <a:lnTo>
                    <a:pt x="100583" y="13715"/>
                  </a:lnTo>
                  <a:close/>
                  <a:moveTo>
                    <a:pt x="-3119628" y="5081015"/>
                  </a:moveTo>
                  <a:moveTo>
                    <a:pt x="14858" y="93218"/>
                  </a:moveTo>
                  <a:lnTo>
                    <a:pt x="14858" y="93218"/>
                  </a:lnTo>
                  <a:lnTo>
                    <a:pt x="14858" y="95376"/>
                  </a:lnTo>
                  <a:lnTo>
                    <a:pt x="14986" y="97281"/>
                  </a:lnTo>
                  <a:lnTo>
                    <a:pt x="15366" y="101345"/>
                  </a:lnTo>
                  <a:lnTo>
                    <a:pt x="15875" y="105282"/>
                  </a:lnTo>
                  <a:lnTo>
                    <a:pt x="16637" y="109093"/>
                  </a:lnTo>
                  <a:lnTo>
                    <a:pt x="17653" y="113030"/>
                  </a:lnTo>
                  <a:lnTo>
                    <a:pt x="18795" y="116712"/>
                  </a:lnTo>
                  <a:lnTo>
                    <a:pt x="20192" y="120395"/>
                  </a:lnTo>
                  <a:lnTo>
                    <a:pt x="21590" y="123951"/>
                  </a:lnTo>
                  <a:lnTo>
                    <a:pt x="23367" y="127507"/>
                  </a:lnTo>
                  <a:lnTo>
                    <a:pt x="25273" y="130810"/>
                  </a:lnTo>
                  <a:lnTo>
                    <a:pt x="27431" y="134238"/>
                  </a:lnTo>
                  <a:lnTo>
                    <a:pt x="29590" y="137413"/>
                  </a:lnTo>
                  <a:lnTo>
                    <a:pt x="31877" y="140462"/>
                  </a:lnTo>
                  <a:lnTo>
                    <a:pt x="34543" y="143510"/>
                  </a:lnTo>
                  <a:lnTo>
                    <a:pt x="37211" y="146304"/>
                  </a:lnTo>
                  <a:lnTo>
                    <a:pt x="40004" y="148970"/>
                  </a:lnTo>
                  <a:lnTo>
                    <a:pt x="42926" y="151637"/>
                  </a:lnTo>
                  <a:lnTo>
                    <a:pt x="46101" y="154177"/>
                  </a:lnTo>
                  <a:lnTo>
                    <a:pt x="49403" y="156463"/>
                  </a:lnTo>
                  <a:lnTo>
                    <a:pt x="52704" y="158750"/>
                  </a:lnTo>
                  <a:lnTo>
                    <a:pt x="56133" y="160781"/>
                  </a:lnTo>
                  <a:lnTo>
                    <a:pt x="59816" y="162687"/>
                  </a:lnTo>
                  <a:lnTo>
                    <a:pt x="63500" y="164337"/>
                  </a:lnTo>
                  <a:lnTo>
                    <a:pt x="67310" y="165988"/>
                  </a:lnTo>
                  <a:lnTo>
                    <a:pt x="71119" y="167386"/>
                  </a:lnTo>
                  <a:lnTo>
                    <a:pt x="75056" y="168656"/>
                  </a:lnTo>
                  <a:lnTo>
                    <a:pt x="79248" y="169671"/>
                  </a:lnTo>
                  <a:lnTo>
                    <a:pt x="83312" y="170561"/>
                  </a:lnTo>
                  <a:lnTo>
                    <a:pt x="87503" y="171195"/>
                  </a:lnTo>
                  <a:lnTo>
                    <a:pt x="91820" y="171831"/>
                  </a:lnTo>
                  <a:lnTo>
                    <a:pt x="96139" y="172085"/>
                  </a:lnTo>
                  <a:lnTo>
                    <a:pt x="98298" y="172085"/>
                  </a:lnTo>
                  <a:lnTo>
                    <a:pt x="100583" y="172212"/>
                  </a:lnTo>
                  <a:lnTo>
                    <a:pt x="102742" y="172085"/>
                  </a:lnTo>
                  <a:lnTo>
                    <a:pt x="105028" y="172085"/>
                  </a:lnTo>
                  <a:lnTo>
                    <a:pt x="109219" y="171831"/>
                  </a:lnTo>
                  <a:lnTo>
                    <a:pt x="113665" y="171195"/>
                  </a:lnTo>
                  <a:lnTo>
                    <a:pt x="117855" y="170561"/>
                  </a:lnTo>
                  <a:lnTo>
                    <a:pt x="121919" y="169671"/>
                  </a:lnTo>
                  <a:lnTo>
                    <a:pt x="125983" y="168656"/>
                  </a:lnTo>
                  <a:lnTo>
                    <a:pt x="129920" y="167386"/>
                  </a:lnTo>
                  <a:lnTo>
                    <a:pt x="133857" y="165988"/>
                  </a:lnTo>
                  <a:lnTo>
                    <a:pt x="137667" y="164337"/>
                  </a:lnTo>
                  <a:lnTo>
                    <a:pt x="141351" y="162687"/>
                  </a:lnTo>
                  <a:lnTo>
                    <a:pt x="144906" y="160781"/>
                  </a:lnTo>
                  <a:lnTo>
                    <a:pt x="148336" y="158750"/>
                  </a:lnTo>
                  <a:lnTo>
                    <a:pt x="151765" y="156463"/>
                  </a:lnTo>
                  <a:lnTo>
                    <a:pt x="154940" y="154177"/>
                  </a:lnTo>
                  <a:lnTo>
                    <a:pt x="158115" y="151637"/>
                  </a:lnTo>
                  <a:lnTo>
                    <a:pt x="161036" y="148970"/>
                  </a:lnTo>
                  <a:lnTo>
                    <a:pt x="163956" y="146304"/>
                  </a:lnTo>
                  <a:lnTo>
                    <a:pt x="166624" y="143510"/>
                  </a:lnTo>
                  <a:lnTo>
                    <a:pt x="169164" y="140462"/>
                  </a:lnTo>
                  <a:lnTo>
                    <a:pt x="171577" y="137413"/>
                  </a:lnTo>
                  <a:lnTo>
                    <a:pt x="173736" y="134238"/>
                  </a:lnTo>
                  <a:lnTo>
                    <a:pt x="175767" y="130810"/>
                  </a:lnTo>
                  <a:lnTo>
                    <a:pt x="177800" y="127507"/>
                  </a:lnTo>
                  <a:lnTo>
                    <a:pt x="179451" y="123951"/>
                  </a:lnTo>
                  <a:lnTo>
                    <a:pt x="180975" y="120395"/>
                  </a:lnTo>
                  <a:lnTo>
                    <a:pt x="182372" y="116712"/>
                  </a:lnTo>
                  <a:lnTo>
                    <a:pt x="183515" y="113030"/>
                  </a:lnTo>
                  <a:lnTo>
                    <a:pt x="184403" y="109093"/>
                  </a:lnTo>
                  <a:lnTo>
                    <a:pt x="185292" y="105282"/>
                  </a:lnTo>
                  <a:lnTo>
                    <a:pt x="185801" y="101345"/>
                  </a:lnTo>
                  <a:lnTo>
                    <a:pt x="186181" y="97281"/>
                  </a:lnTo>
                  <a:lnTo>
                    <a:pt x="186181" y="95376"/>
                  </a:lnTo>
                  <a:lnTo>
                    <a:pt x="186308" y="93218"/>
                  </a:lnTo>
                  <a:lnTo>
                    <a:pt x="201167" y="93218"/>
                  </a:lnTo>
                  <a:lnTo>
                    <a:pt x="201040" y="95631"/>
                  </a:lnTo>
                  <a:lnTo>
                    <a:pt x="201040" y="98044"/>
                  </a:lnTo>
                  <a:lnTo>
                    <a:pt x="200787" y="100330"/>
                  </a:lnTo>
                  <a:lnTo>
                    <a:pt x="200660" y="102743"/>
                  </a:lnTo>
                  <a:lnTo>
                    <a:pt x="200278" y="105029"/>
                  </a:lnTo>
                  <a:lnTo>
                    <a:pt x="199898" y="107314"/>
                  </a:lnTo>
                  <a:lnTo>
                    <a:pt x="199516" y="109600"/>
                  </a:lnTo>
                  <a:lnTo>
                    <a:pt x="199008" y="112013"/>
                  </a:lnTo>
                  <a:lnTo>
                    <a:pt x="198501" y="114173"/>
                  </a:lnTo>
                  <a:lnTo>
                    <a:pt x="197865" y="116458"/>
                  </a:lnTo>
                  <a:lnTo>
                    <a:pt x="197230" y="118618"/>
                  </a:lnTo>
                  <a:lnTo>
                    <a:pt x="196468" y="120776"/>
                  </a:lnTo>
                  <a:lnTo>
                    <a:pt x="195833" y="122936"/>
                  </a:lnTo>
                  <a:lnTo>
                    <a:pt x="194944" y="125094"/>
                  </a:lnTo>
                  <a:lnTo>
                    <a:pt x="194055" y="127254"/>
                  </a:lnTo>
                  <a:lnTo>
                    <a:pt x="193166" y="129286"/>
                  </a:lnTo>
                  <a:lnTo>
                    <a:pt x="192151" y="131318"/>
                  </a:lnTo>
                  <a:lnTo>
                    <a:pt x="191135" y="133476"/>
                  </a:lnTo>
                  <a:lnTo>
                    <a:pt x="189991" y="135508"/>
                  </a:lnTo>
                  <a:lnTo>
                    <a:pt x="188976" y="137413"/>
                  </a:lnTo>
                  <a:lnTo>
                    <a:pt x="187705" y="139319"/>
                  </a:lnTo>
                  <a:lnTo>
                    <a:pt x="186563" y="141350"/>
                  </a:lnTo>
                  <a:lnTo>
                    <a:pt x="185165" y="143256"/>
                  </a:lnTo>
                  <a:lnTo>
                    <a:pt x="183768" y="145033"/>
                  </a:lnTo>
                  <a:lnTo>
                    <a:pt x="182499" y="146938"/>
                  </a:lnTo>
                  <a:lnTo>
                    <a:pt x="180975" y="148717"/>
                  </a:lnTo>
                  <a:lnTo>
                    <a:pt x="179578" y="150494"/>
                  </a:lnTo>
                  <a:lnTo>
                    <a:pt x="178053" y="152145"/>
                  </a:lnTo>
                  <a:lnTo>
                    <a:pt x="176529" y="153924"/>
                  </a:lnTo>
                  <a:lnTo>
                    <a:pt x="174878" y="155575"/>
                  </a:lnTo>
                  <a:lnTo>
                    <a:pt x="173228" y="157225"/>
                  </a:lnTo>
                  <a:lnTo>
                    <a:pt x="171577" y="158876"/>
                  </a:lnTo>
                  <a:lnTo>
                    <a:pt x="169926" y="160400"/>
                  </a:lnTo>
                  <a:lnTo>
                    <a:pt x="168148" y="161798"/>
                  </a:lnTo>
                  <a:lnTo>
                    <a:pt x="166242" y="163321"/>
                  </a:lnTo>
                  <a:lnTo>
                    <a:pt x="164465" y="164719"/>
                  </a:lnTo>
                  <a:lnTo>
                    <a:pt x="162560" y="166115"/>
                  </a:lnTo>
                  <a:lnTo>
                    <a:pt x="160654" y="167512"/>
                  </a:lnTo>
                  <a:lnTo>
                    <a:pt x="158623" y="168910"/>
                  </a:lnTo>
                  <a:lnTo>
                    <a:pt x="156717" y="170052"/>
                  </a:lnTo>
                  <a:lnTo>
                    <a:pt x="154686" y="171323"/>
                  </a:lnTo>
                  <a:lnTo>
                    <a:pt x="152653" y="172465"/>
                  </a:lnTo>
                  <a:lnTo>
                    <a:pt x="150622" y="173608"/>
                  </a:lnTo>
                  <a:lnTo>
                    <a:pt x="148463" y="174625"/>
                  </a:lnTo>
                  <a:lnTo>
                    <a:pt x="146303" y="175768"/>
                  </a:lnTo>
                  <a:lnTo>
                    <a:pt x="144017" y="176783"/>
                  </a:lnTo>
                  <a:lnTo>
                    <a:pt x="141858" y="177673"/>
                  </a:lnTo>
                  <a:lnTo>
                    <a:pt x="139573" y="178688"/>
                  </a:lnTo>
                  <a:lnTo>
                    <a:pt x="137414" y="179450"/>
                  </a:lnTo>
                  <a:lnTo>
                    <a:pt x="135128" y="180212"/>
                  </a:lnTo>
                  <a:lnTo>
                    <a:pt x="132715" y="180975"/>
                  </a:lnTo>
                  <a:lnTo>
                    <a:pt x="130428" y="181737"/>
                  </a:lnTo>
                  <a:lnTo>
                    <a:pt x="128015" y="182371"/>
                  </a:lnTo>
                  <a:lnTo>
                    <a:pt x="125603" y="183006"/>
                  </a:lnTo>
                  <a:lnTo>
                    <a:pt x="123190" y="183514"/>
                  </a:lnTo>
                  <a:lnTo>
                    <a:pt x="120777" y="184023"/>
                  </a:lnTo>
                  <a:lnTo>
                    <a:pt x="118364" y="184531"/>
                  </a:lnTo>
                  <a:lnTo>
                    <a:pt x="115824" y="184785"/>
                  </a:lnTo>
                  <a:lnTo>
                    <a:pt x="113411" y="185165"/>
                  </a:lnTo>
                  <a:lnTo>
                    <a:pt x="110870" y="185419"/>
                  </a:lnTo>
                  <a:lnTo>
                    <a:pt x="108203" y="185674"/>
                  </a:lnTo>
                  <a:lnTo>
                    <a:pt x="105790" y="185800"/>
                  </a:lnTo>
                  <a:lnTo>
                    <a:pt x="103124" y="185800"/>
                  </a:lnTo>
                  <a:lnTo>
                    <a:pt x="100583" y="185927"/>
                  </a:lnTo>
                  <a:lnTo>
                    <a:pt x="97916" y="185800"/>
                  </a:lnTo>
                  <a:lnTo>
                    <a:pt x="95377" y="185800"/>
                  </a:lnTo>
                  <a:lnTo>
                    <a:pt x="92837" y="185674"/>
                  </a:lnTo>
                  <a:lnTo>
                    <a:pt x="90297" y="185419"/>
                  </a:lnTo>
                  <a:lnTo>
                    <a:pt x="87756" y="185165"/>
                  </a:lnTo>
                  <a:lnTo>
                    <a:pt x="85343" y="184785"/>
                  </a:lnTo>
                  <a:lnTo>
                    <a:pt x="82803" y="184531"/>
                  </a:lnTo>
                  <a:lnTo>
                    <a:pt x="80264" y="184023"/>
                  </a:lnTo>
                  <a:lnTo>
                    <a:pt x="77851" y="183514"/>
                  </a:lnTo>
                  <a:lnTo>
                    <a:pt x="75438" y="183006"/>
                  </a:lnTo>
                  <a:lnTo>
                    <a:pt x="73025" y="182371"/>
                  </a:lnTo>
                  <a:lnTo>
                    <a:pt x="70739" y="181737"/>
                  </a:lnTo>
                  <a:lnTo>
                    <a:pt x="68326" y="180975"/>
                  </a:lnTo>
                  <a:lnTo>
                    <a:pt x="66040" y="180212"/>
                  </a:lnTo>
                  <a:lnTo>
                    <a:pt x="63753" y="179450"/>
                  </a:lnTo>
                  <a:lnTo>
                    <a:pt x="61467" y="178688"/>
                  </a:lnTo>
                  <a:lnTo>
                    <a:pt x="59181" y="177673"/>
                  </a:lnTo>
                  <a:lnTo>
                    <a:pt x="57023" y="176783"/>
                  </a:lnTo>
                  <a:lnTo>
                    <a:pt x="54864" y="175768"/>
                  </a:lnTo>
                  <a:lnTo>
                    <a:pt x="52704" y="174625"/>
                  </a:lnTo>
                  <a:lnTo>
                    <a:pt x="50545" y="173608"/>
                  </a:lnTo>
                  <a:lnTo>
                    <a:pt x="48514" y="172465"/>
                  </a:lnTo>
                  <a:lnTo>
                    <a:pt x="46354" y="171323"/>
                  </a:lnTo>
                  <a:lnTo>
                    <a:pt x="44450" y="170052"/>
                  </a:lnTo>
                  <a:lnTo>
                    <a:pt x="42417" y="168910"/>
                  </a:lnTo>
                  <a:lnTo>
                    <a:pt x="40513" y="167512"/>
                  </a:lnTo>
                  <a:lnTo>
                    <a:pt x="38480" y="166115"/>
                  </a:lnTo>
                  <a:lnTo>
                    <a:pt x="36703" y="164719"/>
                  </a:lnTo>
                  <a:lnTo>
                    <a:pt x="34798" y="163321"/>
                  </a:lnTo>
                  <a:lnTo>
                    <a:pt x="33019" y="161798"/>
                  </a:lnTo>
                  <a:lnTo>
                    <a:pt x="31241" y="160400"/>
                  </a:lnTo>
                  <a:lnTo>
                    <a:pt x="29464" y="158876"/>
                  </a:lnTo>
                  <a:lnTo>
                    <a:pt x="27813" y="157225"/>
                  </a:lnTo>
                  <a:lnTo>
                    <a:pt x="26162" y="155575"/>
                  </a:lnTo>
                  <a:lnTo>
                    <a:pt x="24638" y="153924"/>
                  </a:lnTo>
                  <a:lnTo>
                    <a:pt x="22987" y="152145"/>
                  </a:lnTo>
                  <a:lnTo>
                    <a:pt x="21590" y="150494"/>
                  </a:lnTo>
                  <a:lnTo>
                    <a:pt x="20065" y="148717"/>
                  </a:lnTo>
                  <a:lnTo>
                    <a:pt x="18668" y="146938"/>
                  </a:lnTo>
                  <a:lnTo>
                    <a:pt x="17272" y="145033"/>
                  </a:lnTo>
                  <a:lnTo>
                    <a:pt x="16002" y="143256"/>
                  </a:lnTo>
                  <a:lnTo>
                    <a:pt x="14604" y="141350"/>
                  </a:lnTo>
                  <a:lnTo>
                    <a:pt x="13335" y="139319"/>
                  </a:lnTo>
                  <a:lnTo>
                    <a:pt x="12191" y="137413"/>
                  </a:lnTo>
                  <a:lnTo>
                    <a:pt x="11049" y="135508"/>
                  </a:lnTo>
                  <a:lnTo>
                    <a:pt x="10032" y="133476"/>
                  </a:lnTo>
                  <a:lnTo>
                    <a:pt x="9016" y="131318"/>
                  </a:lnTo>
                  <a:lnTo>
                    <a:pt x="8001" y="129286"/>
                  </a:lnTo>
                  <a:lnTo>
                    <a:pt x="7112" y="127254"/>
                  </a:lnTo>
                  <a:lnTo>
                    <a:pt x="6095" y="125094"/>
                  </a:lnTo>
                  <a:lnTo>
                    <a:pt x="5333" y="122936"/>
                  </a:lnTo>
                  <a:lnTo>
                    <a:pt x="4572" y="120776"/>
                  </a:lnTo>
                  <a:lnTo>
                    <a:pt x="3937" y="118618"/>
                  </a:lnTo>
                  <a:lnTo>
                    <a:pt x="3302" y="116458"/>
                  </a:lnTo>
                  <a:lnTo>
                    <a:pt x="2540" y="114173"/>
                  </a:lnTo>
                  <a:lnTo>
                    <a:pt x="2031" y="112013"/>
                  </a:lnTo>
                  <a:lnTo>
                    <a:pt x="1524" y="109600"/>
                  </a:lnTo>
                  <a:lnTo>
                    <a:pt x="1142" y="107314"/>
                  </a:lnTo>
                  <a:lnTo>
                    <a:pt x="889" y="105029"/>
                  </a:lnTo>
                  <a:lnTo>
                    <a:pt x="507" y="102743"/>
                  </a:lnTo>
                  <a:lnTo>
                    <a:pt x="253" y="100330"/>
                  </a:lnTo>
                  <a:lnTo>
                    <a:pt x="127" y="98044"/>
                  </a:lnTo>
                  <a:lnTo>
                    <a:pt x="0" y="95631"/>
                  </a:lnTo>
                  <a:lnTo>
                    <a:pt x="0" y="93218"/>
                  </a:lnTo>
                  <a:lnTo>
                    <a:pt x="14858" y="93218"/>
                  </a:lnTo>
                  <a:close/>
                  <a:moveTo>
                    <a:pt x="-3199131" y="5081015"/>
                  </a:moveTo>
                  <a:moveTo>
                    <a:pt x="28828" y="120014"/>
                  </a:moveTo>
                  <a:lnTo>
                    <a:pt x="28828" y="120014"/>
                  </a:lnTo>
                  <a:lnTo>
                    <a:pt x="27431" y="116839"/>
                  </a:lnTo>
                  <a:lnTo>
                    <a:pt x="26289" y="113537"/>
                  </a:lnTo>
                  <a:lnTo>
                    <a:pt x="41910" y="107823"/>
                  </a:lnTo>
                  <a:lnTo>
                    <a:pt x="42417" y="109346"/>
                  </a:lnTo>
                  <a:lnTo>
                    <a:pt x="42926" y="110998"/>
                  </a:lnTo>
                  <a:lnTo>
                    <a:pt x="43688" y="112649"/>
                  </a:lnTo>
                  <a:lnTo>
                    <a:pt x="44323" y="114173"/>
                  </a:lnTo>
                  <a:lnTo>
                    <a:pt x="28828" y="120014"/>
                  </a:lnTo>
                  <a:close/>
                  <a:moveTo>
                    <a:pt x="-3225927" y="5081015"/>
                  </a:moveTo>
                  <a:moveTo>
                    <a:pt x="173736" y="116712"/>
                  </a:moveTo>
                  <a:lnTo>
                    <a:pt x="173736" y="116712"/>
                  </a:lnTo>
                  <a:lnTo>
                    <a:pt x="172339" y="119887"/>
                  </a:lnTo>
                  <a:lnTo>
                    <a:pt x="170941" y="123062"/>
                  </a:lnTo>
                  <a:lnTo>
                    <a:pt x="155448" y="117094"/>
                  </a:lnTo>
                  <a:lnTo>
                    <a:pt x="156210" y="115569"/>
                  </a:lnTo>
                  <a:lnTo>
                    <a:pt x="156844" y="114045"/>
                  </a:lnTo>
                  <a:lnTo>
                    <a:pt x="157606" y="112394"/>
                  </a:lnTo>
                  <a:lnTo>
                    <a:pt x="158241" y="110744"/>
                  </a:lnTo>
                  <a:lnTo>
                    <a:pt x="173736" y="116712"/>
                  </a:lnTo>
                  <a:close/>
                  <a:moveTo>
                    <a:pt x="-3222625" y="5081015"/>
                  </a:moveTo>
                  <a:moveTo>
                    <a:pt x="177927" y="87121"/>
                  </a:moveTo>
                  <a:lnTo>
                    <a:pt x="177927" y="87121"/>
                  </a:lnTo>
                  <a:lnTo>
                    <a:pt x="178053" y="90043"/>
                  </a:lnTo>
                  <a:lnTo>
                    <a:pt x="178053" y="92963"/>
                  </a:lnTo>
                  <a:lnTo>
                    <a:pt x="178053" y="93980"/>
                  </a:lnTo>
                  <a:lnTo>
                    <a:pt x="161290" y="93980"/>
                  </a:lnTo>
                  <a:lnTo>
                    <a:pt x="161290" y="92963"/>
                  </a:lnTo>
                  <a:lnTo>
                    <a:pt x="161290" y="90043"/>
                  </a:lnTo>
                  <a:lnTo>
                    <a:pt x="161036" y="87121"/>
                  </a:lnTo>
                  <a:lnTo>
                    <a:pt x="177927" y="87121"/>
                  </a:lnTo>
                  <a:close/>
                  <a:moveTo>
                    <a:pt x="-3193034" y="5081015"/>
                  </a:moveTo>
                  <a:moveTo>
                    <a:pt x="169544" y="60070"/>
                  </a:moveTo>
                  <a:lnTo>
                    <a:pt x="169544" y="60070"/>
                  </a:lnTo>
                  <a:lnTo>
                    <a:pt x="171068" y="63119"/>
                  </a:lnTo>
                  <a:lnTo>
                    <a:pt x="172592" y="66294"/>
                  </a:lnTo>
                  <a:lnTo>
                    <a:pt x="157099" y="72136"/>
                  </a:lnTo>
                  <a:lnTo>
                    <a:pt x="156337" y="70485"/>
                  </a:lnTo>
                  <a:lnTo>
                    <a:pt x="155575" y="68961"/>
                  </a:lnTo>
                  <a:lnTo>
                    <a:pt x="154813" y="67437"/>
                  </a:lnTo>
                  <a:lnTo>
                    <a:pt x="153797" y="65912"/>
                  </a:lnTo>
                  <a:lnTo>
                    <a:pt x="169544" y="60070"/>
                  </a:lnTo>
                  <a:close/>
                  <a:moveTo>
                    <a:pt x="-3165983" y="5081015"/>
                  </a:moveTo>
                  <a:moveTo>
                    <a:pt x="149860" y="37592"/>
                  </a:moveTo>
                  <a:lnTo>
                    <a:pt x="149860" y="37592"/>
                  </a:lnTo>
                  <a:lnTo>
                    <a:pt x="152653" y="39877"/>
                  </a:lnTo>
                  <a:lnTo>
                    <a:pt x="155448" y="42163"/>
                  </a:lnTo>
                  <a:lnTo>
                    <a:pt x="143510" y="53212"/>
                  </a:lnTo>
                  <a:lnTo>
                    <a:pt x="142240" y="51943"/>
                  </a:lnTo>
                  <a:lnTo>
                    <a:pt x="140842" y="50800"/>
                  </a:lnTo>
                  <a:lnTo>
                    <a:pt x="139318" y="49656"/>
                  </a:lnTo>
                  <a:lnTo>
                    <a:pt x="137922" y="48640"/>
                  </a:lnTo>
                  <a:lnTo>
                    <a:pt x="149860" y="37592"/>
                  </a:lnTo>
                  <a:close/>
                  <a:moveTo>
                    <a:pt x="-3143505" y="5081015"/>
                  </a:moveTo>
                  <a:moveTo>
                    <a:pt x="124078" y="24637"/>
                  </a:moveTo>
                  <a:lnTo>
                    <a:pt x="124078" y="24637"/>
                  </a:lnTo>
                  <a:lnTo>
                    <a:pt x="127635" y="25781"/>
                  </a:lnTo>
                  <a:lnTo>
                    <a:pt x="131064" y="27050"/>
                  </a:lnTo>
                  <a:lnTo>
                    <a:pt x="124460" y="41275"/>
                  </a:lnTo>
                  <a:lnTo>
                    <a:pt x="122808" y="40639"/>
                  </a:lnTo>
                  <a:lnTo>
                    <a:pt x="121030" y="40005"/>
                  </a:lnTo>
                  <a:lnTo>
                    <a:pt x="119253" y="39496"/>
                  </a:lnTo>
                  <a:lnTo>
                    <a:pt x="117475" y="38988"/>
                  </a:lnTo>
                  <a:lnTo>
                    <a:pt x="124078" y="24637"/>
                  </a:lnTo>
                  <a:close/>
                  <a:moveTo>
                    <a:pt x="-3130550" y="5081015"/>
                  </a:moveTo>
                  <a:moveTo>
                    <a:pt x="94106" y="21589"/>
                  </a:moveTo>
                  <a:lnTo>
                    <a:pt x="94106" y="21589"/>
                  </a:lnTo>
                  <a:lnTo>
                    <a:pt x="97281" y="21336"/>
                  </a:lnTo>
                  <a:lnTo>
                    <a:pt x="100583" y="21336"/>
                  </a:lnTo>
                  <a:lnTo>
                    <a:pt x="101600" y="21336"/>
                  </a:lnTo>
                  <a:lnTo>
                    <a:pt x="101600" y="36830"/>
                  </a:lnTo>
                  <a:lnTo>
                    <a:pt x="100583" y="36702"/>
                  </a:lnTo>
                  <a:lnTo>
                    <a:pt x="97281" y="36830"/>
                  </a:lnTo>
                  <a:lnTo>
                    <a:pt x="94106" y="37083"/>
                  </a:lnTo>
                  <a:lnTo>
                    <a:pt x="94106" y="21589"/>
                  </a:lnTo>
                  <a:close/>
                  <a:moveTo>
                    <a:pt x="-3127502" y="5081015"/>
                  </a:moveTo>
                  <a:moveTo>
                    <a:pt x="66675" y="28448"/>
                  </a:moveTo>
                  <a:lnTo>
                    <a:pt x="66675" y="28448"/>
                  </a:lnTo>
                  <a:lnTo>
                    <a:pt x="70103" y="27050"/>
                  </a:lnTo>
                  <a:lnTo>
                    <a:pt x="73532" y="25781"/>
                  </a:lnTo>
                  <a:lnTo>
                    <a:pt x="79882" y="40131"/>
                  </a:lnTo>
                  <a:lnTo>
                    <a:pt x="78104" y="40767"/>
                  </a:lnTo>
                  <a:lnTo>
                    <a:pt x="76327" y="41401"/>
                  </a:lnTo>
                  <a:lnTo>
                    <a:pt x="74676" y="42163"/>
                  </a:lnTo>
                  <a:lnTo>
                    <a:pt x="73025" y="42925"/>
                  </a:lnTo>
                  <a:lnTo>
                    <a:pt x="66675" y="28448"/>
                  </a:lnTo>
                  <a:close/>
                  <a:moveTo>
                    <a:pt x="-3134361" y="5081015"/>
                  </a:moveTo>
                  <a:moveTo>
                    <a:pt x="43053" y="44831"/>
                  </a:moveTo>
                  <a:lnTo>
                    <a:pt x="43053" y="44831"/>
                  </a:lnTo>
                  <a:lnTo>
                    <a:pt x="45719" y="42290"/>
                  </a:lnTo>
                  <a:lnTo>
                    <a:pt x="48387" y="40005"/>
                  </a:lnTo>
                  <a:lnTo>
                    <a:pt x="60198" y="50926"/>
                  </a:lnTo>
                  <a:lnTo>
                    <a:pt x="58801" y="52069"/>
                  </a:lnTo>
                  <a:lnTo>
                    <a:pt x="57403" y="53339"/>
                  </a:lnTo>
                  <a:lnTo>
                    <a:pt x="56261" y="54482"/>
                  </a:lnTo>
                  <a:lnTo>
                    <a:pt x="54990" y="55752"/>
                  </a:lnTo>
                  <a:lnTo>
                    <a:pt x="43053" y="44831"/>
                  </a:lnTo>
                  <a:close/>
                  <a:moveTo>
                    <a:pt x="-3150744" y="5081015"/>
                  </a:moveTo>
                  <a:moveTo>
                    <a:pt x="22987" y="92963"/>
                  </a:moveTo>
                  <a:lnTo>
                    <a:pt x="22987" y="92963"/>
                  </a:lnTo>
                  <a:lnTo>
                    <a:pt x="23114" y="90043"/>
                  </a:lnTo>
                  <a:lnTo>
                    <a:pt x="23240" y="87121"/>
                  </a:lnTo>
                  <a:lnTo>
                    <a:pt x="40131" y="87121"/>
                  </a:lnTo>
                  <a:lnTo>
                    <a:pt x="39878" y="90043"/>
                  </a:lnTo>
                  <a:lnTo>
                    <a:pt x="39751" y="92963"/>
                  </a:lnTo>
                  <a:lnTo>
                    <a:pt x="39878" y="93980"/>
                  </a:lnTo>
                  <a:lnTo>
                    <a:pt x="22987" y="93980"/>
                  </a:lnTo>
                  <a:lnTo>
                    <a:pt x="22987" y="92963"/>
                  </a:lnTo>
                  <a:close/>
                  <a:moveTo>
                    <a:pt x="-3198876" y="5081015"/>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528" name="Freeform 1528"/>
            <p:cNvSpPr/>
            <p:nvPr/>
          </p:nvSpPr>
          <p:spPr>
            <a:xfrm>
              <a:off x="7316089" y="1529563"/>
              <a:ext cx="1517114" cy="968759"/>
            </a:xfrm>
            <a:custGeom>
              <a:avLst/>
              <a:gdLst/>
              <a:ahLst/>
              <a:cxnLst/>
              <a:rect l="0" t="0" r="0" b="0"/>
              <a:pathLst>
                <a:path w="1517904" h="969264">
                  <a:moveTo>
                    <a:pt x="0" y="969264"/>
                  </a:moveTo>
                  <a:lnTo>
                    <a:pt x="1517904" y="969264"/>
                  </a:lnTo>
                  <a:lnTo>
                    <a:pt x="1517904" y="0"/>
                  </a:lnTo>
                  <a:lnTo>
                    <a:pt x="0" y="0"/>
                  </a:lnTo>
                  <a:lnTo>
                    <a:pt x="0" y="969264"/>
                  </a:lnTo>
                  <a:close/>
                </a:path>
              </a:pathLst>
            </a:custGeom>
            <a:noFill/>
            <a:ln w="9525" cap="flat" cmpd="sng">
              <a:solidFill>
                <a:srgbClr val="FFF599"/>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1550" name="Rectangle 1550"/>
            <p:cNvSpPr/>
            <p:nvPr/>
          </p:nvSpPr>
          <p:spPr>
            <a:xfrm>
              <a:off x="7570465" y="2121259"/>
              <a:ext cx="367024" cy="15478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13" normalizeH="0" baseline="0" noProof="0" dirty="0">
                  <a:ln>
                    <a:noFill/>
                  </a:ln>
                  <a:solidFill>
                    <a:srgbClr val="188CE5"/>
                  </a:solidFill>
                  <a:effectLst/>
                  <a:uLnTx/>
                  <a:uFillTx/>
                  <a:latin typeface="EYInterstate-LightBold"/>
                  <a:ea typeface="+mn-ea"/>
                  <a:cs typeface="+mn-cs"/>
                </a:rPr>
                <a:t>T</a:t>
              </a:r>
              <a:r>
                <a:rPr kumimoji="0" lang="en-US" sz="1005" b="1" i="0" u="none" strike="noStrike" kern="1200" cap="none" spc="0" normalizeH="0" baseline="0" noProof="0" dirty="0">
                  <a:ln>
                    <a:noFill/>
                  </a:ln>
                  <a:solidFill>
                    <a:srgbClr val="188CE5"/>
                  </a:solidFill>
                  <a:effectLst/>
                  <a:uLnTx/>
                  <a:uFillTx/>
                  <a:latin typeface="EYInterstate-LightBold"/>
                  <a:ea typeface="+mn-ea"/>
                  <a:cs typeface="+mn-cs"/>
                </a:rPr>
                <a:t>anks</a:t>
              </a:r>
            </a:p>
          </p:txBody>
        </p:sp>
        <p:sp>
          <p:nvSpPr>
            <p:cNvPr id="1551" name="Rectangle 1551"/>
            <p:cNvSpPr/>
            <p:nvPr/>
          </p:nvSpPr>
          <p:spPr>
            <a:xfrm>
              <a:off x="7678653" y="1873633"/>
              <a:ext cx="189903" cy="15473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340528" algn="l"/>
                </a:tabLst>
                <a:defRPr/>
              </a:pPr>
              <a:r>
                <a:rPr kumimoji="0" lang="en-US" sz="1005" b="1" i="0" u="none" strike="noStrike" kern="1200" cap="none" spc="0" normalizeH="0" baseline="0" noProof="0" dirty="0">
                  <a:ln>
                    <a:noFill/>
                  </a:ln>
                  <a:solidFill>
                    <a:srgbClr val="2E2E38"/>
                  </a:solidFill>
                  <a:effectLst/>
                  <a:uLnTx/>
                  <a:uFillTx/>
                  <a:latin typeface="EYInterstate-LightBold"/>
                  <a:ea typeface="+mn-ea"/>
                  <a:cs typeface="+mn-cs"/>
                </a:rPr>
                <a:t>H</a:t>
              </a:r>
              <a:r>
                <a:rPr kumimoji="0" lang="en-US" sz="1014" b="1" i="0" u="none" strike="noStrike" kern="1200" cap="none" spc="0" normalizeH="0" baseline="-32142" noProof="0" dirty="0">
                  <a:ln>
                    <a:noFill/>
                  </a:ln>
                  <a:solidFill>
                    <a:srgbClr val="2E2E38"/>
                  </a:solidFill>
                  <a:effectLst/>
                  <a:uLnTx/>
                  <a:uFillTx/>
                  <a:latin typeface="EYInterstate-LightBold"/>
                  <a:ea typeface="+mn-ea"/>
                  <a:cs typeface="+mn-cs"/>
                </a:rPr>
                <a:t>2</a:t>
              </a:r>
              <a:endParaRPr kumimoji="0" lang="en-US" sz="1014" b="1" i="0" u="none" strike="noStrike" kern="1200" cap="none" spc="0" normalizeH="0" baseline="-149999" noProof="0" dirty="0">
                <a:ln>
                  <a:noFill/>
                </a:ln>
                <a:solidFill>
                  <a:srgbClr val="2E2E38"/>
                </a:solidFill>
                <a:effectLst/>
                <a:uLnTx/>
                <a:uFillTx/>
                <a:latin typeface="EYInterstate-LightBold"/>
                <a:ea typeface="+mn-ea"/>
                <a:cs typeface="+mn-cs"/>
              </a:endParaRPr>
            </a:p>
          </p:txBody>
        </p:sp>
        <p:sp>
          <p:nvSpPr>
            <p:cNvPr id="1553" name="Rectangle 1553"/>
            <p:cNvSpPr/>
            <p:nvPr/>
          </p:nvSpPr>
          <p:spPr>
            <a:xfrm>
              <a:off x="8214530" y="2121259"/>
              <a:ext cx="500137" cy="15478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Caverns</a:t>
              </a:r>
            </a:p>
          </p:txBody>
        </p:sp>
      </p:grpSp>
      <p:grpSp>
        <p:nvGrpSpPr>
          <p:cNvPr id="5" name="3. Refinement">
            <a:extLst>
              <a:ext uri="{FF2B5EF4-FFF2-40B4-BE49-F238E27FC236}">
                <a16:creationId xmlns:a16="http://schemas.microsoft.com/office/drawing/2014/main" id="{F40C4253-325A-4B4B-B3DA-918E49DDB278}"/>
              </a:ext>
            </a:extLst>
          </p:cNvPr>
          <p:cNvGrpSpPr/>
          <p:nvPr/>
        </p:nvGrpSpPr>
        <p:grpSpPr>
          <a:xfrm>
            <a:off x="4958631" y="3750273"/>
            <a:ext cx="2268397" cy="1868576"/>
            <a:chOff x="4961213" y="3666620"/>
            <a:chExt cx="2269578" cy="1869549"/>
          </a:xfrm>
        </p:grpSpPr>
        <p:sp>
          <p:nvSpPr>
            <p:cNvPr id="1268" name="Freeform 1268"/>
            <p:cNvSpPr/>
            <p:nvPr/>
          </p:nvSpPr>
          <p:spPr>
            <a:xfrm>
              <a:off x="4961213" y="3767713"/>
              <a:ext cx="2269578" cy="1768456"/>
            </a:xfrm>
            <a:custGeom>
              <a:avLst/>
              <a:gdLst/>
              <a:ahLst/>
              <a:cxnLst/>
              <a:rect l="0" t="0" r="0" b="0"/>
              <a:pathLst>
                <a:path w="2270760" h="1746505">
                  <a:moveTo>
                    <a:pt x="0" y="1746505"/>
                  </a:moveTo>
                  <a:lnTo>
                    <a:pt x="2270760" y="1746505"/>
                  </a:lnTo>
                  <a:lnTo>
                    <a:pt x="2270760" y="0"/>
                  </a:lnTo>
                  <a:lnTo>
                    <a:pt x="0" y="0"/>
                  </a:lnTo>
                  <a:lnTo>
                    <a:pt x="0" y="1746505"/>
                  </a:lnTo>
                  <a:close/>
                </a:path>
              </a:pathLst>
            </a:custGeom>
            <a:noFill/>
            <a:ln w="9525" cap="flat" cmpd="sng">
              <a:solidFill>
                <a:srgbClr val="FFF066"/>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1314" name="Freeform 1314"/>
            <p:cNvSpPr/>
            <p:nvPr/>
          </p:nvSpPr>
          <p:spPr>
            <a:xfrm>
              <a:off x="5776128" y="4205836"/>
              <a:ext cx="362523" cy="121858"/>
            </a:xfrm>
            <a:custGeom>
              <a:avLst/>
              <a:gdLst/>
              <a:ahLst/>
              <a:cxnLst/>
              <a:rect l="0" t="0" r="0" b="0"/>
              <a:pathLst>
                <a:path w="362712" h="121921">
                  <a:moveTo>
                    <a:pt x="24004" y="112777"/>
                  </a:moveTo>
                  <a:lnTo>
                    <a:pt x="113157" y="112777"/>
                  </a:lnTo>
                  <a:lnTo>
                    <a:pt x="111380" y="121921"/>
                  </a:lnTo>
                  <a:lnTo>
                    <a:pt x="0" y="121921"/>
                  </a:lnTo>
                  <a:lnTo>
                    <a:pt x="0" y="117475"/>
                  </a:lnTo>
                  <a:lnTo>
                    <a:pt x="0" y="113919"/>
                  </a:lnTo>
                  <a:lnTo>
                    <a:pt x="255" y="110237"/>
                  </a:lnTo>
                  <a:lnTo>
                    <a:pt x="636" y="106808"/>
                  </a:lnTo>
                  <a:lnTo>
                    <a:pt x="1017" y="103378"/>
                  </a:lnTo>
                  <a:lnTo>
                    <a:pt x="1651" y="100077"/>
                  </a:lnTo>
                  <a:lnTo>
                    <a:pt x="2160" y="96775"/>
                  </a:lnTo>
                  <a:lnTo>
                    <a:pt x="3049" y="93472"/>
                  </a:lnTo>
                  <a:lnTo>
                    <a:pt x="4064" y="90425"/>
                  </a:lnTo>
                  <a:lnTo>
                    <a:pt x="5081" y="87250"/>
                  </a:lnTo>
                  <a:lnTo>
                    <a:pt x="6224" y="84075"/>
                  </a:lnTo>
                  <a:lnTo>
                    <a:pt x="7620" y="81027"/>
                  </a:lnTo>
                  <a:lnTo>
                    <a:pt x="8891" y="78106"/>
                  </a:lnTo>
                  <a:lnTo>
                    <a:pt x="10414" y="75184"/>
                  </a:lnTo>
                  <a:lnTo>
                    <a:pt x="12066" y="72263"/>
                  </a:lnTo>
                  <a:lnTo>
                    <a:pt x="13717" y="69469"/>
                  </a:lnTo>
                  <a:lnTo>
                    <a:pt x="15494" y="66803"/>
                  </a:lnTo>
                  <a:lnTo>
                    <a:pt x="17400" y="64009"/>
                  </a:lnTo>
                  <a:lnTo>
                    <a:pt x="19558" y="61341"/>
                  </a:lnTo>
                  <a:lnTo>
                    <a:pt x="21591" y="58802"/>
                  </a:lnTo>
                  <a:lnTo>
                    <a:pt x="23750" y="56262"/>
                  </a:lnTo>
                  <a:lnTo>
                    <a:pt x="26036" y="53721"/>
                  </a:lnTo>
                  <a:lnTo>
                    <a:pt x="28449" y="51309"/>
                  </a:lnTo>
                  <a:lnTo>
                    <a:pt x="30862" y="49022"/>
                  </a:lnTo>
                  <a:lnTo>
                    <a:pt x="33401" y="46609"/>
                  </a:lnTo>
                  <a:lnTo>
                    <a:pt x="36069" y="44450"/>
                  </a:lnTo>
                  <a:lnTo>
                    <a:pt x="38736" y="42291"/>
                  </a:lnTo>
                  <a:lnTo>
                    <a:pt x="41656" y="40006"/>
                  </a:lnTo>
                  <a:lnTo>
                    <a:pt x="44450" y="37974"/>
                  </a:lnTo>
                  <a:lnTo>
                    <a:pt x="47371" y="35941"/>
                  </a:lnTo>
                  <a:lnTo>
                    <a:pt x="50419" y="33909"/>
                  </a:lnTo>
                  <a:lnTo>
                    <a:pt x="53594" y="32005"/>
                  </a:lnTo>
                  <a:lnTo>
                    <a:pt x="56643" y="30227"/>
                  </a:lnTo>
                  <a:lnTo>
                    <a:pt x="59818" y="28321"/>
                  </a:lnTo>
                  <a:lnTo>
                    <a:pt x="63119" y="26671"/>
                  </a:lnTo>
                  <a:lnTo>
                    <a:pt x="66549" y="24893"/>
                  </a:lnTo>
                  <a:lnTo>
                    <a:pt x="69977" y="23241"/>
                  </a:lnTo>
                  <a:lnTo>
                    <a:pt x="73280" y="21590"/>
                  </a:lnTo>
                  <a:lnTo>
                    <a:pt x="76962" y="20066"/>
                  </a:lnTo>
                  <a:lnTo>
                    <a:pt x="84075" y="17146"/>
                  </a:lnTo>
                  <a:lnTo>
                    <a:pt x="91441" y="14478"/>
                  </a:lnTo>
                  <a:lnTo>
                    <a:pt x="99061" y="12065"/>
                  </a:lnTo>
                  <a:lnTo>
                    <a:pt x="106807" y="9906"/>
                  </a:lnTo>
                  <a:lnTo>
                    <a:pt x="114681" y="7875"/>
                  </a:lnTo>
                  <a:lnTo>
                    <a:pt x="122810" y="6096"/>
                  </a:lnTo>
                  <a:lnTo>
                    <a:pt x="130937" y="4446"/>
                  </a:lnTo>
                  <a:lnTo>
                    <a:pt x="139193" y="3303"/>
                  </a:lnTo>
                  <a:lnTo>
                    <a:pt x="147448" y="2033"/>
                  </a:lnTo>
                  <a:lnTo>
                    <a:pt x="155830" y="1271"/>
                  </a:lnTo>
                  <a:lnTo>
                    <a:pt x="164338" y="635"/>
                  </a:lnTo>
                  <a:lnTo>
                    <a:pt x="172848" y="255"/>
                  </a:lnTo>
                  <a:lnTo>
                    <a:pt x="181356" y="0"/>
                  </a:lnTo>
                  <a:lnTo>
                    <a:pt x="189866" y="128"/>
                  </a:lnTo>
                  <a:lnTo>
                    <a:pt x="198375" y="381"/>
                  </a:lnTo>
                  <a:lnTo>
                    <a:pt x="206630" y="890"/>
                  </a:lnTo>
                  <a:lnTo>
                    <a:pt x="215266" y="1652"/>
                  </a:lnTo>
                  <a:lnTo>
                    <a:pt x="223394" y="2540"/>
                  </a:lnTo>
                  <a:lnTo>
                    <a:pt x="231775" y="3810"/>
                  </a:lnTo>
                  <a:lnTo>
                    <a:pt x="239776" y="5208"/>
                  </a:lnTo>
                  <a:lnTo>
                    <a:pt x="247905" y="6859"/>
                  </a:lnTo>
                  <a:lnTo>
                    <a:pt x="255779" y="8763"/>
                  </a:lnTo>
                  <a:lnTo>
                    <a:pt x="263525" y="10922"/>
                  </a:lnTo>
                  <a:lnTo>
                    <a:pt x="271145" y="13209"/>
                  </a:lnTo>
                  <a:lnTo>
                    <a:pt x="278638" y="15875"/>
                  </a:lnTo>
                  <a:lnTo>
                    <a:pt x="282194" y="17272"/>
                  </a:lnTo>
                  <a:lnTo>
                    <a:pt x="285750" y="18669"/>
                  </a:lnTo>
                  <a:lnTo>
                    <a:pt x="289306" y="20193"/>
                  </a:lnTo>
                  <a:lnTo>
                    <a:pt x="292736" y="21718"/>
                  </a:lnTo>
                  <a:lnTo>
                    <a:pt x="296164" y="23368"/>
                  </a:lnTo>
                  <a:lnTo>
                    <a:pt x="299467" y="25146"/>
                  </a:lnTo>
                  <a:lnTo>
                    <a:pt x="302769" y="26797"/>
                  </a:lnTo>
                  <a:lnTo>
                    <a:pt x="306070" y="28575"/>
                  </a:lnTo>
                  <a:lnTo>
                    <a:pt x="309119" y="30481"/>
                  </a:lnTo>
                  <a:lnTo>
                    <a:pt x="312294" y="32385"/>
                  </a:lnTo>
                  <a:lnTo>
                    <a:pt x="315342" y="34290"/>
                  </a:lnTo>
                  <a:lnTo>
                    <a:pt x="318262" y="36322"/>
                  </a:lnTo>
                  <a:lnTo>
                    <a:pt x="321056" y="38481"/>
                  </a:lnTo>
                  <a:lnTo>
                    <a:pt x="323724" y="40640"/>
                  </a:lnTo>
                  <a:lnTo>
                    <a:pt x="326644" y="42800"/>
                  </a:lnTo>
                  <a:lnTo>
                    <a:pt x="329185" y="45085"/>
                  </a:lnTo>
                  <a:lnTo>
                    <a:pt x="331725" y="47499"/>
                  </a:lnTo>
                  <a:lnTo>
                    <a:pt x="334264" y="49912"/>
                  </a:lnTo>
                  <a:lnTo>
                    <a:pt x="336677" y="52197"/>
                  </a:lnTo>
                  <a:lnTo>
                    <a:pt x="338837" y="54737"/>
                  </a:lnTo>
                  <a:lnTo>
                    <a:pt x="341123" y="57278"/>
                  </a:lnTo>
                  <a:lnTo>
                    <a:pt x="343155" y="59944"/>
                  </a:lnTo>
                  <a:lnTo>
                    <a:pt x="345187" y="62612"/>
                  </a:lnTo>
                  <a:lnTo>
                    <a:pt x="347092" y="65406"/>
                  </a:lnTo>
                  <a:lnTo>
                    <a:pt x="348869" y="68200"/>
                  </a:lnTo>
                  <a:lnTo>
                    <a:pt x="350648" y="70993"/>
                  </a:lnTo>
                  <a:lnTo>
                    <a:pt x="352299" y="73915"/>
                  </a:lnTo>
                  <a:lnTo>
                    <a:pt x="353823" y="76962"/>
                  </a:lnTo>
                  <a:lnTo>
                    <a:pt x="355093" y="80010"/>
                  </a:lnTo>
                  <a:lnTo>
                    <a:pt x="356489" y="83185"/>
                  </a:lnTo>
                  <a:lnTo>
                    <a:pt x="357506" y="86234"/>
                  </a:lnTo>
                  <a:lnTo>
                    <a:pt x="358521" y="89409"/>
                  </a:lnTo>
                  <a:lnTo>
                    <a:pt x="359664" y="92837"/>
                  </a:lnTo>
                  <a:lnTo>
                    <a:pt x="360300" y="96140"/>
                  </a:lnTo>
                  <a:lnTo>
                    <a:pt x="361062" y="99568"/>
                  </a:lnTo>
                  <a:lnTo>
                    <a:pt x="361696" y="102997"/>
                  </a:lnTo>
                  <a:lnTo>
                    <a:pt x="362077" y="106553"/>
                  </a:lnTo>
                  <a:lnTo>
                    <a:pt x="362458" y="110109"/>
                  </a:lnTo>
                  <a:lnTo>
                    <a:pt x="362586" y="113793"/>
                  </a:lnTo>
                  <a:lnTo>
                    <a:pt x="362712" y="117475"/>
                  </a:lnTo>
                  <a:lnTo>
                    <a:pt x="362712" y="121921"/>
                  </a:lnTo>
                  <a:lnTo>
                    <a:pt x="260350" y="121921"/>
                  </a:lnTo>
                  <a:lnTo>
                    <a:pt x="258573" y="112777"/>
                  </a:lnTo>
                  <a:lnTo>
                    <a:pt x="338710" y="112777"/>
                  </a:lnTo>
                  <a:lnTo>
                    <a:pt x="338456" y="109856"/>
                  </a:lnTo>
                  <a:lnTo>
                    <a:pt x="338075" y="106808"/>
                  </a:lnTo>
                  <a:lnTo>
                    <a:pt x="337694" y="104013"/>
                  </a:lnTo>
                  <a:lnTo>
                    <a:pt x="337186" y="101093"/>
                  </a:lnTo>
                  <a:lnTo>
                    <a:pt x="336677" y="98299"/>
                  </a:lnTo>
                  <a:lnTo>
                    <a:pt x="335916" y="95505"/>
                  </a:lnTo>
                  <a:lnTo>
                    <a:pt x="335026" y="92837"/>
                  </a:lnTo>
                  <a:lnTo>
                    <a:pt x="334137" y="90297"/>
                  </a:lnTo>
                  <a:lnTo>
                    <a:pt x="332994" y="87631"/>
                  </a:lnTo>
                  <a:lnTo>
                    <a:pt x="331979" y="85090"/>
                  </a:lnTo>
                  <a:lnTo>
                    <a:pt x="330708" y="82678"/>
                  </a:lnTo>
                  <a:lnTo>
                    <a:pt x="329438" y="80137"/>
                  </a:lnTo>
                  <a:lnTo>
                    <a:pt x="328169" y="77725"/>
                  </a:lnTo>
                  <a:lnTo>
                    <a:pt x="326644" y="75438"/>
                  </a:lnTo>
                  <a:lnTo>
                    <a:pt x="325120" y="73153"/>
                  </a:lnTo>
                  <a:lnTo>
                    <a:pt x="323469" y="70866"/>
                  </a:lnTo>
                  <a:lnTo>
                    <a:pt x="321692" y="68581"/>
                  </a:lnTo>
                  <a:lnTo>
                    <a:pt x="319913" y="66421"/>
                  </a:lnTo>
                  <a:lnTo>
                    <a:pt x="318136" y="64390"/>
                  </a:lnTo>
                  <a:lnTo>
                    <a:pt x="316231" y="62358"/>
                  </a:lnTo>
                  <a:lnTo>
                    <a:pt x="314071" y="60199"/>
                  </a:lnTo>
                  <a:lnTo>
                    <a:pt x="312039" y="58293"/>
                  </a:lnTo>
                  <a:lnTo>
                    <a:pt x="309881" y="56388"/>
                  </a:lnTo>
                  <a:lnTo>
                    <a:pt x="307594" y="54484"/>
                  </a:lnTo>
                  <a:lnTo>
                    <a:pt x="305436" y="52706"/>
                  </a:lnTo>
                  <a:lnTo>
                    <a:pt x="303150" y="50928"/>
                  </a:lnTo>
                  <a:lnTo>
                    <a:pt x="298196" y="47499"/>
                  </a:lnTo>
                  <a:lnTo>
                    <a:pt x="292989" y="44196"/>
                  </a:lnTo>
                  <a:lnTo>
                    <a:pt x="287529" y="41275"/>
                  </a:lnTo>
                  <a:lnTo>
                    <a:pt x="281941" y="38355"/>
                  </a:lnTo>
                  <a:lnTo>
                    <a:pt x="276225" y="35687"/>
                  </a:lnTo>
                  <a:lnTo>
                    <a:pt x="270256" y="33275"/>
                  </a:lnTo>
                  <a:lnTo>
                    <a:pt x="264033" y="30988"/>
                  </a:lnTo>
                  <a:lnTo>
                    <a:pt x="257683" y="28830"/>
                  </a:lnTo>
                  <a:lnTo>
                    <a:pt x="251333" y="26925"/>
                  </a:lnTo>
                  <a:lnTo>
                    <a:pt x="244730" y="25274"/>
                  </a:lnTo>
                  <a:lnTo>
                    <a:pt x="237871" y="23750"/>
                  </a:lnTo>
                  <a:lnTo>
                    <a:pt x="231141" y="22480"/>
                  </a:lnTo>
                  <a:lnTo>
                    <a:pt x="224156" y="21337"/>
                  </a:lnTo>
                  <a:lnTo>
                    <a:pt x="217170" y="20447"/>
                  </a:lnTo>
                  <a:lnTo>
                    <a:pt x="210058" y="19559"/>
                  </a:lnTo>
                  <a:lnTo>
                    <a:pt x="202946" y="19050"/>
                  </a:lnTo>
                  <a:lnTo>
                    <a:pt x="195835" y="18543"/>
                  </a:lnTo>
                  <a:lnTo>
                    <a:pt x="188723" y="18288"/>
                  </a:lnTo>
                  <a:lnTo>
                    <a:pt x="181483" y="18288"/>
                  </a:lnTo>
                  <a:lnTo>
                    <a:pt x="174244" y="18415"/>
                  </a:lnTo>
                  <a:lnTo>
                    <a:pt x="167006" y="18796"/>
                  </a:lnTo>
                  <a:lnTo>
                    <a:pt x="159894" y="19305"/>
                  </a:lnTo>
                  <a:lnTo>
                    <a:pt x="152655" y="20066"/>
                  </a:lnTo>
                  <a:lnTo>
                    <a:pt x="145669" y="20956"/>
                  </a:lnTo>
                  <a:lnTo>
                    <a:pt x="138685" y="21971"/>
                  </a:lnTo>
                  <a:lnTo>
                    <a:pt x="131700" y="23241"/>
                  </a:lnTo>
                  <a:lnTo>
                    <a:pt x="124842" y="24638"/>
                  </a:lnTo>
                  <a:lnTo>
                    <a:pt x="118111" y="26290"/>
                  </a:lnTo>
                  <a:lnTo>
                    <a:pt x="111633" y="28068"/>
                  </a:lnTo>
                  <a:lnTo>
                    <a:pt x="105156" y="30100"/>
                  </a:lnTo>
                  <a:lnTo>
                    <a:pt x="98680" y="32259"/>
                  </a:lnTo>
                  <a:lnTo>
                    <a:pt x="92583" y="34544"/>
                  </a:lnTo>
                  <a:lnTo>
                    <a:pt x="86614" y="37084"/>
                  </a:lnTo>
                  <a:lnTo>
                    <a:pt x="80773" y="39752"/>
                  </a:lnTo>
                  <a:lnTo>
                    <a:pt x="75185" y="42546"/>
                  </a:lnTo>
                  <a:lnTo>
                    <a:pt x="69724" y="45721"/>
                  </a:lnTo>
                  <a:lnTo>
                    <a:pt x="64770" y="48896"/>
                  </a:lnTo>
                  <a:lnTo>
                    <a:pt x="59818" y="52452"/>
                  </a:lnTo>
                  <a:lnTo>
                    <a:pt x="55119" y="56008"/>
                  </a:lnTo>
                  <a:lnTo>
                    <a:pt x="52832" y="57785"/>
                  </a:lnTo>
                  <a:lnTo>
                    <a:pt x="50674" y="59818"/>
                  </a:lnTo>
                  <a:lnTo>
                    <a:pt x="48642" y="61722"/>
                  </a:lnTo>
                  <a:lnTo>
                    <a:pt x="46610" y="63628"/>
                  </a:lnTo>
                  <a:lnTo>
                    <a:pt x="44577" y="65787"/>
                  </a:lnTo>
                  <a:lnTo>
                    <a:pt x="42800" y="67818"/>
                  </a:lnTo>
                  <a:lnTo>
                    <a:pt x="41021" y="69978"/>
                  </a:lnTo>
                  <a:lnTo>
                    <a:pt x="39244" y="72009"/>
                  </a:lnTo>
                  <a:lnTo>
                    <a:pt x="37593" y="74296"/>
                  </a:lnTo>
                  <a:lnTo>
                    <a:pt x="36069" y="76581"/>
                  </a:lnTo>
                  <a:lnTo>
                    <a:pt x="34544" y="78868"/>
                  </a:lnTo>
                  <a:lnTo>
                    <a:pt x="33275" y="81153"/>
                  </a:lnTo>
                  <a:lnTo>
                    <a:pt x="31877" y="83566"/>
                  </a:lnTo>
                  <a:lnTo>
                    <a:pt x="30735" y="85980"/>
                  </a:lnTo>
                  <a:lnTo>
                    <a:pt x="29719" y="88519"/>
                  </a:lnTo>
                  <a:lnTo>
                    <a:pt x="28575" y="91059"/>
                  </a:lnTo>
                  <a:lnTo>
                    <a:pt x="27687" y="93600"/>
                  </a:lnTo>
                  <a:lnTo>
                    <a:pt x="26798" y="96266"/>
                  </a:lnTo>
                  <a:lnTo>
                    <a:pt x="26036" y="98934"/>
                  </a:lnTo>
                  <a:lnTo>
                    <a:pt x="25527" y="101474"/>
                  </a:lnTo>
                  <a:lnTo>
                    <a:pt x="24893" y="104268"/>
                  </a:lnTo>
                  <a:lnTo>
                    <a:pt x="24512" y="107062"/>
                  </a:lnTo>
                  <a:lnTo>
                    <a:pt x="24131" y="109983"/>
                  </a:lnTo>
                  <a:lnTo>
                    <a:pt x="24004" y="112777"/>
                  </a:lnTo>
                  <a:close/>
                  <a:moveTo>
                    <a:pt x="-3236976" y="2651760"/>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15" name="Freeform 1315"/>
            <p:cNvSpPr/>
            <p:nvPr/>
          </p:nvSpPr>
          <p:spPr>
            <a:xfrm>
              <a:off x="5776128" y="4336831"/>
              <a:ext cx="24371" cy="130996"/>
            </a:xfrm>
            <a:custGeom>
              <a:avLst/>
              <a:gdLst/>
              <a:ahLst/>
              <a:cxnLst/>
              <a:rect l="0" t="0" r="0" b="0"/>
              <a:pathLst>
                <a:path w="24384" h="131064">
                  <a:moveTo>
                    <a:pt x="0" y="131064"/>
                  </a:moveTo>
                  <a:lnTo>
                    <a:pt x="24384" y="131064"/>
                  </a:lnTo>
                  <a:lnTo>
                    <a:pt x="24384" y="0"/>
                  </a:lnTo>
                  <a:lnTo>
                    <a:pt x="0" y="0"/>
                  </a:lnTo>
                  <a:lnTo>
                    <a:pt x="0" y="13106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16" name="Freeform 1316"/>
            <p:cNvSpPr/>
            <p:nvPr/>
          </p:nvSpPr>
          <p:spPr>
            <a:xfrm>
              <a:off x="6114281" y="4208883"/>
              <a:ext cx="185830" cy="258944"/>
            </a:xfrm>
            <a:custGeom>
              <a:avLst/>
              <a:gdLst/>
              <a:ahLst/>
              <a:cxnLst/>
              <a:rect l="0" t="0" r="0" b="0"/>
              <a:pathLst>
                <a:path w="185927" h="259079">
                  <a:moveTo>
                    <a:pt x="70103" y="0"/>
                  </a:moveTo>
                  <a:lnTo>
                    <a:pt x="70103" y="24510"/>
                  </a:lnTo>
                  <a:lnTo>
                    <a:pt x="41147" y="24510"/>
                  </a:lnTo>
                  <a:lnTo>
                    <a:pt x="41147" y="231394"/>
                  </a:lnTo>
                  <a:lnTo>
                    <a:pt x="24002" y="231394"/>
                  </a:lnTo>
                  <a:lnTo>
                    <a:pt x="24002" y="126238"/>
                  </a:lnTo>
                  <a:lnTo>
                    <a:pt x="0" y="126238"/>
                  </a:lnTo>
                  <a:lnTo>
                    <a:pt x="0" y="259079"/>
                  </a:lnTo>
                  <a:lnTo>
                    <a:pt x="24002" y="259079"/>
                  </a:lnTo>
                  <a:lnTo>
                    <a:pt x="24002" y="240538"/>
                  </a:lnTo>
                  <a:lnTo>
                    <a:pt x="53085" y="240538"/>
                  </a:lnTo>
                  <a:lnTo>
                    <a:pt x="53085" y="33654"/>
                  </a:lnTo>
                  <a:lnTo>
                    <a:pt x="70103" y="33654"/>
                  </a:lnTo>
                  <a:lnTo>
                    <a:pt x="70103" y="240538"/>
                  </a:lnTo>
                  <a:lnTo>
                    <a:pt x="95250" y="240538"/>
                  </a:lnTo>
                  <a:lnTo>
                    <a:pt x="95250" y="259079"/>
                  </a:lnTo>
                  <a:lnTo>
                    <a:pt x="107315" y="259079"/>
                  </a:lnTo>
                  <a:lnTo>
                    <a:pt x="107315" y="240538"/>
                  </a:lnTo>
                  <a:lnTo>
                    <a:pt x="111887" y="240538"/>
                  </a:lnTo>
                  <a:lnTo>
                    <a:pt x="111887" y="259079"/>
                  </a:lnTo>
                  <a:lnTo>
                    <a:pt x="123825" y="259079"/>
                  </a:lnTo>
                  <a:lnTo>
                    <a:pt x="123825" y="240538"/>
                  </a:lnTo>
                  <a:lnTo>
                    <a:pt x="136906" y="240538"/>
                  </a:lnTo>
                  <a:lnTo>
                    <a:pt x="136906" y="259079"/>
                  </a:lnTo>
                  <a:lnTo>
                    <a:pt x="148844" y="259079"/>
                  </a:lnTo>
                  <a:lnTo>
                    <a:pt x="148844" y="240538"/>
                  </a:lnTo>
                  <a:lnTo>
                    <a:pt x="153923" y="240538"/>
                  </a:lnTo>
                  <a:lnTo>
                    <a:pt x="153923" y="259079"/>
                  </a:lnTo>
                  <a:lnTo>
                    <a:pt x="165989" y="259079"/>
                  </a:lnTo>
                  <a:lnTo>
                    <a:pt x="165989" y="240538"/>
                  </a:lnTo>
                  <a:lnTo>
                    <a:pt x="185927" y="240538"/>
                  </a:lnTo>
                  <a:lnTo>
                    <a:pt x="185927" y="0"/>
                  </a:lnTo>
                  <a:lnTo>
                    <a:pt x="70103" y="0"/>
                  </a:lnTo>
                  <a:close/>
                  <a:moveTo>
                    <a:pt x="-3465577" y="2648711"/>
                  </a:moveTo>
                  <a:moveTo>
                    <a:pt x="173990" y="183134"/>
                  </a:moveTo>
                  <a:lnTo>
                    <a:pt x="81915" y="132334"/>
                  </a:lnTo>
                  <a:lnTo>
                    <a:pt x="81915" y="9144"/>
                  </a:lnTo>
                  <a:lnTo>
                    <a:pt x="173990" y="9144"/>
                  </a:lnTo>
                  <a:lnTo>
                    <a:pt x="173990" y="183134"/>
                  </a:lnTo>
                  <a:close/>
                  <a:moveTo>
                    <a:pt x="-3648711" y="2648711"/>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17" name="Freeform 1317"/>
            <p:cNvSpPr/>
            <p:nvPr/>
          </p:nvSpPr>
          <p:spPr>
            <a:xfrm>
              <a:off x="5739572" y="4476967"/>
              <a:ext cx="566633" cy="9139"/>
            </a:xfrm>
            <a:custGeom>
              <a:avLst/>
              <a:gdLst/>
              <a:ahLst/>
              <a:cxnLst/>
              <a:rect l="0" t="0" r="0" b="0"/>
              <a:pathLst>
                <a:path w="566928" h="9144">
                  <a:moveTo>
                    <a:pt x="0" y="9144"/>
                  </a:moveTo>
                  <a:lnTo>
                    <a:pt x="566928" y="9144"/>
                  </a:lnTo>
                  <a:lnTo>
                    <a:pt x="566928"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18" name="Freeform 1318"/>
            <p:cNvSpPr/>
            <p:nvPr/>
          </p:nvSpPr>
          <p:spPr>
            <a:xfrm>
              <a:off x="5910169" y="4306368"/>
              <a:ext cx="100532" cy="158414"/>
            </a:xfrm>
            <a:custGeom>
              <a:avLst/>
              <a:gdLst/>
              <a:ahLst/>
              <a:cxnLst/>
              <a:rect l="0" t="0" r="0" b="0"/>
              <a:pathLst>
                <a:path w="100584" h="158497">
                  <a:moveTo>
                    <a:pt x="56134" y="17272"/>
                  </a:moveTo>
                  <a:lnTo>
                    <a:pt x="56134" y="57150"/>
                  </a:lnTo>
                  <a:lnTo>
                    <a:pt x="71375" y="45340"/>
                  </a:lnTo>
                  <a:lnTo>
                    <a:pt x="71375" y="58294"/>
                  </a:lnTo>
                  <a:lnTo>
                    <a:pt x="56134" y="70104"/>
                  </a:lnTo>
                  <a:lnTo>
                    <a:pt x="56134" y="79375"/>
                  </a:lnTo>
                  <a:lnTo>
                    <a:pt x="76582" y="63754"/>
                  </a:lnTo>
                  <a:lnTo>
                    <a:pt x="77089" y="63754"/>
                  </a:lnTo>
                  <a:lnTo>
                    <a:pt x="77089" y="76328"/>
                  </a:lnTo>
                  <a:lnTo>
                    <a:pt x="56134" y="92203"/>
                  </a:lnTo>
                  <a:lnTo>
                    <a:pt x="56134" y="100331"/>
                  </a:lnTo>
                  <a:lnTo>
                    <a:pt x="80645" y="82550"/>
                  </a:lnTo>
                  <a:lnTo>
                    <a:pt x="80645" y="95250"/>
                  </a:lnTo>
                  <a:lnTo>
                    <a:pt x="56134" y="113031"/>
                  </a:lnTo>
                  <a:lnTo>
                    <a:pt x="56134" y="129794"/>
                  </a:lnTo>
                  <a:lnTo>
                    <a:pt x="56134" y="136272"/>
                  </a:lnTo>
                  <a:lnTo>
                    <a:pt x="56134" y="158497"/>
                  </a:lnTo>
                  <a:lnTo>
                    <a:pt x="44324" y="158497"/>
                  </a:lnTo>
                  <a:lnTo>
                    <a:pt x="44324" y="136272"/>
                  </a:lnTo>
                  <a:lnTo>
                    <a:pt x="42038" y="136018"/>
                  </a:lnTo>
                  <a:lnTo>
                    <a:pt x="39751" y="135637"/>
                  </a:lnTo>
                  <a:lnTo>
                    <a:pt x="37465" y="135256"/>
                  </a:lnTo>
                  <a:lnTo>
                    <a:pt x="35180" y="134875"/>
                  </a:lnTo>
                  <a:lnTo>
                    <a:pt x="33148" y="134366"/>
                  </a:lnTo>
                  <a:lnTo>
                    <a:pt x="30988" y="133731"/>
                  </a:lnTo>
                  <a:lnTo>
                    <a:pt x="28830" y="132969"/>
                  </a:lnTo>
                  <a:lnTo>
                    <a:pt x="26925" y="132207"/>
                  </a:lnTo>
                  <a:lnTo>
                    <a:pt x="24765" y="131319"/>
                  </a:lnTo>
                  <a:lnTo>
                    <a:pt x="22861" y="130429"/>
                  </a:lnTo>
                  <a:lnTo>
                    <a:pt x="20956" y="129287"/>
                  </a:lnTo>
                  <a:lnTo>
                    <a:pt x="19177" y="128144"/>
                  </a:lnTo>
                  <a:lnTo>
                    <a:pt x="17526" y="127128"/>
                  </a:lnTo>
                  <a:lnTo>
                    <a:pt x="15875" y="125731"/>
                  </a:lnTo>
                  <a:lnTo>
                    <a:pt x="14225" y="124460"/>
                  </a:lnTo>
                  <a:lnTo>
                    <a:pt x="12827" y="123063"/>
                  </a:lnTo>
                  <a:lnTo>
                    <a:pt x="11304" y="121540"/>
                  </a:lnTo>
                  <a:lnTo>
                    <a:pt x="9907" y="120016"/>
                  </a:lnTo>
                  <a:lnTo>
                    <a:pt x="8637" y="118365"/>
                  </a:lnTo>
                  <a:lnTo>
                    <a:pt x="7494" y="116587"/>
                  </a:lnTo>
                  <a:lnTo>
                    <a:pt x="6350" y="114809"/>
                  </a:lnTo>
                  <a:lnTo>
                    <a:pt x="5207" y="112903"/>
                  </a:lnTo>
                  <a:lnTo>
                    <a:pt x="4192" y="110872"/>
                  </a:lnTo>
                  <a:lnTo>
                    <a:pt x="3302" y="108840"/>
                  </a:lnTo>
                  <a:lnTo>
                    <a:pt x="2540" y="106681"/>
                  </a:lnTo>
                  <a:lnTo>
                    <a:pt x="2032" y="104394"/>
                  </a:lnTo>
                  <a:lnTo>
                    <a:pt x="1398" y="102109"/>
                  </a:lnTo>
                  <a:lnTo>
                    <a:pt x="889" y="99822"/>
                  </a:lnTo>
                  <a:lnTo>
                    <a:pt x="636" y="97282"/>
                  </a:lnTo>
                  <a:lnTo>
                    <a:pt x="255" y="94743"/>
                  </a:lnTo>
                  <a:lnTo>
                    <a:pt x="127" y="92075"/>
                  </a:lnTo>
                  <a:lnTo>
                    <a:pt x="0" y="89281"/>
                  </a:lnTo>
                  <a:lnTo>
                    <a:pt x="127" y="85599"/>
                  </a:lnTo>
                  <a:lnTo>
                    <a:pt x="636" y="81916"/>
                  </a:lnTo>
                  <a:lnTo>
                    <a:pt x="1144" y="78232"/>
                  </a:lnTo>
                  <a:lnTo>
                    <a:pt x="2032" y="74422"/>
                  </a:lnTo>
                  <a:lnTo>
                    <a:pt x="3175" y="70612"/>
                  </a:lnTo>
                  <a:lnTo>
                    <a:pt x="4445" y="66929"/>
                  </a:lnTo>
                  <a:lnTo>
                    <a:pt x="5843" y="63119"/>
                  </a:lnTo>
                  <a:lnTo>
                    <a:pt x="7494" y="59309"/>
                  </a:lnTo>
                  <a:lnTo>
                    <a:pt x="9144" y="55626"/>
                  </a:lnTo>
                  <a:lnTo>
                    <a:pt x="11050" y="51944"/>
                  </a:lnTo>
                  <a:lnTo>
                    <a:pt x="13082" y="48387"/>
                  </a:lnTo>
                  <a:lnTo>
                    <a:pt x="14987" y="44831"/>
                  </a:lnTo>
                  <a:lnTo>
                    <a:pt x="17145" y="41403"/>
                  </a:lnTo>
                  <a:lnTo>
                    <a:pt x="19177" y="38100"/>
                  </a:lnTo>
                  <a:lnTo>
                    <a:pt x="23623" y="31624"/>
                  </a:lnTo>
                  <a:lnTo>
                    <a:pt x="28194" y="25654"/>
                  </a:lnTo>
                  <a:lnTo>
                    <a:pt x="32767" y="19812"/>
                  </a:lnTo>
                  <a:lnTo>
                    <a:pt x="37212" y="14351"/>
                  </a:lnTo>
                  <a:lnTo>
                    <a:pt x="41275" y="9653"/>
                  </a:lnTo>
                  <a:lnTo>
                    <a:pt x="44958" y="5588"/>
                  </a:lnTo>
                  <a:lnTo>
                    <a:pt x="47752" y="2668"/>
                  </a:lnTo>
                  <a:lnTo>
                    <a:pt x="50293" y="0"/>
                  </a:lnTo>
                  <a:lnTo>
                    <a:pt x="52706" y="2668"/>
                  </a:lnTo>
                  <a:lnTo>
                    <a:pt x="55754" y="5588"/>
                  </a:lnTo>
                  <a:lnTo>
                    <a:pt x="59182" y="9653"/>
                  </a:lnTo>
                  <a:lnTo>
                    <a:pt x="63374" y="14351"/>
                  </a:lnTo>
                  <a:lnTo>
                    <a:pt x="67945" y="19812"/>
                  </a:lnTo>
                  <a:lnTo>
                    <a:pt x="72518" y="25654"/>
                  </a:lnTo>
                  <a:lnTo>
                    <a:pt x="77089" y="31624"/>
                  </a:lnTo>
                  <a:lnTo>
                    <a:pt x="81407" y="38100"/>
                  </a:lnTo>
                  <a:lnTo>
                    <a:pt x="83439" y="41403"/>
                  </a:lnTo>
                  <a:lnTo>
                    <a:pt x="85599" y="44831"/>
                  </a:lnTo>
                  <a:lnTo>
                    <a:pt x="87631" y="48387"/>
                  </a:lnTo>
                  <a:lnTo>
                    <a:pt x="89536" y="51944"/>
                  </a:lnTo>
                  <a:lnTo>
                    <a:pt x="91440" y="55626"/>
                  </a:lnTo>
                  <a:lnTo>
                    <a:pt x="93092" y="59309"/>
                  </a:lnTo>
                  <a:lnTo>
                    <a:pt x="94743" y="63119"/>
                  </a:lnTo>
                  <a:lnTo>
                    <a:pt x="96139" y="66929"/>
                  </a:lnTo>
                  <a:lnTo>
                    <a:pt x="97537" y="70612"/>
                  </a:lnTo>
                  <a:lnTo>
                    <a:pt x="98552" y="74422"/>
                  </a:lnTo>
                  <a:lnTo>
                    <a:pt x="99442" y="78232"/>
                  </a:lnTo>
                  <a:lnTo>
                    <a:pt x="99950" y="81916"/>
                  </a:lnTo>
                  <a:lnTo>
                    <a:pt x="100457" y="85599"/>
                  </a:lnTo>
                  <a:lnTo>
                    <a:pt x="100584" y="89281"/>
                  </a:lnTo>
                  <a:lnTo>
                    <a:pt x="100584" y="91694"/>
                  </a:lnTo>
                  <a:lnTo>
                    <a:pt x="100457" y="94107"/>
                  </a:lnTo>
                  <a:lnTo>
                    <a:pt x="100204" y="96266"/>
                  </a:lnTo>
                  <a:lnTo>
                    <a:pt x="99823" y="98425"/>
                  </a:lnTo>
                  <a:lnTo>
                    <a:pt x="99569" y="100584"/>
                  </a:lnTo>
                  <a:lnTo>
                    <a:pt x="99061" y="102616"/>
                  </a:lnTo>
                  <a:lnTo>
                    <a:pt x="98552" y="104649"/>
                  </a:lnTo>
                  <a:lnTo>
                    <a:pt x="97918" y="106553"/>
                  </a:lnTo>
                  <a:lnTo>
                    <a:pt x="97156" y="108459"/>
                  </a:lnTo>
                  <a:lnTo>
                    <a:pt x="96394" y="110363"/>
                  </a:lnTo>
                  <a:lnTo>
                    <a:pt x="95632" y="112015"/>
                  </a:lnTo>
                  <a:lnTo>
                    <a:pt x="94743" y="113793"/>
                  </a:lnTo>
                  <a:lnTo>
                    <a:pt x="93726" y="115444"/>
                  </a:lnTo>
                  <a:lnTo>
                    <a:pt x="92583" y="116968"/>
                  </a:lnTo>
                  <a:lnTo>
                    <a:pt x="91568" y="118491"/>
                  </a:lnTo>
                  <a:lnTo>
                    <a:pt x="90425" y="120016"/>
                  </a:lnTo>
                  <a:lnTo>
                    <a:pt x="89155" y="121285"/>
                  </a:lnTo>
                  <a:lnTo>
                    <a:pt x="87884" y="122682"/>
                  </a:lnTo>
                  <a:lnTo>
                    <a:pt x="86488" y="123953"/>
                  </a:lnTo>
                  <a:lnTo>
                    <a:pt x="85218" y="125222"/>
                  </a:lnTo>
                  <a:lnTo>
                    <a:pt x="83694" y="126366"/>
                  </a:lnTo>
                  <a:lnTo>
                    <a:pt x="82169" y="127509"/>
                  </a:lnTo>
                  <a:lnTo>
                    <a:pt x="80645" y="128525"/>
                  </a:lnTo>
                  <a:lnTo>
                    <a:pt x="78994" y="129413"/>
                  </a:lnTo>
                  <a:lnTo>
                    <a:pt x="77344" y="130429"/>
                  </a:lnTo>
                  <a:lnTo>
                    <a:pt x="75565" y="131319"/>
                  </a:lnTo>
                  <a:lnTo>
                    <a:pt x="73788" y="131953"/>
                  </a:lnTo>
                  <a:lnTo>
                    <a:pt x="72009" y="132716"/>
                  </a:lnTo>
                  <a:lnTo>
                    <a:pt x="70105" y="133350"/>
                  </a:lnTo>
                  <a:lnTo>
                    <a:pt x="68200" y="134112"/>
                  </a:lnTo>
                  <a:lnTo>
                    <a:pt x="66294" y="134494"/>
                  </a:lnTo>
                  <a:lnTo>
                    <a:pt x="64389" y="135001"/>
                  </a:lnTo>
                  <a:lnTo>
                    <a:pt x="64389" y="128271"/>
                  </a:lnTo>
                  <a:lnTo>
                    <a:pt x="67311" y="127381"/>
                  </a:lnTo>
                  <a:lnTo>
                    <a:pt x="70105" y="126238"/>
                  </a:lnTo>
                  <a:lnTo>
                    <a:pt x="72899" y="124969"/>
                  </a:lnTo>
                  <a:lnTo>
                    <a:pt x="75565" y="123572"/>
                  </a:lnTo>
                  <a:lnTo>
                    <a:pt x="78106" y="121794"/>
                  </a:lnTo>
                  <a:lnTo>
                    <a:pt x="80264" y="119888"/>
                  </a:lnTo>
                  <a:lnTo>
                    <a:pt x="82550" y="117729"/>
                  </a:lnTo>
                  <a:lnTo>
                    <a:pt x="84456" y="115444"/>
                  </a:lnTo>
                  <a:lnTo>
                    <a:pt x="86107" y="113031"/>
                  </a:lnTo>
                  <a:lnTo>
                    <a:pt x="87757" y="110237"/>
                  </a:lnTo>
                  <a:lnTo>
                    <a:pt x="89155" y="107188"/>
                  </a:lnTo>
                  <a:lnTo>
                    <a:pt x="90298" y="104141"/>
                  </a:lnTo>
                  <a:lnTo>
                    <a:pt x="91187" y="100712"/>
                  </a:lnTo>
                  <a:lnTo>
                    <a:pt x="91821" y="97156"/>
                  </a:lnTo>
                  <a:lnTo>
                    <a:pt x="92202" y="93346"/>
                  </a:lnTo>
                  <a:lnTo>
                    <a:pt x="92330" y="89281"/>
                  </a:lnTo>
                  <a:lnTo>
                    <a:pt x="92330" y="87250"/>
                  </a:lnTo>
                  <a:lnTo>
                    <a:pt x="92202" y="84963"/>
                  </a:lnTo>
                  <a:lnTo>
                    <a:pt x="91821" y="82804"/>
                  </a:lnTo>
                  <a:lnTo>
                    <a:pt x="91568" y="80519"/>
                  </a:lnTo>
                  <a:lnTo>
                    <a:pt x="90551" y="75947"/>
                  </a:lnTo>
                  <a:lnTo>
                    <a:pt x="89282" y="71247"/>
                  </a:lnTo>
                  <a:lnTo>
                    <a:pt x="87504" y="66549"/>
                  </a:lnTo>
                  <a:lnTo>
                    <a:pt x="85599" y="61850"/>
                  </a:lnTo>
                  <a:lnTo>
                    <a:pt x="83313" y="57150"/>
                  </a:lnTo>
                  <a:lnTo>
                    <a:pt x="80900" y="52451"/>
                  </a:lnTo>
                  <a:lnTo>
                    <a:pt x="78232" y="47753"/>
                  </a:lnTo>
                  <a:lnTo>
                    <a:pt x="75438" y="43053"/>
                  </a:lnTo>
                  <a:lnTo>
                    <a:pt x="72518" y="38481"/>
                  </a:lnTo>
                  <a:lnTo>
                    <a:pt x="69215" y="33909"/>
                  </a:lnTo>
                  <a:lnTo>
                    <a:pt x="66168" y="29591"/>
                  </a:lnTo>
                  <a:lnTo>
                    <a:pt x="62738" y="25400"/>
                  </a:lnTo>
                  <a:lnTo>
                    <a:pt x="59563" y="21209"/>
                  </a:lnTo>
                  <a:lnTo>
                    <a:pt x="56134" y="17272"/>
                  </a:lnTo>
                  <a:close/>
                  <a:moveTo>
                    <a:pt x="-3376167" y="2551176"/>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76" name="Freeform 1376"/>
            <p:cNvSpPr/>
            <p:nvPr/>
          </p:nvSpPr>
          <p:spPr>
            <a:xfrm>
              <a:off x="5133336" y="4172325"/>
              <a:ext cx="313781" cy="371662"/>
            </a:xfrm>
            <a:custGeom>
              <a:avLst/>
              <a:gdLst/>
              <a:ahLst/>
              <a:cxnLst/>
              <a:rect l="0" t="0" r="0" b="0"/>
              <a:pathLst>
                <a:path w="313944" h="371856">
                  <a:moveTo>
                    <a:pt x="237489" y="34671"/>
                  </a:moveTo>
                  <a:lnTo>
                    <a:pt x="237489" y="34671"/>
                  </a:lnTo>
                  <a:close/>
                  <a:moveTo>
                    <a:pt x="-2482215" y="2685288"/>
                  </a:moveTo>
                  <a:moveTo>
                    <a:pt x="268604" y="79756"/>
                  </a:moveTo>
                  <a:lnTo>
                    <a:pt x="268604" y="79756"/>
                  </a:lnTo>
                  <a:lnTo>
                    <a:pt x="268604" y="81281"/>
                  </a:lnTo>
                  <a:lnTo>
                    <a:pt x="268985" y="83059"/>
                  </a:lnTo>
                  <a:lnTo>
                    <a:pt x="269366" y="84456"/>
                  </a:lnTo>
                  <a:lnTo>
                    <a:pt x="270128" y="85853"/>
                  </a:lnTo>
                  <a:lnTo>
                    <a:pt x="270890" y="87377"/>
                  </a:lnTo>
                  <a:lnTo>
                    <a:pt x="271779" y="88646"/>
                  </a:lnTo>
                  <a:lnTo>
                    <a:pt x="272796" y="89916"/>
                  </a:lnTo>
                  <a:lnTo>
                    <a:pt x="273939" y="91059"/>
                  </a:lnTo>
                  <a:lnTo>
                    <a:pt x="275208" y="92203"/>
                  </a:lnTo>
                  <a:lnTo>
                    <a:pt x="276733" y="92965"/>
                  </a:lnTo>
                  <a:lnTo>
                    <a:pt x="278257" y="93727"/>
                  </a:lnTo>
                  <a:lnTo>
                    <a:pt x="280034" y="94488"/>
                  </a:lnTo>
                  <a:lnTo>
                    <a:pt x="281558" y="95124"/>
                  </a:lnTo>
                  <a:lnTo>
                    <a:pt x="283464" y="95505"/>
                  </a:lnTo>
                  <a:lnTo>
                    <a:pt x="285369" y="95759"/>
                  </a:lnTo>
                  <a:lnTo>
                    <a:pt x="287273" y="95759"/>
                  </a:lnTo>
                  <a:lnTo>
                    <a:pt x="297179" y="95759"/>
                  </a:lnTo>
                  <a:lnTo>
                    <a:pt x="297179" y="116078"/>
                  </a:lnTo>
                  <a:lnTo>
                    <a:pt x="312801" y="116078"/>
                  </a:lnTo>
                  <a:lnTo>
                    <a:pt x="312801" y="82550"/>
                  </a:lnTo>
                  <a:lnTo>
                    <a:pt x="312801" y="80646"/>
                  </a:lnTo>
                  <a:lnTo>
                    <a:pt x="312420" y="78868"/>
                  </a:lnTo>
                  <a:lnTo>
                    <a:pt x="312039" y="77090"/>
                  </a:lnTo>
                  <a:lnTo>
                    <a:pt x="311658" y="75312"/>
                  </a:lnTo>
                  <a:lnTo>
                    <a:pt x="310260" y="71628"/>
                  </a:lnTo>
                  <a:lnTo>
                    <a:pt x="308609" y="68199"/>
                  </a:lnTo>
                  <a:lnTo>
                    <a:pt x="306451" y="65024"/>
                  </a:lnTo>
                  <a:lnTo>
                    <a:pt x="304038" y="62103"/>
                  </a:lnTo>
                  <a:lnTo>
                    <a:pt x="302514" y="60706"/>
                  </a:lnTo>
                  <a:lnTo>
                    <a:pt x="301116" y="59183"/>
                  </a:lnTo>
                  <a:lnTo>
                    <a:pt x="299593" y="58166"/>
                  </a:lnTo>
                  <a:lnTo>
                    <a:pt x="297941" y="56896"/>
                  </a:lnTo>
                  <a:lnTo>
                    <a:pt x="247014" y="23749"/>
                  </a:lnTo>
                  <a:lnTo>
                    <a:pt x="237489" y="34671"/>
                  </a:lnTo>
                  <a:lnTo>
                    <a:pt x="268604" y="54611"/>
                  </a:lnTo>
                  <a:lnTo>
                    <a:pt x="268604" y="79756"/>
                  </a:lnTo>
                  <a:close/>
                  <a:moveTo>
                    <a:pt x="-2527300" y="2685288"/>
                  </a:moveTo>
                  <a:moveTo>
                    <a:pt x="276352" y="59690"/>
                  </a:moveTo>
                  <a:lnTo>
                    <a:pt x="288544" y="67565"/>
                  </a:lnTo>
                  <a:lnTo>
                    <a:pt x="290068" y="68708"/>
                  </a:lnTo>
                  <a:lnTo>
                    <a:pt x="291591" y="70231"/>
                  </a:lnTo>
                  <a:lnTo>
                    <a:pt x="293115" y="72137"/>
                  </a:lnTo>
                  <a:lnTo>
                    <a:pt x="294513" y="74296"/>
                  </a:lnTo>
                  <a:lnTo>
                    <a:pt x="295783" y="76581"/>
                  </a:lnTo>
                  <a:lnTo>
                    <a:pt x="296545" y="78740"/>
                  </a:lnTo>
                  <a:lnTo>
                    <a:pt x="297179" y="80646"/>
                  </a:lnTo>
                  <a:lnTo>
                    <a:pt x="297179" y="82550"/>
                  </a:lnTo>
                  <a:lnTo>
                    <a:pt x="297179" y="89028"/>
                  </a:lnTo>
                  <a:lnTo>
                    <a:pt x="287273" y="89028"/>
                  </a:lnTo>
                  <a:lnTo>
                    <a:pt x="284988" y="88900"/>
                  </a:lnTo>
                  <a:lnTo>
                    <a:pt x="283083" y="88393"/>
                  </a:lnTo>
                  <a:lnTo>
                    <a:pt x="281177" y="87377"/>
                  </a:lnTo>
                  <a:lnTo>
                    <a:pt x="279400" y="86361"/>
                  </a:lnTo>
                  <a:lnTo>
                    <a:pt x="278129" y="84963"/>
                  </a:lnTo>
                  <a:lnTo>
                    <a:pt x="277114" y="83312"/>
                  </a:lnTo>
                  <a:lnTo>
                    <a:pt x="276606" y="81662"/>
                  </a:lnTo>
                  <a:lnTo>
                    <a:pt x="276352" y="79756"/>
                  </a:lnTo>
                  <a:lnTo>
                    <a:pt x="276352" y="59690"/>
                  </a:lnTo>
                  <a:close/>
                  <a:moveTo>
                    <a:pt x="-2507234" y="2685288"/>
                  </a:moveTo>
                  <a:moveTo>
                    <a:pt x="0" y="371856"/>
                  </a:moveTo>
                  <a:lnTo>
                    <a:pt x="243077" y="371856"/>
                  </a:lnTo>
                  <a:lnTo>
                    <a:pt x="243077" y="358521"/>
                  </a:lnTo>
                  <a:lnTo>
                    <a:pt x="0" y="358521"/>
                  </a:lnTo>
                  <a:lnTo>
                    <a:pt x="0" y="371856"/>
                  </a:lnTo>
                  <a:close/>
                  <a:moveTo>
                    <a:pt x="-2819400" y="2685288"/>
                  </a:moveTo>
                  <a:moveTo>
                    <a:pt x="127253" y="155321"/>
                  </a:moveTo>
                  <a:lnTo>
                    <a:pt x="125476" y="159766"/>
                  </a:lnTo>
                  <a:lnTo>
                    <a:pt x="123571" y="163831"/>
                  </a:lnTo>
                  <a:lnTo>
                    <a:pt x="121665" y="167768"/>
                  </a:lnTo>
                  <a:lnTo>
                    <a:pt x="119760" y="171196"/>
                  </a:lnTo>
                  <a:lnTo>
                    <a:pt x="117856" y="174499"/>
                  </a:lnTo>
                  <a:lnTo>
                    <a:pt x="114681" y="178943"/>
                  </a:lnTo>
                  <a:lnTo>
                    <a:pt x="111252" y="182881"/>
                  </a:lnTo>
                  <a:lnTo>
                    <a:pt x="107822" y="186309"/>
                  </a:lnTo>
                  <a:lnTo>
                    <a:pt x="104394" y="189358"/>
                  </a:lnTo>
                  <a:lnTo>
                    <a:pt x="100964" y="192024"/>
                  </a:lnTo>
                  <a:lnTo>
                    <a:pt x="97535" y="194565"/>
                  </a:lnTo>
                  <a:lnTo>
                    <a:pt x="90804" y="199137"/>
                  </a:lnTo>
                  <a:lnTo>
                    <a:pt x="86614" y="201677"/>
                  </a:lnTo>
                  <a:lnTo>
                    <a:pt x="82422" y="204597"/>
                  </a:lnTo>
                  <a:lnTo>
                    <a:pt x="78485" y="207772"/>
                  </a:lnTo>
                  <a:lnTo>
                    <a:pt x="76581" y="209296"/>
                  </a:lnTo>
                  <a:lnTo>
                    <a:pt x="74802" y="211202"/>
                  </a:lnTo>
                  <a:lnTo>
                    <a:pt x="73152" y="212980"/>
                  </a:lnTo>
                  <a:lnTo>
                    <a:pt x="71627" y="215138"/>
                  </a:lnTo>
                  <a:lnTo>
                    <a:pt x="70231" y="217171"/>
                  </a:lnTo>
                  <a:lnTo>
                    <a:pt x="68960" y="219584"/>
                  </a:lnTo>
                  <a:lnTo>
                    <a:pt x="67818" y="222250"/>
                  </a:lnTo>
                  <a:lnTo>
                    <a:pt x="66802" y="224790"/>
                  </a:lnTo>
                  <a:lnTo>
                    <a:pt x="66039" y="227712"/>
                  </a:lnTo>
                  <a:lnTo>
                    <a:pt x="65532" y="231013"/>
                  </a:lnTo>
                  <a:lnTo>
                    <a:pt x="65277" y="232918"/>
                  </a:lnTo>
                  <a:lnTo>
                    <a:pt x="65277" y="235205"/>
                  </a:lnTo>
                  <a:lnTo>
                    <a:pt x="65277" y="237490"/>
                  </a:lnTo>
                  <a:lnTo>
                    <a:pt x="65658" y="240031"/>
                  </a:lnTo>
                  <a:lnTo>
                    <a:pt x="66294" y="242443"/>
                  </a:lnTo>
                  <a:lnTo>
                    <a:pt x="67183" y="244603"/>
                  </a:lnTo>
                  <a:lnTo>
                    <a:pt x="68198" y="247015"/>
                  </a:lnTo>
                  <a:lnTo>
                    <a:pt x="69469" y="249047"/>
                  </a:lnTo>
                  <a:lnTo>
                    <a:pt x="70993" y="251206"/>
                  </a:lnTo>
                  <a:lnTo>
                    <a:pt x="72771" y="253112"/>
                  </a:lnTo>
                  <a:lnTo>
                    <a:pt x="74676" y="255143"/>
                  </a:lnTo>
                  <a:lnTo>
                    <a:pt x="76708" y="256921"/>
                  </a:lnTo>
                  <a:lnTo>
                    <a:pt x="78866" y="258827"/>
                  </a:lnTo>
                  <a:lnTo>
                    <a:pt x="81279" y="260350"/>
                  </a:lnTo>
                  <a:lnTo>
                    <a:pt x="83946" y="262128"/>
                  </a:lnTo>
                  <a:lnTo>
                    <a:pt x="86868" y="263525"/>
                  </a:lnTo>
                  <a:lnTo>
                    <a:pt x="89662" y="264922"/>
                  </a:lnTo>
                  <a:lnTo>
                    <a:pt x="92709" y="266319"/>
                  </a:lnTo>
                  <a:lnTo>
                    <a:pt x="92202" y="263780"/>
                  </a:lnTo>
                  <a:lnTo>
                    <a:pt x="91821" y="260986"/>
                  </a:lnTo>
                  <a:lnTo>
                    <a:pt x="91439" y="258446"/>
                  </a:lnTo>
                  <a:lnTo>
                    <a:pt x="91185" y="256159"/>
                  </a:lnTo>
                  <a:lnTo>
                    <a:pt x="87376" y="254255"/>
                  </a:lnTo>
                  <a:lnTo>
                    <a:pt x="84201" y="252222"/>
                  </a:lnTo>
                  <a:lnTo>
                    <a:pt x="81533" y="250063"/>
                  </a:lnTo>
                  <a:lnTo>
                    <a:pt x="80137" y="248921"/>
                  </a:lnTo>
                  <a:lnTo>
                    <a:pt x="79247" y="247778"/>
                  </a:lnTo>
                  <a:lnTo>
                    <a:pt x="78232" y="246508"/>
                  </a:lnTo>
                  <a:lnTo>
                    <a:pt x="77343" y="245111"/>
                  </a:lnTo>
                  <a:lnTo>
                    <a:pt x="76581" y="243840"/>
                  </a:lnTo>
                  <a:lnTo>
                    <a:pt x="75946" y="242443"/>
                  </a:lnTo>
                  <a:lnTo>
                    <a:pt x="75564" y="240793"/>
                  </a:lnTo>
                  <a:lnTo>
                    <a:pt x="75183" y="239396"/>
                  </a:lnTo>
                  <a:lnTo>
                    <a:pt x="75057" y="237744"/>
                  </a:lnTo>
                  <a:lnTo>
                    <a:pt x="75057" y="235966"/>
                  </a:lnTo>
                  <a:lnTo>
                    <a:pt x="75183" y="232791"/>
                  </a:lnTo>
                  <a:lnTo>
                    <a:pt x="75564" y="230124"/>
                  </a:lnTo>
                  <a:lnTo>
                    <a:pt x="76327" y="227584"/>
                  </a:lnTo>
                  <a:lnTo>
                    <a:pt x="76962" y="225299"/>
                  </a:lnTo>
                  <a:lnTo>
                    <a:pt x="77851" y="223393"/>
                  </a:lnTo>
                  <a:lnTo>
                    <a:pt x="78613" y="221362"/>
                  </a:lnTo>
                  <a:lnTo>
                    <a:pt x="79756" y="219584"/>
                  </a:lnTo>
                  <a:lnTo>
                    <a:pt x="80898" y="217806"/>
                  </a:lnTo>
                  <a:lnTo>
                    <a:pt x="82041" y="216281"/>
                  </a:lnTo>
                  <a:lnTo>
                    <a:pt x="83439" y="214884"/>
                  </a:lnTo>
                  <a:lnTo>
                    <a:pt x="84963" y="213234"/>
                  </a:lnTo>
                  <a:lnTo>
                    <a:pt x="88138" y="210566"/>
                  </a:lnTo>
                  <a:lnTo>
                    <a:pt x="91947" y="207899"/>
                  </a:lnTo>
                  <a:lnTo>
                    <a:pt x="96139" y="204978"/>
                  </a:lnTo>
                  <a:lnTo>
                    <a:pt x="100583" y="202184"/>
                  </a:lnTo>
                  <a:lnTo>
                    <a:pt x="105156" y="199137"/>
                  </a:lnTo>
                  <a:lnTo>
                    <a:pt x="109854" y="195581"/>
                  </a:lnTo>
                  <a:lnTo>
                    <a:pt x="112140" y="193549"/>
                  </a:lnTo>
                  <a:lnTo>
                    <a:pt x="114681" y="191516"/>
                  </a:lnTo>
                  <a:lnTo>
                    <a:pt x="116966" y="189358"/>
                  </a:lnTo>
                  <a:lnTo>
                    <a:pt x="119252" y="187071"/>
                  </a:lnTo>
                  <a:lnTo>
                    <a:pt x="121284" y="184405"/>
                  </a:lnTo>
                  <a:lnTo>
                    <a:pt x="123444" y="181611"/>
                  </a:lnTo>
                  <a:lnTo>
                    <a:pt x="125476" y="178816"/>
                  </a:lnTo>
                  <a:lnTo>
                    <a:pt x="127381" y="175641"/>
                  </a:lnTo>
                  <a:lnTo>
                    <a:pt x="129285" y="172212"/>
                  </a:lnTo>
                  <a:lnTo>
                    <a:pt x="130809" y="168530"/>
                  </a:lnTo>
                  <a:lnTo>
                    <a:pt x="137287" y="176531"/>
                  </a:lnTo>
                  <a:lnTo>
                    <a:pt x="143637" y="183769"/>
                  </a:lnTo>
                  <a:lnTo>
                    <a:pt x="149097" y="190881"/>
                  </a:lnTo>
                  <a:lnTo>
                    <a:pt x="151764" y="194184"/>
                  </a:lnTo>
                  <a:lnTo>
                    <a:pt x="154051" y="197486"/>
                  </a:lnTo>
                  <a:lnTo>
                    <a:pt x="156337" y="200787"/>
                  </a:lnTo>
                  <a:lnTo>
                    <a:pt x="158496" y="204343"/>
                  </a:lnTo>
                  <a:lnTo>
                    <a:pt x="160146" y="207772"/>
                  </a:lnTo>
                  <a:lnTo>
                    <a:pt x="161671" y="211202"/>
                  </a:lnTo>
                  <a:lnTo>
                    <a:pt x="162814" y="215012"/>
                  </a:lnTo>
                  <a:lnTo>
                    <a:pt x="163829" y="218821"/>
                  </a:lnTo>
                  <a:lnTo>
                    <a:pt x="164210" y="222759"/>
                  </a:lnTo>
                  <a:lnTo>
                    <a:pt x="164338" y="226822"/>
                  </a:lnTo>
                  <a:lnTo>
                    <a:pt x="164338" y="230252"/>
                  </a:lnTo>
                  <a:lnTo>
                    <a:pt x="163957" y="233553"/>
                  </a:lnTo>
                  <a:lnTo>
                    <a:pt x="163195" y="237744"/>
                  </a:lnTo>
                  <a:lnTo>
                    <a:pt x="162052" y="241300"/>
                  </a:lnTo>
                  <a:lnTo>
                    <a:pt x="160527" y="244730"/>
                  </a:lnTo>
                  <a:lnTo>
                    <a:pt x="158877" y="247905"/>
                  </a:lnTo>
                  <a:lnTo>
                    <a:pt x="156337" y="250699"/>
                  </a:lnTo>
                  <a:lnTo>
                    <a:pt x="154051" y="253238"/>
                  </a:lnTo>
                  <a:lnTo>
                    <a:pt x="151257" y="255652"/>
                  </a:lnTo>
                  <a:lnTo>
                    <a:pt x="148335" y="257684"/>
                  </a:lnTo>
                  <a:lnTo>
                    <a:pt x="145160" y="259588"/>
                  </a:lnTo>
                  <a:lnTo>
                    <a:pt x="141858" y="260986"/>
                  </a:lnTo>
                  <a:lnTo>
                    <a:pt x="138302" y="262383"/>
                  </a:lnTo>
                  <a:lnTo>
                    <a:pt x="134620" y="263399"/>
                  </a:lnTo>
                  <a:lnTo>
                    <a:pt x="130809" y="264161"/>
                  </a:lnTo>
                  <a:lnTo>
                    <a:pt x="126872" y="264668"/>
                  </a:lnTo>
                  <a:lnTo>
                    <a:pt x="123063" y="265049"/>
                  </a:lnTo>
                  <a:lnTo>
                    <a:pt x="118871" y="265049"/>
                  </a:lnTo>
                  <a:lnTo>
                    <a:pt x="116204" y="265049"/>
                  </a:lnTo>
                  <a:lnTo>
                    <a:pt x="113538" y="264922"/>
                  </a:lnTo>
                  <a:lnTo>
                    <a:pt x="107950" y="264287"/>
                  </a:lnTo>
                  <a:lnTo>
                    <a:pt x="107441" y="262256"/>
                  </a:lnTo>
                  <a:lnTo>
                    <a:pt x="107060" y="260096"/>
                  </a:lnTo>
                  <a:lnTo>
                    <a:pt x="106679" y="257811"/>
                  </a:lnTo>
                  <a:lnTo>
                    <a:pt x="106679" y="256159"/>
                  </a:lnTo>
                  <a:lnTo>
                    <a:pt x="106679" y="254381"/>
                  </a:lnTo>
                  <a:lnTo>
                    <a:pt x="106807" y="252603"/>
                  </a:lnTo>
                  <a:lnTo>
                    <a:pt x="107188" y="251080"/>
                  </a:lnTo>
                  <a:lnTo>
                    <a:pt x="107569" y="249556"/>
                  </a:lnTo>
                  <a:lnTo>
                    <a:pt x="108712" y="246634"/>
                  </a:lnTo>
                  <a:lnTo>
                    <a:pt x="110235" y="243840"/>
                  </a:lnTo>
                  <a:lnTo>
                    <a:pt x="112140" y="241174"/>
                  </a:lnTo>
                  <a:lnTo>
                    <a:pt x="114046" y="238761"/>
                  </a:lnTo>
                  <a:lnTo>
                    <a:pt x="116332" y="236093"/>
                  </a:lnTo>
                  <a:lnTo>
                    <a:pt x="118618" y="233553"/>
                  </a:lnTo>
                  <a:lnTo>
                    <a:pt x="123444" y="228728"/>
                  </a:lnTo>
                  <a:lnTo>
                    <a:pt x="125729" y="226061"/>
                  </a:lnTo>
                  <a:lnTo>
                    <a:pt x="127634" y="223140"/>
                  </a:lnTo>
                  <a:lnTo>
                    <a:pt x="129285" y="220218"/>
                  </a:lnTo>
                  <a:lnTo>
                    <a:pt x="130047" y="218821"/>
                  </a:lnTo>
                  <a:lnTo>
                    <a:pt x="130809" y="217043"/>
                  </a:lnTo>
                  <a:lnTo>
                    <a:pt x="131190" y="215519"/>
                  </a:lnTo>
                  <a:lnTo>
                    <a:pt x="131571" y="213615"/>
                  </a:lnTo>
                  <a:lnTo>
                    <a:pt x="131826" y="211837"/>
                  </a:lnTo>
                  <a:lnTo>
                    <a:pt x="131952" y="209805"/>
                  </a:lnTo>
                  <a:lnTo>
                    <a:pt x="126872" y="209805"/>
                  </a:lnTo>
                  <a:lnTo>
                    <a:pt x="126619" y="211583"/>
                  </a:lnTo>
                  <a:lnTo>
                    <a:pt x="126491" y="212980"/>
                  </a:lnTo>
                  <a:lnTo>
                    <a:pt x="126238" y="214503"/>
                  </a:lnTo>
                  <a:lnTo>
                    <a:pt x="125729" y="215774"/>
                  </a:lnTo>
                  <a:lnTo>
                    <a:pt x="124587" y="218440"/>
                  </a:lnTo>
                  <a:lnTo>
                    <a:pt x="123189" y="220981"/>
                  </a:lnTo>
                  <a:lnTo>
                    <a:pt x="121284" y="223521"/>
                  </a:lnTo>
                  <a:lnTo>
                    <a:pt x="119252" y="226061"/>
                  </a:lnTo>
                  <a:lnTo>
                    <a:pt x="114681" y="230887"/>
                  </a:lnTo>
                  <a:lnTo>
                    <a:pt x="112395" y="233299"/>
                  </a:lnTo>
                  <a:lnTo>
                    <a:pt x="109854" y="235966"/>
                  </a:lnTo>
                  <a:lnTo>
                    <a:pt x="107822" y="238761"/>
                  </a:lnTo>
                  <a:lnTo>
                    <a:pt x="105664" y="241681"/>
                  </a:lnTo>
                  <a:lnTo>
                    <a:pt x="104013" y="244984"/>
                  </a:lnTo>
                  <a:lnTo>
                    <a:pt x="103251" y="246634"/>
                  </a:lnTo>
                  <a:lnTo>
                    <a:pt x="102615" y="248412"/>
                  </a:lnTo>
                  <a:lnTo>
                    <a:pt x="102108" y="250318"/>
                  </a:lnTo>
                  <a:lnTo>
                    <a:pt x="101727" y="251968"/>
                  </a:lnTo>
                  <a:lnTo>
                    <a:pt x="101472" y="254000"/>
                  </a:lnTo>
                  <a:lnTo>
                    <a:pt x="101472" y="256159"/>
                  </a:lnTo>
                  <a:lnTo>
                    <a:pt x="101472" y="258572"/>
                  </a:lnTo>
                  <a:lnTo>
                    <a:pt x="101853" y="261112"/>
                  </a:lnTo>
                  <a:lnTo>
                    <a:pt x="102489" y="264034"/>
                  </a:lnTo>
                  <a:lnTo>
                    <a:pt x="103377" y="266955"/>
                  </a:lnTo>
                  <a:lnTo>
                    <a:pt x="104521" y="270130"/>
                  </a:lnTo>
                  <a:lnTo>
                    <a:pt x="106045" y="273178"/>
                  </a:lnTo>
                  <a:lnTo>
                    <a:pt x="107822" y="276606"/>
                  </a:lnTo>
                  <a:lnTo>
                    <a:pt x="109854" y="280036"/>
                  </a:lnTo>
                  <a:lnTo>
                    <a:pt x="112395" y="283846"/>
                  </a:lnTo>
                  <a:lnTo>
                    <a:pt x="115189" y="287783"/>
                  </a:lnTo>
                  <a:lnTo>
                    <a:pt x="118237" y="291846"/>
                  </a:lnTo>
                  <a:lnTo>
                    <a:pt x="121920" y="296165"/>
                  </a:lnTo>
                  <a:lnTo>
                    <a:pt x="121920" y="295911"/>
                  </a:lnTo>
                  <a:lnTo>
                    <a:pt x="122808" y="296927"/>
                  </a:lnTo>
                  <a:lnTo>
                    <a:pt x="129921" y="292481"/>
                  </a:lnTo>
                  <a:lnTo>
                    <a:pt x="127000" y="289053"/>
                  </a:lnTo>
                  <a:lnTo>
                    <a:pt x="124333" y="286005"/>
                  </a:lnTo>
                  <a:lnTo>
                    <a:pt x="122046" y="282830"/>
                  </a:lnTo>
                  <a:lnTo>
                    <a:pt x="120014" y="279909"/>
                  </a:lnTo>
                  <a:lnTo>
                    <a:pt x="118237" y="277115"/>
                  </a:lnTo>
                  <a:lnTo>
                    <a:pt x="116585" y="274574"/>
                  </a:lnTo>
                  <a:lnTo>
                    <a:pt x="115189" y="271908"/>
                  </a:lnTo>
                  <a:lnTo>
                    <a:pt x="114046" y="269368"/>
                  </a:lnTo>
                  <a:lnTo>
                    <a:pt x="116585" y="269494"/>
                  </a:lnTo>
                  <a:lnTo>
                    <a:pt x="118871" y="269621"/>
                  </a:lnTo>
                  <a:lnTo>
                    <a:pt x="119379" y="269621"/>
                  </a:lnTo>
                  <a:lnTo>
                    <a:pt x="123571" y="269494"/>
                  </a:lnTo>
                  <a:lnTo>
                    <a:pt x="128015" y="269240"/>
                  </a:lnTo>
                  <a:lnTo>
                    <a:pt x="132207" y="268606"/>
                  </a:lnTo>
                  <a:lnTo>
                    <a:pt x="136397" y="267590"/>
                  </a:lnTo>
                  <a:lnTo>
                    <a:pt x="140334" y="266446"/>
                  </a:lnTo>
                  <a:lnTo>
                    <a:pt x="144398" y="264922"/>
                  </a:lnTo>
                  <a:lnTo>
                    <a:pt x="147954" y="263144"/>
                  </a:lnTo>
                  <a:lnTo>
                    <a:pt x="151638" y="261112"/>
                  </a:lnTo>
                  <a:lnTo>
                    <a:pt x="154813" y="258953"/>
                  </a:lnTo>
                  <a:lnTo>
                    <a:pt x="158114" y="256287"/>
                  </a:lnTo>
                  <a:lnTo>
                    <a:pt x="159639" y="254890"/>
                  </a:lnTo>
                  <a:lnTo>
                    <a:pt x="160908" y="253238"/>
                  </a:lnTo>
                  <a:lnTo>
                    <a:pt x="162052" y="251715"/>
                  </a:lnTo>
                  <a:lnTo>
                    <a:pt x="163195" y="250063"/>
                  </a:lnTo>
                  <a:lnTo>
                    <a:pt x="164338" y="248412"/>
                  </a:lnTo>
                  <a:lnTo>
                    <a:pt x="165353" y="246634"/>
                  </a:lnTo>
                  <a:lnTo>
                    <a:pt x="166243" y="244603"/>
                  </a:lnTo>
                  <a:lnTo>
                    <a:pt x="167004" y="242824"/>
                  </a:lnTo>
                  <a:lnTo>
                    <a:pt x="167766" y="240665"/>
                  </a:lnTo>
                  <a:lnTo>
                    <a:pt x="168402" y="238634"/>
                  </a:lnTo>
                  <a:lnTo>
                    <a:pt x="168783" y="236474"/>
                  </a:lnTo>
                  <a:lnTo>
                    <a:pt x="169164" y="234188"/>
                  </a:lnTo>
                  <a:lnTo>
                    <a:pt x="169545" y="230378"/>
                  </a:lnTo>
                  <a:lnTo>
                    <a:pt x="169545" y="226822"/>
                  </a:lnTo>
                  <a:lnTo>
                    <a:pt x="169545" y="224283"/>
                  </a:lnTo>
                  <a:lnTo>
                    <a:pt x="169290" y="221743"/>
                  </a:lnTo>
                  <a:lnTo>
                    <a:pt x="169164" y="219456"/>
                  </a:lnTo>
                  <a:lnTo>
                    <a:pt x="168528" y="217043"/>
                  </a:lnTo>
                  <a:lnTo>
                    <a:pt x="167639" y="212599"/>
                  </a:lnTo>
                  <a:lnTo>
                    <a:pt x="166115" y="208408"/>
                  </a:lnTo>
                  <a:lnTo>
                    <a:pt x="164210" y="204343"/>
                  </a:lnTo>
                  <a:lnTo>
                    <a:pt x="162052" y="200153"/>
                  </a:lnTo>
                  <a:lnTo>
                    <a:pt x="159639" y="196469"/>
                  </a:lnTo>
                  <a:lnTo>
                    <a:pt x="156718" y="192533"/>
                  </a:lnTo>
                  <a:lnTo>
                    <a:pt x="153670" y="188722"/>
                  </a:lnTo>
                  <a:lnTo>
                    <a:pt x="150621" y="184786"/>
                  </a:lnTo>
                  <a:lnTo>
                    <a:pt x="144018" y="176912"/>
                  </a:lnTo>
                  <a:lnTo>
                    <a:pt x="137159" y="168530"/>
                  </a:lnTo>
                  <a:lnTo>
                    <a:pt x="133477" y="163958"/>
                  </a:lnTo>
                  <a:lnTo>
                    <a:pt x="130047" y="159259"/>
                  </a:lnTo>
                  <a:lnTo>
                    <a:pt x="127253" y="155321"/>
                  </a:lnTo>
                  <a:close/>
                  <a:moveTo>
                    <a:pt x="-2602865" y="2685288"/>
                  </a:moveTo>
                  <a:moveTo>
                    <a:pt x="313944" y="129668"/>
                  </a:moveTo>
                  <a:lnTo>
                    <a:pt x="298322" y="129668"/>
                  </a:lnTo>
                  <a:lnTo>
                    <a:pt x="298322" y="335915"/>
                  </a:lnTo>
                  <a:lnTo>
                    <a:pt x="298069" y="337059"/>
                  </a:lnTo>
                  <a:lnTo>
                    <a:pt x="297688" y="338328"/>
                  </a:lnTo>
                  <a:lnTo>
                    <a:pt x="297179" y="339218"/>
                  </a:lnTo>
                  <a:lnTo>
                    <a:pt x="296164" y="340234"/>
                  </a:lnTo>
                  <a:lnTo>
                    <a:pt x="295275" y="340868"/>
                  </a:lnTo>
                  <a:lnTo>
                    <a:pt x="294132" y="341377"/>
                  </a:lnTo>
                  <a:lnTo>
                    <a:pt x="292734" y="341758"/>
                  </a:lnTo>
                  <a:lnTo>
                    <a:pt x="291464" y="341758"/>
                  </a:lnTo>
                  <a:lnTo>
                    <a:pt x="280923" y="341758"/>
                  </a:lnTo>
                  <a:lnTo>
                    <a:pt x="279653" y="341758"/>
                  </a:lnTo>
                  <a:lnTo>
                    <a:pt x="278257" y="341503"/>
                  </a:lnTo>
                  <a:lnTo>
                    <a:pt x="277114" y="340868"/>
                  </a:lnTo>
                  <a:lnTo>
                    <a:pt x="276225" y="340234"/>
                  </a:lnTo>
                  <a:lnTo>
                    <a:pt x="275208" y="339218"/>
                  </a:lnTo>
                  <a:lnTo>
                    <a:pt x="274701" y="338328"/>
                  </a:lnTo>
                  <a:lnTo>
                    <a:pt x="274320" y="337059"/>
                  </a:lnTo>
                  <a:lnTo>
                    <a:pt x="274065" y="335915"/>
                  </a:lnTo>
                  <a:lnTo>
                    <a:pt x="274065" y="168403"/>
                  </a:lnTo>
                  <a:lnTo>
                    <a:pt x="273939" y="166497"/>
                  </a:lnTo>
                  <a:lnTo>
                    <a:pt x="273684" y="164465"/>
                  </a:lnTo>
                  <a:lnTo>
                    <a:pt x="273177" y="162687"/>
                  </a:lnTo>
                  <a:lnTo>
                    <a:pt x="272414" y="160783"/>
                  </a:lnTo>
                  <a:lnTo>
                    <a:pt x="271398" y="159259"/>
                  </a:lnTo>
                  <a:lnTo>
                    <a:pt x="270256" y="157481"/>
                  </a:lnTo>
                  <a:lnTo>
                    <a:pt x="268985" y="156084"/>
                  </a:lnTo>
                  <a:lnTo>
                    <a:pt x="267462" y="154687"/>
                  </a:lnTo>
                  <a:lnTo>
                    <a:pt x="265938" y="153416"/>
                  </a:lnTo>
                  <a:lnTo>
                    <a:pt x="264159" y="152274"/>
                  </a:lnTo>
                  <a:lnTo>
                    <a:pt x="262254" y="151384"/>
                  </a:lnTo>
                  <a:lnTo>
                    <a:pt x="260350" y="150622"/>
                  </a:lnTo>
                  <a:lnTo>
                    <a:pt x="258318" y="149861"/>
                  </a:lnTo>
                  <a:lnTo>
                    <a:pt x="256158" y="149353"/>
                  </a:lnTo>
                  <a:lnTo>
                    <a:pt x="253872" y="148971"/>
                  </a:lnTo>
                  <a:lnTo>
                    <a:pt x="251587" y="148971"/>
                  </a:lnTo>
                  <a:lnTo>
                    <a:pt x="219456" y="148971"/>
                  </a:lnTo>
                  <a:lnTo>
                    <a:pt x="219456" y="19431"/>
                  </a:lnTo>
                  <a:lnTo>
                    <a:pt x="219456" y="17399"/>
                  </a:lnTo>
                  <a:lnTo>
                    <a:pt x="219075" y="15494"/>
                  </a:lnTo>
                  <a:lnTo>
                    <a:pt x="218439" y="13590"/>
                  </a:lnTo>
                  <a:lnTo>
                    <a:pt x="217677" y="11812"/>
                  </a:lnTo>
                  <a:lnTo>
                    <a:pt x="216789" y="10287"/>
                  </a:lnTo>
                  <a:lnTo>
                    <a:pt x="215646" y="8509"/>
                  </a:lnTo>
                  <a:lnTo>
                    <a:pt x="214248" y="7112"/>
                  </a:lnTo>
                  <a:lnTo>
                    <a:pt x="212978" y="5715"/>
                  </a:lnTo>
                  <a:lnTo>
                    <a:pt x="211201" y="4446"/>
                  </a:lnTo>
                  <a:lnTo>
                    <a:pt x="209550" y="3303"/>
                  </a:lnTo>
                  <a:lnTo>
                    <a:pt x="207645" y="2413"/>
                  </a:lnTo>
                  <a:lnTo>
                    <a:pt x="205739" y="1397"/>
                  </a:lnTo>
                  <a:lnTo>
                    <a:pt x="203581" y="762"/>
                  </a:lnTo>
                  <a:lnTo>
                    <a:pt x="201548" y="381"/>
                  </a:lnTo>
                  <a:lnTo>
                    <a:pt x="199263" y="128"/>
                  </a:lnTo>
                  <a:lnTo>
                    <a:pt x="196977" y="0"/>
                  </a:lnTo>
                  <a:lnTo>
                    <a:pt x="46227" y="0"/>
                  </a:lnTo>
                  <a:lnTo>
                    <a:pt x="43941" y="128"/>
                  </a:lnTo>
                  <a:lnTo>
                    <a:pt x="41656" y="381"/>
                  </a:lnTo>
                  <a:lnTo>
                    <a:pt x="39370" y="762"/>
                  </a:lnTo>
                  <a:lnTo>
                    <a:pt x="37464" y="1397"/>
                  </a:lnTo>
                  <a:lnTo>
                    <a:pt x="35433" y="2413"/>
                  </a:lnTo>
                  <a:lnTo>
                    <a:pt x="33654" y="3303"/>
                  </a:lnTo>
                  <a:lnTo>
                    <a:pt x="31750" y="4446"/>
                  </a:lnTo>
                  <a:lnTo>
                    <a:pt x="30226" y="5715"/>
                  </a:lnTo>
                  <a:lnTo>
                    <a:pt x="28702" y="7112"/>
                  </a:lnTo>
                  <a:lnTo>
                    <a:pt x="27558" y="8509"/>
                  </a:lnTo>
                  <a:lnTo>
                    <a:pt x="26415" y="10287"/>
                  </a:lnTo>
                  <a:lnTo>
                    <a:pt x="25527" y="11812"/>
                  </a:lnTo>
                  <a:lnTo>
                    <a:pt x="24764" y="13590"/>
                  </a:lnTo>
                  <a:lnTo>
                    <a:pt x="24129" y="15494"/>
                  </a:lnTo>
                  <a:lnTo>
                    <a:pt x="23748" y="17399"/>
                  </a:lnTo>
                  <a:lnTo>
                    <a:pt x="23621" y="19431"/>
                  </a:lnTo>
                  <a:lnTo>
                    <a:pt x="23621" y="351283"/>
                  </a:lnTo>
                  <a:lnTo>
                    <a:pt x="219456" y="351283"/>
                  </a:lnTo>
                  <a:lnTo>
                    <a:pt x="219456" y="162561"/>
                  </a:lnTo>
                  <a:lnTo>
                    <a:pt x="251587" y="162561"/>
                  </a:lnTo>
                  <a:lnTo>
                    <a:pt x="252983" y="162561"/>
                  </a:lnTo>
                  <a:lnTo>
                    <a:pt x="254253" y="163068"/>
                  </a:lnTo>
                  <a:lnTo>
                    <a:pt x="255396" y="163449"/>
                  </a:lnTo>
                  <a:lnTo>
                    <a:pt x="256413" y="164084"/>
                  </a:lnTo>
                  <a:lnTo>
                    <a:pt x="257302" y="165100"/>
                  </a:lnTo>
                  <a:lnTo>
                    <a:pt x="257937" y="166116"/>
                  </a:lnTo>
                  <a:lnTo>
                    <a:pt x="258318" y="167259"/>
                  </a:lnTo>
                  <a:lnTo>
                    <a:pt x="258445" y="168403"/>
                  </a:lnTo>
                  <a:lnTo>
                    <a:pt x="258445" y="335915"/>
                  </a:lnTo>
                  <a:lnTo>
                    <a:pt x="258698" y="337947"/>
                  </a:lnTo>
                  <a:lnTo>
                    <a:pt x="259079" y="339853"/>
                  </a:lnTo>
                  <a:lnTo>
                    <a:pt x="259588" y="341631"/>
                  </a:lnTo>
                  <a:lnTo>
                    <a:pt x="260350" y="343536"/>
                  </a:lnTo>
                  <a:lnTo>
                    <a:pt x="261365" y="345059"/>
                  </a:lnTo>
                  <a:lnTo>
                    <a:pt x="262254" y="346837"/>
                  </a:lnTo>
                  <a:lnTo>
                    <a:pt x="263652" y="348234"/>
                  </a:lnTo>
                  <a:lnTo>
                    <a:pt x="265176" y="349631"/>
                  </a:lnTo>
                  <a:lnTo>
                    <a:pt x="266700" y="350902"/>
                  </a:lnTo>
                  <a:lnTo>
                    <a:pt x="268351" y="352044"/>
                  </a:lnTo>
                  <a:lnTo>
                    <a:pt x="270256" y="352934"/>
                  </a:lnTo>
                  <a:lnTo>
                    <a:pt x="272160" y="353949"/>
                  </a:lnTo>
                  <a:lnTo>
                    <a:pt x="274320" y="354584"/>
                  </a:lnTo>
                  <a:lnTo>
                    <a:pt x="276606" y="354965"/>
                  </a:lnTo>
                  <a:lnTo>
                    <a:pt x="278638" y="355346"/>
                  </a:lnTo>
                  <a:lnTo>
                    <a:pt x="280923" y="355346"/>
                  </a:lnTo>
                  <a:lnTo>
                    <a:pt x="291464" y="355346"/>
                  </a:lnTo>
                  <a:lnTo>
                    <a:pt x="293751" y="355346"/>
                  </a:lnTo>
                  <a:lnTo>
                    <a:pt x="296037" y="354965"/>
                  </a:lnTo>
                  <a:lnTo>
                    <a:pt x="298069" y="354584"/>
                  </a:lnTo>
                  <a:lnTo>
                    <a:pt x="300227" y="353949"/>
                  </a:lnTo>
                  <a:lnTo>
                    <a:pt x="302133" y="352934"/>
                  </a:lnTo>
                  <a:lnTo>
                    <a:pt x="304038" y="352044"/>
                  </a:lnTo>
                  <a:lnTo>
                    <a:pt x="305689" y="350902"/>
                  </a:lnTo>
                  <a:lnTo>
                    <a:pt x="307213" y="349631"/>
                  </a:lnTo>
                  <a:lnTo>
                    <a:pt x="308737" y="348234"/>
                  </a:lnTo>
                  <a:lnTo>
                    <a:pt x="310133" y="346837"/>
                  </a:lnTo>
                  <a:lnTo>
                    <a:pt x="311277" y="345059"/>
                  </a:lnTo>
                  <a:lnTo>
                    <a:pt x="312165" y="343536"/>
                  </a:lnTo>
                  <a:lnTo>
                    <a:pt x="312927" y="341631"/>
                  </a:lnTo>
                  <a:lnTo>
                    <a:pt x="313563" y="339853"/>
                  </a:lnTo>
                  <a:lnTo>
                    <a:pt x="313689" y="337947"/>
                  </a:lnTo>
                  <a:lnTo>
                    <a:pt x="313944" y="335915"/>
                  </a:lnTo>
                  <a:lnTo>
                    <a:pt x="313944" y="129668"/>
                  </a:lnTo>
                  <a:close/>
                  <a:moveTo>
                    <a:pt x="-2577212" y="2685288"/>
                  </a:moveTo>
                  <a:moveTo>
                    <a:pt x="203962" y="337693"/>
                  </a:moveTo>
                  <a:lnTo>
                    <a:pt x="39243" y="337693"/>
                  </a:lnTo>
                  <a:lnTo>
                    <a:pt x="39243" y="19431"/>
                  </a:lnTo>
                  <a:lnTo>
                    <a:pt x="39370" y="18288"/>
                  </a:lnTo>
                  <a:lnTo>
                    <a:pt x="39751" y="17018"/>
                  </a:lnTo>
                  <a:lnTo>
                    <a:pt x="40385" y="16130"/>
                  </a:lnTo>
                  <a:lnTo>
                    <a:pt x="41275" y="15113"/>
                  </a:lnTo>
                  <a:lnTo>
                    <a:pt x="42290" y="14478"/>
                  </a:lnTo>
                  <a:lnTo>
                    <a:pt x="43433" y="13843"/>
                  </a:lnTo>
                  <a:lnTo>
                    <a:pt x="44703" y="13590"/>
                  </a:lnTo>
                  <a:lnTo>
                    <a:pt x="46227" y="13462"/>
                  </a:lnTo>
                  <a:lnTo>
                    <a:pt x="196977" y="13462"/>
                  </a:lnTo>
                  <a:lnTo>
                    <a:pt x="198501" y="13590"/>
                  </a:lnTo>
                  <a:lnTo>
                    <a:pt x="199644" y="13843"/>
                  </a:lnTo>
                  <a:lnTo>
                    <a:pt x="200914" y="14478"/>
                  </a:lnTo>
                  <a:lnTo>
                    <a:pt x="201929" y="15113"/>
                  </a:lnTo>
                  <a:lnTo>
                    <a:pt x="202691" y="16130"/>
                  </a:lnTo>
                  <a:lnTo>
                    <a:pt x="203453" y="17018"/>
                  </a:lnTo>
                  <a:lnTo>
                    <a:pt x="203834" y="18288"/>
                  </a:lnTo>
                  <a:lnTo>
                    <a:pt x="203962" y="19431"/>
                  </a:lnTo>
                  <a:lnTo>
                    <a:pt x="203962" y="337693"/>
                  </a:lnTo>
                  <a:close/>
                  <a:moveTo>
                    <a:pt x="-2785237" y="2685288"/>
                  </a:moveTo>
                  <a:moveTo>
                    <a:pt x="178053" y="123699"/>
                  </a:moveTo>
                  <a:lnTo>
                    <a:pt x="64896" y="123699"/>
                  </a:lnTo>
                  <a:lnTo>
                    <a:pt x="64896" y="45340"/>
                  </a:lnTo>
                  <a:lnTo>
                    <a:pt x="169671" y="45340"/>
                  </a:lnTo>
                  <a:lnTo>
                    <a:pt x="169671" y="38736"/>
                  </a:lnTo>
                  <a:lnTo>
                    <a:pt x="57277" y="38736"/>
                  </a:lnTo>
                  <a:lnTo>
                    <a:pt x="57277" y="130430"/>
                  </a:lnTo>
                  <a:lnTo>
                    <a:pt x="185927" y="130430"/>
                  </a:lnTo>
                  <a:lnTo>
                    <a:pt x="185927" y="38736"/>
                  </a:lnTo>
                  <a:lnTo>
                    <a:pt x="178053" y="38736"/>
                  </a:lnTo>
                  <a:lnTo>
                    <a:pt x="178053" y="123699"/>
                  </a:lnTo>
                  <a:close/>
                  <a:moveTo>
                    <a:pt x="-2571243" y="2685288"/>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pic>
          <p:nvPicPr>
            <p:cNvPr id="1396" name="Picture 1396"/>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5240975" y="4007057"/>
              <a:ext cx="788132" cy="130742"/>
            </a:xfrm>
            <a:prstGeom prst="rect">
              <a:avLst/>
            </a:prstGeom>
            <a:noFill/>
          </p:spPr>
        </p:pic>
        <p:pic>
          <p:nvPicPr>
            <p:cNvPr id="1397" name="Picture 1397"/>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a:xfrm>
              <a:off x="5959929" y="3991826"/>
              <a:ext cx="101547" cy="147497"/>
            </a:xfrm>
            <a:prstGeom prst="rect">
              <a:avLst/>
            </a:prstGeom>
            <a:noFill/>
          </p:spPr>
        </p:pic>
        <p:sp>
          <p:nvSpPr>
            <p:cNvPr id="1400" name="Freeform 1400"/>
            <p:cNvSpPr/>
            <p:nvPr/>
          </p:nvSpPr>
          <p:spPr>
            <a:xfrm>
              <a:off x="5596391" y="5302546"/>
              <a:ext cx="24370" cy="27419"/>
            </a:xfrm>
            <a:custGeom>
              <a:avLst/>
              <a:gdLst/>
              <a:ahLst/>
              <a:cxnLst/>
              <a:rect l="0" t="0" r="0" b="0"/>
              <a:pathLst>
                <a:path w="24383" h="27433">
                  <a:moveTo>
                    <a:pt x="4318" y="19939"/>
                  </a:moveTo>
                  <a:lnTo>
                    <a:pt x="4318" y="19939"/>
                  </a:lnTo>
                  <a:lnTo>
                    <a:pt x="5714" y="17400"/>
                  </a:lnTo>
                  <a:lnTo>
                    <a:pt x="7112" y="16256"/>
                  </a:lnTo>
                  <a:lnTo>
                    <a:pt x="10032" y="16256"/>
                  </a:lnTo>
                  <a:lnTo>
                    <a:pt x="11430" y="16256"/>
                  </a:lnTo>
                  <a:lnTo>
                    <a:pt x="17272" y="14986"/>
                  </a:lnTo>
                  <a:lnTo>
                    <a:pt x="20066" y="13717"/>
                  </a:lnTo>
                  <a:lnTo>
                    <a:pt x="22987" y="11177"/>
                  </a:lnTo>
                  <a:lnTo>
                    <a:pt x="24383" y="7494"/>
                  </a:lnTo>
                  <a:lnTo>
                    <a:pt x="22987" y="3683"/>
                  </a:lnTo>
                  <a:lnTo>
                    <a:pt x="20066" y="1270"/>
                  </a:lnTo>
                  <a:lnTo>
                    <a:pt x="17272" y="0"/>
                  </a:lnTo>
                  <a:lnTo>
                    <a:pt x="12954" y="0"/>
                  </a:lnTo>
                  <a:lnTo>
                    <a:pt x="8636" y="0"/>
                  </a:lnTo>
                  <a:lnTo>
                    <a:pt x="4318" y="1270"/>
                  </a:lnTo>
                  <a:lnTo>
                    <a:pt x="1397" y="3683"/>
                  </a:lnTo>
                  <a:lnTo>
                    <a:pt x="0" y="7494"/>
                  </a:lnTo>
                  <a:lnTo>
                    <a:pt x="4318" y="7494"/>
                  </a:lnTo>
                  <a:lnTo>
                    <a:pt x="5714" y="4953"/>
                  </a:lnTo>
                  <a:lnTo>
                    <a:pt x="7112" y="3683"/>
                  </a:lnTo>
                  <a:lnTo>
                    <a:pt x="10032" y="3683"/>
                  </a:lnTo>
                  <a:lnTo>
                    <a:pt x="12954" y="3683"/>
                  </a:lnTo>
                  <a:lnTo>
                    <a:pt x="15748" y="3683"/>
                  </a:lnTo>
                  <a:lnTo>
                    <a:pt x="17272" y="3683"/>
                  </a:lnTo>
                  <a:lnTo>
                    <a:pt x="18668" y="6223"/>
                  </a:lnTo>
                  <a:lnTo>
                    <a:pt x="20066" y="7494"/>
                  </a:lnTo>
                  <a:lnTo>
                    <a:pt x="18668" y="10033"/>
                  </a:lnTo>
                  <a:lnTo>
                    <a:pt x="17272" y="11177"/>
                  </a:lnTo>
                  <a:lnTo>
                    <a:pt x="14350" y="12447"/>
                  </a:lnTo>
                  <a:lnTo>
                    <a:pt x="11430" y="12447"/>
                  </a:lnTo>
                  <a:lnTo>
                    <a:pt x="7112" y="12447"/>
                  </a:lnTo>
                  <a:lnTo>
                    <a:pt x="4318" y="13717"/>
                  </a:lnTo>
                  <a:lnTo>
                    <a:pt x="1397" y="16256"/>
                  </a:lnTo>
                  <a:lnTo>
                    <a:pt x="0" y="19939"/>
                  </a:lnTo>
                  <a:lnTo>
                    <a:pt x="0" y="27433"/>
                  </a:lnTo>
                  <a:lnTo>
                    <a:pt x="24383" y="27433"/>
                  </a:lnTo>
                  <a:lnTo>
                    <a:pt x="24383" y="22480"/>
                  </a:lnTo>
                  <a:lnTo>
                    <a:pt x="4318" y="22480"/>
                  </a:lnTo>
                  <a:lnTo>
                    <a:pt x="4318" y="19939"/>
                  </a:lnTo>
                  <a:close/>
                  <a:moveTo>
                    <a:pt x="-4061587" y="155448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01" name="Freeform 1401"/>
            <p:cNvSpPr/>
            <p:nvPr/>
          </p:nvSpPr>
          <p:spPr>
            <a:xfrm>
              <a:off x="5456256" y="5272081"/>
              <a:ext cx="60927" cy="57883"/>
            </a:xfrm>
            <a:custGeom>
              <a:avLst/>
              <a:gdLst/>
              <a:ahLst/>
              <a:cxnLst/>
              <a:rect l="0" t="0" r="0" b="0"/>
              <a:pathLst>
                <a:path w="60959" h="57913">
                  <a:moveTo>
                    <a:pt x="46101" y="47880"/>
                  </a:moveTo>
                  <a:lnTo>
                    <a:pt x="46101" y="47880"/>
                  </a:lnTo>
                  <a:lnTo>
                    <a:pt x="40132" y="49149"/>
                  </a:lnTo>
                  <a:lnTo>
                    <a:pt x="35687" y="50419"/>
                  </a:lnTo>
                  <a:lnTo>
                    <a:pt x="29718" y="49149"/>
                  </a:lnTo>
                  <a:lnTo>
                    <a:pt x="25272" y="47880"/>
                  </a:lnTo>
                  <a:lnTo>
                    <a:pt x="20827" y="46610"/>
                  </a:lnTo>
                  <a:lnTo>
                    <a:pt x="16383" y="44069"/>
                  </a:lnTo>
                  <a:lnTo>
                    <a:pt x="14858" y="40260"/>
                  </a:lnTo>
                  <a:lnTo>
                    <a:pt x="11938" y="36449"/>
                  </a:lnTo>
                  <a:lnTo>
                    <a:pt x="10414" y="28957"/>
                  </a:lnTo>
                  <a:lnTo>
                    <a:pt x="11938" y="21463"/>
                  </a:lnTo>
                  <a:lnTo>
                    <a:pt x="14858" y="17653"/>
                  </a:lnTo>
                  <a:lnTo>
                    <a:pt x="16383" y="15113"/>
                  </a:lnTo>
                  <a:lnTo>
                    <a:pt x="20827" y="12574"/>
                  </a:lnTo>
                  <a:lnTo>
                    <a:pt x="25272" y="10033"/>
                  </a:lnTo>
                  <a:lnTo>
                    <a:pt x="29718" y="8763"/>
                  </a:lnTo>
                  <a:lnTo>
                    <a:pt x="35687" y="7494"/>
                  </a:lnTo>
                  <a:lnTo>
                    <a:pt x="44576" y="10033"/>
                  </a:lnTo>
                  <a:lnTo>
                    <a:pt x="49021" y="11303"/>
                  </a:lnTo>
                  <a:lnTo>
                    <a:pt x="53466" y="13844"/>
                  </a:lnTo>
                  <a:lnTo>
                    <a:pt x="60959" y="7494"/>
                  </a:lnTo>
                  <a:lnTo>
                    <a:pt x="54990" y="3810"/>
                  </a:lnTo>
                  <a:lnTo>
                    <a:pt x="49021" y="1271"/>
                  </a:lnTo>
                  <a:lnTo>
                    <a:pt x="43180" y="0"/>
                  </a:lnTo>
                  <a:lnTo>
                    <a:pt x="35687" y="0"/>
                  </a:lnTo>
                  <a:lnTo>
                    <a:pt x="26796" y="0"/>
                  </a:lnTo>
                  <a:lnTo>
                    <a:pt x="20827" y="2541"/>
                  </a:lnTo>
                  <a:lnTo>
                    <a:pt x="13334" y="5080"/>
                  </a:lnTo>
                  <a:lnTo>
                    <a:pt x="8889" y="8763"/>
                  </a:lnTo>
                  <a:lnTo>
                    <a:pt x="5969" y="13844"/>
                  </a:lnTo>
                  <a:lnTo>
                    <a:pt x="2920" y="18924"/>
                  </a:lnTo>
                  <a:lnTo>
                    <a:pt x="1524" y="23877"/>
                  </a:lnTo>
                  <a:lnTo>
                    <a:pt x="0" y="28957"/>
                  </a:lnTo>
                  <a:lnTo>
                    <a:pt x="1524" y="35307"/>
                  </a:lnTo>
                  <a:lnTo>
                    <a:pt x="2920" y="40260"/>
                  </a:lnTo>
                  <a:lnTo>
                    <a:pt x="5969" y="45339"/>
                  </a:lnTo>
                  <a:lnTo>
                    <a:pt x="8889" y="49149"/>
                  </a:lnTo>
                  <a:lnTo>
                    <a:pt x="13334" y="52833"/>
                  </a:lnTo>
                  <a:lnTo>
                    <a:pt x="20827" y="56643"/>
                  </a:lnTo>
                  <a:lnTo>
                    <a:pt x="26796" y="57913"/>
                  </a:lnTo>
                  <a:lnTo>
                    <a:pt x="35687" y="57913"/>
                  </a:lnTo>
                  <a:lnTo>
                    <a:pt x="43180" y="57913"/>
                  </a:lnTo>
                  <a:lnTo>
                    <a:pt x="49021" y="56643"/>
                  </a:lnTo>
                  <a:lnTo>
                    <a:pt x="54990" y="54102"/>
                  </a:lnTo>
                  <a:lnTo>
                    <a:pt x="60959" y="50419"/>
                  </a:lnTo>
                  <a:lnTo>
                    <a:pt x="53466" y="44069"/>
                  </a:lnTo>
                  <a:lnTo>
                    <a:pt x="50545" y="46610"/>
                  </a:lnTo>
                  <a:lnTo>
                    <a:pt x="46101" y="47880"/>
                  </a:lnTo>
                  <a:close/>
                  <a:moveTo>
                    <a:pt x="-3918840" y="158496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02" name="Freeform 1402"/>
            <p:cNvSpPr/>
            <p:nvPr/>
          </p:nvSpPr>
          <p:spPr>
            <a:xfrm>
              <a:off x="5523277" y="5269035"/>
              <a:ext cx="67021" cy="60929"/>
            </a:xfrm>
            <a:custGeom>
              <a:avLst/>
              <a:gdLst/>
              <a:ahLst/>
              <a:cxnLst/>
              <a:rect l="0" t="0" r="0" b="0"/>
              <a:pathLst>
                <a:path w="67056" h="60961">
                  <a:moveTo>
                    <a:pt x="58546" y="10161"/>
                  </a:moveTo>
                  <a:lnTo>
                    <a:pt x="58546" y="10161"/>
                  </a:lnTo>
                  <a:lnTo>
                    <a:pt x="54228" y="6350"/>
                  </a:lnTo>
                  <a:lnTo>
                    <a:pt x="48514" y="2541"/>
                  </a:lnTo>
                  <a:lnTo>
                    <a:pt x="41402" y="1270"/>
                  </a:lnTo>
                  <a:lnTo>
                    <a:pt x="32765" y="0"/>
                  </a:lnTo>
                  <a:lnTo>
                    <a:pt x="27051" y="1270"/>
                  </a:lnTo>
                  <a:lnTo>
                    <a:pt x="19939" y="2541"/>
                  </a:lnTo>
                  <a:lnTo>
                    <a:pt x="14224" y="5081"/>
                  </a:lnTo>
                  <a:lnTo>
                    <a:pt x="10033" y="8891"/>
                  </a:lnTo>
                  <a:lnTo>
                    <a:pt x="5714" y="13970"/>
                  </a:lnTo>
                  <a:lnTo>
                    <a:pt x="2794" y="19050"/>
                  </a:lnTo>
                  <a:lnTo>
                    <a:pt x="1396" y="24131"/>
                  </a:lnTo>
                  <a:lnTo>
                    <a:pt x="0" y="30481"/>
                  </a:lnTo>
                  <a:lnTo>
                    <a:pt x="1396" y="36831"/>
                  </a:lnTo>
                  <a:lnTo>
                    <a:pt x="2794" y="41911"/>
                  </a:lnTo>
                  <a:lnTo>
                    <a:pt x="4318" y="46991"/>
                  </a:lnTo>
                  <a:lnTo>
                    <a:pt x="8508" y="50800"/>
                  </a:lnTo>
                  <a:lnTo>
                    <a:pt x="12827" y="54611"/>
                  </a:lnTo>
                  <a:lnTo>
                    <a:pt x="18541" y="58420"/>
                  </a:lnTo>
                  <a:lnTo>
                    <a:pt x="25653" y="59691"/>
                  </a:lnTo>
                  <a:lnTo>
                    <a:pt x="32765" y="60961"/>
                  </a:lnTo>
                  <a:lnTo>
                    <a:pt x="41402" y="59691"/>
                  </a:lnTo>
                  <a:lnTo>
                    <a:pt x="48514" y="58420"/>
                  </a:lnTo>
                  <a:lnTo>
                    <a:pt x="54228" y="54611"/>
                  </a:lnTo>
                  <a:lnTo>
                    <a:pt x="58546" y="50800"/>
                  </a:lnTo>
                  <a:lnTo>
                    <a:pt x="61340" y="46991"/>
                  </a:lnTo>
                  <a:lnTo>
                    <a:pt x="64262" y="41911"/>
                  </a:lnTo>
                  <a:lnTo>
                    <a:pt x="65658" y="36831"/>
                  </a:lnTo>
                  <a:lnTo>
                    <a:pt x="67056" y="30481"/>
                  </a:lnTo>
                  <a:lnTo>
                    <a:pt x="65658" y="25400"/>
                  </a:lnTo>
                  <a:lnTo>
                    <a:pt x="64262" y="19050"/>
                  </a:lnTo>
                  <a:lnTo>
                    <a:pt x="61340" y="13970"/>
                  </a:lnTo>
                  <a:lnTo>
                    <a:pt x="58546" y="10161"/>
                  </a:lnTo>
                  <a:close/>
                  <a:moveTo>
                    <a:pt x="-3945129" y="1588008"/>
                  </a:moveTo>
                  <a:moveTo>
                    <a:pt x="54228" y="39370"/>
                  </a:moveTo>
                  <a:lnTo>
                    <a:pt x="54228" y="39370"/>
                  </a:lnTo>
                  <a:lnTo>
                    <a:pt x="52832" y="41911"/>
                  </a:lnTo>
                  <a:lnTo>
                    <a:pt x="51308" y="45720"/>
                  </a:lnTo>
                  <a:lnTo>
                    <a:pt x="47116" y="48261"/>
                  </a:lnTo>
                  <a:lnTo>
                    <a:pt x="44195" y="49531"/>
                  </a:lnTo>
                  <a:lnTo>
                    <a:pt x="38481" y="52070"/>
                  </a:lnTo>
                  <a:lnTo>
                    <a:pt x="32765" y="52070"/>
                  </a:lnTo>
                  <a:lnTo>
                    <a:pt x="27051" y="52070"/>
                  </a:lnTo>
                  <a:lnTo>
                    <a:pt x="22859" y="49531"/>
                  </a:lnTo>
                  <a:lnTo>
                    <a:pt x="18541" y="48261"/>
                  </a:lnTo>
                  <a:lnTo>
                    <a:pt x="15747" y="45720"/>
                  </a:lnTo>
                  <a:lnTo>
                    <a:pt x="11429" y="38100"/>
                  </a:lnTo>
                  <a:lnTo>
                    <a:pt x="10033" y="30481"/>
                  </a:lnTo>
                  <a:lnTo>
                    <a:pt x="11429" y="21591"/>
                  </a:lnTo>
                  <a:lnTo>
                    <a:pt x="14224" y="17781"/>
                  </a:lnTo>
                  <a:lnTo>
                    <a:pt x="17145" y="15241"/>
                  </a:lnTo>
                  <a:lnTo>
                    <a:pt x="19939" y="12700"/>
                  </a:lnTo>
                  <a:lnTo>
                    <a:pt x="24257" y="10161"/>
                  </a:lnTo>
                  <a:lnTo>
                    <a:pt x="28575" y="8891"/>
                  </a:lnTo>
                  <a:lnTo>
                    <a:pt x="32765" y="8891"/>
                  </a:lnTo>
                  <a:lnTo>
                    <a:pt x="38481" y="10161"/>
                  </a:lnTo>
                  <a:lnTo>
                    <a:pt x="44195" y="11431"/>
                  </a:lnTo>
                  <a:lnTo>
                    <a:pt x="47116" y="12700"/>
                  </a:lnTo>
                  <a:lnTo>
                    <a:pt x="51308" y="16511"/>
                  </a:lnTo>
                  <a:lnTo>
                    <a:pt x="52832" y="19050"/>
                  </a:lnTo>
                  <a:lnTo>
                    <a:pt x="54228" y="22861"/>
                  </a:lnTo>
                  <a:lnTo>
                    <a:pt x="55626" y="30481"/>
                  </a:lnTo>
                  <a:lnTo>
                    <a:pt x="54228" y="39370"/>
                  </a:lnTo>
                  <a:close/>
                  <a:moveTo>
                    <a:pt x="-3974338" y="158800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03" name="Freeform 1403"/>
            <p:cNvSpPr/>
            <p:nvPr/>
          </p:nvSpPr>
          <p:spPr>
            <a:xfrm>
              <a:off x="5246054" y="4982671"/>
              <a:ext cx="587957" cy="322920"/>
            </a:xfrm>
            <a:custGeom>
              <a:avLst/>
              <a:gdLst/>
              <a:ahLst/>
              <a:cxnLst/>
              <a:rect l="0" t="0" r="0" b="0"/>
              <a:pathLst>
                <a:path w="588263" h="323088">
                  <a:moveTo>
                    <a:pt x="469772" y="323088"/>
                  </a:moveTo>
                  <a:lnTo>
                    <a:pt x="385952" y="323088"/>
                  </a:lnTo>
                  <a:lnTo>
                    <a:pt x="385952" y="311785"/>
                  </a:lnTo>
                  <a:lnTo>
                    <a:pt x="469772" y="311785"/>
                  </a:lnTo>
                  <a:lnTo>
                    <a:pt x="481330" y="310515"/>
                  </a:lnTo>
                  <a:lnTo>
                    <a:pt x="491363" y="309373"/>
                  </a:lnTo>
                  <a:lnTo>
                    <a:pt x="501522" y="306832"/>
                  </a:lnTo>
                  <a:lnTo>
                    <a:pt x="511682" y="304293"/>
                  </a:lnTo>
                  <a:lnTo>
                    <a:pt x="520319" y="300609"/>
                  </a:lnTo>
                  <a:lnTo>
                    <a:pt x="528955" y="295529"/>
                  </a:lnTo>
                  <a:lnTo>
                    <a:pt x="537718" y="290576"/>
                  </a:lnTo>
                  <a:lnTo>
                    <a:pt x="544957" y="284226"/>
                  </a:lnTo>
                  <a:lnTo>
                    <a:pt x="550671" y="278004"/>
                  </a:lnTo>
                  <a:lnTo>
                    <a:pt x="557911" y="270510"/>
                  </a:lnTo>
                  <a:lnTo>
                    <a:pt x="562228" y="263018"/>
                  </a:lnTo>
                  <a:lnTo>
                    <a:pt x="566546" y="255524"/>
                  </a:lnTo>
                  <a:lnTo>
                    <a:pt x="570864" y="246762"/>
                  </a:lnTo>
                  <a:lnTo>
                    <a:pt x="573786" y="237872"/>
                  </a:lnTo>
                  <a:lnTo>
                    <a:pt x="575309" y="229109"/>
                  </a:lnTo>
                  <a:lnTo>
                    <a:pt x="575309" y="220345"/>
                  </a:lnTo>
                  <a:lnTo>
                    <a:pt x="573786" y="205360"/>
                  </a:lnTo>
                  <a:lnTo>
                    <a:pt x="569468" y="190373"/>
                  </a:lnTo>
                  <a:lnTo>
                    <a:pt x="562228" y="176531"/>
                  </a:lnTo>
                  <a:lnTo>
                    <a:pt x="553593" y="165354"/>
                  </a:lnTo>
                  <a:lnTo>
                    <a:pt x="542036" y="154051"/>
                  </a:lnTo>
                  <a:lnTo>
                    <a:pt x="528955" y="144019"/>
                  </a:lnTo>
                  <a:lnTo>
                    <a:pt x="514603" y="137795"/>
                  </a:lnTo>
                  <a:lnTo>
                    <a:pt x="498601" y="131445"/>
                  </a:lnTo>
                  <a:lnTo>
                    <a:pt x="492887" y="130175"/>
                  </a:lnTo>
                  <a:lnTo>
                    <a:pt x="492887" y="126493"/>
                  </a:lnTo>
                  <a:lnTo>
                    <a:pt x="494283" y="116460"/>
                  </a:lnTo>
                  <a:lnTo>
                    <a:pt x="492887" y="105156"/>
                  </a:lnTo>
                  <a:lnTo>
                    <a:pt x="491363" y="95123"/>
                  </a:lnTo>
                  <a:lnTo>
                    <a:pt x="488569" y="85218"/>
                  </a:lnTo>
                  <a:lnTo>
                    <a:pt x="484251" y="75185"/>
                  </a:lnTo>
                  <a:lnTo>
                    <a:pt x="479806" y="66422"/>
                  </a:lnTo>
                  <a:lnTo>
                    <a:pt x="472694" y="57659"/>
                  </a:lnTo>
                  <a:lnTo>
                    <a:pt x="466851" y="48895"/>
                  </a:lnTo>
                  <a:lnTo>
                    <a:pt x="458215" y="41275"/>
                  </a:lnTo>
                  <a:lnTo>
                    <a:pt x="449452" y="35053"/>
                  </a:lnTo>
                  <a:lnTo>
                    <a:pt x="440817" y="28829"/>
                  </a:lnTo>
                  <a:lnTo>
                    <a:pt x="430657" y="23750"/>
                  </a:lnTo>
                  <a:lnTo>
                    <a:pt x="420624" y="20066"/>
                  </a:lnTo>
                  <a:lnTo>
                    <a:pt x="409067" y="16256"/>
                  </a:lnTo>
                  <a:lnTo>
                    <a:pt x="397509" y="13716"/>
                  </a:lnTo>
                  <a:lnTo>
                    <a:pt x="385952" y="11303"/>
                  </a:lnTo>
                  <a:lnTo>
                    <a:pt x="372871" y="11303"/>
                  </a:lnTo>
                  <a:lnTo>
                    <a:pt x="354076" y="12573"/>
                  </a:lnTo>
                  <a:lnTo>
                    <a:pt x="336803" y="16256"/>
                  </a:lnTo>
                  <a:lnTo>
                    <a:pt x="319405" y="22479"/>
                  </a:lnTo>
                  <a:lnTo>
                    <a:pt x="303530" y="30100"/>
                  </a:lnTo>
                  <a:lnTo>
                    <a:pt x="290576" y="40132"/>
                  </a:lnTo>
                  <a:lnTo>
                    <a:pt x="277495" y="52578"/>
                  </a:lnTo>
                  <a:lnTo>
                    <a:pt x="267334" y="65151"/>
                  </a:lnTo>
                  <a:lnTo>
                    <a:pt x="260222" y="80138"/>
                  </a:lnTo>
                  <a:lnTo>
                    <a:pt x="257301" y="86360"/>
                  </a:lnTo>
                  <a:lnTo>
                    <a:pt x="251459" y="83947"/>
                  </a:lnTo>
                  <a:lnTo>
                    <a:pt x="234188" y="80138"/>
                  </a:lnTo>
                  <a:lnTo>
                    <a:pt x="216788" y="77597"/>
                  </a:lnTo>
                  <a:lnTo>
                    <a:pt x="200913" y="78868"/>
                  </a:lnTo>
                  <a:lnTo>
                    <a:pt x="185038" y="82678"/>
                  </a:lnTo>
                  <a:lnTo>
                    <a:pt x="170561" y="88900"/>
                  </a:lnTo>
                  <a:lnTo>
                    <a:pt x="157607" y="96394"/>
                  </a:lnTo>
                  <a:lnTo>
                    <a:pt x="145922" y="105156"/>
                  </a:lnTo>
                  <a:lnTo>
                    <a:pt x="135889" y="116460"/>
                  </a:lnTo>
                  <a:lnTo>
                    <a:pt x="128651" y="129032"/>
                  </a:lnTo>
                  <a:lnTo>
                    <a:pt x="124332" y="142748"/>
                  </a:lnTo>
                  <a:lnTo>
                    <a:pt x="122808" y="147828"/>
                  </a:lnTo>
                  <a:lnTo>
                    <a:pt x="117094" y="146559"/>
                  </a:lnTo>
                  <a:lnTo>
                    <a:pt x="108457" y="146559"/>
                  </a:lnTo>
                  <a:lnTo>
                    <a:pt x="98297" y="146559"/>
                  </a:lnTo>
                  <a:lnTo>
                    <a:pt x="89662" y="147828"/>
                  </a:lnTo>
                  <a:lnTo>
                    <a:pt x="80899" y="150241"/>
                  </a:lnTo>
                  <a:lnTo>
                    <a:pt x="70865" y="152781"/>
                  </a:lnTo>
                  <a:lnTo>
                    <a:pt x="63626" y="156591"/>
                  </a:lnTo>
                  <a:lnTo>
                    <a:pt x="54863" y="160275"/>
                  </a:lnTo>
                  <a:lnTo>
                    <a:pt x="47751" y="165354"/>
                  </a:lnTo>
                  <a:lnTo>
                    <a:pt x="41909" y="170307"/>
                  </a:lnTo>
                  <a:lnTo>
                    <a:pt x="34670" y="176531"/>
                  </a:lnTo>
                  <a:lnTo>
                    <a:pt x="28956" y="182881"/>
                  </a:lnTo>
                  <a:lnTo>
                    <a:pt x="24511" y="189103"/>
                  </a:lnTo>
                  <a:lnTo>
                    <a:pt x="20193" y="196597"/>
                  </a:lnTo>
                  <a:lnTo>
                    <a:pt x="17399" y="204090"/>
                  </a:lnTo>
                  <a:lnTo>
                    <a:pt x="15875" y="211582"/>
                  </a:lnTo>
                  <a:lnTo>
                    <a:pt x="14477" y="220345"/>
                  </a:lnTo>
                  <a:lnTo>
                    <a:pt x="12953" y="229109"/>
                  </a:lnTo>
                  <a:lnTo>
                    <a:pt x="14477" y="236728"/>
                  </a:lnTo>
                  <a:lnTo>
                    <a:pt x="15875" y="245491"/>
                  </a:lnTo>
                  <a:lnTo>
                    <a:pt x="17399" y="252984"/>
                  </a:lnTo>
                  <a:lnTo>
                    <a:pt x="20193" y="260478"/>
                  </a:lnTo>
                  <a:lnTo>
                    <a:pt x="24511" y="267970"/>
                  </a:lnTo>
                  <a:lnTo>
                    <a:pt x="28956" y="274193"/>
                  </a:lnTo>
                  <a:lnTo>
                    <a:pt x="34670" y="281813"/>
                  </a:lnTo>
                  <a:lnTo>
                    <a:pt x="41909" y="286767"/>
                  </a:lnTo>
                  <a:lnTo>
                    <a:pt x="47751" y="291720"/>
                  </a:lnTo>
                  <a:lnTo>
                    <a:pt x="54863" y="296799"/>
                  </a:lnTo>
                  <a:lnTo>
                    <a:pt x="63626" y="301753"/>
                  </a:lnTo>
                  <a:lnTo>
                    <a:pt x="70865" y="304293"/>
                  </a:lnTo>
                  <a:lnTo>
                    <a:pt x="80899" y="308103"/>
                  </a:lnTo>
                  <a:lnTo>
                    <a:pt x="89662" y="309373"/>
                  </a:lnTo>
                  <a:lnTo>
                    <a:pt x="98297" y="310515"/>
                  </a:lnTo>
                  <a:lnTo>
                    <a:pt x="108457" y="311785"/>
                  </a:lnTo>
                  <a:lnTo>
                    <a:pt x="195071" y="311785"/>
                  </a:lnTo>
                  <a:lnTo>
                    <a:pt x="195071" y="323088"/>
                  </a:lnTo>
                  <a:lnTo>
                    <a:pt x="108457" y="323088"/>
                  </a:lnTo>
                  <a:lnTo>
                    <a:pt x="96901" y="321818"/>
                  </a:lnTo>
                  <a:lnTo>
                    <a:pt x="86740" y="320548"/>
                  </a:lnTo>
                  <a:lnTo>
                    <a:pt x="76581" y="318135"/>
                  </a:lnTo>
                  <a:lnTo>
                    <a:pt x="66547" y="315595"/>
                  </a:lnTo>
                  <a:lnTo>
                    <a:pt x="56388" y="310515"/>
                  </a:lnTo>
                  <a:lnTo>
                    <a:pt x="47751" y="306832"/>
                  </a:lnTo>
                  <a:lnTo>
                    <a:pt x="38988" y="300609"/>
                  </a:lnTo>
                  <a:lnTo>
                    <a:pt x="31750" y="295529"/>
                  </a:lnTo>
                  <a:lnTo>
                    <a:pt x="24511" y="288037"/>
                  </a:lnTo>
                  <a:lnTo>
                    <a:pt x="18795" y="280543"/>
                  </a:lnTo>
                  <a:lnTo>
                    <a:pt x="12953" y="273051"/>
                  </a:lnTo>
                  <a:lnTo>
                    <a:pt x="8636" y="265431"/>
                  </a:lnTo>
                  <a:lnTo>
                    <a:pt x="5842" y="256668"/>
                  </a:lnTo>
                  <a:lnTo>
                    <a:pt x="2920" y="247904"/>
                  </a:lnTo>
                  <a:lnTo>
                    <a:pt x="1396" y="237872"/>
                  </a:lnTo>
                  <a:lnTo>
                    <a:pt x="0" y="229109"/>
                  </a:lnTo>
                  <a:lnTo>
                    <a:pt x="1396" y="219203"/>
                  </a:lnTo>
                  <a:lnTo>
                    <a:pt x="2920" y="210440"/>
                  </a:lnTo>
                  <a:lnTo>
                    <a:pt x="5842" y="200406"/>
                  </a:lnTo>
                  <a:lnTo>
                    <a:pt x="8636" y="192913"/>
                  </a:lnTo>
                  <a:lnTo>
                    <a:pt x="12953" y="184023"/>
                  </a:lnTo>
                  <a:lnTo>
                    <a:pt x="18795" y="176531"/>
                  </a:lnTo>
                  <a:lnTo>
                    <a:pt x="24511" y="169038"/>
                  </a:lnTo>
                  <a:lnTo>
                    <a:pt x="31750" y="162815"/>
                  </a:lnTo>
                  <a:lnTo>
                    <a:pt x="38988" y="156591"/>
                  </a:lnTo>
                  <a:lnTo>
                    <a:pt x="47751" y="151512"/>
                  </a:lnTo>
                  <a:lnTo>
                    <a:pt x="56388" y="146559"/>
                  </a:lnTo>
                  <a:lnTo>
                    <a:pt x="66547" y="142748"/>
                  </a:lnTo>
                  <a:lnTo>
                    <a:pt x="76581" y="139066"/>
                  </a:lnTo>
                  <a:lnTo>
                    <a:pt x="86740" y="136525"/>
                  </a:lnTo>
                  <a:lnTo>
                    <a:pt x="96901" y="135256"/>
                  </a:lnTo>
                  <a:lnTo>
                    <a:pt x="108457" y="135256"/>
                  </a:lnTo>
                  <a:lnTo>
                    <a:pt x="112776" y="135256"/>
                  </a:lnTo>
                  <a:lnTo>
                    <a:pt x="118490" y="120269"/>
                  </a:lnTo>
                  <a:lnTo>
                    <a:pt x="127253" y="107697"/>
                  </a:lnTo>
                  <a:lnTo>
                    <a:pt x="138811" y="95123"/>
                  </a:lnTo>
                  <a:lnTo>
                    <a:pt x="151764" y="86360"/>
                  </a:lnTo>
                  <a:lnTo>
                    <a:pt x="166243" y="77597"/>
                  </a:lnTo>
                  <a:lnTo>
                    <a:pt x="182118" y="71375"/>
                  </a:lnTo>
                  <a:lnTo>
                    <a:pt x="199517" y="67565"/>
                  </a:lnTo>
                  <a:lnTo>
                    <a:pt x="216788" y="66422"/>
                  </a:lnTo>
                  <a:lnTo>
                    <a:pt x="234188" y="67565"/>
                  </a:lnTo>
                  <a:lnTo>
                    <a:pt x="250063" y="71375"/>
                  </a:lnTo>
                  <a:lnTo>
                    <a:pt x="258699" y="56388"/>
                  </a:lnTo>
                  <a:lnTo>
                    <a:pt x="270256" y="42545"/>
                  </a:lnTo>
                  <a:lnTo>
                    <a:pt x="283337" y="30100"/>
                  </a:lnTo>
                  <a:lnTo>
                    <a:pt x="299212" y="20066"/>
                  </a:lnTo>
                  <a:lnTo>
                    <a:pt x="316483" y="11303"/>
                  </a:lnTo>
                  <a:lnTo>
                    <a:pt x="333882" y="4953"/>
                  </a:lnTo>
                  <a:lnTo>
                    <a:pt x="352678" y="1270"/>
                  </a:lnTo>
                  <a:lnTo>
                    <a:pt x="372871" y="0"/>
                  </a:lnTo>
                  <a:lnTo>
                    <a:pt x="387350" y="0"/>
                  </a:lnTo>
                  <a:lnTo>
                    <a:pt x="400303" y="2541"/>
                  </a:lnTo>
                  <a:lnTo>
                    <a:pt x="413384" y="4953"/>
                  </a:lnTo>
                  <a:lnTo>
                    <a:pt x="424942" y="8763"/>
                  </a:lnTo>
                  <a:lnTo>
                    <a:pt x="436499" y="13716"/>
                  </a:lnTo>
                  <a:lnTo>
                    <a:pt x="448056" y="20066"/>
                  </a:lnTo>
                  <a:lnTo>
                    <a:pt x="458215" y="26290"/>
                  </a:lnTo>
                  <a:lnTo>
                    <a:pt x="468249" y="33782"/>
                  </a:lnTo>
                  <a:lnTo>
                    <a:pt x="477012" y="42545"/>
                  </a:lnTo>
                  <a:lnTo>
                    <a:pt x="484251" y="51309"/>
                  </a:lnTo>
                  <a:lnTo>
                    <a:pt x="491363" y="60072"/>
                  </a:lnTo>
                  <a:lnTo>
                    <a:pt x="495807" y="71375"/>
                  </a:lnTo>
                  <a:lnTo>
                    <a:pt x="501522" y="81407"/>
                  </a:lnTo>
                  <a:lnTo>
                    <a:pt x="504444" y="92710"/>
                  </a:lnTo>
                  <a:lnTo>
                    <a:pt x="505840" y="103887"/>
                  </a:lnTo>
                  <a:lnTo>
                    <a:pt x="507364" y="116460"/>
                  </a:lnTo>
                  <a:lnTo>
                    <a:pt x="507364" y="122682"/>
                  </a:lnTo>
                  <a:lnTo>
                    <a:pt x="524637" y="129032"/>
                  </a:lnTo>
                  <a:lnTo>
                    <a:pt x="540512" y="137795"/>
                  </a:lnTo>
                  <a:lnTo>
                    <a:pt x="553593" y="147828"/>
                  </a:lnTo>
                  <a:lnTo>
                    <a:pt x="565150" y="160275"/>
                  </a:lnTo>
                  <a:lnTo>
                    <a:pt x="575309" y="172847"/>
                  </a:lnTo>
                  <a:lnTo>
                    <a:pt x="582421" y="187834"/>
                  </a:lnTo>
                  <a:lnTo>
                    <a:pt x="586867" y="204090"/>
                  </a:lnTo>
                  <a:lnTo>
                    <a:pt x="588263" y="220345"/>
                  </a:lnTo>
                  <a:lnTo>
                    <a:pt x="588263" y="230378"/>
                  </a:lnTo>
                  <a:lnTo>
                    <a:pt x="585343" y="240412"/>
                  </a:lnTo>
                  <a:lnTo>
                    <a:pt x="582421" y="250445"/>
                  </a:lnTo>
                  <a:lnTo>
                    <a:pt x="579627" y="259207"/>
                  </a:lnTo>
                  <a:lnTo>
                    <a:pt x="573786" y="269240"/>
                  </a:lnTo>
                  <a:lnTo>
                    <a:pt x="568070" y="276734"/>
                  </a:lnTo>
                  <a:lnTo>
                    <a:pt x="560832" y="285496"/>
                  </a:lnTo>
                  <a:lnTo>
                    <a:pt x="553593" y="291720"/>
                  </a:lnTo>
                  <a:lnTo>
                    <a:pt x="544957" y="299340"/>
                  </a:lnTo>
                  <a:lnTo>
                    <a:pt x="536194" y="305562"/>
                  </a:lnTo>
                  <a:lnTo>
                    <a:pt x="526161" y="310515"/>
                  </a:lnTo>
                  <a:lnTo>
                    <a:pt x="516001" y="314326"/>
                  </a:lnTo>
                  <a:lnTo>
                    <a:pt x="505840" y="318135"/>
                  </a:lnTo>
                  <a:lnTo>
                    <a:pt x="494283" y="320548"/>
                  </a:lnTo>
                  <a:lnTo>
                    <a:pt x="482726" y="321818"/>
                  </a:lnTo>
                  <a:lnTo>
                    <a:pt x="469772" y="323088"/>
                  </a:lnTo>
                  <a:close/>
                  <a:moveTo>
                    <a:pt x="-3694176" y="1874520"/>
                  </a:moveTo>
                </a:path>
              </a:pathLst>
            </a:custGeom>
            <a:solidFill>
              <a:srgbClr val="FFFFFF">
                <a:alpha val="50195"/>
              </a:srgbClr>
            </a:solidFill>
            <a:ln w="12700">
              <a:solidFill>
                <a:srgbClr val="C4C4CD"/>
              </a:solidFill>
            </a:ln>
          </p:spPr>
          <p:style>
            <a:lnRef idx="2">
              <a:schemeClr val="accent1">
                <a:shade val="50000"/>
              </a:schemeClr>
            </a:lnRef>
            <a:fillRef idx="1">
              <a:schemeClr val="accent1"/>
            </a:fillRef>
            <a:effectRef idx="0">
              <a:schemeClr val="accent1"/>
            </a:effectRef>
            <a:fontRef idx="minor">
              <a:schemeClr val="lt1"/>
            </a:fontRef>
          </p:style>
        </p:sp>
        <p:sp>
          <p:nvSpPr>
            <p:cNvPr id="1404" name="Freeform 1404"/>
            <p:cNvSpPr/>
            <p:nvPr/>
          </p:nvSpPr>
          <p:spPr>
            <a:xfrm>
              <a:off x="5523278" y="5019228"/>
              <a:ext cx="91391" cy="76160"/>
            </a:xfrm>
            <a:custGeom>
              <a:avLst/>
              <a:gdLst/>
              <a:ahLst/>
              <a:cxnLst/>
              <a:rect l="0" t="0" r="0" b="0"/>
              <a:pathLst>
                <a:path w="91439" h="76200">
                  <a:moveTo>
                    <a:pt x="13081" y="76200"/>
                  </a:moveTo>
                  <a:lnTo>
                    <a:pt x="0" y="76200"/>
                  </a:lnTo>
                  <a:lnTo>
                    <a:pt x="0" y="67692"/>
                  </a:lnTo>
                  <a:lnTo>
                    <a:pt x="1396" y="60452"/>
                  </a:lnTo>
                  <a:lnTo>
                    <a:pt x="4318" y="53214"/>
                  </a:lnTo>
                  <a:lnTo>
                    <a:pt x="7239" y="45974"/>
                  </a:lnTo>
                  <a:lnTo>
                    <a:pt x="16002" y="32640"/>
                  </a:lnTo>
                  <a:lnTo>
                    <a:pt x="26162" y="21718"/>
                  </a:lnTo>
                  <a:lnTo>
                    <a:pt x="40639" y="12065"/>
                  </a:lnTo>
                  <a:lnTo>
                    <a:pt x="55118" y="6096"/>
                  </a:lnTo>
                  <a:lnTo>
                    <a:pt x="63881" y="2414"/>
                  </a:lnTo>
                  <a:lnTo>
                    <a:pt x="72516" y="1271"/>
                  </a:lnTo>
                  <a:lnTo>
                    <a:pt x="81279" y="0"/>
                  </a:lnTo>
                  <a:lnTo>
                    <a:pt x="91439" y="0"/>
                  </a:lnTo>
                  <a:lnTo>
                    <a:pt x="91439" y="10922"/>
                  </a:lnTo>
                  <a:lnTo>
                    <a:pt x="75438" y="12065"/>
                  </a:lnTo>
                  <a:lnTo>
                    <a:pt x="60959" y="15749"/>
                  </a:lnTo>
                  <a:lnTo>
                    <a:pt x="47878" y="21718"/>
                  </a:lnTo>
                  <a:lnTo>
                    <a:pt x="36321" y="29084"/>
                  </a:lnTo>
                  <a:lnTo>
                    <a:pt x="26162" y="38736"/>
                  </a:lnTo>
                  <a:lnTo>
                    <a:pt x="18922" y="50800"/>
                  </a:lnTo>
                  <a:lnTo>
                    <a:pt x="14477" y="62865"/>
                  </a:lnTo>
                  <a:lnTo>
                    <a:pt x="13081" y="76200"/>
                  </a:lnTo>
                  <a:close/>
                  <a:moveTo>
                    <a:pt x="-3761232" y="1837944"/>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05" name="Freeform 1405"/>
            <p:cNvSpPr/>
            <p:nvPr/>
          </p:nvSpPr>
          <p:spPr>
            <a:xfrm>
              <a:off x="5273471" y="5144130"/>
              <a:ext cx="79207" cy="70068"/>
            </a:xfrm>
            <a:custGeom>
              <a:avLst/>
              <a:gdLst/>
              <a:ahLst/>
              <a:cxnLst/>
              <a:rect l="0" t="0" r="0" b="0"/>
              <a:pathLst>
                <a:path w="79248" h="70104">
                  <a:moveTo>
                    <a:pt x="13207" y="70104"/>
                  </a:moveTo>
                  <a:lnTo>
                    <a:pt x="0" y="70104"/>
                  </a:lnTo>
                  <a:lnTo>
                    <a:pt x="1524" y="55881"/>
                  </a:lnTo>
                  <a:lnTo>
                    <a:pt x="5842" y="42800"/>
                  </a:lnTo>
                  <a:lnTo>
                    <a:pt x="13207" y="31116"/>
                  </a:lnTo>
                  <a:lnTo>
                    <a:pt x="23494" y="20828"/>
                  </a:lnTo>
                  <a:lnTo>
                    <a:pt x="35179" y="11684"/>
                  </a:lnTo>
                  <a:lnTo>
                    <a:pt x="48387" y="6478"/>
                  </a:lnTo>
                  <a:lnTo>
                    <a:pt x="63119" y="1271"/>
                  </a:lnTo>
                  <a:lnTo>
                    <a:pt x="79248" y="0"/>
                  </a:lnTo>
                  <a:lnTo>
                    <a:pt x="79248" y="11684"/>
                  </a:lnTo>
                  <a:lnTo>
                    <a:pt x="66039" y="12954"/>
                  </a:lnTo>
                  <a:lnTo>
                    <a:pt x="54356" y="16891"/>
                  </a:lnTo>
                  <a:lnTo>
                    <a:pt x="42544" y="22099"/>
                  </a:lnTo>
                  <a:lnTo>
                    <a:pt x="32257" y="28575"/>
                  </a:lnTo>
                  <a:lnTo>
                    <a:pt x="24892" y="37593"/>
                  </a:lnTo>
                  <a:lnTo>
                    <a:pt x="19050" y="48006"/>
                  </a:lnTo>
                  <a:lnTo>
                    <a:pt x="14731" y="58421"/>
                  </a:lnTo>
                  <a:lnTo>
                    <a:pt x="13207" y="70104"/>
                  </a:lnTo>
                  <a:close/>
                  <a:moveTo>
                    <a:pt x="-3630168" y="1712976"/>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06" name="Freeform 1406"/>
            <p:cNvSpPr/>
            <p:nvPr/>
          </p:nvSpPr>
          <p:spPr>
            <a:xfrm>
              <a:off x="5718246" y="5144131"/>
              <a:ext cx="79208" cy="63976"/>
            </a:xfrm>
            <a:custGeom>
              <a:avLst/>
              <a:gdLst/>
              <a:ahLst/>
              <a:cxnLst/>
              <a:rect l="0" t="0" r="0" b="0"/>
              <a:pathLst>
                <a:path w="79249" h="64009">
                  <a:moveTo>
                    <a:pt x="79249" y="64009"/>
                  </a:moveTo>
                  <a:lnTo>
                    <a:pt x="65787" y="64009"/>
                  </a:lnTo>
                  <a:lnTo>
                    <a:pt x="64262" y="53087"/>
                  </a:lnTo>
                  <a:lnTo>
                    <a:pt x="59818" y="43434"/>
                  </a:lnTo>
                  <a:lnTo>
                    <a:pt x="53849" y="35053"/>
                  </a:lnTo>
                  <a:lnTo>
                    <a:pt x="46356" y="26544"/>
                  </a:lnTo>
                  <a:lnTo>
                    <a:pt x="35942" y="20575"/>
                  </a:lnTo>
                  <a:lnTo>
                    <a:pt x="25400" y="15749"/>
                  </a:lnTo>
                  <a:lnTo>
                    <a:pt x="13462" y="12066"/>
                  </a:lnTo>
                  <a:lnTo>
                    <a:pt x="0" y="10922"/>
                  </a:lnTo>
                  <a:lnTo>
                    <a:pt x="0" y="0"/>
                  </a:lnTo>
                  <a:lnTo>
                    <a:pt x="16511" y="1271"/>
                  </a:lnTo>
                  <a:lnTo>
                    <a:pt x="31369" y="4826"/>
                  </a:lnTo>
                  <a:lnTo>
                    <a:pt x="43307" y="10922"/>
                  </a:lnTo>
                  <a:lnTo>
                    <a:pt x="55373" y="19304"/>
                  </a:lnTo>
                  <a:lnTo>
                    <a:pt x="65787" y="28956"/>
                  </a:lnTo>
                  <a:lnTo>
                    <a:pt x="73280" y="39878"/>
                  </a:lnTo>
                  <a:lnTo>
                    <a:pt x="77724" y="50674"/>
                  </a:lnTo>
                  <a:lnTo>
                    <a:pt x="79249" y="64009"/>
                  </a:lnTo>
                  <a:close/>
                  <a:moveTo>
                    <a:pt x="-4069080" y="1712976"/>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07" name="Freeform 1407"/>
            <p:cNvSpPr/>
            <p:nvPr/>
          </p:nvSpPr>
          <p:spPr>
            <a:xfrm>
              <a:off x="5349630" y="5241617"/>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08" name="Freeform 1408"/>
            <p:cNvSpPr/>
            <p:nvPr/>
          </p:nvSpPr>
          <p:spPr>
            <a:xfrm>
              <a:off x="5389235" y="5241617"/>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09" name="Freeform 1409"/>
            <p:cNvSpPr/>
            <p:nvPr/>
          </p:nvSpPr>
          <p:spPr>
            <a:xfrm>
              <a:off x="5425791" y="5241617"/>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10" name="Freeform 1410"/>
            <p:cNvSpPr/>
            <p:nvPr/>
          </p:nvSpPr>
          <p:spPr>
            <a:xfrm>
              <a:off x="5629899" y="5241617"/>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11" name="Freeform 1411"/>
            <p:cNvSpPr/>
            <p:nvPr/>
          </p:nvSpPr>
          <p:spPr>
            <a:xfrm>
              <a:off x="5669503" y="5241617"/>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12" name="Freeform 1412"/>
            <p:cNvSpPr/>
            <p:nvPr/>
          </p:nvSpPr>
          <p:spPr>
            <a:xfrm>
              <a:off x="5709107" y="5241617"/>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pic>
          <p:nvPicPr>
            <p:cNvPr id="1413" name="Picture 1413"/>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5519467" y="4750636"/>
              <a:ext cx="543150" cy="211726"/>
            </a:xfrm>
            <a:prstGeom prst="rect">
              <a:avLst/>
            </a:prstGeom>
            <a:noFill/>
          </p:spPr>
        </p:pic>
        <p:pic>
          <p:nvPicPr>
            <p:cNvPr id="1414" name="Picture 1414"/>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5097793" y="4750636"/>
              <a:ext cx="459120" cy="211726"/>
            </a:xfrm>
            <a:prstGeom prst="rect">
              <a:avLst/>
            </a:prstGeom>
            <a:noFill/>
          </p:spPr>
        </p:pic>
        <p:pic>
          <p:nvPicPr>
            <p:cNvPr id="1432" name="Picture 1432"/>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6636866" y="5003362"/>
              <a:ext cx="457216" cy="338279"/>
            </a:xfrm>
            <a:prstGeom prst="rect">
              <a:avLst/>
            </a:prstGeom>
            <a:noFill/>
          </p:spPr>
        </p:pic>
        <p:pic>
          <p:nvPicPr>
            <p:cNvPr id="1433" name="Picture 1433"/>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a:xfrm>
              <a:off x="5968529" y="3881114"/>
              <a:ext cx="893234" cy="239017"/>
            </a:xfrm>
            <a:prstGeom prst="rect">
              <a:avLst/>
            </a:prstGeom>
            <a:noFill/>
          </p:spPr>
        </p:pic>
        <p:sp>
          <p:nvSpPr>
            <p:cNvPr id="1434" name="Freeform 1434"/>
            <p:cNvSpPr/>
            <p:nvPr/>
          </p:nvSpPr>
          <p:spPr>
            <a:xfrm>
              <a:off x="6528593" y="4202790"/>
              <a:ext cx="359477" cy="121856"/>
            </a:xfrm>
            <a:custGeom>
              <a:avLst/>
              <a:gdLst/>
              <a:ahLst/>
              <a:cxnLst/>
              <a:rect l="0" t="0" r="0" b="0"/>
              <a:pathLst>
                <a:path w="359664" h="121919">
                  <a:moveTo>
                    <a:pt x="23749" y="112775"/>
                  </a:moveTo>
                  <a:lnTo>
                    <a:pt x="112267" y="112775"/>
                  </a:lnTo>
                  <a:lnTo>
                    <a:pt x="110490" y="121919"/>
                  </a:lnTo>
                  <a:lnTo>
                    <a:pt x="0" y="121919"/>
                  </a:lnTo>
                  <a:lnTo>
                    <a:pt x="0" y="117475"/>
                  </a:lnTo>
                  <a:lnTo>
                    <a:pt x="0" y="113918"/>
                  </a:lnTo>
                  <a:lnTo>
                    <a:pt x="253" y="110235"/>
                  </a:lnTo>
                  <a:lnTo>
                    <a:pt x="635" y="106806"/>
                  </a:lnTo>
                  <a:lnTo>
                    <a:pt x="1015" y="103378"/>
                  </a:lnTo>
                  <a:lnTo>
                    <a:pt x="1524" y="100075"/>
                  </a:lnTo>
                  <a:lnTo>
                    <a:pt x="2159" y="96774"/>
                  </a:lnTo>
                  <a:lnTo>
                    <a:pt x="3048" y="93472"/>
                  </a:lnTo>
                  <a:lnTo>
                    <a:pt x="4064" y="90424"/>
                  </a:lnTo>
                  <a:lnTo>
                    <a:pt x="4952" y="87249"/>
                  </a:lnTo>
                  <a:lnTo>
                    <a:pt x="6223" y="84074"/>
                  </a:lnTo>
                  <a:lnTo>
                    <a:pt x="7492" y="81025"/>
                  </a:lnTo>
                  <a:lnTo>
                    <a:pt x="8890" y="78105"/>
                  </a:lnTo>
                  <a:lnTo>
                    <a:pt x="10287" y="75184"/>
                  </a:lnTo>
                  <a:lnTo>
                    <a:pt x="11938" y="72262"/>
                  </a:lnTo>
                  <a:lnTo>
                    <a:pt x="13589" y="69468"/>
                  </a:lnTo>
                  <a:lnTo>
                    <a:pt x="15366" y="66802"/>
                  </a:lnTo>
                  <a:lnTo>
                    <a:pt x="17272" y="64007"/>
                  </a:lnTo>
                  <a:lnTo>
                    <a:pt x="19303" y="61340"/>
                  </a:lnTo>
                  <a:lnTo>
                    <a:pt x="21463" y="58800"/>
                  </a:lnTo>
                  <a:lnTo>
                    <a:pt x="23494" y="56260"/>
                  </a:lnTo>
                  <a:lnTo>
                    <a:pt x="25780" y="53721"/>
                  </a:lnTo>
                  <a:lnTo>
                    <a:pt x="28320" y="51307"/>
                  </a:lnTo>
                  <a:lnTo>
                    <a:pt x="30606" y="49022"/>
                  </a:lnTo>
                  <a:lnTo>
                    <a:pt x="33147" y="46609"/>
                  </a:lnTo>
                  <a:lnTo>
                    <a:pt x="35814" y="44450"/>
                  </a:lnTo>
                  <a:lnTo>
                    <a:pt x="38480" y="42290"/>
                  </a:lnTo>
                  <a:lnTo>
                    <a:pt x="41275" y="40005"/>
                  </a:lnTo>
                  <a:lnTo>
                    <a:pt x="44068" y="37972"/>
                  </a:lnTo>
                  <a:lnTo>
                    <a:pt x="46990" y="35940"/>
                  </a:lnTo>
                  <a:lnTo>
                    <a:pt x="49911" y="33909"/>
                  </a:lnTo>
                  <a:lnTo>
                    <a:pt x="53086" y="32003"/>
                  </a:lnTo>
                  <a:lnTo>
                    <a:pt x="56134" y="30225"/>
                  </a:lnTo>
                  <a:lnTo>
                    <a:pt x="59309" y="28321"/>
                  </a:lnTo>
                  <a:lnTo>
                    <a:pt x="62484" y="26669"/>
                  </a:lnTo>
                  <a:lnTo>
                    <a:pt x="65913" y="24891"/>
                  </a:lnTo>
                  <a:lnTo>
                    <a:pt x="69341" y="23240"/>
                  </a:lnTo>
                  <a:lnTo>
                    <a:pt x="72643" y="21590"/>
                  </a:lnTo>
                  <a:lnTo>
                    <a:pt x="76327" y="20065"/>
                  </a:lnTo>
                  <a:lnTo>
                    <a:pt x="83312" y="17144"/>
                  </a:lnTo>
                  <a:lnTo>
                    <a:pt x="90677" y="14478"/>
                  </a:lnTo>
                  <a:lnTo>
                    <a:pt x="98170" y="12065"/>
                  </a:lnTo>
                  <a:lnTo>
                    <a:pt x="105917" y="9906"/>
                  </a:lnTo>
                  <a:lnTo>
                    <a:pt x="113665" y="7874"/>
                  </a:lnTo>
                  <a:lnTo>
                    <a:pt x="121665" y="6096"/>
                  </a:lnTo>
                  <a:lnTo>
                    <a:pt x="129793" y="4444"/>
                  </a:lnTo>
                  <a:lnTo>
                    <a:pt x="137922" y="3302"/>
                  </a:lnTo>
                  <a:lnTo>
                    <a:pt x="146177" y="2031"/>
                  </a:lnTo>
                  <a:lnTo>
                    <a:pt x="154559" y="1269"/>
                  </a:lnTo>
                  <a:lnTo>
                    <a:pt x="162940" y="634"/>
                  </a:lnTo>
                  <a:lnTo>
                    <a:pt x="171450" y="253"/>
                  </a:lnTo>
                  <a:lnTo>
                    <a:pt x="179831" y="0"/>
                  </a:lnTo>
                  <a:lnTo>
                    <a:pt x="188214" y="127"/>
                  </a:lnTo>
                  <a:lnTo>
                    <a:pt x="196723" y="381"/>
                  </a:lnTo>
                  <a:lnTo>
                    <a:pt x="204977" y="888"/>
                  </a:lnTo>
                  <a:lnTo>
                    <a:pt x="213487" y="1650"/>
                  </a:lnTo>
                  <a:lnTo>
                    <a:pt x="221488" y="2540"/>
                  </a:lnTo>
                  <a:lnTo>
                    <a:pt x="229869" y="3809"/>
                  </a:lnTo>
                  <a:lnTo>
                    <a:pt x="237743" y="5206"/>
                  </a:lnTo>
                  <a:lnTo>
                    <a:pt x="245744" y="6857"/>
                  </a:lnTo>
                  <a:lnTo>
                    <a:pt x="253618" y="8762"/>
                  </a:lnTo>
                  <a:lnTo>
                    <a:pt x="261239" y="10922"/>
                  </a:lnTo>
                  <a:lnTo>
                    <a:pt x="268859" y="13207"/>
                  </a:lnTo>
                  <a:lnTo>
                    <a:pt x="276352" y="15875"/>
                  </a:lnTo>
                  <a:lnTo>
                    <a:pt x="279780" y="17272"/>
                  </a:lnTo>
                  <a:lnTo>
                    <a:pt x="283337" y="18668"/>
                  </a:lnTo>
                  <a:lnTo>
                    <a:pt x="286892" y="20193"/>
                  </a:lnTo>
                  <a:lnTo>
                    <a:pt x="290322" y="21716"/>
                  </a:lnTo>
                  <a:lnTo>
                    <a:pt x="293751" y="23368"/>
                  </a:lnTo>
                  <a:lnTo>
                    <a:pt x="296926" y="25146"/>
                  </a:lnTo>
                  <a:lnTo>
                    <a:pt x="300227" y="26797"/>
                  </a:lnTo>
                  <a:lnTo>
                    <a:pt x="303529" y="28575"/>
                  </a:lnTo>
                  <a:lnTo>
                    <a:pt x="306577" y="30480"/>
                  </a:lnTo>
                  <a:lnTo>
                    <a:pt x="309626" y="32384"/>
                  </a:lnTo>
                  <a:lnTo>
                    <a:pt x="312674" y="34290"/>
                  </a:lnTo>
                  <a:lnTo>
                    <a:pt x="315594" y="36322"/>
                  </a:lnTo>
                  <a:lnTo>
                    <a:pt x="318389" y="38481"/>
                  </a:lnTo>
                  <a:lnTo>
                    <a:pt x="321055" y="40640"/>
                  </a:lnTo>
                  <a:lnTo>
                    <a:pt x="323850" y="42799"/>
                  </a:lnTo>
                  <a:lnTo>
                    <a:pt x="326390" y="45084"/>
                  </a:lnTo>
                  <a:lnTo>
                    <a:pt x="328929" y="47497"/>
                  </a:lnTo>
                  <a:lnTo>
                    <a:pt x="331342" y="49910"/>
                  </a:lnTo>
                  <a:lnTo>
                    <a:pt x="333755" y="52324"/>
                  </a:lnTo>
                  <a:lnTo>
                    <a:pt x="336041" y="54737"/>
                  </a:lnTo>
                  <a:lnTo>
                    <a:pt x="338201" y="57277"/>
                  </a:lnTo>
                  <a:lnTo>
                    <a:pt x="340360" y="59943"/>
                  </a:lnTo>
                  <a:lnTo>
                    <a:pt x="342265" y="62610"/>
                  </a:lnTo>
                  <a:lnTo>
                    <a:pt x="344169" y="65405"/>
                  </a:lnTo>
                  <a:lnTo>
                    <a:pt x="345948" y="68199"/>
                  </a:lnTo>
                  <a:lnTo>
                    <a:pt x="347599" y="70993"/>
                  </a:lnTo>
                  <a:lnTo>
                    <a:pt x="349377" y="73913"/>
                  </a:lnTo>
                  <a:lnTo>
                    <a:pt x="350774" y="76962"/>
                  </a:lnTo>
                  <a:lnTo>
                    <a:pt x="352170" y="80009"/>
                  </a:lnTo>
                  <a:lnTo>
                    <a:pt x="353440" y="83184"/>
                  </a:lnTo>
                  <a:lnTo>
                    <a:pt x="354456" y="86232"/>
                  </a:lnTo>
                  <a:lnTo>
                    <a:pt x="355473" y="89407"/>
                  </a:lnTo>
                  <a:lnTo>
                    <a:pt x="356615" y="92837"/>
                  </a:lnTo>
                  <a:lnTo>
                    <a:pt x="357377" y="96138"/>
                  </a:lnTo>
                  <a:lnTo>
                    <a:pt x="358140" y="99568"/>
                  </a:lnTo>
                  <a:lnTo>
                    <a:pt x="358648" y="102997"/>
                  </a:lnTo>
                  <a:lnTo>
                    <a:pt x="359028" y="106553"/>
                  </a:lnTo>
                  <a:lnTo>
                    <a:pt x="359410" y="110109"/>
                  </a:lnTo>
                  <a:lnTo>
                    <a:pt x="359537" y="113791"/>
                  </a:lnTo>
                  <a:lnTo>
                    <a:pt x="359664" y="117475"/>
                  </a:lnTo>
                  <a:lnTo>
                    <a:pt x="359664" y="121919"/>
                  </a:lnTo>
                  <a:lnTo>
                    <a:pt x="258190" y="121919"/>
                  </a:lnTo>
                  <a:lnTo>
                    <a:pt x="256413" y="112775"/>
                  </a:lnTo>
                  <a:lnTo>
                    <a:pt x="335788" y="112775"/>
                  </a:lnTo>
                  <a:lnTo>
                    <a:pt x="335534" y="109855"/>
                  </a:lnTo>
                  <a:lnTo>
                    <a:pt x="335279" y="106806"/>
                  </a:lnTo>
                  <a:lnTo>
                    <a:pt x="334772" y="104012"/>
                  </a:lnTo>
                  <a:lnTo>
                    <a:pt x="334390" y="101091"/>
                  </a:lnTo>
                  <a:lnTo>
                    <a:pt x="333755" y="98297"/>
                  </a:lnTo>
                  <a:lnTo>
                    <a:pt x="333120" y="95503"/>
                  </a:lnTo>
                  <a:lnTo>
                    <a:pt x="332104" y="92837"/>
                  </a:lnTo>
                  <a:lnTo>
                    <a:pt x="331342" y="90297"/>
                  </a:lnTo>
                  <a:lnTo>
                    <a:pt x="330200" y="87630"/>
                  </a:lnTo>
                  <a:lnTo>
                    <a:pt x="329184" y="85090"/>
                  </a:lnTo>
                  <a:lnTo>
                    <a:pt x="328040" y="82677"/>
                  </a:lnTo>
                  <a:lnTo>
                    <a:pt x="326770" y="80137"/>
                  </a:lnTo>
                  <a:lnTo>
                    <a:pt x="325374" y="77724"/>
                  </a:lnTo>
                  <a:lnTo>
                    <a:pt x="323850" y="75437"/>
                  </a:lnTo>
                  <a:lnTo>
                    <a:pt x="322452" y="73152"/>
                  </a:lnTo>
                  <a:lnTo>
                    <a:pt x="320802" y="70865"/>
                  </a:lnTo>
                  <a:lnTo>
                    <a:pt x="319024" y="68580"/>
                  </a:lnTo>
                  <a:lnTo>
                    <a:pt x="317245" y="66421"/>
                  </a:lnTo>
                  <a:lnTo>
                    <a:pt x="315467" y="64388"/>
                  </a:lnTo>
                  <a:lnTo>
                    <a:pt x="313563" y="62356"/>
                  </a:lnTo>
                  <a:lnTo>
                    <a:pt x="311530" y="60197"/>
                  </a:lnTo>
                  <a:lnTo>
                    <a:pt x="309372" y="58293"/>
                  </a:lnTo>
                  <a:lnTo>
                    <a:pt x="307340" y="56387"/>
                  </a:lnTo>
                  <a:lnTo>
                    <a:pt x="305053" y="54482"/>
                  </a:lnTo>
                  <a:lnTo>
                    <a:pt x="302894" y="52705"/>
                  </a:lnTo>
                  <a:lnTo>
                    <a:pt x="300609" y="50927"/>
                  </a:lnTo>
                  <a:lnTo>
                    <a:pt x="295655" y="47497"/>
                  </a:lnTo>
                  <a:lnTo>
                    <a:pt x="290449" y="44196"/>
                  </a:lnTo>
                  <a:lnTo>
                    <a:pt x="285115" y="41275"/>
                  </a:lnTo>
                  <a:lnTo>
                    <a:pt x="279653" y="38353"/>
                  </a:lnTo>
                  <a:lnTo>
                    <a:pt x="273812" y="35687"/>
                  </a:lnTo>
                  <a:lnTo>
                    <a:pt x="267969" y="33274"/>
                  </a:lnTo>
                  <a:lnTo>
                    <a:pt x="261874" y="30987"/>
                  </a:lnTo>
                  <a:lnTo>
                    <a:pt x="255524" y="28828"/>
                  </a:lnTo>
                  <a:lnTo>
                    <a:pt x="249174" y="26924"/>
                  </a:lnTo>
                  <a:lnTo>
                    <a:pt x="242697" y="25272"/>
                  </a:lnTo>
                  <a:lnTo>
                    <a:pt x="235839" y="23749"/>
                  </a:lnTo>
                  <a:lnTo>
                    <a:pt x="229235" y="22478"/>
                  </a:lnTo>
                  <a:lnTo>
                    <a:pt x="222250" y="21335"/>
                  </a:lnTo>
                  <a:lnTo>
                    <a:pt x="215391" y="20447"/>
                  </a:lnTo>
                  <a:lnTo>
                    <a:pt x="208406" y="19557"/>
                  </a:lnTo>
                  <a:lnTo>
                    <a:pt x="201294" y="19050"/>
                  </a:lnTo>
                  <a:lnTo>
                    <a:pt x="194182" y="18541"/>
                  </a:lnTo>
                  <a:lnTo>
                    <a:pt x="187070" y="18287"/>
                  </a:lnTo>
                  <a:lnTo>
                    <a:pt x="179959" y="18287"/>
                  </a:lnTo>
                  <a:lnTo>
                    <a:pt x="172719" y="18415"/>
                  </a:lnTo>
                  <a:lnTo>
                    <a:pt x="165607" y="18796"/>
                  </a:lnTo>
                  <a:lnTo>
                    <a:pt x="158495" y="19303"/>
                  </a:lnTo>
                  <a:lnTo>
                    <a:pt x="151384" y="20065"/>
                  </a:lnTo>
                  <a:lnTo>
                    <a:pt x="144526" y="20955"/>
                  </a:lnTo>
                  <a:lnTo>
                    <a:pt x="137540" y="21971"/>
                  </a:lnTo>
                  <a:lnTo>
                    <a:pt x="130555" y="23240"/>
                  </a:lnTo>
                  <a:lnTo>
                    <a:pt x="123825" y="24637"/>
                  </a:lnTo>
                  <a:lnTo>
                    <a:pt x="117093" y="26288"/>
                  </a:lnTo>
                  <a:lnTo>
                    <a:pt x="110616" y="28066"/>
                  </a:lnTo>
                  <a:lnTo>
                    <a:pt x="104266" y="30099"/>
                  </a:lnTo>
                  <a:lnTo>
                    <a:pt x="97916" y="32257"/>
                  </a:lnTo>
                  <a:lnTo>
                    <a:pt x="91820" y="34543"/>
                  </a:lnTo>
                  <a:lnTo>
                    <a:pt x="85852" y="37084"/>
                  </a:lnTo>
                  <a:lnTo>
                    <a:pt x="80137" y="39750"/>
                  </a:lnTo>
                  <a:lnTo>
                    <a:pt x="74549" y="42544"/>
                  </a:lnTo>
                  <a:lnTo>
                    <a:pt x="69215" y="45719"/>
                  </a:lnTo>
                  <a:lnTo>
                    <a:pt x="64135" y="48894"/>
                  </a:lnTo>
                  <a:lnTo>
                    <a:pt x="59309" y="52450"/>
                  </a:lnTo>
                  <a:lnTo>
                    <a:pt x="54737" y="56006"/>
                  </a:lnTo>
                  <a:lnTo>
                    <a:pt x="52451" y="57784"/>
                  </a:lnTo>
                  <a:lnTo>
                    <a:pt x="50291" y="59816"/>
                  </a:lnTo>
                  <a:lnTo>
                    <a:pt x="48132" y="61722"/>
                  </a:lnTo>
                  <a:lnTo>
                    <a:pt x="46227" y="63627"/>
                  </a:lnTo>
                  <a:lnTo>
                    <a:pt x="44195" y="65785"/>
                  </a:lnTo>
                  <a:lnTo>
                    <a:pt x="42417" y="67818"/>
                  </a:lnTo>
                  <a:lnTo>
                    <a:pt x="40640" y="69977"/>
                  </a:lnTo>
                  <a:lnTo>
                    <a:pt x="38862" y="72009"/>
                  </a:lnTo>
                  <a:lnTo>
                    <a:pt x="37211" y="74294"/>
                  </a:lnTo>
                  <a:lnTo>
                    <a:pt x="35814" y="76581"/>
                  </a:lnTo>
                  <a:lnTo>
                    <a:pt x="34290" y="78866"/>
                  </a:lnTo>
                  <a:lnTo>
                    <a:pt x="32892" y="81153"/>
                  </a:lnTo>
                  <a:lnTo>
                    <a:pt x="31623" y="83565"/>
                  </a:lnTo>
                  <a:lnTo>
                    <a:pt x="30479" y="85978"/>
                  </a:lnTo>
                  <a:lnTo>
                    <a:pt x="29464" y="88518"/>
                  </a:lnTo>
                  <a:lnTo>
                    <a:pt x="28320" y="91059"/>
                  </a:lnTo>
                  <a:lnTo>
                    <a:pt x="27559" y="93599"/>
                  </a:lnTo>
                  <a:lnTo>
                    <a:pt x="26542" y="96265"/>
                  </a:lnTo>
                  <a:lnTo>
                    <a:pt x="25780" y="98932"/>
                  </a:lnTo>
                  <a:lnTo>
                    <a:pt x="25273" y="101472"/>
                  </a:lnTo>
                  <a:lnTo>
                    <a:pt x="24638" y="104266"/>
                  </a:lnTo>
                  <a:lnTo>
                    <a:pt x="24256" y="107060"/>
                  </a:lnTo>
                  <a:lnTo>
                    <a:pt x="23876" y="109981"/>
                  </a:lnTo>
                  <a:lnTo>
                    <a:pt x="23749" y="112775"/>
                  </a:lnTo>
                  <a:close/>
                  <a:moveTo>
                    <a:pt x="-3986784" y="2654807"/>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35" name="Freeform 1435"/>
            <p:cNvSpPr/>
            <p:nvPr/>
          </p:nvSpPr>
          <p:spPr>
            <a:xfrm>
              <a:off x="6528593" y="4333785"/>
              <a:ext cx="21325" cy="134042"/>
            </a:xfrm>
            <a:custGeom>
              <a:avLst/>
              <a:gdLst/>
              <a:ahLst/>
              <a:cxnLst/>
              <a:rect l="0" t="0" r="0" b="0"/>
              <a:pathLst>
                <a:path w="21336" h="134112">
                  <a:moveTo>
                    <a:pt x="0" y="134112"/>
                  </a:moveTo>
                  <a:lnTo>
                    <a:pt x="21336" y="134112"/>
                  </a:lnTo>
                  <a:lnTo>
                    <a:pt x="21336" y="0"/>
                  </a:lnTo>
                  <a:lnTo>
                    <a:pt x="0" y="0"/>
                  </a:lnTo>
                  <a:lnTo>
                    <a:pt x="0" y="134112"/>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36" name="Freeform 1436"/>
            <p:cNvSpPr/>
            <p:nvPr/>
          </p:nvSpPr>
          <p:spPr>
            <a:xfrm>
              <a:off x="6866744" y="4208883"/>
              <a:ext cx="182785" cy="258944"/>
            </a:xfrm>
            <a:custGeom>
              <a:avLst/>
              <a:gdLst/>
              <a:ahLst/>
              <a:cxnLst/>
              <a:rect l="0" t="0" r="0" b="0"/>
              <a:pathLst>
                <a:path w="182880" h="259079">
                  <a:moveTo>
                    <a:pt x="68962" y="0"/>
                  </a:moveTo>
                  <a:lnTo>
                    <a:pt x="68962" y="24510"/>
                  </a:lnTo>
                  <a:lnTo>
                    <a:pt x="40513" y="24510"/>
                  </a:lnTo>
                  <a:lnTo>
                    <a:pt x="40513" y="231394"/>
                  </a:lnTo>
                  <a:lnTo>
                    <a:pt x="23496" y="231394"/>
                  </a:lnTo>
                  <a:lnTo>
                    <a:pt x="23496" y="126238"/>
                  </a:lnTo>
                  <a:lnTo>
                    <a:pt x="0" y="126238"/>
                  </a:lnTo>
                  <a:lnTo>
                    <a:pt x="0" y="259079"/>
                  </a:lnTo>
                  <a:lnTo>
                    <a:pt x="23496" y="259079"/>
                  </a:lnTo>
                  <a:lnTo>
                    <a:pt x="23496" y="240538"/>
                  </a:lnTo>
                  <a:lnTo>
                    <a:pt x="52198" y="240538"/>
                  </a:lnTo>
                  <a:lnTo>
                    <a:pt x="52198" y="33654"/>
                  </a:lnTo>
                  <a:lnTo>
                    <a:pt x="68962" y="33654"/>
                  </a:lnTo>
                  <a:lnTo>
                    <a:pt x="68962" y="240538"/>
                  </a:lnTo>
                  <a:lnTo>
                    <a:pt x="93726" y="240538"/>
                  </a:lnTo>
                  <a:lnTo>
                    <a:pt x="93726" y="259079"/>
                  </a:lnTo>
                  <a:lnTo>
                    <a:pt x="105538" y="259079"/>
                  </a:lnTo>
                  <a:lnTo>
                    <a:pt x="105538" y="240538"/>
                  </a:lnTo>
                  <a:lnTo>
                    <a:pt x="110110" y="240538"/>
                  </a:lnTo>
                  <a:lnTo>
                    <a:pt x="110110" y="259079"/>
                  </a:lnTo>
                  <a:lnTo>
                    <a:pt x="121793" y="259079"/>
                  </a:lnTo>
                  <a:lnTo>
                    <a:pt x="121793" y="240538"/>
                  </a:lnTo>
                  <a:lnTo>
                    <a:pt x="134748" y="240538"/>
                  </a:lnTo>
                  <a:lnTo>
                    <a:pt x="134748" y="259079"/>
                  </a:lnTo>
                  <a:lnTo>
                    <a:pt x="146432" y="259079"/>
                  </a:lnTo>
                  <a:lnTo>
                    <a:pt x="146432" y="240538"/>
                  </a:lnTo>
                  <a:lnTo>
                    <a:pt x="151385" y="240538"/>
                  </a:lnTo>
                  <a:lnTo>
                    <a:pt x="151385" y="259079"/>
                  </a:lnTo>
                  <a:lnTo>
                    <a:pt x="163196" y="259079"/>
                  </a:lnTo>
                  <a:lnTo>
                    <a:pt x="163196" y="240538"/>
                  </a:lnTo>
                  <a:lnTo>
                    <a:pt x="182880" y="240538"/>
                  </a:lnTo>
                  <a:lnTo>
                    <a:pt x="182880" y="0"/>
                  </a:lnTo>
                  <a:lnTo>
                    <a:pt x="68962" y="0"/>
                  </a:lnTo>
                  <a:close/>
                  <a:moveTo>
                    <a:pt x="-4218432" y="2648711"/>
                  </a:moveTo>
                  <a:moveTo>
                    <a:pt x="171070" y="183134"/>
                  </a:moveTo>
                  <a:lnTo>
                    <a:pt x="80646" y="132334"/>
                  </a:lnTo>
                  <a:lnTo>
                    <a:pt x="80646" y="9144"/>
                  </a:lnTo>
                  <a:lnTo>
                    <a:pt x="171070" y="9144"/>
                  </a:lnTo>
                  <a:lnTo>
                    <a:pt x="171070" y="183134"/>
                  </a:lnTo>
                  <a:close/>
                  <a:moveTo>
                    <a:pt x="-4401566" y="2648711"/>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37" name="Freeform 1437"/>
            <p:cNvSpPr/>
            <p:nvPr/>
          </p:nvSpPr>
          <p:spPr>
            <a:xfrm>
              <a:off x="6492036" y="4473921"/>
              <a:ext cx="566633" cy="9139"/>
            </a:xfrm>
            <a:custGeom>
              <a:avLst/>
              <a:gdLst/>
              <a:ahLst/>
              <a:cxnLst/>
              <a:rect l="0" t="0" r="0" b="0"/>
              <a:pathLst>
                <a:path w="566928" h="9144">
                  <a:moveTo>
                    <a:pt x="0" y="9144"/>
                  </a:moveTo>
                  <a:lnTo>
                    <a:pt x="566928" y="9144"/>
                  </a:lnTo>
                  <a:lnTo>
                    <a:pt x="566928" y="0"/>
                  </a:lnTo>
                  <a:lnTo>
                    <a:pt x="0" y="0"/>
                  </a:lnTo>
                  <a:lnTo>
                    <a:pt x="0" y="9144"/>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38" name="Freeform 1438"/>
            <p:cNvSpPr/>
            <p:nvPr/>
          </p:nvSpPr>
          <p:spPr>
            <a:xfrm>
              <a:off x="6662636" y="4303323"/>
              <a:ext cx="100531" cy="158413"/>
            </a:xfrm>
            <a:custGeom>
              <a:avLst/>
              <a:gdLst/>
              <a:ahLst/>
              <a:cxnLst/>
              <a:rect l="0" t="0" r="0" b="0"/>
              <a:pathLst>
                <a:path w="100583" h="158496">
                  <a:moveTo>
                    <a:pt x="56133" y="17272"/>
                  </a:moveTo>
                  <a:lnTo>
                    <a:pt x="56133" y="57150"/>
                  </a:lnTo>
                  <a:lnTo>
                    <a:pt x="71374" y="45338"/>
                  </a:lnTo>
                  <a:lnTo>
                    <a:pt x="71374" y="58293"/>
                  </a:lnTo>
                  <a:lnTo>
                    <a:pt x="56133" y="70103"/>
                  </a:lnTo>
                  <a:lnTo>
                    <a:pt x="56133" y="79375"/>
                  </a:lnTo>
                  <a:lnTo>
                    <a:pt x="76580" y="63753"/>
                  </a:lnTo>
                  <a:lnTo>
                    <a:pt x="77089" y="63753"/>
                  </a:lnTo>
                  <a:lnTo>
                    <a:pt x="77089" y="76326"/>
                  </a:lnTo>
                  <a:lnTo>
                    <a:pt x="56133" y="92201"/>
                  </a:lnTo>
                  <a:lnTo>
                    <a:pt x="56133" y="100329"/>
                  </a:lnTo>
                  <a:lnTo>
                    <a:pt x="80644" y="82550"/>
                  </a:lnTo>
                  <a:lnTo>
                    <a:pt x="80644" y="95250"/>
                  </a:lnTo>
                  <a:lnTo>
                    <a:pt x="56133" y="113029"/>
                  </a:lnTo>
                  <a:lnTo>
                    <a:pt x="56133" y="129794"/>
                  </a:lnTo>
                  <a:lnTo>
                    <a:pt x="56133" y="136271"/>
                  </a:lnTo>
                  <a:lnTo>
                    <a:pt x="56133" y="158496"/>
                  </a:lnTo>
                  <a:lnTo>
                    <a:pt x="44323" y="158496"/>
                  </a:lnTo>
                  <a:lnTo>
                    <a:pt x="44323" y="136271"/>
                  </a:lnTo>
                  <a:lnTo>
                    <a:pt x="42037" y="136016"/>
                  </a:lnTo>
                  <a:lnTo>
                    <a:pt x="39751" y="135635"/>
                  </a:lnTo>
                  <a:lnTo>
                    <a:pt x="37465" y="135254"/>
                  </a:lnTo>
                  <a:lnTo>
                    <a:pt x="35178" y="134873"/>
                  </a:lnTo>
                  <a:lnTo>
                    <a:pt x="33147" y="134366"/>
                  </a:lnTo>
                  <a:lnTo>
                    <a:pt x="30988" y="133731"/>
                  </a:lnTo>
                  <a:lnTo>
                    <a:pt x="28828" y="132969"/>
                  </a:lnTo>
                  <a:lnTo>
                    <a:pt x="26924" y="132206"/>
                  </a:lnTo>
                  <a:lnTo>
                    <a:pt x="24765" y="131318"/>
                  </a:lnTo>
                  <a:lnTo>
                    <a:pt x="22860" y="130428"/>
                  </a:lnTo>
                  <a:lnTo>
                    <a:pt x="20954" y="129285"/>
                  </a:lnTo>
                  <a:lnTo>
                    <a:pt x="19177" y="128143"/>
                  </a:lnTo>
                  <a:lnTo>
                    <a:pt x="17526" y="127126"/>
                  </a:lnTo>
                  <a:lnTo>
                    <a:pt x="15875" y="125729"/>
                  </a:lnTo>
                  <a:lnTo>
                    <a:pt x="14224" y="124459"/>
                  </a:lnTo>
                  <a:lnTo>
                    <a:pt x="12827" y="123063"/>
                  </a:lnTo>
                  <a:lnTo>
                    <a:pt x="11303" y="121538"/>
                  </a:lnTo>
                  <a:lnTo>
                    <a:pt x="9905" y="120015"/>
                  </a:lnTo>
                  <a:lnTo>
                    <a:pt x="8636" y="118363"/>
                  </a:lnTo>
                  <a:lnTo>
                    <a:pt x="7492" y="116585"/>
                  </a:lnTo>
                  <a:lnTo>
                    <a:pt x="6350" y="114807"/>
                  </a:lnTo>
                  <a:lnTo>
                    <a:pt x="5206" y="112903"/>
                  </a:lnTo>
                  <a:lnTo>
                    <a:pt x="4190" y="110871"/>
                  </a:lnTo>
                  <a:lnTo>
                    <a:pt x="3302" y="108838"/>
                  </a:lnTo>
                  <a:lnTo>
                    <a:pt x="2540" y="106679"/>
                  </a:lnTo>
                  <a:lnTo>
                    <a:pt x="2031" y="104394"/>
                  </a:lnTo>
                  <a:lnTo>
                    <a:pt x="1397" y="102107"/>
                  </a:lnTo>
                  <a:lnTo>
                    <a:pt x="889" y="99822"/>
                  </a:lnTo>
                  <a:lnTo>
                    <a:pt x="635" y="97281"/>
                  </a:lnTo>
                  <a:lnTo>
                    <a:pt x="253" y="94741"/>
                  </a:lnTo>
                  <a:lnTo>
                    <a:pt x="127" y="92075"/>
                  </a:lnTo>
                  <a:lnTo>
                    <a:pt x="0" y="89281"/>
                  </a:lnTo>
                  <a:lnTo>
                    <a:pt x="127" y="85597"/>
                  </a:lnTo>
                  <a:lnTo>
                    <a:pt x="635" y="81915"/>
                  </a:lnTo>
                  <a:lnTo>
                    <a:pt x="1142" y="78231"/>
                  </a:lnTo>
                  <a:lnTo>
                    <a:pt x="2031" y="74422"/>
                  </a:lnTo>
                  <a:lnTo>
                    <a:pt x="3175" y="70612"/>
                  </a:lnTo>
                  <a:lnTo>
                    <a:pt x="4444" y="66928"/>
                  </a:lnTo>
                  <a:lnTo>
                    <a:pt x="5841" y="63119"/>
                  </a:lnTo>
                  <a:lnTo>
                    <a:pt x="7492" y="59309"/>
                  </a:lnTo>
                  <a:lnTo>
                    <a:pt x="9143" y="55625"/>
                  </a:lnTo>
                  <a:lnTo>
                    <a:pt x="11049" y="51943"/>
                  </a:lnTo>
                  <a:lnTo>
                    <a:pt x="13080" y="48387"/>
                  </a:lnTo>
                  <a:lnTo>
                    <a:pt x="14986" y="44831"/>
                  </a:lnTo>
                  <a:lnTo>
                    <a:pt x="17144" y="41401"/>
                  </a:lnTo>
                  <a:lnTo>
                    <a:pt x="19177" y="38100"/>
                  </a:lnTo>
                  <a:lnTo>
                    <a:pt x="23622" y="31622"/>
                  </a:lnTo>
                  <a:lnTo>
                    <a:pt x="28193" y="25653"/>
                  </a:lnTo>
                  <a:lnTo>
                    <a:pt x="32765" y="19812"/>
                  </a:lnTo>
                  <a:lnTo>
                    <a:pt x="37211" y="14350"/>
                  </a:lnTo>
                  <a:lnTo>
                    <a:pt x="41275" y="9651"/>
                  </a:lnTo>
                  <a:lnTo>
                    <a:pt x="44957" y="5588"/>
                  </a:lnTo>
                  <a:lnTo>
                    <a:pt x="47752" y="2666"/>
                  </a:lnTo>
                  <a:lnTo>
                    <a:pt x="50291" y="0"/>
                  </a:lnTo>
                  <a:lnTo>
                    <a:pt x="52704" y="2666"/>
                  </a:lnTo>
                  <a:lnTo>
                    <a:pt x="55753" y="5588"/>
                  </a:lnTo>
                  <a:lnTo>
                    <a:pt x="59181" y="9651"/>
                  </a:lnTo>
                  <a:lnTo>
                    <a:pt x="63373" y="14350"/>
                  </a:lnTo>
                  <a:lnTo>
                    <a:pt x="67944" y="19812"/>
                  </a:lnTo>
                  <a:lnTo>
                    <a:pt x="72516" y="25653"/>
                  </a:lnTo>
                  <a:lnTo>
                    <a:pt x="77089" y="31622"/>
                  </a:lnTo>
                  <a:lnTo>
                    <a:pt x="81406" y="38100"/>
                  </a:lnTo>
                  <a:lnTo>
                    <a:pt x="83439" y="41401"/>
                  </a:lnTo>
                  <a:lnTo>
                    <a:pt x="85598" y="44831"/>
                  </a:lnTo>
                  <a:lnTo>
                    <a:pt x="87629" y="48387"/>
                  </a:lnTo>
                  <a:lnTo>
                    <a:pt x="89535" y="51943"/>
                  </a:lnTo>
                  <a:lnTo>
                    <a:pt x="91440" y="55625"/>
                  </a:lnTo>
                  <a:lnTo>
                    <a:pt x="93090" y="59309"/>
                  </a:lnTo>
                  <a:lnTo>
                    <a:pt x="94741" y="63119"/>
                  </a:lnTo>
                  <a:lnTo>
                    <a:pt x="96139" y="66928"/>
                  </a:lnTo>
                  <a:lnTo>
                    <a:pt x="97536" y="70612"/>
                  </a:lnTo>
                  <a:lnTo>
                    <a:pt x="98552" y="74422"/>
                  </a:lnTo>
                  <a:lnTo>
                    <a:pt x="99440" y="78231"/>
                  </a:lnTo>
                  <a:lnTo>
                    <a:pt x="99949" y="81915"/>
                  </a:lnTo>
                  <a:lnTo>
                    <a:pt x="100456" y="85597"/>
                  </a:lnTo>
                  <a:lnTo>
                    <a:pt x="100583" y="89281"/>
                  </a:lnTo>
                  <a:lnTo>
                    <a:pt x="100583" y="91694"/>
                  </a:lnTo>
                  <a:lnTo>
                    <a:pt x="100456" y="94106"/>
                  </a:lnTo>
                  <a:lnTo>
                    <a:pt x="100203" y="96266"/>
                  </a:lnTo>
                  <a:lnTo>
                    <a:pt x="99822" y="98425"/>
                  </a:lnTo>
                  <a:lnTo>
                    <a:pt x="99567" y="100584"/>
                  </a:lnTo>
                  <a:lnTo>
                    <a:pt x="99060" y="102616"/>
                  </a:lnTo>
                  <a:lnTo>
                    <a:pt x="98552" y="104647"/>
                  </a:lnTo>
                  <a:lnTo>
                    <a:pt x="97916" y="106553"/>
                  </a:lnTo>
                  <a:lnTo>
                    <a:pt x="97154" y="108457"/>
                  </a:lnTo>
                  <a:lnTo>
                    <a:pt x="96392" y="110363"/>
                  </a:lnTo>
                  <a:lnTo>
                    <a:pt x="95630" y="112013"/>
                  </a:lnTo>
                  <a:lnTo>
                    <a:pt x="94741" y="113791"/>
                  </a:lnTo>
                  <a:lnTo>
                    <a:pt x="93726" y="115443"/>
                  </a:lnTo>
                  <a:lnTo>
                    <a:pt x="92582" y="116966"/>
                  </a:lnTo>
                  <a:lnTo>
                    <a:pt x="91566" y="118491"/>
                  </a:lnTo>
                  <a:lnTo>
                    <a:pt x="90424" y="120015"/>
                  </a:lnTo>
                  <a:lnTo>
                    <a:pt x="89153" y="121284"/>
                  </a:lnTo>
                  <a:lnTo>
                    <a:pt x="87883" y="122681"/>
                  </a:lnTo>
                  <a:lnTo>
                    <a:pt x="86487" y="123951"/>
                  </a:lnTo>
                  <a:lnTo>
                    <a:pt x="85216" y="125222"/>
                  </a:lnTo>
                  <a:lnTo>
                    <a:pt x="83692" y="126365"/>
                  </a:lnTo>
                  <a:lnTo>
                    <a:pt x="82168" y="127507"/>
                  </a:lnTo>
                  <a:lnTo>
                    <a:pt x="80644" y="128523"/>
                  </a:lnTo>
                  <a:lnTo>
                    <a:pt x="78993" y="129413"/>
                  </a:lnTo>
                  <a:lnTo>
                    <a:pt x="77342" y="130428"/>
                  </a:lnTo>
                  <a:lnTo>
                    <a:pt x="75565" y="131318"/>
                  </a:lnTo>
                  <a:lnTo>
                    <a:pt x="73787" y="131953"/>
                  </a:lnTo>
                  <a:lnTo>
                    <a:pt x="72008" y="132715"/>
                  </a:lnTo>
                  <a:lnTo>
                    <a:pt x="70103" y="133350"/>
                  </a:lnTo>
                  <a:lnTo>
                    <a:pt x="68199" y="134112"/>
                  </a:lnTo>
                  <a:lnTo>
                    <a:pt x="66293" y="134493"/>
                  </a:lnTo>
                  <a:lnTo>
                    <a:pt x="64389" y="135000"/>
                  </a:lnTo>
                  <a:lnTo>
                    <a:pt x="64389" y="128269"/>
                  </a:lnTo>
                  <a:lnTo>
                    <a:pt x="67310" y="127381"/>
                  </a:lnTo>
                  <a:lnTo>
                    <a:pt x="70103" y="126238"/>
                  </a:lnTo>
                  <a:lnTo>
                    <a:pt x="72898" y="124968"/>
                  </a:lnTo>
                  <a:lnTo>
                    <a:pt x="75565" y="123571"/>
                  </a:lnTo>
                  <a:lnTo>
                    <a:pt x="78104" y="121793"/>
                  </a:lnTo>
                  <a:lnTo>
                    <a:pt x="80264" y="119888"/>
                  </a:lnTo>
                  <a:lnTo>
                    <a:pt x="82550" y="117728"/>
                  </a:lnTo>
                  <a:lnTo>
                    <a:pt x="84454" y="115443"/>
                  </a:lnTo>
                  <a:lnTo>
                    <a:pt x="86105" y="113029"/>
                  </a:lnTo>
                  <a:lnTo>
                    <a:pt x="87756" y="110235"/>
                  </a:lnTo>
                  <a:lnTo>
                    <a:pt x="89153" y="107188"/>
                  </a:lnTo>
                  <a:lnTo>
                    <a:pt x="90297" y="104140"/>
                  </a:lnTo>
                  <a:lnTo>
                    <a:pt x="91186" y="100710"/>
                  </a:lnTo>
                  <a:lnTo>
                    <a:pt x="91820" y="97154"/>
                  </a:lnTo>
                  <a:lnTo>
                    <a:pt x="92202" y="93344"/>
                  </a:lnTo>
                  <a:lnTo>
                    <a:pt x="92328" y="89281"/>
                  </a:lnTo>
                  <a:lnTo>
                    <a:pt x="92328" y="87248"/>
                  </a:lnTo>
                  <a:lnTo>
                    <a:pt x="92202" y="84963"/>
                  </a:lnTo>
                  <a:lnTo>
                    <a:pt x="91820" y="82803"/>
                  </a:lnTo>
                  <a:lnTo>
                    <a:pt x="91566" y="80518"/>
                  </a:lnTo>
                  <a:lnTo>
                    <a:pt x="90551" y="75946"/>
                  </a:lnTo>
                  <a:lnTo>
                    <a:pt x="89280" y="71247"/>
                  </a:lnTo>
                  <a:lnTo>
                    <a:pt x="87503" y="66547"/>
                  </a:lnTo>
                  <a:lnTo>
                    <a:pt x="85598" y="61848"/>
                  </a:lnTo>
                  <a:lnTo>
                    <a:pt x="83312" y="57150"/>
                  </a:lnTo>
                  <a:lnTo>
                    <a:pt x="80899" y="52450"/>
                  </a:lnTo>
                  <a:lnTo>
                    <a:pt x="78231" y="47751"/>
                  </a:lnTo>
                  <a:lnTo>
                    <a:pt x="75438" y="43053"/>
                  </a:lnTo>
                  <a:lnTo>
                    <a:pt x="72516" y="38481"/>
                  </a:lnTo>
                  <a:lnTo>
                    <a:pt x="69215" y="33909"/>
                  </a:lnTo>
                  <a:lnTo>
                    <a:pt x="66166" y="29591"/>
                  </a:lnTo>
                  <a:lnTo>
                    <a:pt x="62738" y="25400"/>
                  </a:lnTo>
                  <a:lnTo>
                    <a:pt x="59563" y="21209"/>
                  </a:lnTo>
                  <a:lnTo>
                    <a:pt x="56133" y="17272"/>
                  </a:lnTo>
                  <a:close/>
                  <a:moveTo>
                    <a:pt x="-4125977" y="2554223"/>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pic>
          <p:nvPicPr>
            <p:cNvPr id="1439" name="Picture 1439"/>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a:xfrm>
              <a:off x="6755042" y="4858760"/>
              <a:ext cx="101547" cy="211726"/>
            </a:xfrm>
            <a:prstGeom prst="rect">
              <a:avLst/>
            </a:prstGeom>
            <a:noFill/>
          </p:spPr>
        </p:pic>
        <p:sp>
          <p:nvSpPr>
            <p:cNvPr id="1525" name="Freeform 1525"/>
            <p:cNvSpPr/>
            <p:nvPr/>
          </p:nvSpPr>
          <p:spPr>
            <a:xfrm>
              <a:off x="5370955" y="3666620"/>
              <a:ext cx="1282540" cy="252852"/>
            </a:xfrm>
            <a:custGeom>
              <a:avLst/>
              <a:gdLst/>
              <a:ahLst/>
              <a:cxnLst/>
              <a:rect l="0" t="0" r="0" b="0"/>
              <a:pathLst>
                <a:path w="1283208" h="252984">
                  <a:moveTo>
                    <a:pt x="0" y="252984"/>
                  </a:moveTo>
                  <a:lnTo>
                    <a:pt x="1283208" y="252984"/>
                  </a:lnTo>
                  <a:lnTo>
                    <a:pt x="1283208" y="0"/>
                  </a:lnTo>
                  <a:lnTo>
                    <a:pt x="0" y="0"/>
                  </a:lnTo>
                  <a:lnTo>
                    <a:pt x="0" y="252984"/>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552" name="Rectangle 1552"/>
            <p:cNvSpPr/>
            <p:nvPr/>
          </p:nvSpPr>
          <p:spPr>
            <a:xfrm>
              <a:off x="5640311" y="4537954"/>
              <a:ext cx="771045" cy="15478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Methanation</a:t>
              </a:r>
            </a:p>
          </p:txBody>
        </p:sp>
        <p:sp>
          <p:nvSpPr>
            <p:cNvPr id="1562" name="Rectangle 1562"/>
            <p:cNvSpPr/>
            <p:nvPr/>
          </p:nvSpPr>
          <p:spPr>
            <a:xfrm>
              <a:off x="5008685" y="4537954"/>
              <a:ext cx="601190" cy="15478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Syn </a:t>
              </a:r>
              <a:r>
                <a:rPr kumimoji="0" lang="en-US" sz="1005" b="1" i="0" u="none" strike="noStrike" kern="1200" cap="none" spc="-12" normalizeH="0" baseline="0" noProof="0" dirty="0">
                  <a:ln>
                    <a:noFill/>
                  </a:ln>
                  <a:solidFill>
                    <a:srgbClr val="8B8B90"/>
                  </a:solidFill>
                  <a:effectLst/>
                  <a:uLnTx/>
                  <a:uFillTx/>
                  <a:latin typeface="EYInterstate-LightBold"/>
                  <a:ea typeface="+mn-ea"/>
                  <a:cs typeface="+mn-cs"/>
                </a:rPr>
                <a:t>F</a:t>
              </a: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uels</a:t>
              </a:r>
            </a:p>
          </p:txBody>
        </p:sp>
        <p:sp>
          <p:nvSpPr>
            <p:cNvPr id="1566" name="Rectangle 1566"/>
            <p:cNvSpPr/>
            <p:nvPr/>
          </p:nvSpPr>
          <p:spPr>
            <a:xfrm>
              <a:off x="5407512" y="5330021"/>
              <a:ext cx="267702" cy="15478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CCU</a:t>
              </a:r>
            </a:p>
          </p:txBody>
        </p:sp>
        <p:sp>
          <p:nvSpPr>
            <p:cNvPr id="1573" name="Rectangle 1573"/>
            <p:cNvSpPr/>
            <p:nvPr/>
          </p:nvSpPr>
          <p:spPr>
            <a:xfrm>
              <a:off x="6554741" y="5306304"/>
              <a:ext cx="522772" cy="155299"/>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8" b="1" i="0" u="none" strike="noStrike" kern="1200" cap="none" spc="-11" normalizeH="0" baseline="0" noProof="0" dirty="0">
                  <a:ln>
                    <a:noFill/>
                  </a:ln>
                  <a:solidFill>
                    <a:srgbClr val="8B8B90"/>
                  </a:solidFill>
                  <a:effectLst/>
                  <a:uLnTx/>
                  <a:uFillTx/>
                  <a:latin typeface="EYInterstate-LightBold"/>
                  <a:ea typeface="+mn-ea"/>
                  <a:cs typeface="+mn-cs"/>
                </a:rPr>
                <a:t>B</a:t>
              </a:r>
              <a:r>
                <a:rPr kumimoji="0" lang="en-US" sz="1008" b="1" i="0" u="none" strike="noStrike" kern="1200" cap="none" spc="0" normalizeH="0" baseline="0" noProof="0" dirty="0">
                  <a:ln>
                    <a:noFill/>
                  </a:ln>
                  <a:solidFill>
                    <a:srgbClr val="8B8B90"/>
                  </a:solidFill>
                  <a:effectLst/>
                  <a:uLnTx/>
                  <a:uFillTx/>
                  <a:latin typeface="EYInterstate-LightBold"/>
                  <a:ea typeface="+mn-ea"/>
                  <a:cs typeface="+mn-cs"/>
                </a:rPr>
                <a:t>iomass</a:t>
              </a:r>
            </a:p>
          </p:txBody>
        </p:sp>
        <p:sp>
          <p:nvSpPr>
            <p:cNvPr id="1574" name="Rectangle 1574"/>
            <p:cNvSpPr/>
            <p:nvPr/>
          </p:nvSpPr>
          <p:spPr>
            <a:xfrm>
              <a:off x="6451162" y="4529450"/>
              <a:ext cx="759888" cy="308674"/>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12" normalizeH="0" baseline="0" noProof="0" dirty="0">
                  <a:ln>
                    <a:noFill/>
                  </a:ln>
                  <a:solidFill>
                    <a:srgbClr val="8B8B90"/>
                  </a:solidFill>
                  <a:effectLst/>
                  <a:uLnTx/>
                  <a:uFillTx/>
                  <a:latin typeface="EYInterstate-LightBold"/>
                  <a:ea typeface="+mn-ea"/>
                  <a:cs typeface="+mn-cs"/>
                </a:rPr>
                <a:t>G</a:t>
              </a: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reen liquid </a:t>
              </a:r>
            </a:p>
            <a:p>
              <a:pPr marL="210101" marR="0" lvl="0" indent="0" algn="l" defTabSz="914400" rtl="0" eaLnBrk="1" fontAlgn="auto" latinLnBrk="0" hangingPunct="1">
                <a:lnSpc>
                  <a:spcPts val="12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fuels</a:t>
              </a:r>
            </a:p>
          </p:txBody>
        </p:sp>
      </p:grpSp>
      <p:sp>
        <p:nvSpPr>
          <p:cNvPr id="1448" name="Freeform 1448"/>
          <p:cNvSpPr/>
          <p:nvPr/>
        </p:nvSpPr>
        <p:spPr>
          <a:xfrm>
            <a:off x="4969288" y="1230636"/>
            <a:ext cx="2244038" cy="252720"/>
          </a:xfrm>
          <a:custGeom>
            <a:avLst/>
            <a:gdLst/>
            <a:ahLst/>
            <a:cxnLst/>
            <a:rect l="0" t="0" r="0" b="0"/>
            <a:pathLst>
              <a:path w="2246376" h="252984">
                <a:moveTo>
                  <a:pt x="0" y="0"/>
                </a:moveTo>
                <a:lnTo>
                  <a:pt x="2180717" y="0"/>
                </a:lnTo>
                <a:lnTo>
                  <a:pt x="2246376" y="126491"/>
                </a:lnTo>
                <a:lnTo>
                  <a:pt x="2180717" y="252984"/>
                </a:lnTo>
                <a:lnTo>
                  <a:pt x="0" y="252984"/>
                </a:lnTo>
                <a:lnTo>
                  <a:pt x="65658" y="126491"/>
                </a:lnTo>
                <a:close/>
                <a:moveTo>
                  <a:pt x="658367" y="5629655"/>
                </a:moveTo>
              </a:path>
            </a:pathLst>
          </a:custGeom>
          <a:solidFill>
            <a:srgbClr val="FFF066">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grpSp>
        <p:nvGrpSpPr>
          <p:cNvPr id="51" name="3. Conversion">
            <a:extLst>
              <a:ext uri="{FF2B5EF4-FFF2-40B4-BE49-F238E27FC236}">
                <a16:creationId xmlns:a16="http://schemas.microsoft.com/office/drawing/2014/main" id="{BEE205A1-A36E-41F5-BBE5-87AC58505328}"/>
              </a:ext>
            </a:extLst>
          </p:cNvPr>
          <p:cNvGrpSpPr/>
          <p:nvPr/>
        </p:nvGrpSpPr>
        <p:grpSpPr>
          <a:xfrm>
            <a:off x="4955584" y="1530552"/>
            <a:ext cx="2237948" cy="1794924"/>
            <a:chOff x="4958165" y="1529563"/>
            <a:chExt cx="2239114" cy="1795859"/>
          </a:xfrm>
        </p:grpSpPr>
        <p:sp>
          <p:nvSpPr>
            <p:cNvPr id="1325" name="Freeform 1325"/>
            <p:cNvSpPr/>
            <p:nvPr/>
          </p:nvSpPr>
          <p:spPr>
            <a:xfrm>
              <a:off x="5370957" y="1579828"/>
              <a:ext cx="194969" cy="371662"/>
            </a:xfrm>
            <a:custGeom>
              <a:avLst/>
              <a:gdLst/>
              <a:ahLst/>
              <a:cxnLst/>
              <a:rect l="0" t="0" r="0" b="0"/>
              <a:pathLst>
                <a:path w="195071" h="371856">
                  <a:moveTo>
                    <a:pt x="76072" y="145922"/>
                  </a:moveTo>
                  <a:lnTo>
                    <a:pt x="76072" y="251968"/>
                  </a:lnTo>
                  <a:lnTo>
                    <a:pt x="72389" y="253491"/>
                  </a:lnTo>
                  <a:lnTo>
                    <a:pt x="68833" y="255143"/>
                  </a:lnTo>
                  <a:lnTo>
                    <a:pt x="65404" y="256794"/>
                  </a:lnTo>
                  <a:lnTo>
                    <a:pt x="62102" y="258826"/>
                  </a:lnTo>
                  <a:lnTo>
                    <a:pt x="59054" y="260984"/>
                  </a:lnTo>
                  <a:lnTo>
                    <a:pt x="56260" y="263270"/>
                  </a:lnTo>
                  <a:lnTo>
                    <a:pt x="53594" y="265810"/>
                  </a:lnTo>
                  <a:lnTo>
                    <a:pt x="51181" y="268477"/>
                  </a:lnTo>
                  <a:lnTo>
                    <a:pt x="49149" y="271145"/>
                  </a:lnTo>
                  <a:lnTo>
                    <a:pt x="47116" y="274065"/>
                  </a:lnTo>
                  <a:lnTo>
                    <a:pt x="45593" y="277114"/>
                  </a:lnTo>
                  <a:lnTo>
                    <a:pt x="44069" y="280415"/>
                  </a:lnTo>
                  <a:lnTo>
                    <a:pt x="43052" y="283464"/>
                  </a:lnTo>
                  <a:lnTo>
                    <a:pt x="42290" y="287020"/>
                  </a:lnTo>
                  <a:lnTo>
                    <a:pt x="41909" y="290449"/>
                  </a:lnTo>
                  <a:lnTo>
                    <a:pt x="41656" y="293751"/>
                  </a:lnTo>
                  <a:lnTo>
                    <a:pt x="41656" y="296164"/>
                  </a:lnTo>
                  <a:lnTo>
                    <a:pt x="41909" y="298450"/>
                  </a:lnTo>
                  <a:lnTo>
                    <a:pt x="42290" y="300608"/>
                  </a:lnTo>
                  <a:lnTo>
                    <a:pt x="42671" y="303021"/>
                  </a:lnTo>
                  <a:lnTo>
                    <a:pt x="43560" y="305053"/>
                  </a:lnTo>
                  <a:lnTo>
                    <a:pt x="44069" y="307213"/>
                  </a:lnTo>
                  <a:lnTo>
                    <a:pt x="45084" y="309499"/>
                  </a:lnTo>
                  <a:lnTo>
                    <a:pt x="46101" y="311403"/>
                  </a:lnTo>
                  <a:lnTo>
                    <a:pt x="47116" y="313563"/>
                  </a:lnTo>
                  <a:lnTo>
                    <a:pt x="48387" y="315468"/>
                  </a:lnTo>
                  <a:lnTo>
                    <a:pt x="49783" y="317245"/>
                  </a:lnTo>
                  <a:lnTo>
                    <a:pt x="51181" y="319024"/>
                  </a:lnTo>
                  <a:lnTo>
                    <a:pt x="52832" y="320928"/>
                  </a:lnTo>
                  <a:lnTo>
                    <a:pt x="54483" y="322452"/>
                  </a:lnTo>
                  <a:lnTo>
                    <a:pt x="56260" y="324103"/>
                  </a:lnTo>
                  <a:lnTo>
                    <a:pt x="58039" y="325755"/>
                  </a:lnTo>
                  <a:lnTo>
                    <a:pt x="59944" y="327278"/>
                  </a:lnTo>
                  <a:lnTo>
                    <a:pt x="61976" y="328802"/>
                  </a:lnTo>
                  <a:lnTo>
                    <a:pt x="64134" y="330072"/>
                  </a:lnTo>
                  <a:lnTo>
                    <a:pt x="66166" y="331343"/>
                  </a:lnTo>
                  <a:lnTo>
                    <a:pt x="68579" y="332613"/>
                  </a:lnTo>
                  <a:lnTo>
                    <a:pt x="70865" y="333628"/>
                  </a:lnTo>
                  <a:lnTo>
                    <a:pt x="73278" y="334645"/>
                  </a:lnTo>
                  <a:lnTo>
                    <a:pt x="75691" y="335407"/>
                  </a:lnTo>
                  <a:lnTo>
                    <a:pt x="78358" y="336295"/>
                  </a:lnTo>
                  <a:lnTo>
                    <a:pt x="80899" y="336931"/>
                  </a:lnTo>
                  <a:lnTo>
                    <a:pt x="83565" y="337565"/>
                  </a:lnTo>
                  <a:lnTo>
                    <a:pt x="86233" y="338074"/>
                  </a:lnTo>
                  <a:lnTo>
                    <a:pt x="89027" y="338582"/>
                  </a:lnTo>
                  <a:lnTo>
                    <a:pt x="91694" y="338708"/>
                  </a:lnTo>
                  <a:lnTo>
                    <a:pt x="94488" y="338835"/>
                  </a:lnTo>
                  <a:lnTo>
                    <a:pt x="97789" y="338963"/>
                  </a:lnTo>
                  <a:lnTo>
                    <a:pt x="100583" y="338835"/>
                  </a:lnTo>
                  <a:lnTo>
                    <a:pt x="103377" y="338708"/>
                  </a:lnTo>
                  <a:lnTo>
                    <a:pt x="106299" y="338582"/>
                  </a:lnTo>
                  <a:lnTo>
                    <a:pt x="108839" y="338074"/>
                  </a:lnTo>
                  <a:lnTo>
                    <a:pt x="111759" y="337565"/>
                  </a:lnTo>
                  <a:lnTo>
                    <a:pt x="114300" y="336931"/>
                  </a:lnTo>
                  <a:lnTo>
                    <a:pt x="116713" y="336295"/>
                  </a:lnTo>
                  <a:lnTo>
                    <a:pt x="119379" y="335407"/>
                  </a:lnTo>
                  <a:lnTo>
                    <a:pt x="121793" y="334645"/>
                  </a:lnTo>
                  <a:lnTo>
                    <a:pt x="124206" y="333628"/>
                  </a:lnTo>
                  <a:lnTo>
                    <a:pt x="126619" y="332613"/>
                  </a:lnTo>
                  <a:lnTo>
                    <a:pt x="128904" y="331343"/>
                  </a:lnTo>
                  <a:lnTo>
                    <a:pt x="131064" y="330072"/>
                  </a:lnTo>
                  <a:lnTo>
                    <a:pt x="133095" y="328802"/>
                  </a:lnTo>
                  <a:lnTo>
                    <a:pt x="135127" y="327278"/>
                  </a:lnTo>
                  <a:lnTo>
                    <a:pt x="137159" y="325755"/>
                  </a:lnTo>
                  <a:lnTo>
                    <a:pt x="139064" y="324103"/>
                  </a:lnTo>
                  <a:lnTo>
                    <a:pt x="140589" y="322452"/>
                  </a:lnTo>
                  <a:lnTo>
                    <a:pt x="142494" y="320928"/>
                  </a:lnTo>
                  <a:lnTo>
                    <a:pt x="143890" y="319024"/>
                  </a:lnTo>
                  <a:lnTo>
                    <a:pt x="145288" y="317245"/>
                  </a:lnTo>
                  <a:lnTo>
                    <a:pt x="146684" y="315468"/>
                  </a:lnTo>
                  <a:lnTo>
                    <a:pt x="147954" y="313563"/>
                  </a:lnTo>
                  <a:lnTo>
                    <a:pt x="149097" y="311403"/>
                  </a:lnTo>
                  <a:lnTo>
                    <a:pt x="150114" y="309499"/>
                  </a:lnTo>
                  <a:lnTo>
                    <a:pt x="151002" y="307213"/>
                  </a:lnTo>
                  <a:lnTo>
                    <a:pt x="151764" y="305053"/>
                  </a:lnTo>
                  <a:lnTo>
                    <a:pt x="152400" y="303021"/>
                  </a:lnTo>
                  <a:lnTo>
                    <a:pt x="152781" y="300608"/>
                  </a:lnTo>
                  <a:lnTo>
                    <a:pt x="153162" y="298450"/>
                  </a:lnTo>
                  <a:lnTo>
                    <a:pt x="153415" y="296164"/>
                  </a:lnTo>
                  <a:lnTo>
                    <a:pt x="153415" y="293751"/>
                  </a:lnTo>
                  <a:lnTo>
                    <a:pt x="153162" y="290449"/>
                  </a:lnTo>
                  <a:lnTo>
                    <a:pt x="152781" y="287020"/>
                  </a:lnTo>
                  <a:lnTo>
                    <a:pt x="152019" y="283464"/>
                  </a:lnTo>
                  <a:lnTo>
                    <a:pt x="151002" y="280415"/>
                  </a:lnTo>
                  <a:lnTo>
                    <a:pt x="149478" y="277114"/>
                  </a:lnTo>
                  <a:lnTo>
                    <a:pt x="147954" y="274065"/>
                  </a:lnTo>
                  <a:lnTo>
                    <a:pt x="145922" y="271145"/>
                  </a:lnTo>
                  <a:lnTo>
                    <a:pt x="143890" y="268477"/>
                  </a:lnTo>
                  <a:lnTo>
                    <a:pt x="141477" y="265810"/>
                  </a:lnTo>
                  <a:lnTo>
                    <a:pt x="138810" y="263270"/>
                  </a:lnTo>
                  <a:lnTo>
                    <a:pt x="136016" y="260984"/>
                  </a:lnTo>
                  <a:lnTo>
                    <a:pt x="132969" y="258826"/>
                  </a:lnTo>
                  <a:lnTo>
                    <a:pt x="129666" y="256794"/>
                  </a:lnTo>
                  <a:lnTo>
                    <a:pt x="126238" y="255143"/>
                  </a:lnTo>
                  <a:lnTo>
                    <a:pt x="122808" y="253491"/>
                  </a:lnTo>
                  <a:lnTo>
                    <a:pt x="118999" y="251968"/>
                  </a:lnTo>
                  <a:lnTo>
                    <a:pt x="118999" y="145922"/>
                  </a:lnTo>
                  <a:lnTo>
                    <a:pt x="76072" y="145922"/>
                  </a:lnTo>
                  <a:close/>
                  <a:moveTo>
                    <a:pt x="-237363" y="5279135"/>
                  </a:moveTo>
                  <a:moveTo>
                    <a:pt x="76327" y="87249"/>
                  </a:moveTo>
                  <a:lnTo>
                    <a:pt x="115570" y="87249"/>
                  </a:lnTo>
                  <a:lnTo>
                    <a:pt x="115570" y="78994"/>
                  </a:lnTo>
                  <a:lnTo>
                    <a:pt x="76327" y="78994"/>
                  </a:lnTo>
                  <a:lnTo>
                    <a:pt x="76327" y="87249"/>
                  </a:lnTo>
                  <a:close/>
                  <a:moveTo>
                    <a:pt x="-178690" y="5279135"/>
                  </a:moveTo>
                  <a:moveTo>
                    <a:pt x="115570" y="40894"/>
                  </a:moveTo>
                  <a:lnTo>
                    <a:pt x="76327" y="40894"/>
                  </a:lnTo>
                  <a:lnTo>
                    <a:pt x="76327" y="49021"/>
                  </a:lnTo>
                  <a:lnTo>
                    <a:pt x="115570" y="49021"/>
                  </a:lnTo>
                  <a:lnTo>
                    <a:pt x="115570" y="40894"/>
                  </a:lnTo>
                  <a:close/>
                  <a:moveTo>
                    <a:pt x="-132335" y="5279135"/>
                  </a:moveTo>
                  <a:moveTo>
                    <a:pt x="76327" y="125602"/>
                  </a:moveTo>
                  <a:lnTo>
                    <a:pt x="115570" y="125602"/>
                  </a:lnTo>
                  <a:lnTo>
                    <a:pt x="115570" y="117347"/>
                  </a:lnTo>
                  <a:lnTo>
                    <a:pt x="76327" y="117347"/>
                  </a:lnTo>
                  <a:lnTo>
                    <a:pt x="76327" y="125602"/>
                  </a:lnTo>
                  <a:close/>
                  <a:moveTo>
                    <a:pt x="-217043" y="5279135"/>
                  </a:moveTo>
                  <a:moveTo>
                    <a:pt x="156971" y="230251"/>
                  </a:moveTo>
                  <a:lnTo>
                    <a:pt x="156971" y="34416"/>
                  </a:lnTo>
                  <a:lnTo>
                    <a:pt x="135001" y="34416"/>
                  </a:lnTo>
                  <a:lnTo>
                    <a:pt x="135001" y="239521"/>
                  </a:lnTo>
                  <a:lnTo>
                    <a:pt x="139827" y="242189"/>
                  </a:lnTo>
                  <a:lnTo>
                    <a:pt x="143509" y="244220"/>
                  </a:lnTo>
                  <a:lnTo>
                    <a:pt x="146939" y="246633"/>
                  </a:lnTo>
                  <a:lnTo>
                    <a:pt x="150368" y="249046"/>
                  </a:lnTo>
                  <a:lnTo>
                    <a:pt x="153415" y="251587"/>
                  </a:lnTo>
                  <a:lnTo>
                    <a:pt x="156464" y="254507"/>
                  </a:lnTo>
                  <a:lnTo>
                    <a:pt x="159003" y="257428"/>
                  </a:lnTo>
                  <a:lnTo>
                    <a:pt x="161670" y="260603"/>
                  </a:lnTo>
                  <a:lnTo>
                    <a:pt x="163957" y="263525"/>
                  </a:lnTo>
                  <a:lnTo>
                    <a:pt x="165989" y="266826"/>
                  </a:lnTo>
                  <a:lnTo>
                    <a:pt x="167766" y="270382"/>
                  </a:lnTo>
                  <a:lnTo>
                    <a:pt x="169418" y="273939"/>
                  </a:lnTo>
                  <a:lnTo>
                    <a:pt x="170560" y="277621"/>
                  </a:lnTo>
                  <a:lnTo>
                    <a:pt x="171577" y="281177"/>
                  </a:lnTo>
                  <a:lnTo>
                    <a:pt x="172465" y="284988"/>
                  </a:lnTo>
                  <a:lnTo>
                    <a:pt x="172846" y="288925"/>
                  </a:lnTo>
                  <a:lnTo>
                    <a:pt x="172974" y="292862"/>
                  </a:lnTo>
                  <a:lnTo>
                    <a:pt x="172846" y="295909"/>
                  </a:lnTo>
                  <a:lnTo>
                    <a:pt x="172593" y="299084"/>
                  </a:lnTo>
                  <a:lnTo>
                    <a:pt x="172212" y="302259"/>
                  </a:lnTo>
                  <a:lnTo>
                    <a:pt x="171450" y="305053"/>
                  </a:lnTo>
                  <a:lnTo>
                    <a:pt x="170560" y="308101"/>
                  </a:lnTo>
                  <a:lnTo>
                    <a:pt x="169545" y="311022"/>
                  </a:lnTo>
                  <a:lnTo>
                    <a:pt x="168402" y="313816"/>
                  </a:lnTo>
                  <a:lnTo>
                    <a:pt x="167132" y="316483"/>
                  </a:lnTo>
                  <a:lnTo>
                    <a:pt x="165481" y="319151"/>
                  </a:lnTo>
                  <a:lnTo>
                    <a:pt x="163957" y="321818"/>
                  </a:lnTo>
                  <a:lnTo>
                    <a:pt x="162052" y="324357"/>
                  </a:lnTo>
                  <a:lnTo>
                    <a:pt x="160020" y="326897"/>
                  </a:lnTo>
                  <a:lnTo>
                    <a:pt x="157988" y="329310"/>
                  </a:lnTo>
                  <a:lnTo>
                    <a:pt x="155828" y="331596"/>
                  </a:lnTo>
                  <a:lnTo>
                    <a:pt x="153415" y="333882"/>
                  </a:lnTo>
                  <a:lnTo>
                    <a:pt x="151002" y="336041"/>
                  </a:lnTo>
                  <a:lnTo>
                    <a:pt x="148335" y="337946"/>
                  </a:lnTo>
                  <a:lnTo>
                    <a:pt x="145541" y="339978"/>
                  </a:lnTo>
                  <a:lnTo>
                    <a:pt x="142620" y="341630"/>
                  </a:lnTo>
                  <a:lnTo>
                    <a:pt x="139827" y="343281"/>
                  </a:lnTo>
                  <a:lnTo>
                    <a:pt x="136778" y="344932"/>
                  </a:lnTo>
                  <a:lnTo>
                    <a:pt x="133603" y="346456"/>
                  </a:lnTo>
                  <a:lnTo>
                    <a:pt x="130302" y="347852"/>
                  </a:lnTo>
                  <a:lnTo>
                    <a:pt x="126872" y="349122"/>
                  </a:lnTo>
                  <a:lnTo>
                    <a:pt x="123697" y="350012"/>
                  </a:lnTo>
                  <a:lnTo>
                    <a:pt x="120014" y="351155"/>
                  </a:lnTo>
                  <a:lnTo>
                    <a:pt x="116585" y="351916"/>
                  </a:lnTo>
                  <a:lnTo>
                    <a:pt x="112902" y="352678"/>
                  </a:lnTo>
                  <a:lnTo>
                    <a:pt x="109093" y="353187"/>
                  </a:lnTo>
                  <a:lnTo>
                    <a:pt x="105409" y="353440"/>
                  </a:lnTo>
                  <a:lnTo>
                    <a:pt x="101600" y="353821"/>
                  </a:lnTo>
                  <a:lnTo>
                    <a:pt x="97789" y="353821"/>
                  </a:lnTo>
                  <a:lnTo>
                    <a:pt x="93471" y="353821"/>
                  </a:lnTo>
                  <a:lnTo>
                    <a:pt x="89662" y="353440"/>
                  </a:lnTo>
                  <a:lnTo>
                    <a:pt x="85978" y="353187"/>
                  </a:lnTo>
                  <a:lnTo>
                    <a:pt x="82169" y="352678"/>
                  </a:lnTo>
                  <a:lnTo>
                    <a:pt x="78485" y="351916"/>
                  </a:lnTo>
                  <a:lnTo>
                    <a:pt x="75057" y="351155"/>
                  </a:lnTo>
                  <a:lnTo>
                    <a:pt x="71627" y="350012"/>
                  </a:lnTo>
                  <a:lnTo>
                    <a:pt x="68199" y="349122"/>
                  </a:lnTo>
                  <a:lnTo>
                    <a:pt x="64770" y="347852"/>
                  </a:lnTo>
                  <a:lnTo>
                    <a:pt x="61468" y="346456"/>
                  </a:lnTo>
                  <a:lnTo>
                    <a:pt x="58420" y="344932"/>
                  </a:lnTo>
                  <a:lnTo>
                    <a:pt x="55245" y="343281"/>
                  </a:lnTo>
                  <a:lnTo>
                    <a:pt x="52451" y="341630"/>
                  </a:lnTo>
                  <a:lnTo>
                    <a:pt x="49529" y="339978"/>
                  </a:lnTo>
                  <a:lnTo>
                    <a:pt x="46735" y="337946"/>
                  </a:lnTo>
                  <a:lnTo>
                    <a:pt x="44069" y="336041"/>
                  </a:lnTo>
                  <a:lnTo>
                    <a:pt x="41656" y="333882"/>
                  </a:lnTo>
                  <a:lnTo>
                    <a:pt x="39243" y="331596"/>
                  </a:lnTo>
                  <a:lnTo>
                    <a:pt x="37083" y="329310"/>
                  </a:lnTo>
                  <a:lnTo>
                    <a:pt x="35052" y="326897"/>
                  </a:lnTo>
                  <a:lnTo>
                    <a:pt x="33020" y="324357"/>
                  </a:lnTo>
                  <a:lnTo>
                    <a:pt x="31114" y="321818"/>
                  </a:lnTo>
                  <a:lnTo>
                    <a:pt x="29590" y="319151"/>
                  </a:lnTo>
                  <a:lnTo>
                    <a:pt x="28066" y="316483"/>
                  </a:lnTo>
                  <a:lnTo>
                    <a:pt x="26670" y="313816"/>
                  </a:lnTo>
                  <a:lnTo>
                    <a:pt x="25527" y="311022"/>
                  </a:lnTo>
                  <a:lnTo>
                    <a:pt x="24510" y="308101"/>
                  </a:lnTo>
                  <a:lnTo>
                    <a:pt x="23621" y="305053"/>
                  </a:lnTo>
                  <a:lnTo>
                    <a:pt x="23114" y="302259"/>
                  </a:lnTo>
                  <a:lnTo>
                    <a:pt x="22478" y="299084"/>
                  </a:lnTo>
                  <a:lnTo>
                    <a:pt x="22225" y="295909"/>
                  </a:lnTo>
                  <a:lnTo>
                    <a:pt x="22097" y="292862"/>
                  </a:lnTo>
                  <a:lnTo>
                    <a:pt x="22225" y="288925"/>
                  </a:lnTo>
                  <a:lnTo>
                    <a:pt x="22606" y="284988"/>
                  </a:lnTo>
                  <a:lnTo>
                    <a:pt x="23495" y="281177"/>
                  </a:lnTo>
                  <a:lnTo>
                    <a:pt x="24510" y="277621"/>
                  </a:lnTo>
                  <a:lnTo>
                    <a:pt x="25653" y="273939"/>
                  </a:lnTo>
                  <a:lnTo>
                    <a:pt x="27304" y="270382"/>
                  </a:lnTo>
                  <a:lnTo>
                    <a:pt x="29083" y="266826"/>
                  </a:lnTo>
                  <a:lnTo>
                    <a:pt x="31114" y="263525"/>
                  </a:lnTo>
                  <a:lnTo>
                    <a:pt x="33401" y="260603"/>
                  </a:lnTo>
                  <a:lnTo>
                    <a:pt x="36068" y="257428"/>
                  </a:lnTo>
                  <a:lnTo>
                    <a:pt x="38608" y="254507"/>
                  </a:lnTo>
                  <a:lnTo>
                    <a:pt x="41656" y="251587"/>
                  </a:lnTo>
                  <a:lnTo>
                    <a:pt x="44703" y="249046"/>
                  </a:lnTo>
                  <a:lnTo>
                    <a:pt x="48133" y="246633"/>
                  </a:lnTo>
                  <a:lnTo>
                    <a:pt x="51562" y="244220"/>
                  </a:lnTo>
                  <a:lnTo>
                    <a:pt x="55245" y="242189"/>
                  </a:lnTo>
                  <a:lnTo>
                    <a:pt x="60325" y="239521"/>
                  </a:lnTo>
                  <a:lnTo>
                    <a:pt x="60325" y="18033"/>
                  </a:lnTo>
                  <a:lnTo>
                    <a:pt x="156971" y="18033"/>
                  </a:lnTo>
                  <a:lnTo>
                    <a:pt x="156971" y="16637"/>
                  </a:lnTo>
                  <a:lnTo>
                    <a:pt x="156971" y="14985"/>
                  </a:lnTo>
                  <a:lnTo>
                    <a:pt x="156590" y="13207"/>
                  </a:lnTo>
                  <a:lnTo>
                    <a:pt x="155956" y="11810"/>
                  </a:lnTo>
                  <a:lnTo>
                    <a:pt x="155447" y="10159"/>
                  </a:lnTo>
                  <a:lnTo>
                    <a:pt x="154558" y="8635"/>
                  </a:lnTo>
                  <a:lnTo>
                    <a:pt x="153543" y="7365"/>
                  </a:lnTo>
                  <a:lnTo>
                    <a:pt x="152400" y="6095"/>
                  </a:lnTo>
                  <a:lnTo>
                    <a:pt x="151002" y="4826"/>
                  </a:lnTo>
                  <a:lnTo>
                    <a:pt x="149478" y="3809"/>
                  </a:lnTo>
                  <a:lnTo>
                    <a:pt x="147954" y="2794"/>
                  </a:lnTo>
                  <a:lnTo>
                    <a:pt x="146303" y="2032"/>
                  </a:lnTo>
                  <a:lnTo>
                    <a:pt x="144526" y="1270"/>
                  </a:lnTo>
                  <a:lnTo>
                    <a:pt x="142620" y="762"/>
                  </a:lnTo>
                  <a:lnTo>
                    <a:pt x="140589" y="253"/>
                  </a:lnTo>
                  <a:lnTo>
                    <a:pt x="138557" y="126"/>
                  </a:lnTo>
                  <a:lnTo>
                    <a:pt x="136397" y="0"/>
                  </a:lnTo>
                  <a:lnTo>
                    <a:pt x="58674" y="0"/>
                  </a:lnTo>
                  <a:lnTo>
                    <a:pt x="56514" y="126"/>
                  </a:lnTo>
                  <a:lnTo>
                    <a:pt x="54483" y="253"/>
                  </a:lnTo>
                  <a:lnTo>
                    <a:pt x="52451" y="762"/>
                  </a:lnTo>
                  <a:lnTo>
                    <a:pt x="50545" y="1270"/>
                  </a:lnTo>
                  <a:lnTo>
                    <a:pt x="48768" y="2032"/>
                  </a:lnTo>
                  <a:lnTo>
                    <a:pt x="47116" y="2794"/>
                  </a:lnTo>
                  <a:lnTo>
                    <a:pt x="45593" y="3809"/>
                  </a:lnTo>
                  <a:lnTo>
                    <a:pt x="44069" y="4826"/>
                  </a:lnTo>
                  <a:lnTo>
                    <a:pt x="42671" y="6095"/>
                  </a:lnTo>
                  <a:lnTo>
                    <a:pt x="41528" y="7365"/>
                  </a:lnTo>
                  <a:lnTo>
                    <a:pt x="40513" y="8635"/>
                  </a:lnTo>
                  <a:lnTo>
                    <a:pt x="39624" y="10159"/>
                  </a:lnTo>
                  <a:lnTo>
                    <a:pt x="39115" y="11810"/>
                  </a:lnTo>
                  <a:lnTo>
                    <a:pt x="38481" y="13207"/>
                  </a:lnTo>
                  <a:lnTo>
                    <a:pt x="38100" y="14985"/>
                  </a:lnTo>
                  <a:lnTo>
                    <a:pt x="38100" y="16637"/>
                  </a:lnTo>
                  <a:lnTo>
                    <a:pt x="38100" y="230251"/>
                  </a:lnTo>
                  <a:lnTo>
                    <a:pt x="33782" y="232918"/>
                  </a:lnTo>
                  <a:lnTo>
                    <a:pt x="29718" y="235965"/>
                  </a:lnTo>
                  <a:lnTo>
                    <a:pt x="25908" y="239014"/>
                  </a:lnTo>
                  <a:lnTo>
                    <a:pt x="22225" y="242443"/>
                  </a:lnTo>
                  <a:lnTo>
                    <a:pt x="19050" y="245999"/>
                  </a:lnTo>
                  <a:lnTo>
                    <a:pt x="15747" y="249555"/>
                  </a:lnTo>
                  <a:lnTo>
                    <a:pt x="12953" y="253364"/>
                  </a:lnTo>
                  <a:lnTo>
                    <a:pt x="10287" y="257301"/>
                  </a:lnTo>
                  <a:lnTo>
                    <a:pt x="7874" y="261365"/>
                  </a:lnTo>
                  <a:lnTo>
                    <a:pt x="5841" y="265557"/>
                  </a:lnTo>
                  <a:lnTo>
                    <a:pt x="4064" y="269875"/>
                  </a:lnTo>
                  <a:lnTo>
                    <a:pt x="2666" y="274320"/>
                  </a:lnTo>
                  <a:lnTo>
                    <a:pt x="1396" y="278638"/>
                  </a:lnTo>
                  <a:lnTo>
                    <a:pt x="634" y="283337"/>
                  </a:lnTo>
                  <a:lnTo>
                    <a:pt x="0" y="288035"/>
                  </a:lnTo>
                  <a:lnTo>
                    <a:pt x="0" y="292862"/>
                  </a:lnTo>
                  <a:lnTo>
                    <a:pt x="0" y="296926"/>
                  </a:lnTo>
                  <a:lnTo>
                    <a:pt x="381" y="300863"/>
                  </a:lnTo>
                  <a:lnTo>
                    <a:pt x="1015" y="304800"/>
                  </a:lnTo>
                  <a:lnTo>
                    <a:pt x="1777" y="308737"/>
                  </a:lnTo>
                  <a:lnTo>
                    <a:pt x="3047" y="312420"/>
                  </a:lnTo>
                  <a:lnTo>
                    <a:pt x="4190" y="316230"/>
                  </a:lnTo>
                  <a:lnTo>
                    <a:pt x="5841" y="320039"/>
                  </a:lnTo>
                  <a:lnTo>
                    <a:pt x="7493" y="323469"/>
                  </a:lnTo>
                  <a:lnTo>
                    <a:pt x="9525" y="327025"/>
                  </a:lnTo>
                  <a:lnTo>
                    <a:pt x="11683" y="330581"/>
                  </a:lnTo>
                  <a:lnTo>
                    <a:pt x="13970" y="333882"/>
                  </a:lnTo>
                  <a:lnTo>
                    <a:pt x="16637" y="336931"/>
                  </a:lnTo>
                  <a:lnTo>
                    <a:pt x="19177" y="340106"/>
                  </a:lnTo>
                  <a:lnTo>
                    <a:pt x="22225" y="342900"/>
                  </a:lnTo>
                  <a:lnTo>
                    <a:pt x="25272" y="345947"/>
                  </a:lnTo>
                  <a:lnTo>
                    <a:pt x="28575" y="348741"/>
                  </a:lnTo>
                  <a:lnTo>
                    <a:pt x="32003" y="351408"/>
                  </a:lnTo>
                  <a:lnTo>
                    <a:pt x="35433" y="353821"/>
                  </a:lnTo>
                  <a:lnTo>
                    <a:pt x="39115" y="356107"/>
                  </a:lnTo>
                  <a:lnTo>
                    <a:pt x="42926" y="358139"/>
                  </a:lnTo>
                  <a:lnTo>
                    <a:pt x="46989" y="360426"/>
                  </a:lnTo>
                  <a:lnTo>
                    <a:pt x="51053" y="362457"/>
                  </a:lnTo>
                  <a:lnTo>
                    <a:pt x="55245" y="363982"/>
                  </a:lnTo>
                  <a:lnTo>
                    <a:pt x="59435" y="365632"/>
                  </a:lnTo>
                  <a:lnTo>
                    <a:pt x="64008" y="367030"/>
                  </a:lnTo>
                  <a:lnTo>
                    <a:pt x="68452" y="368300"/>
                  </a:lnTo>
                  <a:lnTo>
                    <a:pt x="73025" y="369315"/>
                  </a:lnTo>
                  <a:lnTo>
                    <a:pt x="77724" y="370332"/>
                  </a:lnTo>
                  <a:lnTo>
                    <a:pt x="82550" y="370966"/>
                  </a:lnTo>
                  <a:lnTo>
                    <a:pt x="87376" y="371347"/>
                  </a:lnTo>
                  <a:lnTo>
                    <a:pt x="92456" y="371728"/>
                  </a:lnTo>
                  <a:lnTo>
                    <a:pt x="97789" y="371856"/>
                  </a:lnTo>
                  <a:lnTo>
                    <a:pt x="102615" y="371728"/>
                  </a:lnTo>
                  <a:lnTo>
                    <a:pt x="107695" y="371347"/>
                  </a:lnTo>
                  <a:lnTo>
                    <a:pt x="112521" y="370966"/>
                  </a:lnTo>
                  <a:lnTo>
                    <a:pt x="117347" y="370332"/>
                  </a:lnTo>
                  <a:lnTo>
                    <a:pt x="122046" y="369315"/>
                  </a:lnTo>
                  <a:lnTo>
                    <a:pt x="126619" y="368300"/>
                  </a:lnTo>
                  <a:lnTo>
                    <a:pt x="131064" y="367030"/>
                  </a:lnTo>
                  <a:lnTo>
                    <a:pt x="135635" y="365632"/>
                  </a:lnTo>
                  <a:lnTo>
                    <a:pt x="139827" y="363982"/>
                  </a:lnTo>
                  <a:lnTo>
                    <a:pt x="144018" y="362457"/>
                  </a:lnTo>
                  <a:lnTo>
                    <a:pt x="148082" y="360426"/>
                  </a:lnTo>
                  <a:lnTo>
                    <a:pt x="152145" y="358139"/>
                  </a:lnTo>
                  <a:lnTo>
                    <a:pt x="155956" y="356107"/>
                  </a:lnTo>
                  <a:lnTo>
                    <a:pt x="159639" y="353821"/>
                  </a:lnTo>
                  <a:lnTo>
                    <a:pt x="163321" y="351408"/>
                  </a:lnTo>
                  <a:lnTo>
                    <a:pt x="166496" y="348741"/>
                  </a:lnTo>
                  <a:lnTo>
                    <a:pt x="169799" y="345947"/>
                  </a:lnTo>
                  <a:lnTo>
                    <a:pt x="172846" y="342900"/>
                  </a:lnTo>
                  <a:lnTo>
                    <a:pt x="175895" y="340106"/>
                  </a:lnTo>
                  <a:lnTo>
                    <a:pt x="178434" y="336931"/>
                  </a:lnTo>
                  <a:lnTo>
                    <a:pt x="181102" y="333882"/>
                  </a:lnTo>
                  <a:lnTo>
                    <a:pt x="183388" y="330581"/>
                  </a:lnTo>
                  <a:lnTo>
                    <a:pt x="185546" y="327025"/>
                  </a:lnTo>
                  <a:lnTo>
                    <a:pt x="187578" y="323469"/>
                  </a:lnTo>
                  <a:lnTo>
                    <a:pt x="189229" y="320039"/>
                  </a:lnTo>
                  <a:lnTo>
                    <a:pt x="190881" y="316230"/>
                  </a:lnTo>
                  <a:lnTo>
                    <a:pt x="192024" y="312420"/>
                  </a:lnTo>
                  <a:lnTo>
                    <a:pt x="193294" y="308737"/>
                  </a:lnTo>
                  <a:lnTo>
                    <a:pt x="194056" y="304800"/>
                  </a:lnTo>
                  <a:lnTo>
                    <a:pt x="194690" y="300863"/>
                  </a:lnTo>
                  <a:lnTo>
                    <a:pt x="195071" y="296926"/>
                  </a:lnTo>
                  <a:lnTo>
                    <a:pt x="195071" y="292862"/>
                  </a:lnTo>
                  <a:lnTo>
                    <a:pt x="195071" y="288035"/>
                  </a:lnTo>
                  <a:lnTo>
                    <a:pt x="194437" y="283337"/>
                  </a:lnTo>
                  <a:lnTo>
                    <a:pt x="193675" y="278638"/>
                  </a:lnTo>
                  <a:lnTo>
                    <a:pt x="192404" y="274320"/>
                  </a:lnTo>
                  <a:lnTo>
                    <a:pt x="191008" y="269875"/>
                  </a:lnTo>
                  <a:lnTo>
                    <a:pt x="189229" y="265557"/>
                  </a:lnTo>
                  <a:lnTo>
                    <a:pt x="187197" y="261365"/>
                  </a:lnTo>
                  <a:lnTo>
                    <a:pt x="184784" y="257301"/>
                  </a:lnTo>
                  <a:lnTo>
                    <a:pt x="182118" y="253364"/>
                  </a:lnTo>
                  <a:lnTo>
                    <a:pt x="179324" y="249555"/>
                  </a:lnTo>
                  <a:lnTo>
                    <a:pt x="176021" y="245999"/>
                  </a:lnTo>
                  <a:lnTo>
                    <a:pt x="172846" y="242443"/>
                  </a:lnTo>
                  <a:lnTo>
                    <a:pt x="169164" y="239014"/>
                  </a:lnTo>
                  <a:lnTo>
                    <a:pt x="165353" y="235965"/>
                  </a:lnTo>
                  <a:lnTo>
                    <a:pt x="161289" y="232918"/>
                  </a:lnTo>
                  <a:lnTo>
                    <a:pt x="156971" y="230251"/>
                  </a:lnTo>
                  <a:close/>
                  <a:moveTo>
                    <a:pt x="-321692" y="5279135"/>
                  </a:moveTo>
                </a:path>
              </a:pathLst>
            </a:custGeom>
            <a:solidFill>
              <a:srgbClr val="188CE5"/>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26" name="Freeform 1326"/>
            <p:cNvSpPr/>
            <p:nvPr/>
          </p:nvSpPr>
          <p:spPr>
            <a:xfrm>
              <a:off x="6397597" y="1607246"/>
              <a:ext cx="335104" cy="322920"/>
            </a:xfrm>
            <a:custGeom>
              <a:avLst/>
              <a:gdLst/>
              <a:ahLst/>
              <a:cxnLst/>
              <a:rect l="0" t="0" r="0" b="0"/>
              <a:pathLst>
                <a:path w="335279" h="323088">
                  <a:moveTo>
                    <a:pt x="157606" y="155701"/>
                  </a:moveTo>
                  <a:lnTo>
                    <a:pt x="157606" y="155701"/>
                  </a:lnTo>
                  <a:lnTo>
                    <a:pt x="157099" y="156718"/>
                  </a:lnTo>
                  <a:lnTo>
                    <a:pt x="156591" y="157733"/>
                  </a:lnTo>
                  <a:lnTo>
                    <a:pt x="156209" y="158750"/>
                  </a:lnTo>
                  <a:lnTo>
                    <a:pt x="156082" y="160019"/>
                  </a:lnTo>
                  <a:lnTo>
                    <a:pt x="155955" y="161036"/>
                  </a:lnTo>
                  <a:lnTo>
                    <a:pt x="155955" y="162051"/>
                  </a:lnTo>
                  <a:lnTo>
                    <a:pt x="156082" y="163068"/>
                  </a:lnTo>
                  <a:lnTo>
                    <a:pt x="156209" y="164211"/>
                  </a:lnTo>
                  <a:lnTo>
                    <a:pt x="156591" y="165226"/>
                  </a:lnTo>
                  <a:lnTo>
                    <a:pt x="157099" y="166243"/>
                  </a:lnTo>
                  <a:lnTo>
                    <a:pt x="157479" y="167132"/>
                  </a:lnTo>
                  <a:lnTo>
                    <a:pt x="158115" y="168148"/>
                  </a:lnTo>
                  <a:lnTo>
                    <a:pt x="158877" y="168909"/>
                  </a:lnTo>
                  <a:lnTo>
                    <a:pt x="159639" y="169799"/>
                  </a:lnTo>
                  <a:lnTo>
                    <a:pt x="160654" y="170433"/>
                  </a:lnTo>
                  <a:lnTo>
                    <a:pt x="161543" y="171195"/>
                  </a:lnTo>
                  <a:lnTo>
                    <a:pt x="162559" y="171576"/>
                  </a:lnTo>
                  <a:lnTo>
                    <a:pt x="163703" y="172084"/>
                  </a:lnTo>
                  <a:lnTo>
                    <a:pt x="164718" y="172338"/>
                  </a:lnTo>
                  <a:lnTo>
                    <a:pt x="165989" y="172593"/>
                  </a:lnTo>
                  <a:lnTo>
                    <a:pt x="167131" y="172846"/>
                  </a:lnTo>
                  <a:lnTo>
                    <a:pt x="168148" y="172593"/>
                  </a:lnTo>
                  <a:lnTo>
                    <a:pt x="169291" y="172593"/>
                  </a:lnTo>
                  <a:lnTo>
                    <a:pt x="170306" y="172338"/>
                  </a:lnTo>
                  <a:lnTo>
                    <a:pt x="171450" y="172084"/>
                  </a:lnTo>
                  <a:lnTo>
                    <a:pt x="172466" y="171703"/>
                  </a:lnTo>
                  <a:lnTo>
                    <a:pt x="173608" y="171195"/>
                  </a:lnTo>
                  <a:lnTo>
                    <a:pt x="174498" y="170561"/>
                  </a:lnTo>
                  <a:lnTo>
                    <a:pt x="175259" y="169799"/>
                  </a:lnTo>
                  <a:lnTo>
                    <a:pt x="176276" y="169037"/>
                  </a:lnTo>
                  <a:lnTo>
                    <a:pt x="177038" y="168148"/>
                  </a:lnTo>
                  <a:lnTo>
                    <a:pt x="177673" y="167258"/>
                  </a:lnTo>
                  <a:lnTo>
                    <a:pt x="178054" y="166243"/>
                  </a:lnTo>
                  <a:lnTo>
                    <a:pt x="178562" y="165226"/>
                  </a:lnTo>
                  <a:lnTo>
                    <a:pt x="178816" y="164211"/>
                  </a:lnTo>
                  <a:lnTo>
                    <a:pt x="179196" y="163068"/>
                  </a:lnTo>
                  <a:lnTo>
                    <a:pt x="179324" y="162051"/>
                  </a:lnTo>
                  <a:lnTo>
                    <a:pt x="179324" y="160908"/>
                  </a:lnTo>
                  <a:lnTo>
                    <a:pt x="179196" y="159765"/>
                  </a:lnTo>
                  <a:lnTo>
                    <a:pt x="178816" y="158750"/>
                  </a:lnTo>
                  <a:lnTo>
                    <a:pt x="178562" y="157733"/>
                  </a:lnTo>
                  <a:lnTo>
                    <a:pt x="178180" y="156718"/>
                  </a:lnTo>
                  <a:lnTo>
                    <a:pt x="177673" y="155828"/>
                  </a:lnTo>
                  <a:lnTo>
                    <a:pt x="177038" y="154939"/>
                  </a:lnTo>
                  <a:lnTo>
                    <a:pt x="176403" y="154050"/>
                  </a:lnTo>
                  <a:lnTo>
                    <a:pt x="175514" y="153288"/>
                  </a:lnTo>
                  <a:lnTo>
                    <a:pt x="174498" y="152526"/>
                  </a:lnTo>
                  <a:lnTo>
                    <a:pt x="173608" y="151892"/>
                  </a:lnTo>
                  <a:lnTo>
                    <a:pt x="172466" y="151383"/>
                  </a:lnTo>
                  <a:lnTo>
                    <a:pt x="171450" y="150875"/>
                  </a:lnTo>
                  <a:lnTo>
                    <a:pt x="170306" y="150621"/>
                  </a:lnTo>
                  <a:lnTo>
                    <a:pt x="169291" y="150494"/>
                  </a:lnTo>
                  <a:lnTo>
                    <a:pt x="168148" y="150240"/>
                  </a:lnTo>
                  <a:lnTo>
                    <a:pt x="167004" y="150240"/>
                  </a:lnTo>
                  <a:lnTo>
                    <a:pt x="165862" y="150494"/>
                  </a:lnTo>
                  <a:lnTo>
                    <a:pt x="164718" y="150621"/>
                  </a:lnTo>
                  <a:lnTo>
                    <a:pt x="163703" y="150875"/>
                  </a:lnTo>
                  <a:lnTo>
                    <a:pt x="162559" y="151383"/>
                  </a:lnTo>
                  <a:lnTo>
                    <a:pt x="161670" y="151764"/>
                  </a:lnTo>
                  <a:lnTo>
                    <a:pt x="160781" y="152400"/>
                  </a:lnTo>
                  <a:lnTo>
                    <a:pt x="159766" y="153162"/>
                  </a:lnTo>
                  <a:lnTo>
                    <a:pt x="159004" y="153924"/>
                  </a:lnTo>
                  <a:lnTo>
                    <a:pt x="158241" y="154813"/>
                  </a:lnTo>
                  <a:lnTo>
                    <a:pt x="157606" y="155701"/>
                  </a:lnTo>
                  <a:close/>
                  <a:moveTo>
                    <a:pt x="-1301750" y="5251703"/>
                  </a:moveTo>
                  <a:moveTo>
                    <a:pt x="59689" y="114553"/>
                  </a:moveTo>
                  <a:lnTo>
                    <a:pt x="59689" y="114553"/>
                  </a:lnTo>
                  <a:lnTo>
                    <a:pt x="58801" y="113792"/>
                  </a:lnTo>
                  <a:lnTo>
                    <a:pt x="58546" y="113157"/>
                  </a:lnTo>
                  <a:lnTo>
                    <a:pt x="58293" y="112394"/>
                  </a:lnTo>
                  <a:lnTo>
                    <a:pt x="58546" y="111759"/>
                  </a:lnTo>
                  <a:lnTo>
                    <a:pt x="58801" y="111378"/>
                  </a:lnTo>
                  <a:lnTo>
                    <a:pt x="59563" y="111125"/>
                  </a:lnTo>
                  <a:lnTo>
                    <a:pt x="60325" y="111125"/>
                  </a:lnTo>
                  <a:lnTo>
                    <a:pt x="61468" y="111251"/>
                  </a:lnTo>
                  <a:lnTo>
                    <a:pt x="119761" y="125983"/>
                  </a:lnTo>
                  <a:lnTo>
                    <a:pt x="160654" y="136525"/>
                  </a:lnTo>
                  <a:lnTo>
                    <a:pt x="174370" y="140334"/>
                  </a:lnTo>
                  <a:lnTo>
                    <a:pt x="178562" y="141350"/>
                  </a:lnTo>
                  <a:lnTo>
                    <a:pt x="180213" y="142113"/>
                  </a:lnTo>
                  <a:lnTo>
                    <a:pt x="182244" y="143256"/>
                  </a:lnTo>
                  <a:lnTo>
                    <a:pt x="184150" y="144780"/>
                  </a:lnTo>
                  <a:lnTo>
                    <a:pt x="185674" y="146303"/>
                  </a:lnTo>
                  <a:lnTo>
                    <a:pt x="187070" y="147955"/>
                  </a:lnTo>
                  <a:lnTo>
                    <a:pt x="188341" y="149732"/>
                  </a:lnTo>
                  <a:lnTo>
                    <a:pt x="189356" y="151638"/>
                  </a:lnTo>
                  <a:lnTo>
                    <a:pt x="190118" y="153543"/>
                  </a:lnTo>
                  <a:lnTo>
                    <a:pt x="190754" y="155701"/>
                  </a:lnTo>
                  <a:lnTo>
                    <a:pt x="191262" y="157733"/>
                  </a:lnTo>
                  <a:lnTo>
                    <a:pt x="191389" y="159765"/>
                  </a:lnTo>
                  <a:lnTo>
                    <a:pt x="191389" y="162051"/>
                  </a:lnTo>
                  <a:lnTo>
                    <a:pt x="191262" y="164211"/>
                  </a:lnTo>
                  <a:lnTo>
                    <a:pt x="190754" y="166243"/>
                  </a:lnTo>
                  <a:lnTo>
                    <a:pt x="190118" y="168275"/>
                  </a:lnTo>
                  <a:lnTo>
                    <a:pt x="189229" y="170433"/>
                  </a:lnTo>
                  <a:lnTo>
                    <a:pt x="188087" y="172465"/>
                  </a:lnTo>
                  <a:lnTo>
                    <a:pt x="186943" y="174244"/>
                  </a:lnTo>
                  <a:lnTo>
                    <a:pt x="185292" y="176021"/>
                  </a:lnTo>
                  <a:lnTo>
                    <a:pt x="183768" y="177545"/>
                  </a:lnTo>
                  <a:lnTo>
                    <a:pt x="181991" y="178943"/>
                  </a:lnTo>
                  <a:lnTo>
                    <a:pt x="180086" y="180086"/>
                  </a:lnTo>
                  <a:lnTo>
                    <a:pt x="178180" y="181101"/>
                  </a:lnTo>
                  <a:lnTo>
                    <a:pt x="176021" y="181863"/>
                  </a:lnTo>
                  <a:lnTo>
                    <a:pt x="174116" y="182499"/>
                  </a:lnTo>
                  <a:lnTo>
                    <a:pt x="171830" y="182880"/>
                  </a:lnTo>
                  <a:lnTo>
                    <a:pt x="169671" y="183133"/>
                  </a:lnTo>
                  <a:lnTo>
                    <a:pt x="167386" y="183261"/>
                  </a:lnTo>
                  <a:lnTo>
                    <a:pt x="165227" y="182880"/>
                  </a:lnTo>
                  <a:lnTo>
                    <a:pt x="163067" y="182499"/>
                  </a:lnTo>
                  <a:lnTo>
                    <a:pt x="160908" y="181863"/>
                  </a:lnTo>
                  <a:lnTo>
                    <a:pt x="158750" y="181101"/>
                  </a:lnTo>
                  <a:lnTo>
                    <a:pt x="156591" y="179958"/>
                  </a:lnTo>
                  <a:lnTo>
                    <a:pt x="140462" y="169163"/>
                  </a:lnTo>
                  <a:lnTo>
                    <a:pt x="107315" y="146684"/>
                  </a:lnTo>
                  <a:lnTo>
                    <a:pt x="59689" y="114553"/>
                  </a:lnTo>
                  <a:close/>
                  <a:moveTo>
                    <a:pt x="-1260602" y="5251703"/>
                  </a:moveTo>
                  <a:moveTo>
                    <a:pt x="126745" y="252094"/>
                  </a:moveTo>
                  <a:lnTo>
                    <a:pt x="212090" y="252094"/>
                  </a:lnTo>
                  <a:lnTo>
                    <a:pt x="212090" y="226187"/>
                  </a:lnTo>
                  <a:lnTo>
                    <a:pt x="115442" y="226187"/>
                  </a:lnTo>
                  <a:lnTo>
                    <a:pt x="115442" y="215264"/>
                  </a:lnTo>
                  <a:lnTo>
                    <a:pt x="223519" y="215264"/>
                  </a:lnTo>
                  <a:lnTo>
                    <a:pt x="223519" y="263017"/>
                  </a:lnTo>
                  <a:lnTo>
                    <a:pt x="115442" y="263017"/>
                  </a:lnTo>
                  <a:lnTo>
                    <a:pt x="115442" y="238506"/>
                  </a:lnTo>
                  <a:lnTo>
                    <a:pt x="126745" y="238506"/>
                  </a:lnTo>
                  <a:lnTo>
                    <a:pt x="126745" y="252094"/>
                  </a:lnTo>
                  <a:close/>
                  <a:moveTo>
                    <a:pt x="-1398143" y="5251703"/>
                  </a:moveTo>
                  <a:moveTo>
                    <a:pt x="167513" y="23875"/>
                  </a:moveTo>
                  <a:lnTo>
                    <a:pt x="167513" y="23875"/>
                  </a:lnTo>
                  <a:lnTo>
                    <a:pt x="160654" y="24002"/>
                  </a:lnTo>
                  <a:lnTo>
                    <a:pt x="153796" y="24511"/>
                  </a:lnTo>
                  <a:lnTo>
                    <a:pt x="146939" y="25145"/>
                  </a:lnTo>
                  <a:lnTo>
                    <a:pt x="140207" y="26415"/>
                  </a:lnTo>
                  <a:lnTo>
                    <a:pt x="133730" y="27686"/>
                  </a:lnTo>
                  <a:lnTo>
                    <a:pt x="127127" y="29337"/>
                  </a:lnTo>
                  <a:lnTo>
                    <a:pt x="120777" y="31369"/>
                  </a:lnTo>
                  <a:lnTo>
                    <a:pt x="114680" y="33527"/>
                  </a:lnTo>
                  <a:lnTo>
                    <a:pt x="108457" y="36068"/>
                  </a:lnTo>
                  <a:lnTo>
                    <a:pt x="102615" y="38862"/>
                  </a:lnTo>
                  <a:lnTo>
                    <a:pt x="96901" y="41909"/>
                  </a:lnTo>
                  <a:lnTo>
                    <a:pt x="91186" y="45212"/>
                  </a:lnTo>
                  <a:lnTo>
                    <a:pt x="85725" y="48640"/>
                  </a:lnTo>
                  <a:lnTo>
                    <a:pt x="80518" y="52324"/>
                  </a:lnTo>
                  <a:lnTo>
                    <a:pt x="75564" y="56388"/>
                  </a:lnTo>
                  <a:lnTo>
                    <a:pt x="70612" y="60325"/>
                  </a:lnTo>
                  <a:lnTo>
                    <a:pt x="65913" y="64896"/>
                  </a:lnTo>
                  <a:lnTo>
                    <a:pt x="61468" y="69342"/>
                  </a:lnTo>
                  <a:lnTo>
                    <a:pt x="57150" y="74040"/>
                  </a:lnTo>
                  <a:lnTo>
                    <a:pt x="53086" y="78994"/>
                  </a:lnTo>
                  <a:lnTo>
                    <a:pt x="49402" y="84200"/>
                  </a:lnTo>
                  <a:lnTo>
                    <a:pt x="45846" y="89407"/>
                  </a:lnTo>
                  <a:lnTo>
                    <a:pt x="42544" y="94995"/>
                  </a:lnTo>
                  <a:lnTo>
                    <a:pt x="39496" y="100457"/>
                  </a:lnTo>
                  <a:lnTo>
                    <a:pt x="36702" y="106299"/>
                  </a:lnTo>
                  <a:lnTo>
                    <a:pt x="34163" y="112268"/>
                  </a:lnTo>
                  <a:lnTo>
                    <a:pt x="31876" y="118237"/>
                  </a:lnTo>
                  <a:lnTo>
                    <a:pt x="29971" y="124332"/>
                  </a:lnTo>
                  <a:lnTo>
                    <a:pt x="28320" y="130556"/>
                  </a:lnTo>
                  <a:lnTo>
                    <a:pt x="26924" y="137032"/>
                  </a:lnTo>
                  <a:lnTo>
                    <a:pt x="26034" y="143637"/>
                  </a:lnTo>
                  <a:lnTo>
                    <a:pt x="25273" y="150113"/>
                  </a:lnTo>
                  <a:lnTo>
                    <a:pt x="253" y="150113"/>
                  </a:lnTo>
                  <a:lnTo>
                    <a:pt x="762" y="146303"/>
                  </a:lnTo>
                  <a:lnTo>
                    <a:pt x="1143" y="142239"/>
                  </a:lnTo>
                  <a:lnTo>
                    <a:pt x="1651" y="138557"/>
                  </a:lnTo>
                  <a:lnTo>
                    <a:pt x="2286" y="134619"/>
                  </a:lnTo>
                  <a:lnTo>
                    <a:pt x="2920" y="130809"/>
                  </a:lnTo>
                  <a:lnTo>
                    <a:pt x="3809" y="127000"/>
                  </a:lnTo>
                  <a:lnTo>
                    <a:pt x="4699" y="123317"/>
                  </a:lnTo>
                  <a:lnTo>
                    <a:pt x="5714" y="119633"/>
                  </a:lnTo>
                  <a:lnTo>
                    <a:pt x="6857" y="115824"/>
                  </a:lnTo>
                  <a:lnTo>
                    <a:pt x="7874" y="112268"/>
                  </a:lnTo>
                  <a:lnTo>
                    <a:pt x="9144" y="108712"/>
                  </a:lnTo>
                  <a:lnTo>
                    <a:pt x="10540" y="105156"/>
                  </a:lnTo>
                  <a:lnTo>
                    <a:pt x="13334" y="98044"/>
                  </a:lnTo>
                  <a:lnTo>
                    <a:pt x="16509" y="91186"/>
                  </a:lnTo>
                  <a:lnTo>
                    <a:pt x="20065" y="84582"/>
                  </a:lnTo>
                  <a:lnTo>
                    <a:pt x="24002" y="78105"/>
                  </a:lnTo>
                  <a:lnTo>
                    <a:pt x="28194" y="71882"/>
                  </a:lnTo>
                  <a:lnTo>
                    <a:pt x="32638" y="65786"/>
                  </a:lnTo>
                  <a:lnTo>
                    <a:pt x="37338" y="59817"/>
                  </a:lnTo>
                  <a:lnTo>
                    <a:pt x="42290" y="54228"/>
                  </a:lnTo>
                  <a:lnTo>
                    <a:pt x="47498" y="48768"/>
                  </a:lnTo>
                  <a:lnTo>
                    <a:pt x="53086" y="43561"/>
                  </a:lnTo>
                  <a:lnTo>
                    <a:pt x="58801" y="38607"/>
                  </a:lnTo>
                  <a:lnTo>
                    <a:pt x="64643" y="34036"/>
                  </a:lnTo>
                  <a:lnTo>
                    <a:pt x="70865" y="29463"/>
                  </a:lnTo>
                  <a:lnTo>
                    <a:pt x="77343" y="25400"/>
                  </a:lnTo>
                  <a:lnTo>
                    <a:pt x="84074" y="21463"/>
                  </a:lnTo>
                  <a:lnTo>
                    <a:pt x="90805" y="17907"/>
                  </a:lnTo>
                  <a:lnTo>
                    <a:pt x="97789" y="14605"/>
                  </a:lnTo>
                  <a:lnTo>
                    <a:pt x="104902" y="11683"/>
                  </a:lnTo>
                  <a:lnTo>
                    <a:pt x="112267" y="8889"/>
                  </a:lnTo>
                  <a:lnTo>
                    <a:pt x="116078" y="7746"/>
                  </a:lnTo>
                  <a:lnTo>
                    <a:pt x="119761" y="6603"/>
                  </a:lnTo>
                  <a:lnTo>
                    <a:pt x="123570" y="5461"/>
                  </a:lnTo>
                  <a:lnTo>
                    <a:pt x="127507" y="4571"/>
                  </a:lnTo>
                  <a:lnTo>
                    <a:pt x="131317" y="3682"/>
                  </a:lnTo>
                  <a:lnTo>
                    <a:pt x="135254" y="2920"/>
                  </a:lnTo>
                  <a:lnTo>
                    <a:pt x="139065" y="2286"/>
                  </a:lnTo>
                  <a:lnTo>
                    <a:pt x="143129" y="1650"/>
                  </a:lnTo>
                  <a:lnTo>
                    <a:pt x="147192" y="1143"/>
                  </a:lnTo>
                  <a:lnTo>
                    <a:pt x="151129" y="762"/>
                  </a:lnTo>
                  <a:lnTo>
                    <a:pt x="155193" y="507"/>
                  </a:lnTo>
                  <a:lnTo>
                    <a:pt x="159384" y="126"/>
                  </a:lnTo>
                  <a:lnTo>
                    <a:pt x="163321" y="0"/>
                  </a:lnTo>
                  <a:lnTo>
                    <a:pt x="167513" y="0"/>
                  </a:lnTo>
                  <a:lnTo>
                    <a:pt x="171704" y="0"/>
                  </a:lnTo>
                  <a:lnTo>
                    <a:pt x="175894" y="126"/>
                  </a:lnTo>
                  <a:lnTo>
                    <a:pt x="179958" y="507"/>
                  </a:lnTo>
                  <a:lnTo>
                    <a:pt x="184023" y="762"/>
                  </a:lnTo>
                  <a:lnTo>
                    <a:pt x="187959" y="1143"/>
                  </a:lnTo>
                  <a:lnTo>
                    <a:pt x="192024" y="1650"/>
                  </a:lnTo>
                  <a:lnTo>
                    <a:pt x="196088" y="2286"/>
                  </a:lnTo>
                  <a:lnTo>
                    <a:pt x="199898" y="2920"/>
                  </a:lnTo>
                  <a:lnTo>
                    <a:pt x="203962" y="3682"/>
                  </a:lnTo>
                  <a:lnTo>
                    <a:pt x="207771" y="4571"/>
                  </a:lnTo>
                  <a:lnTo>
                    <a:pt x="211708" y="5461"/>
                  </a:lnTo>
                  <a:lnTo>
                    <a:pt x="215391" y="6603"/>
                  </a:lnTo>
                  <a:lnTo>
                    <a:pt x="219202" y="7746"/>
                  </a:lnTo>
                  <a:lnTo>
                    <a:pt x="223012" y="8889"/>
                  </a:lnTo>
                  <a:lnTo>
                    <a:pt x="230251" y="11683"/>
                  </a:lnTo>
                  <a:lnTo>
                    <a:pt x="237490" y="14605"/>
                  </a:lnTo>
                  <a:lnTo>
                    <a:pt x="244475" y="17907"/>
                  </a:lnTo>
                  <a:lnTo>
                    <a:pt x="251205" y="21463"/>
                  </a:lnTo>
                  <a:lnTo>
                    <a:pt x="257937" y="25400"/>
                  </a:lnTo>
                  <a:lnTo>
                    <a:pt x="264287" y="29463"/>
                  </a:lnTo>
                  <a:lnTo>
                    <a:pt x="270509" y="34036"/>
                  </a:lnTo>
                  <a:lnTo>
                    <a:pt x="276479" y="38607"/>
                  </a:lnTo>
                  <a:lnTo>
                    <a:pt x="282193" y="43561"/>
                  </a:lnTo>
                  <a:lnTo>
                    <a:pt x="287654" y="48768"/>
                  </a:lnTo>
                  <a:lnTo>
                    <a:pt x="292862" y="54228"/>
                  </a:lnTo>
                  <a:lnTo>
                    <a:pt x="297815" y="59817"/>
                  </a:lnTo>
                  <a:lnTo>
                    <a:pt x="302641" y="65786"/>
                  </a:lnTo>
                  <a:lnTo>
                    <a:pt x="307086" y="71882"/>
                  </a:lnTo>
                  <a:lnTo>
                    <a:pt x="311150" y="78105"/>
                  </a:lnTo>
                  <a:lnTo>
                    <a:pt x="314959" y="84582"/>
                  </a:lnTo>
                  <a:lnTo>
                    <a:pt x="318516" y="91186"/>
                  </a:lnTo>
                  <a:lnTo>
                    <a:pt x="321817" y="98044"/>
                  </a:lnTo>
                  <a:lnTo>
                    <a:pt x="324739" y="105156"/>
                  </a:lnTo>
                  <a:lnTo>
                    <a:pt x="326008" y="108712"/>
                  </a:lnTo>
                  <a:lnTo>
                    <a:pt x="327279" y="112268"/>
                  </a:lnTo>
                  <a:lnTo>
                    <a:pt x="328421" y="115824"/>
                  </a:lnTo>
                  <a:lnTo>
                    <a:pt x="329565" y="119633"/>
                  </a:lnTo>
                  <a:lnTo>
                    <a:pt x="330454" y="123317"/>
                  </a:lnTo>
                  <a:lnTo>
                    <a:pt x="331469" y="127000"/>
                  </a:lnTo>
                  <a:lnTo>
                    <a:pt x="332231" y="130809"/>
                  </a:lnTo>
                  <a:lnTo>
                    <a:pt x="332993" y="134619"/>
                  </a:lnTo>
                  <a:lnTo>
                    <a:pt x="333629" y="138557"/>
                  </a:lnTo>
                  <a:lnTo>
                    <a:pt x="334009" y="142239"/>
                  </a:lnTo>
                  <a:lnTo>
                    <a:pt x="334517" y="146303"/>
                  </a:lnTo>
                  <a:lnTo>
                    <a:pt x="334771" y="150113"/>
                  </a:lnTo>
                  <a:lnTo>
                    <a:pt x="310006" y="150113"/>
                  </a:lnTo>
                  <a:lnTo>
                    <a:pt x="309244" y="143637"/>
                  </a:lnTo>
                  <a:lnTo>
                    <a:pt x="308229" y="137032"/>
                  </a:lnTo>
                  <a:lnTo>
                    <a:pt x="306831" y="130556"/>
                  </a:lnTo>
                  <a:lnTo>
                    <a:pt x="305307" y="124332"/>
                  </a:lnTo>
                  <a:lnTo>
                    <a:pt x="303276" y="118237"/>
                  </a:lnTo>
                  <a:lnTo>
                    <a:pt x="301116" y="112268"/>
                  </a:lnTo>
                  <a:lnTo>
                    <a:pt x="298450" y="106299"/>
                  </a:lnTo>
                  <a:lnTo>
                    <a:pt x="295782" y="100457"/>
                  </a:lnTo>
                  <a:lnTo>
                    <a:pt x="292734" y="94995"/>
                  </a:lnTo>
                  <a:lnTo>
                    <a:pt x="289305" y="89407"/>
                  </a:lnTo>
                  <a:lnTo>
                    <a:pt x="285877" y="84200"/>
                  </a:lnTo>
                  <a:lnTo>
                    <a:pt x="282066" y="78994"/>
                  </a:lnTo>
                  <a:lnTo>
                    <a:pt x="278003" y="74040"/>
                  </a:lnTo>
                  <a:lnTo>
                    <a:pt x="273812" y="69342"/>
                  </a:lnTo>
                  <a:lnTo>
                    <a:pt x="269366" y="64896"/>
                  </a:lnTo>
                  <a:lnTo>
                    <a:pt x="264541" y="60325"/>
                  </a:lnTo>
                  <a:lnTo>
                    <a:pt x="259715" y="56388"/>
                  </a:lnTo>
                  <a:lnTo>
                    <a:pt x="254634" y="52324"/>
                  </a:lnTo>
                  <a:lnTo>
                    <a:pt x="249428" y="48640"/>
                  </a:lnTo>
                  <a:lnTo>
                    <a:pt x="243966" y="45212"/>
                  </a:lnTo>
                  <a:lnTo>
                    <a:pt x="238379" y="41909"/>
                  </a:lnTo>
                  <a:lnTo>
                    <a:pt x="232537" y="38862"/>
                  </a:lnTo>
                  <a:lnTo>
                    <a:pt x="226694" y="36068"/>
                  </a:lnTo>
                  <a:lnTo>
                    <a:pt x="220599" y="33527"/>
                  </a:lnTo>
                  <a:lnTo>
                    <a:pt x="214503" y="31369"/>
                  </a:lnTo>
                  <a:lnTo>
                    <a:pt x="208153" y="29337"/>
                  </a:lnTo>
                  <a:lnTo>
                    <a:pt x="201549" y="27686"/>
                  </a:lnTo>
                  <a:lnTo>
                    <a:pt x="194944" y="26415"/>
                  </a:lnTo>
                  <a:lnTo>
                    <a:pt x="188341" y="25145"/>
                  </a:lnTo>
                  <a:lnTo>
                    <a:pt x="181482" y="24511"/>
                  </a:lnTo>
                  <a:lnTo>
                    <a:pt x="174498" y="24002"/>
                  </a:lnTo>
                  <a:lnTo>
                    <a:pt x="167513" y="23875"/>
                  </a:lnTo>
                  <a:close/>
                  <a:moveTo>
                    <a:pt x="-1169924" y="5251703"/>
                  </a:moveTo>
                  <a:moveTo>
                    <a:pt x="24764" y="162051"/>
                  </a:moveTo>
                  <a:lnTo>
                    <a:pt x="24764" y="162051"/>
                  </a:lnTo>
                  <a:lnTo>
                    <a:pt x="24764" y="165607"/>
                  </a:lnTo>
                  <a:lnTo>
                    <a:pt x="24892" y="169037"/>
                  </a:lnTo>
                  <a:lnTo>
                    <a:pt x="25526" y="176021"/>
                  </a:lnTo>
                  <a:lnTo>
                    <a:pt x="26415" y="182880"/>
                  </a:lnTo>
                  <a:lnTo>
                    <a:pt x="27686" y="189611"/>
                  </a:lnTo>
                  <a:lnTo>
                    <a:pt x="29337" y="196342"/>
                  </a:lnTo>
                  <a:lnTo>
                    <a:pt x="31242" y="202945"/>
                  </a:lnTo>
                  <a:lnTo>
                    <a:pt x="33527" y="209169"/>
                  </a:lnTo>
                  <a:lnTo>
                    <a:pt x="36068" y="215392"/>
                  </a:lnTo>
                  <a:lnTo>
                    <a:pt x="38988" y="221614"/>
                  </a:lnTo>
                  <a:lnTo>
                    <a:pt x="42037" y="227330"/>
                  </a:lnTo>
                  <a:lnTo>
                    <a:pt x="45593" y="233171"/>
                  </a:lnTo>
                  <a:lnTo>
                    <a:pt x="49402" y="238759"/>
                  </a:lnTo>
                  <a:lnTo>
                    <a:pt x="53213" y="244094"/>
                  </a:lnTo>
                  <a:lnTo>
                    <a:pt x="57531" y="249300"/>
                  </a:lnTo>
                  <a:lnTo>
                    <a:pt x="62102" y="254253"/>
                  </a:lnTo>
                  <a:lnTo>
                    <a:pt x="66675" y="258952"/>
                  </a:lnTo>
                  <a:lnTo>
                    <a:pt x="71627" y="263651"/>
                  </a:lnTo>
                  <a:lnTo>
                    <a:pt x="76834" y="267969"/>
                  </a:lnTo>
                  <a:lnTo>
                    <a:pt x="82295" y="271907"/>
                  </a:lnTo>
                  <a:lnTo>
                    <a:pt x="87883" y="275844"/>
                  </a:lnTo>
                  <a:lnTo>
                    <a:pt x="93599" y="279400"/>
                  </a:lnTo>
                  <a:lnTo>
                    <a:pt x="99694" y="282701"/>
                  </a:lnTo>
                  <a:lnTo>
                    <a:pt x="105791" y="285623"/>
                  </a:lnTo>
                  <a:lnTo>
                    <a:pt x="112141" y="288289"/>
                  </a:lnTo>
                  <a:lnTo>
                    <a:pt x="118491" y="290830"/>
                  </a:lnTo>
                  <a:lnTo>
                    <a:pt x="125221" y="292988"/>
                  </a:lnTo>
                  <a:lnTo>
                    <a:pt x="131953" y="294894"/>
                  </a:lnTo>
                  <a:lnTo>
                    <a:pt x="138938" y="296418"/>
                  </a:lnTo>
                  <a:lnTo>
                    <a:pt x="145923" y="297561"/>
                  </a:lnTo>
                  <a:lnTo>
                    <a:pt x="153034" y="298450"/>
                  </a:lnTo>
                  <a:lnTo>
                    <a:pt x="160274" y="298957"/>
                  </a:lnTo>
                  <a:lnTo>
                    <a:pt x="163829" y="299084"/>
                  </a:lnTo>
                  <a:lnTo>
                    <a:pt x="167513" y="299212"/>
                  </a:lnTo>
                  <a:lnTo>
                    <a:pt x="171323" y="299084"/>
                  </a:lnTo>
                  <a:lnTo>
                    <a:pt x="175005" y="298957"/>
                  </a:lnTo>
                  <a:lnTo>
                    <a:pt x="182117" y="298450"/>
                  </a:lnTo>
                  <a:lnTo>
                    <a:pt x="189356" y="297561"/>
                  </a:lnTo>
                  <a:lnTo>
                    <a:pt x="196341" y="296418"/>
                  </a:lnTo>
                  <a:lnTo>
                    <a:pt x="203200" y="294894"/>
                  </a:lnTo>
                  <a:lnTo>
                    <a:pt x="209930" y="292988"/>
                  </a:lnTo>
                  <a:lnTo>
                    <a:pt x="216662" y="290830"/>
                  </a:lnTo>
                  <a:lnTo>
                    <a:pt x="223139" y="288289"/>
                  </a:lnTo>
                  <a:lnTo>
                    <a:pt x="229489" y="285623"/>
                  </a:lnTo>
                  <a:lnTo>
                    <a:pt x="235457" y="282701"/>
                  </a:lnTo>
                  <a:lnTo>
                    <a:pt x="241554" y="279400"/>
                  </a:lnTo>
                  <a:lnTo>
                    <a:pt x="247268" y="275844"/>
                  </a:lnTo>
                  <a:lnTo>
                    <a:pt x="252983" y="271907"/>
                  </a:lnTo>
                  <a:lnTo>
                    <a:pt x="258191" y="267969"/>
                  </a:lnTo>
                  <a:lnTo>
                    <a:pt x="263525" y="263651"/>
                  </a:lnTo>
                  <a:lnTo>
                    <a:pt x="268478" y="258952"/>
                  </a:lnTo>
                  <a:lnTo>
                    <a:pt x="273177" y="254253"/>
                  </a:lnTo>
                  <a:lnTo>
                    <a:pt x="277749" y="249300"/>
                  </a:lnTo>
                  <a:lnTo>
                    <a:pt x="281940" y="244094"/>
                  </a:lnTo>
                  <a:lnTo>
                    <a:pt x="285877" y="238759"/>
                  </a:lnTo>
                  <a:lnTo>
                    <a:pt x="289687" y="233171"/>
                  </a:lnTo>
                  <a:lnTo>
                    <a:pt x="292989" y="227330"/>
                  </a:lnTo>
                  <a:lnTo>
                    <a:pt x="296291" y="221614"/>
                  </a:lnTo>
                  <a:lnTo>
                    <a:pt x="299084" y="215392"/>
                  </a:lnTo>
                  <a:lnTo>
                    <a:pt x="301752" y="209169"/>
                  </a:lnTo>
                  <a:lnTo>
                    <a:pt x="303911" y="202945"/>
                  </a:lnTo>
                  <a:lnTo>
                    <a:pt x="305942" y="196342"/>
                  </a:lnTo>
                  <a:lnTo>
                    <a:pt x="307466" y="189611"/>
                  </a:lnTo>
                  <a:lnTo>
                    <a:pt x="308864" y="182880"/>
                  </a:lnTo>
                  <a:lnTo>
                    <a:pt x="309753" y="176021"/>
                  </a:lnTo>
                  <a:lnTo>
                    <a:pt x="310261" y="169037"/>
                  </a:lnTo>
                  <a:lnTo>
                    <a:pt x="310388" y="165607"/>
                  </a:lnTo>
                  <a:lnTo>
                    <a:pt x="310515" y="162051"/>
                  </a:lnTo>
                  <a:lnTo>
                    <a:pt x="335279" y="162051"/>
                  </a:lnTo>
                  <a:lnTo>
                    <a:pt x="335153" y="166243"/>
                  </a:lnTo>
                  <a:lnTo>
                    <a:pt x="335026" y="170307"/>
                  </a:lnTo>
                  <a:lnTo>
                    <a:pt x="334644" y="174498"/>
                  </a:lnTo>
                  <a:lnTo>
                    <a:pt x="334391" y="178434"/>
                  </a:lnTo>
                  <a:lnTo>
                    <a:pt x="333882" y="182499"/>
                  </a:lnTo>
                  <a:lnTo>
                    <a:pt x="333248" y="186563"/>
                  </a:lnTo>
                  <a:lnTo>
                    <a:pt x="332486" y="190500"/>
                  </a:lnTo>
                  <a:lnTo>
                    <a:pt x="331724" y="194563"/>
                  </a:lnTo>
                  <a:lnTo>
                    <a:pt x="330834" y="198500"/>
                  </a:lnTo>
                  <a:lnTo>
                    <a:pt x="329818" y="202311"/>
                  </a:lnTo>
                  <a:lnTo>
                    <a:pt x="328803" y="206248"/>
                  </a:lnTo>
                  <a:lnTo>
                    <a:pt x="327532" y="209931"/>
                  </a:lnTo>
                  <a:lnTo>
                    <a:pt x="326263" y="213613"/>
                  </a:lnTo>
                  <a:lnTo>
                    <a:pt x="324866" y="217424"/>
                  </a:lnTo>
                  <a:lnTo>
                    <a:pt x="323468" y="221107"/>
                  </a:lnTo>
                  <a:lnTo>
                    <a:pt x="321944" y="224663"/>
                  </a:lnTo>
                  <a:lnTo>
                    <a:pt x="320293" y="228219"/>
                  </a:lnTo>
                  <a:lnTo>
                    <a:pt x="318516" y="231901"/>
                  </a:lnTo>
                  <a:lnTo>
                    <a:pt x="316738" y="235457"/>
                  </a:lnTo>
                  <a:lnTo>
                    <a:pt x="314832" y="238887"/>
                  </a:lnTo>
                  <a:lnTo>
                    <a:pt x="312801" y="242188"/>
                  </a:lnTo>
                  <a:lnTo>
                    <a:pt x="310895" y="245618"/>
                  </a:lnTo>
                  <a:lnTo>
                    <a:pt x="308609" y="248793"/>
                  </a:lnTo>
                  <a:lnTo>
                    <a:pt x="306324" y="252094"/>
                  </a:lnTo>
                  <a:lnTo>
                    <a:pt x="304165" y="255269"/>
                  </a:lnTo>
                  <a:lnTo>
                    <a:pt x="301752" y="258318"/>
                  </a:lnTo>
                  <a:lnTo>
                    <a:pt x="299212" y="261493"/>
                  </a:lnTo>
                  <a:lnTo>
                    <a:pt x="296799" y="264540"/>
                  </a:lnTo>
                  <a:lnTo>
                    <a:pt x="294131" y="267462"/>
                  </a:lnTo>
                  <a:lnTo>
                    <a:pt x="291465" y="270256"/>
                  </a:lnTo>
                  <a:lnTo>
                    <a:pt x="288670" y="273176"/>
                  </a:lnTo>
                  <a:lnTo>
                    <a:pt x="285877" y="275970"/>
                  </a:lnTo>
                  <a:lnTo>
                    <a:pt x="283082" y="278638"/>
                  </a:lnTo>
                  <a:lnTo>
                    <a:pt x="280162" y="281177"/>
                  </a:lnTo>
                  <a:lnTo>
                    <a:pt x="277114" y="283718"/>
                  </a:lnTo>
                  <a:lnTo>
                    <a:pt x="274066" y="286257"/>
                  </a:lnTo>
                  <a:lnTo>
                    <a:pt x="270891" y="288670"/>
                  </a:lnTo>
                  <a:lnTo>
                    <a:pt x="267716" y="291083"/>
                  </a:lnTo>
                  <a:lnTo>
                    <a:pt x="264414" y="293369"/>
                  </a:lnTo>
                  <a:lnTo>
                    <a:pt x="261112" y="295528"/>
                  </a:lnTo>
                  <a:lnTo>
                    <a:pt x="257809" y="297688"/>
                  </a:lnTo>
                  <a:lnTo>
                    <a:pt x="254380" y="299719"/>
                  </a:lnTo>
                  <a:lnTo>
                    <a:pt x="250952" y="301751"/>
                  </a:lnTo>
                  <a:lnTo>
                    <a:pt x="247395" y="303530"/>
                  </a:lnTo>
                  <a:lnTo>
                    <a:pt x="243840" y="305434"/>
                  </a:lnTo>
                  <a:lnTo>
                    <a:pt x="240156" y="307086"/>
                  </a:lnTo>
                  <a:lnTo>
                    <a:pt x="236474" y="308737"/>
                  </a:lnTo>
                  <a:lnTo>
                    <a:pt x="232664" y="310388"/>
                  </a:lnTo>
                  <a:lnTo>
                    <a:pt x="228980" y="311912"/>
                  </a:lnTo>
                  <a:lnTo>
                    <a:pt x="225170" y="313308"/>
                  </a:lnTo>
                  <a:lnTo>
                    <a:pt x="221233" y="314578"/>
                  </a:lnTo>
                  <a:lnTo>
                    <a:pt x="217424" y="315721"/>
                  </a:lnTo>
                  <a:lnTo>
                    <a:pt x="213359" y="316992"/>
                  </a:lnTo>
                  <a:lnTo>
                    <a:pt x="209295" y="318007"/>
                  </a:lnTo>
                  <a:lnTo>
                    <a:pt x="205358" y="318896"/>
                  </a:lnTo>
                  <a:lnTo>
                    <a:pt x="201294" y="319786"/>
                  </a:lnTo>
                  <a:lnTo>
                    <a:pt x="197230" y="320548"/>
                  </a:lnTo>
                  <a:lnTo>
                    <a:pt x="193040" y="321182"/>
                  </a:lnTo>
                  <a:lnTo>
                    <a:pt x="188976" y="321690"/>
                  </a:lnTo>
                  <a:lnTo>
                    <a:pt x="184784" y="322199"/>
                  </a:lnTo>
                  <a:lnTo>
                    <a:pt x="180466" y="322580"/>
                  </a:lnTo>
                  <a:lnTo>
                    <a:pt x="176276" y="322833"/>
                  </a:lnTo>
                  <a:lnTo>
                    <a:pt x="171830" y="322961"/>
                  </a:lnTo>
                  <a:lnTo>
                    <a:pt x="167513" y="323088"/>
                  </a:lnTo>
                  <a:lnTo>
                    <a:pt x="163194" y="322961"/>
                  </a:lnTo>
                  <a:lnTo>
                    <a:pt x="159004" y="322833"/>
                  </a:lnTo>
                  <a:lnTo>
                    <a:pt x="154686" y="322580"/>
                  </a:lnTo>
                  <a:lnTo>
                    <a:pt x="150494" y="322199"/>
                  </a:lnTo>
                  <a:lnTo>
                    <a:pt x="146304" y="321690"/>
                  </a:lnTo>
                  <a:lnTo>
                    <a:pt x="142240" y="321182"/>
                  </a:lnTo>
                  <a:lnTo>
                    <a:pt x="138049" y="320548"/>
                  </a:lnTo>
                  <a:lnTo>
                    <a:pt x="133857" y="319786"/>
                  </a:lnTo>
                  <a:lnTo>
                    <a:pt x="129793" y="318896"/>
                  </a:lnTo>
                  <a:lnTo>
                    <a:pt x="125729" y="318007"/>
                  </a:lnTo>
                  <a:lnTo>
                    <a:pt x="121792" y="316992"/>
                  </a:lnTo>
                  <a:lnTo>
                    <a:pt x="117855" y="315721"/>
                  </a:lnTo>
                  <a:lnTo>
                    <a:pt x="113918" y="314578"/>
                  </a:lnTo>
                  <a:lnTo>
                    <a:pt x="109981" y="313308"/>
                  </a:lnTo>
                  <a:lnTo>
                    <a:pt x="106299" y="311912"/>
                  </a:lnTo>
                  <a:lnTo>
                    <a:pt x="102362" y="310388"/>
                  </a:lnTo>
                  <a:lnTo>
                    <a:pt x="98678" y="308737"/>
                  </a:lnTo>
                  <a:lnTo>
                    <a:pt x="94995" y="307086"/>
                  </a:lnTo>
                  <a:lnTo>
                    <a:pt x="91439" y="305434"/>
                  </a:lnTo>
                  <a:lnTo>
                    <a:pt x="87883" y="303530"/>
                  </a:lnTo>
                  <a:lnTo>
                    <a:pt x="84327" y="301751"/>
                  </a:lnTo>
                  <a:lnTo>
                    <a:pt x="80771" y="299719"/>
                  </a:lnTo>
                  <a:lnTo>
                    <a:pt x="77343" y="297688"/>
                  </a:lnTo>
                  <a:lnTo>
                    <a:pt x="74168" y="295528"/>
                  </a:lnTo>
                  <a:lnTo>
                    <a:pt x="70738" y="293369"/>
                  </a:lnTo>
                  <a:lnTo>
                    <a:pt x="67437" y="291083"/>
                  </a:lnTo>
                  <a:lnTo>
                    <a:pt x="64262" y="288670"/>
                  </a:lnTo>
                  <a:lnTo>
                    <a:pt x="61087" y="286257"/>
                  </a:lnTo>
                  <a:lnTo>
                    <a:pt x="58038" y="283718"/>
                  </a:lnTo>
                  <a:lnTo>
                    <a:pt x="55118" y="281177"/>
                  </a:lnTo>
                  <a:lnTo>
                    <a:pt x="52196" y="278638"/>
                  </a:lnTo>
                  <a:lnTo>
                    <a:pt x="49149" y="275970"/>
                  </a:lnTo>
                  <a:lnTo>
                    <a:pt x="46355" y="273176"/>
                  </a:lnTo>
                  <a:lnTo>
                    <a:pt x="43688" y="270256"/>
                  </a:lnTo>
                  <a:lnTo>
                    <a:pt x="41020" y="267462"/>
                  </a:lnTo>
                  <a:lnTo>
                    <a:pt x="38353" y="264540"/>
                  </a:lnTo>
                  <a:lnTo>
                    <a:pt x="35940" y="261493"/>
                  </a:lnTo>
                  <a:lnTo>
                    <a:pt x="33401" y="258318"/>
                  </a:lnTo>
                  <a:lnTo>
                    <a:pt x="31114" y="255269"/>
                  </a:lnTo>
                  <a:lnTo>
                    <a:pt x="28828" y="252094"/>
                  </a:lnTo>
                  <a:lnTo>
                    <a:pt x="26669" y="248793"/>
                  </a:lnTo>
                  <a:lnTo>
                    <a:pt x="24383" y="245618"/>
                  </a:lnTo>
                  <a:lnTo>
                    <a:pt x="22225" y="242188"/>
                  </a:lnTo>
                  <a:lnTo>
                    <a:pt x="20446" y="238887"/>
                  </a:lnTo>
                  <a:lnTo>
                    <a:pt x="18414" y="235457"/>
                  </a:lnTo>
                  <a:lnTo>
                    <a:pt x="16763" y="231901"/>
                  </a:lnTo>
                  <a:lnTo>
                    <a:pt x="14986" y="228219"/>
                  </a:lnTo>
                  <a:lnTo>
                    <a:pt x="13334" y="224663"/>
                  </a:lnTo>
                  <a:lnTo>
                    <a:pt x="11811" y="221107"/>
                  </a:lnTo>
                  <a:lnTo>
                    <a:pt x="10159" y="217424"/>
                  </a:lnTo>
                  <a:lnTo>
                    <a:pt x="9017" y="213613"/>
                  </a:lnTo>
                  <a:lnTo>
                    <a:pt x="7619" y="209931"/>
                  </a:lnTo>
                  <a:lnTo>
                    <a:pt x="6476" y="206248"/>
                  </a:lnTo>
                  <a:lnTo>
                    <a:pt x="5461" y="202311"/>
                  </a:lnTo>
                  <a:lnTo>
                    <a:pt x="4318" y="198500"/>
                  </a:lnTo>
                  <a:lnTo>
                    <a:pt x="3428" y="194563"/>
                  </a:lnTo>
                  <a:lnTo>
                    <a:pt x="2667" y="190500"/>
                  </a:lnTo>
                  <a:lnTo>
                    <a:pt x="2032" y="186563"/>
                  </a:lnTo>
                  <a:lnTo>
                    <a:pt x="1396" y="182499"/>
                  </a:lnTo>
                  <a:lnTo>
                    <a:pt x="888" y="178434"/>
                  </a:lnTo>
                  <a:lnTo>
                    <a:pt x="507" y="174498"/>
                  </a:lnTo>
                  <a:lnTo>
                    <a:pt x="126" y="170307"/>
                  </a:lnTo>
                  <a:lnTo>
                    <a:pt x="0" y="166243"/>
                  </a:lnTo>
                  <a:lnTo>
                    <a:pt x="0" y="162051"/>
                  </a:lnTo>
                  <a:lnTo>
                    <a:pt x="24764" y="162051"/>
                  </a:lnTo>
                  <a:close/>
                  <a:moveTo>
                    <a:pt x="-1308100" y="5251703"/>
                  </a:moveTo>
                  <a:moveTo>
                    <a:pt x="48006" y="208533"/>
                  </a:moveTo>
                  <a:lnTo>
                    <a:pt x="48006" y="208533"/>
                  </a:lnTo>
                  <a:lnTo>
                    <a:pt x="45846" y="203073"/>
                  </a:lnTo>
                  <a:lnTo>
                    <a:pt x="43814" y="197357"/>
                  </a:lnTo>
                  <a:lnTo>
                    <a:pt x="69723" y="187325"/>
                  </a:lnTo>
                  <a:lnTo>
                    <a:pt x="70738" y="190119"/>
                  </a:lnTo>
                  <a:lnTo>
                    <a:pt x="71627" y="192913"/>
                  </a:lnTo>
                  <a:lnTo>
                    <a:pt x="72770" y="195707"/>
                  </a:lnTo>
                  <a:lnTo>
                    <a:pt x="73787" y="198500"/>
                  </a:lnTo>
                  <a:lnTo>
                    <a:pt x="48006" y="208533"/>
                  </a:lnTo>
                  <a:close/>
                  <a:moveTo>
                    <a:pt x="-1354582" y="5251703"/>
                  </a:moveTo>
                  <a:moveTo>
                    <a:pt x="289687" y="202819"/>
                  </a:moveTo>
                  <a:lnTo>
                    <a:pt x="289687" y="202819"/>
                  </a:lnTo>
                  <a:lnTo>
                    <a:pt x="287274" y="208280"/>
                  </a:lnTo>
                  <a:lnTo>
                    <a:pt x="284861" y="213740"/>
                  </a:lnTo>
                  <a:lnTo>
                    <a:pt x="258953" y="203453"/>
                  </a:lnTo>
                  <a:lnTo>
                    <a:pt x="260350" y="200787"/>
                  </a:lnTo>
                  <a:lnTo>
                    <a:pt x="261492" y="198119"/>
                  </a:lnTo>
                  <a:lnTo>
                    <a:pt x="262763" y="195325"/>
                  </a:lnTo>
                  <a:lnTo>
                    <a:pt x="263652" y="192532"/>
                  </a:lnTo>
                  <a:lnTo>
                    <a:pt x="289687" y="202819"/>
                  </a:lnTo>
                  <a:close/>
                  <a:moveTo>
                    <a:pt x="-1348868" y="5251703"/>
                  </a:moveTo>
                  <a:moveTo>
                    <a:pt x="296417" y="151383"/>
                  </a:moveTo>
                  <a:lnTo>
                    <a:pt x="296417" y="151383"/>
                  </a:lnTo>
                  <a:lnTo>
                    <a:pt x="296799" y="156337"/>
                  </a:lnTo>
                  <a:lnTo>
                    <a:pt x="296799" y="161417"/>
                  </a:lnTo>
                  <a:lnTo>
                    <a:pt x="296799" y="163321"/>
                  </a:lnTo>
                  <a:lnTo>
                    <a:pt x="268858" y="163321"/>
                  </a:lnTo>
                  <a:lnTo>
                    <a:pt x="268858" y="161417"/>
                  </a:lnTo>
                  <a:lnTo>
                    <a:pt x="268731" y="156337"/>
                  </a:lnTo>
                  <a:lnTo>
                    <a:pt x="268478" y="151383"/>
                  </a:lnTo>
                  <a:lnTo>
                    <a:pt x="296417" y="151383"/>
                  </a:lnTo>
                  <a:close/>
                  <a:moveTo>
                    <a:pt x="-1297432" y="5251703"/>
                  </a:moveTo>
                  <a:moveTo>
                    <a:pt x="282575" y="104394"/>
                  </a:moveTo>
                  <a:lnTo>
                    <a:pt x="282575" y="104394"/>
                  </a:lnTo>
                  <a:lnTo>
                    <a:pt x="285115" y="109727"/>
                  </a:lnTo>
                  <a:lnTo>
                    <a:pt x="287654" y="115188"/>
                  </a:lnTo>
                  <a:lnTo>
                    <a:pt x="261746" y="125349"/>
                  </a:lnTo>
                  <a:lnTo>
                    <a:pt x="260604" y="122555"/>
                  </a:lnTo>
                  <a:lnTo>
                    <a:pt x="259333" y="119888"/>
                  </a:lnTo>
                  <a:lnTo>
                    <a:pt x="257937" y="117220"/>
                  </a:lnTo>
                  <a:lnTo>
                    <a:pt x="256413" y="114553"/>
                  </a:lnTo>
                  <a:lnTo>
                    <a:pt x="282575" y="104394"/>
                  </a:lnTo>
                  <a:close/>
                  <a:moveTo>
                    <a:pt x="-1250443" y="5251703"/>
                  </a:moveTo>
                  <a:moveTo>
                    <a:pt x="249681" y="65277"/>
                  </a:moveTo>
                  <a:lnTo>
                    <a:pt x="249681" y="65277"/>
                  </a:lnTo>
                  <a:lnTo>
                    <a:pt x="254507" y="69342"/>
                  </a:lnTo>
                  <a:lnTo>
                    <a:pt x="258953" y="73406"/>
                  </a:lnTo>
                  <a:lnTo>
                    <a:pt x="239141" y="92456"/>
                  </a:lnTo>
                  <a:lnTo>
                    <a:pt x="236981" y="90296"/>
                  </a:lnTo>
                  <a:lnTo>
                    <a:pt x="234695" y="88264"/>
                  </a:lnTo>
                  <a:lnTo>
                    <a:pt x="232282" y="86359"/>
                  </a:lnTo>
                  <a:lnTo>
                    <a:pt x="229869" y="84582"/>
                  </a:lnTo>
                  <a:lnTo>
                    <a:pt x="249681" y="65277"/>
                  </a:lnTo>
                  <a:close/>
                  <a:moveTo>
                    <a:pt x="-1211326" y="5251703"/>
                  </a:moveTo>
                  <a:moveTo>
                    <a:pt x="206882" y="42799"/>
                  </a:moveTo>
                  <a:lnTo>
                    <a:pt x="206882" y="42799"/>
                  </a:lnTo>
                  <a:lnTo>
                    <a:pt x="212725" y="44703"/>
                  </a:lnTo>
                  <a:lnTo>
                    <a:pt x="218440" y="46989"/>
                  </a:lnTo>
                  <a:lnTo>
                    <a:pt x="207517" y="71755"/>
                  </a:lnTo>
                  <a:lnTo>
                    <a:pt x="204724" y="70612"/>
                  </a:lnTo>
                  <a:lnTo>
                    <a:pt x="201803" y="69595"/>
                  </a:lnTo>
                  <a:lnTo>
                    <a:pt x="198754" y="68580"/>
                  </a:lnTo>
                  <a:lnTo>
                    <a:pt x="195833" y="67690"/>
                  </a:lnTo>
                  <a:lnTo>
                    <a:pt x="206882" y="42799"/>
                  </a:lnTo>
                  <a:close/>
                  <a:moveTo>
                    <a:pt x="-1188848" y="5251703"/>
                  </a:moveTo>
                  <a:moveTo>
                    <a:pt x="156844" y="37464"/>
                  </a:moveTo>
                  <a:lnTo>
                    <a:pt x="156844" y="37464"/>
                  </a:lnTo>
                  <a:lnTo>
                    <a:pt x="162179" y="37083"/>
                  </a:lnTo>
                  <a:lnTo>
                    <a:pt x="167513" y="36957"/>
                  </a:lnTo>
                  <a:lnTo>
                    <a:pt x="169291" y="36957"/>
                  </a:lnTo>
                  <a:lnTo>
                    <a:pt x="169291" y="64007"/>
                  </a:lnTo>
                  <a:lnTo>
                    <a:pt x="167513" y="63753"/>
                  </a:lnTo>
                  <a:lnTo>
                    <a:pt x="162179" y="64007"/>
                  </a:lnTo>
                  <a:lnTo>
                    <a:pt x="156844" y="64388"/>
                  </a:lnTo>
                  <a:lnTo>
                    <a:pt x="156844" y="37464"/>
                  </a:lnTo>
                  <a:close/>
                  <a:moveTo>
                    <a:pt x="-1183513" y="5251703"/>
                  </a:moveTo>
                  <a:moveTo>
                    <a:pt x="111125" y="49530"/>
                  </a:moveTo>
                  <a:lnTo>
                    <a:pt x="111125" y="49530"/>
                  </a:lnTo>
                  <a:lnTo>
                    <a:pt x="116840" y="46989"/>
                  </a:lnTo>
                  <a:lnTo>
                    <a:pt x="122554" y="44703"/>
                  </a:lnTo>
                  <a:lnTo>
                    <a:pt x="133095" y="69723"/>
                  </a:lnTo>
                  <a:lnTo>
                    <a:pt x="130175" y="70865"/>
                  </a:lnTo>
                  <a:lnTo>
                    <a:pt x="127127" y="72008"/>
                  </a:lnTo>
                  <a:lnTo>
                    <a:pt x="124332" y="73151"/>
                  </a:lnTo>
                  <a:lnTo>
                    <a:pt x="121666" y="74549"/>
                  </a:lnTo>
                  <a:lnTo>
                    <a:pt x="111125" y="49530"/>
                  </a:lnTo>
                  <a:close/>
                  <a:moveTo>
                    <a:pt x="-1195579" y="5251703"/>
                  </a:moveTo>
                  <a:moveTo>
                    <a:pt x="71755" y="77850"/>
                  </a:moveTo>
                  <a:lnTo>
                    <a:pt x="71755" y="77850"/>
                  </a:lnTo>
                  <a:lnTo>
                    <a:pt x="76073" y="73532"/>
                  </a:lnTo>
                  <a:lnTo>
                    <a:pt x="80644" y="69469"/>
                  </a:lnTo>
                  <a:lnTo>
                    <a:pt x="100457" y="88519"/>
                  </a:lnTo>
                  <a:lnTo>
                    <a:pt x="98044" y="90550"/>
                  </a:lnTo>
                  <a:lnTo>
                    <a:pt x="95757" y="92582"/>
                  </a:lnTo>
                  <a:lnTo>
                    <a:pt x="93726" y="94614"/>
                  </a:lnTo>
                  <a:lnTo>
                    <a:pt x="91567" y="96900"/>
                  </a:lnTo>
                  <a:lnTo>
                    <a:pt x="71755" y="77850"/>
                  </a:lnTo>
                  <a:close/>
                  <a:moveTo>
                    <a:pt x="-1223899" y="5251703"/>
                  </a:moveTo>
                  <a:moveTo>
                    <a:pt x="38353" y="161417"/>
                  </a:moveTo>
                  <a:lnTo>
                    <a:pt x="38353" y="161417"/>
                  </a:lnTo>
                  <a:lnTo>
                    <a:pt x="38481" y="156337"/>
                  </a:lnTo>
                  <a:lnTo>
                    <a:pt x="38862" y="151383"/>
                  </a:lnTo>
                  <a:lnTo>
                    <a:pt x="66801" y="151383"/>
                  </a:lnTo>
                  <a:lnTo>
                    <a:pt x="66420" y="156337"/>
                  </a:lnTo>
                  <a:lnTo>
                    <a:pt x="66167" y="161417"/>
                  </a:lnTo>
                  <a:lnTo>
                    <a:pt x="66420" y="163321"/>
                  </a:lnTo>
                  <a:lnTo>
                    <a:pt x="38353" y="163321"/>
                  </a:lnTo>
                  <a:lnTo>
                    <a:pt x="38353" y="161417"/>
                  </a:lnTo>
                  <a:close/>
                  <a:moveTo>
                    <a:pt x="-1307466" y="5251703"/>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65" name="Freeform 1365"/>
            <p:cNvSpPr/>
            <p:nvPr/>
          </p:nvSpPr>
          <p:spPr>
            <a:xfrm>
              <a:off x="5404466" y="2399314"/>
              <a:ext cx="152321" cy="127948"/>
            </a:xfrm>
            <a:custGeom>
              <a:avLst/>
              <a:gdLst/>
              <a:ahLst/>
              <a:cxnLst/>
              <a:rect l="0" t="0" r="0" b="0"/>
              <a:pathLst>
                <a:path w="152400" h="128015">
                  <a:moveTo>
                    <a:pt x="76200" y="128015"/>
                  </a:moveTo>
                  <a:lnTo>
                    <a:pt x="76200" y="128015"/>
                  </a:lnTo>
                  <a:lnTo>
                    <a:pt x="67818" y="127127"/>
                  </a:lnTo>
                  <a:lnTo>
                    <a:pt x="60580" y="126238"/>
                  </a:lnTo>
                  <a:lnTo>
                    <a:pt x="53213" y="124459"/>
                  </a:lnTo>
                  <a:lnTo>
                    <a:pt x="45975" y="122808"/>
                  </a:lnTo>
                  <a:lnTo>
                    <a:pt x="39625" y="120141"/>
                  </a:lnTo>
                  <a:lnTo>
                    <a:pt x="33401" y="116585"/>
                  </a:lnTo>
                  <a:lnTo>
                    <a:pt x="27179" y="113157"/>
                  </a:lnTo>
                  <a:lnTo>
                    <a:pt x="21972" y="108712"/>
                  </a:lnTo>
                  <a:lnTo>
                    <a:pt x="17781" y="104394"/>
                  </a:lnTo>
                  <a:lnTo>
                    <a:pt x="12574" y="99948"/>
                  </a:lnTo>
                  <a:lnTo>
                    <a:pt x="9399" y="94741"/>
                  </a:lnTo>
                  <a:lnTo>
                    <a:pt x="6224" y="88519"/>
                  </a:lnTo>
                  <a:lnTo>
                    <a:pt x="3175" y="83312"/>
                  </a:lnTo>
                  <a:lnTo>
                    <a:pt x="1017" y="77215"/>
                  </a:lnTo>
                  <a:lnTo>
                    <a:pt x="0" y="70103"/>
                  </a:lnTo>
                  <a:lnTo>
                    <a:pt x="0" y="64008"/>
                  </a:lnTo>
                  <a:lnTo>
                    <a:pt x="0" y="57022"/>
                  </a:lnTo>
                  <a:lnTo>
                    <a:pt x="1017" y="50800"/>
                  </a:lnTo>
                  <a:lnTo>
                    <a:pt x="3175" y="44703"/>
                  </a:lnTo>
                  <a:lnTo>
                    <a:pt x="6224" y="39496"/>
                  </a:lnTo>
                  <a:lnTo>
                    <a:pt x="9399" y="33273"/>
                  </a:lnTo>
                  <a:lnTo>
                    <a:pt x="12574" y="28066"/>
                  </a:lnTo>
                  <a:lnTo>
                    <a:pt x="17781" y="23621"/>
                  </a:lnTo>
                  <a:lnTo>
                    <a:pt x="21972" y="18414"/>
                  </a:lnTo>
                  <a:lnTo>
                    <a:pt x="27179" y="14858"/>
                  </a:lnTo>
                  <a:lnTo>
                    <a:pt x="33401" y="11429"/>
                  </a:lnTo>
                  <a:lnTo>
                    <a:pt x="39625" y="7873"/>
                  </a:lnTo>
                  <a:lnTo>
                    <a:pt x="45975" y="5207"/>
                  </a:lnTo>
                  <a:lnTo>
                    <a:pt x="53213" y="2666"/>
                  </a:lnTo>
                  <a:lnTo>
                    <a:pt x="60580" y="1777"/>
                  </a:lnTo>
                  <a:lnTo>
                    <a:pt x="67818" y="0"/>
                  </a:lnTo>
                  <a:lnTo>
                    <a:pt x="76200" y="0"/>
                  </a:lnTo>
                  <a:lnTo>
                    <a:pt x="83567" y="0"/>
                  </a:lnTo>
                  <a:lnTo>
                    <a:pt x="90806" y="1777"/>
                  </a:lnTo>
                  <a:lnTo>
                    <a:pt x="98172" y="2666"/>
                  </a:lnTo>
                  <a:lnTo>
                    <a:pt x="105411" y="5207"/>
                  </a:lnTo>
                  <a:lnTo>
                    <a:pt x="111633" y="7873"/>
                  </a:lnTo>
                  <a:lnTo>
                    <a:pt x="117983" y="11429"/>
                  </a:lnTo>
                  <a:lnTo>
                    <a:pt x="124206" y="14858"/>
                  </a:lnTo>
                  <a:lnTo>
                    <a:pt x="129413" y="18414"/>
                  </a:lnTo>
                  <a:lnTo>
                    <a:pt x="134620" y="23621"/>
                  </a:lnTo>
                  <a:lnTo>
                    <a:pt x="138812" y="28066"/>
                  </a:lnTo>
                  <a:lnTo>
                    <a:pt x="143002" y="33273"/>
                  </a:lnTo>
                  <a:lnTo>
                    <a:pt x="146177" y="39496"/>
                  </a:lnTo>
                  <a:lnTo>
                    <a:pt x="148210" y="44703"/>
                  </a:lnTo>
                  <a:lnTo>
                    <a:pt x="150368" y="50800"/>
                  </a:lnTo>
                  <a:lnTo>
                    <a:pt x="151385" y="57022"/>
                  </a:lnTo>
                  <a:lnTo>
                    <a:pt x="152400" y="64008"/>
                  </a:lnTo>
                  <a:lnTo>
                    <a:pt x="151385" y="70103"/>
                  </a:lnTo>
                  <a:lnTo>
                    <a:pt x="150368" y="77215"/>
                  </a:lnTo>
                  <a:lnTo>
                    <a:pt x="148210" y="83312"/>
                  </a:lnTo>
                  <a:lnTo>
                    <a:pt x="146177" y="88519"/>
                  </a:lnTo>
                  <a:lnTo>
                    <a:pt x="143002" y="94741"/>
                  </a:lnTo>
                  <a:lnTo>
                    <a:pt x="138812" y="99948"/>
                  </a:lnTo>
                  <a:lnTo>
                    <a:pt x="134620" y="104394"/>
                  </a:lnTo>
                  <a:lnTo>
                    <a:pt x="129413" y="108712"/>
                  </a:lnTo>
                  <a:lnTo>
                    <a:pt x="124206" y="113157"/>
                  </a:lnTo>
                  <a:lnTo>
                    <a:pt x="117983" y="116585"/>
                  </a:lnTo>
                  <a:lnTo>
                    <a:pt x="111633" y="120141"/>
                  </a:lnTo>
                  <a:lnTo>
                    <a:pt x="105411" y="122808"/>
                  </a:lnTo>
                  <a:lnTo>
                    <a:pt x="98172" y="124459"/>
                  </a:lnTo>
                  <a:lnTo>
                    <a:pt x="90806" y="126238"/>
                  </a:lnTo>
                  <a:lnTo>
                    <a:pt x="83567" y="127127"/>
                  </a:lnTo>
                  <a:lnTo>
                    <a:pt x="76200" y="128015"/>
                  </a:lnTo>
                  <a:close/>
                  <a:moveTo>
                    <a:pt x="-1072895" y="4459223"/>
                  </a:moveTo>
                  <a:moveTo>
                    <a:pt x="76200" y="7873"/>
                  </a:moveTo>
                  <a:lnTo>
                    <a:pt x="76200" y="7873"/>
                  </a:lnTo>
                  <a:lnTo>
                    <a:pt x="68835" y="7873"/>
                  </a:lnTo>
                  <a:lnTo>
                    <a:pt x="62612" y="8763"/>
                  </a:lnTo>
                  <a:lnTo>
                    <a:pt x="56388" y="10540"/>
                  </a:lnTo>
                  <a:lnTo>
                    <a:pt x="50166" y="12319"/>
                  </a:lnTo>
                  <a:lnTo>
                    <a:pt x="43816" y="14858"/>
                  </a:lnTo>
                  <a:lnTo>
                    <a:pt x="38608" y="17526"/>
                  </a:lnTo>
                  <a:lnTo>
                    <a:pt x="29211" y="24510"/>
                  </a:lnTo>
                  <a:lnTo>
                    <a:pt x="20829" y="32384"/>
                  </a:lnTo>
                  <a:lnTo>
                    <a:pt x="17781" y="37719"/>
                  </a:lnTo>
                  <a:lnTo>
                    <a:pt x="14606" y="42037"/>
                  </a:lnTo>
                  <a:lnTo>
                    <a:pt x="12574" y="47370"/>
                  </a:lnTo>
                  <a:lnTo>
                    <a:pt x="10414" y="52577"/>
                  </a:lnTo>
                  <a:lnTo>
                    <a:pt x="9399" y="57912"/>
                  </a:lnTo>
                  <a:lnTo>
                    <a:pt x="9399" y="64008"/>
                  </a:lnTo>
                  <a:lnTo>
                    <a:pt x="9399" y="69214"/>
                  </a:lnTo>
                  <a:lnTo>
                    <a:pt x="10414" y="75438"/>
                  </a:lnTo>
                  <a:lnTo>
                    <a:pt x="12574" y="80645"/>
                  </a:lnTo>
                  <a:lnTo>
                    <a:pt x="14606" y="85978"/>
                  </a:lnTo>
                  <a:lnTo>
                    <a:pt x="17781" y="90296"/>
                  </a:lnTo>
                  <a:lnTo>
                    <a:pt x="20829" y="95631"/>
                  </a:lnTo>
                  <a:lnTo>
                    <a:pt x="29211" y="103504"/>
                  </a:lnTo>
                  <a:lnTo>
                    <a:pt x="38608" y="110489"/>
                  </a:lnTo>
                  <a:lnTo>
                    <a:pt x="43816" y="113157"/>
                  </a:lnTo>
                  <a:lnTo>
                    <a:pt x="50166" y="115696"/>
                  </a:lnTo>
                  <a:lnTo>
                    <a:pt x="56388" y="117475"/>
                  </a:lnTo>
                  <a:lnTo>
                    <a:pt x="62612" y="118364"/>
                  </a:lnTo>
                  <a:lnTo>
                    <a:pt x="68835" y="119252"/>
                  </a:lnTo>
                  <a:lnTo>
                    <a:pt x="76200" y="120141"/>
                  </a:lnTo>
                  <a:lnTo>
                    <a:pt x="82424" y="119252"/>
                  </a:lnTo>
                  <a:lnTo>
                    <a:pt x="89789" y="118364"/>
                  </a:lnTo>
                  <a:lnTo>
                    <a:pt x="96012" y="117475"/>
                  </a:lnTo>
                  <a:lnTo>
                    <a:pt x="102236" y="115696"/>
                  </a:lnTo>
                  <a:lnTo>
                    <a:pt x="107569" y="113157"/>
                  </a:lnTo>
                  <a:lnTo>
                    <a:pt x="112776" y="110489"/>
                  </a:lnTo>
                  <a:lnTo>
                    <a:pt x="123191" y="103504"/>
                  </a:lnTo>
                  <a:lnTo>
                    <a:pt x="131573" y="95631"/>
                  </a:lnTo>
                  <a:lnTo>
                    <a:pt x="134620" y="90296"/>
                  </a:lnTo>
                  <a:lnTo>
                    <a:pt x="137795" y="85978"/>
                  </a:lnTo>
                  <a:lnTo>
                    <a:pt x="139827" y="80645"/>
                  </a:lnTo>
                  <a:lnTo>
                    <a:pt x="140970" y="75438"/>
                  </a:lnTo>
                  <a:lnTo>
                    <a:pt x="141987" y="69214"/>
                  </a:lnTo>
                  <a:lnTo>
                    <a:pt x="143002" y="64008"/>
                  </a:lnTo>
                  <a:lnTo>
                    <a:pt x="141987" y="57912"/>
                  </a:lnTo>
                  <a:lnTo>
                    <a:pt x="140970" y="52577"/>
                  </a:lnTo>
                  <a:lnTo>
                    <a:pt x="139827" y="47370"/>
                  </a:lnTo>
                  <a:lnTo>
                    <a:pt x="137795" y="42037"/>
                  </a:lnTo>
                  <a:lnTo>
                    <a:pt x="134620" y="37719"/>
                  </a:lnTo>
                  <a:lnTo>
                    <a:pt x="131573" y="32384"/>
                  </a:lnTo>
                  <a:lnTo>
                    <a:pt x="123191" y="24510"/>
                  </a:lnTo>
                  <a:lnTo>
                    <a:pt x="112776" y="17526"/>
                  </a:lnTo>
                  <a:lnTo>
                    <a:pt x="107569" y="14858"/>
                  </a:lnTo>
                  <a:lnTo>
                    <a:pt x="102236" y="12319"/>
                  </a:lnTo>
                  <a:lnTo>
                    <a:pt x="96012" y="10540"/>
                  </a:lnTo>
                  <a:lnTo>
                    <a:pt x="89789" y="8763"/>
                  </a:lnTo>
                  <a:lnTo>
                    <a:pt x="82424" y="7873"/>
                  </a:lnTo>
                  <a:lnTo>
                    <a:pt x="76200" y="7873"/>
                  </a:lnTo>
                  <a:close/>
                  <a:moveTo>
                    <a:pt x="-952753" y="4459223"/>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66" name="Freeform 1366"/>
            <p:cNvSpPr/>
            <p:nvPr/>
          </p:nvSpPr>
          <p:spPr>
            <a:xfrm>
              <a:off x="5617716" y="2420637"/>
              <a:ext cx="97485" cy="85300"/>
            </a:xfrm>
            <a:custGeom>
              <a:avLst/>
              <a:gdLst/>
              <a:ahLst/>
              <a:cxnLst/>
              <a:rect l="0" t="0" r="0" b="0"/>
              <a:pathLst>
                <a:path w="97536" h="85344">
                  <a:moveTo>
                    <a:pt x="48768" y="85344"/>
                  </a:moveTo>
                  <a:lnTo>
                    <a:pt x="48768" y="85344"/>
                  </a:lnTo>
                  <a:lnTo>
                    <a:pt x="38607" y="84455"/>
                  </a:lnTo>
                  <a:lnTo>
                    <a:pt x="29464" y="81788"/>
                  </a:lnTo>
                  <a:lnTo>
                    <a:pt x="21336" y="78233"/>
                  </a:lnTo>
                  <a:lnTo>
                    <a:pt x="14224" y="72898"/>
                  </a:lnTo>
                  <a:lnTo>
                    <a:pt x="8127" y="66675"/>
                  </a:lnTo>
                  <a:lnTo>
                    <a:pt x="4064" y="59563"/>
                  </a:lnTo>
                  <a:lnTo>
                    <a:pt x="1015" y="51562"/>
                  </a:lnTo>
                  <a:lnTo>
                    <a:pt x="0" y="42673"/>
                  </a:lnTo>
                  <a:lnTo>
                    <a:pt x="1015" y="33783"/>
                  </a:lnTo>
                  <a:lnTo>
                    <a:pt x="4064" y="25781"/>
                  </a:lnTo>
                  <a:lnTo>
                    <a:pt x="8127" y="18669"/>
                  </a:lnTo>
                  <a:lnTo>
                    <a:pt x="14224" y="12447"/>
                  </a:lnTo>
                  <a:lnTo>
                    <a:pt x="21336" y="7112"/>
                  </a:lnTo>
                  <a:lnTo>
                    <a:pt x="29464" y="3556"/>
                  </a:lnTo>
                  <a:lnTo>
                    <a:pt x="38607" y="890"/>
                  </a:lnTo>
                  <a:lnTo>
                    <a:pt x="48768" y="0"/>
                  </a:lnTo>
                  <a:lnTo>
                    <a:pt x="58927" y="890"/>
                  </a:lnTo>
                  <a:lnTo>
                    <a:pt x="68071" y="3556"/>
                  </a:lnTo>
                  <a:lnTo>
                    <a:pt x="76200" y="7112"/>
                  </a:lnTo>
                  <a:lnTo>
                    <a:pt x="83312" y="12447"/>
                  </a:lnTo>
                  <a:lnTo>
                    <a:pt x="89407" y="18669"/>
                  </a:lnTo>
                  <a:lnTo>
                    <a:pt x="93471" y="25781"/>
                  </a:lnTo>
                  <a:lnTo>
                    <a:pt x="96520" y="33783"/>
                  </a:lnTo>
                  <a:lnTo>
                    <a:pt x="97536" y="42673"/>
                  </a:lnTo>
                  <a:lnTo>
                    <a:pt x="96520" y="51562"/>
                  </a:lnTo>
                  <a:lnTo>
                    <a:pt x="93471" y="59563"/>
                  </a:lnTo>
                  <a:lnTo>
                    <a:pt x="89407" y="66675"/>
                  </a:lnTo>
                  <a:lnTo>
                    <a:pt x="83312" y="72898"/>
                  </a:lnTo>
                  <a:lnTo>
                    <a:pt x="76200" y="78233"/>
                  </a:lnTo>
                  <a:lnTo>
                    <a:pt x="68071" y="81788"/>
                  </a:lnTo>
                  <a:lnTo>
                    <a:pt x="58927" y="84455"/>
                  </a:lnTo>
                  <a:lnTo>
                    <a:pt x="48768" y="85344"/>
                  </a:lnTo>
                  <a:close/>
                  <a:moveTo>
                    <a:pt x="-1264920" y="4437888"/>
                  </a:moveTo>
                  <a:moveTo>
                    <a:pt x="48768" y="8002"/>
                  </a:moveTo>
                  <a:lnTo>
                    <a:pt x="48768" y="8002"/>
                  </a:lnTo>
                  <a:lnTo>
                    <a:pt x="40639" y="8891"/>
                  </a:lnTo>
                  <a:lnTo>
                    <a:pt x="33527" y="10668"/>
                  </a:lnTo>
                  <a:lnTo>
                    <a:pt x="26415" y="14224"/>
                  </a:lnTo>
                  <a:lnTo>
                    <a:pt x="21336" y="17780"/>
                  </a:lnTo>
                  <a:lnTo>
                    <a:pt x="16256" y="23115"/>
                  </a:lnTo>
                  <a:lnTo>
                    <a:pt x="12191" y="29337"/>
                  </a:lnTo>
                  <a:lnTo>
                    <a:pt x="10159" y="35560"/>
                  </a:lnTo>
                  <a:lnTo>
                    <a:pt x="9144" y="42673"/>
                  </a:lnTo>
                  <a:lnTo>
                    <a:pt x="10159" y="49785"/>
                  </a:lnTo>
                  <a:lnTo>
                    <a:pt x="12191" y="56008"/>
                  </a:lnTo>
                  <a:lnTo>
                    <a:pt x="16256" y="62230"/>
                  </a:lnTo>
                  <a:lnTo>
                    <a:pt x="21336" y="66675"/>
                  </a:lnTo>
                  <a:lnTo>
                    <a:pt x="26415" y="71121"/>
                  </a:lnTo>
                  <a:lnTo>
                    <a:pt x="33527" y="74677"/>
                  </a:lnTo>
                  <a:lnTo>
                    <a:pt x="40639" y="76454"/>
                  </a:lnTo>
                  <a:lnTo>
                    <a:pt x="48768" y="77343"/>
                  </a:lnTo>
                  <a:lnTo>
                    <a:pt x="56895" y="76454"/>
                  </a:lnTo>
                  <a:lnTo>
                    <a:pt x="64007" y="74677"/>
                  </a:lnTo>
                  <a:lnTo>
                    <a:pt x="71120" y="71121"/>
                  </a:lnTo>
                  <a:lnTo>
                    <a:pt x="77215" y="66675"/>
                  </a:lnTo>
                  <a:lnTo>
                    <a:pt x="81280" y="62230"/>
                  </a:lnTo>
                  <a:lnTo>
                    <a:pt x="85344" y="56008"/>
                  </a:lnTo>
                  <a:lnTo>
                    <a:pt x="87376" y="49785"/>
                  </a:lnTo>
                  <a:lnTo>
                    <a:pt x="88391" y="42673"/>
                  </a:lnTo>
                  <a:lnTo>
                    <a:pt x="87376" y="35560"/>
                  </a:lnTo>
                  <a:lnTo>
                    <a:pt x="85344" y="29337"/>
                  </a:lnTo>
                  <a:lnTo>
                    <a:pt x="81280" y="23115"/>
                  </a:lnTo>
                  <a:lnTo>
                    <a:pt x="77215" y="17780"/>
                  </a:lnTo>
                  <a:lnTo>
                    <a:pt x="71120" y="14224"/>
                  </a:lnTo>
                  <a:lnTo>
                    <a:pt x="64007" y="10668"/>
                  </a:lnTo>
                  <a:lnTo>
                    <a:pt x="56895" y="8891"/>
                  </a:lnTo>
                  <a:lnTo>
                    <a:pt x="48768" y="8002"/>
                  </a:lnTo>
                  <a:close/>
                  <a:moveTo>
                    <a:pt x="-1187578" y="4437888"/>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67" name="Freeform 1367"/>
            <p:cNvSpPr/>
            <p:nvPr/>
          </p:nvSpPr>
          <p:spPr>
            <a:xfrm>
              <a:off x="5547648" y="2274412"/>
              <a:ext cx="70069" cy="60927"/>
            </a:xfrm>
            <a:custGeom>
              <a:avLst/>
              <a:gdLst/>
              <a:ahLst/>
              <a:cxnLst/>
              <a:rect l="0" t="0" r="0" b="0"/>
              <a:pathLst>
                <a:path w="70105" h="60959">
                  <a:moveTo>
                    <a:pt x="35052" y="60959"/>
                  </a:moveTo>
                  <a:lnTo>
                    <a:pt x="35052" y="60959"/>
                  </a:lnTo>
                  <a:lnTo>
                    <a:pt x="28068" y="60070"/>
                  </a:lnTo>
                  <a:lnTo>
                    <a:pt x="21971" y="58293"/>
                  </a:lnTo>
                  <a:lnTo>
                    <a:pt x="16002" y="55752"/>
                  </a:lnTo>
                  <a:lnTo>
                    <a:pt x="11050" y="52196"/>
                  </a:lnTo>
                  <a:lnTo>
                    <a:pt x="5969" y="46989"/>
                  </a:lnTo>
                  <a:lnTo>
                    <a:pt x="3049" y="41782"/>
                  </a:lnTo>
                  <a:lnTo>
                    <a:pt x="1017" y="36576"/>
                  </a:lnTo>
                  <a:lnTo>
                    <a:pt x="0" y="30480"/>
                  </a:lnTo>
                  <a:lnTo>
                    <a:pt x="1017" y="24383"/>
                  </a:lnTo>
                  <a:lnTo>
                    <a:pt x="3049" y="18288"/>
                  </a:lnTo>
                  <a:lnTo>
                    <a:pt x="5969" y="13081"/>
                  </a:lnTo>
                  <a:lnTo>
                    <a:pt x="11050" y="8763"/>
                  </a:lnTo>
                  <a:lnTo>
                    <a:pt x="16002" y="5207"/>
                  </a:lnTo>
                  <a:lnTo>
                    <a:pt x="21971" y="1777"/>
                  </a:lnTo>
                  <a:lnTo>
                    <a:pt x="28068" y="0"/>
                  </a:lnTo>
                  <a:lnTo>
                    <a:pt x="35052" y="0"/>
                  </a:lnTo>
                  <a:lnTo>
                    <a:pt x="42037" y="0"/>
                  </a:lnTo>
                  <a:lnTo>
                    <a:pt x="49023" y="1777"/>
                  </a:lnTo>
                  <a:lnTo>
                    <a:pt x="55119" y="5207"/>
                  </a:lnTo>
                  <a:lnTo>
                    <a:pt x="60071" y="8763"/>
                  </a:lnTo>
                  <a:lnTo>
                    <a:pt x="64136" y="13081"/>
                  </a:lnTo>
                  <a:lnTo>
                    <a:pt x="68073" y="18288"/>
                  </a:lnTo>
                  <a:lnTo>
                    <a:pt x="70105" y="24383"/>
                  </a:lnTo>
                  <a:lnTo>
                    <a:pt x="70105" y="30480"/>
                  </a:lnTo>
                  <a:lnTo>
                    <a:pt x="70105" y="36576"/>
                  </a:lnTo>
                  <a:lnTo>
                    <a:pt x="68073" y="41782"/>
                  </a:lnTo>
                  <a:lnTo>
                    <a:pt x="64136" y="46989"/>
                  </a:lnTo>
                  <a:lnTo>
                    <a:pt x="60071" y="52196"/>
                  </a:lnTo>
                  <a:lnTo>
                    <a:pt x="55119" y="55752"/>
                  </a:lnTo>
                  <a:lnTo>
                    <a:pt x="49023" y="58293"/>
                  </a:lnTo>
                  <a:lnTo>
                    <a:pt x="42037" y="60070"/>
                  </a:lnTo>
                  <a:lnTo>
                    <a:pt x="35052" y="60959"/>
                  </a:lnTo>
                  <a:close/>
                  <a:moveTo>
                    <a:pt x="-1024127" y="4584191"/>
                  </a:moveTo>
                  <a:moveTo>
                    <a:pt x="35052" y="7874"/>
                  </a:moveTo>
                  <a:lnTo>
                    <a:pt x="35052" y="7874"/>
                  </a:lnTo>
                  <a:lnTo>
                    <a:pt x="30100" y="7874"/>
                  </a:lnTo>
                  <a:lnTo>
                    <a:pt x="25019" y="9525"/>
                  </a:lnTo>
                  <a:lnTo>
                    <a:pt x="21082" y="11302"/>
                  </a:lnTo>
                  <a:lnTo>
                    <a:pt x="17019" y="13970"/>
                  </a:lnTo>
                  <a:lnTo>
                    <a:pt x="13970" y="17399"/>
                  </a:lnTo>
                  <a:lnTo>
                    <a:pt x="11050" y="21716"/>
                  </a:lnTo>
                  <a:lnTo>
                    <a:pt x="10033" y="26162"/>
                  </a:lnTo>
                  <a:lnTo>
                    <a:pt x="9018" y="30480"/>
                  </a:lnTo>
                  <a:lnTo>
                    <a:pt x="10033" y="34797"/>
                  </a:lnTo>
                  <a:lnTo>
                    <a:pt x="11050" y="39243"/>
                  </a:lnTo>
                  <a:lnTo>
                    <a:pt x="13970" y="42671"/>
                  </a:lnTo>
                  <a:lnTo>
                    <a:pt x="17019" y="46101"/>
                  </a:lnTo>
                  <a:lnTo>
                    <a:pt x="21082" y="48768"/>
                  </a:lnTo>
                  <a:lnTo>
                    <a:pt x="25019" y="51434"/>
                  </a:lnTo>
                  <a:lnTo>
                    <a:pt x="30100" y="52196"/>
                  </a:lnTo>
                  <a:lnTo>
                    <a:pt x="35052" y="53086"/>
                  </a:lnTo>
                  <a:lnTo>
                    <a:pt x="41021" y="52196"/>
                  </a:lnTo>
                  <a:lnTo>
                    <a:pt x="45086" y="51434"/>
                  </a:lnTo>
                  <a:lnTo>
                    <a:pt x="50038" y="48768"/>
                  </a:lnTo>
                  <a:lnTo>
                    <a:pt x="54102" y="46101"/>
                  </a:lnTo>
                  <a:lnTo>
                    <a:pt x="57024" y="42671"/>
                  </a:lnTo>
                  <a:lnTo>
                    <a:pt x="59056" y="39243"/>
                  </a:lnTo>
                  <a:lnTo>
                    <a:pt x="61087" y="34797"/>
                  </a:lnTo>
                  <a:lnTo>
                    <a:pt x="61087" y="30480"/>
                  </a:lnTo>
                  <a:lnTo>
                    <a:pt x="61087" y="26162"/>
                  </a:lnTo>
                  <a:lnTo>
                    <a:pt x="59056" y="21716"/>
                  </a:lnTo>
                  <a:lnTo>
                    <a:pt x="57024" y="17399"/>
                  </a:lnTo>
                  <a:lnTo>
                    <a:pt x="54102" y="13970"/>
                  </a:lnTo>
                  <a:lnTo>
                    <a:pt x="50038" y="11302"/>
                  </a:lnTo>
                  <a:lnTo>
                    <a:pt x="45086" y="9525"/>
                  </a:lnTo>
                  <a:lnTo>
                    <a:pt x="41021" y="7874"/>
                  </a:lnTo>
                  <a:lnTo>
                    <a:pt x="35052" y="7874"/>
                  </a:lnTo>
                  <a:close/>
                  <a:moveTo>
                    <a:pt x="-971042" y="4584191"/>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68" name="Freeform 1368"/>
            <p:cNvSpPr/>
            <p:nvPr/>
          </p:nvSpPr>
          <p:spPr>
            <a:xfrm>
              <a:off x="5313075" y="2557726"/>
              <a:ext cx="91391" cy="79208"/>
            </a:xfrm>
            <a:custGeom>
              <a:avLst/>
              <a:gdLst/>
              <a:ahLst/>
              <a:cxnLst/>
              <a:rect l="0" t="0" r="0" b="0"/>
              <a:pathLst>
                <a:path w="91439" h="79249">
                  <a:moveTo>
                    <a:pt x="45720" y="79249"/>
                  </a:moveTo>
                  <a:lnTo>
                    <a:pt x="45720" y="79249"/>
                  </a:lnTo>
                  <a:lnTo>
                    <a:pt x="36321" y="78359"/>
                  </a:lnTo>
                  <a:lnTo>
                    <a:pt x="28066" y="75565"/>
                  </a:lnTo>
                  <a:lnTo>
                    <a:pt x="19684" y="72009"/>
                  </a:lnTo>
                  <a:lnTo>
                    <a:pt x="13462" y="67438"/>
                  </a:lnTo>
                  <a:lnTo>
                    <a:pt x="8255" y="61976"/>
                  </a:lnTo>
                  <a:lnTo>
                    <a:pt x="4190" y="54611"/>
                  </a:lnTo>
                  <a:lnTo>
                    <a:pt x="1015" y="47371"/>
                  </a:lnTo>
                  <a:lnTo>
                    <a:pt x="0" y="39117"/>
                  </a:lnTo>
                  <a:lnTo>
                    <a:pt x="1015" y="30988"/>
                  </a:lnTo>
                  <a:lnTo>
                    <a:pt x="4190" y="23623"/>
                  </a:lnTo>
                  <a:lnTo>
                    <a:pt x="8255" y="17273"/>
                  </a:lnTo>
                  <a:lnTo>
                    <a:pt x="13462" y="10923"/>
                  </a:lnTo>
                  <a:lnTo>
                    <a:pt x="19684" y="6350"/>
                  </a:lnTo>
                  <a:lnTo>
                    <a:pt x="28066" y="2794"/>
                  </a:lnTo>
                  <a:lnTo>
                    <a:pt x="36321" y="0"/>
                  </a:lnTo>
                  <a:lnTo>
                    <a:pt x="45720" y="0"/>
                  </a:lnTo>
                  <a:lnTo>
                    <a:pt x="55118" y="0"/>
                  </a:lnTo>
                  <a:lnTo>
                    <a:pt x="63372" y="2794"/>
                  </a:lnTo>
                  <a:lnTo>
                    <a:pt x="70612" y="6350"/>
                  </a:lnTo>
                  <a:lnTo>
                    <a:pt x="77977" y="10923"/>
                  </a:lnTo>
                  <a:lnTo>
                    <a:pt x="83184" y="17273"/>
                  </a:lnTo>
                  <a:lnTo>
                    <a:pt x="87249" y="23623"/>
                  </a:lnTo>
                  <a:lnTo>
                    <a:pt x="90424" y="30988"/>
                  </a:lnTo>
                  <a:lnTo>
                    <a:pt x="91439" y="39117"/>
                  </a:lnTo>
                  <a:lnTo>
                    <a:pt x="90424" y="47371"/>
                  </a:lnTo>
                  <a:lnTo>
                    <a:pt x="87249" y="54611"/>
                  </a:lnTo>
                  <a:lnTo>
                    <a:pt x="83184" y="61976"/>
                  </a:lnTo>
                  <a:lnTo>
                    <a:pt x="77977" y="67438"/>
                  </a:lnTo>
                  <a:lnTo>
                    <a:pt x="70612" y="72009"/>
                  </a:lnTo>
                  <a:lnTo>
                    <a:pt x="63372" y="75565"/>
                  </a:lnTo>
                  <a:lnTo>
                    <a:pt x="55118" y="78359"/>
                  </a:lnTo>
                  <a:lnTo>
                    <a:pt x="45720" y="79249"/>
                  </a:lnTo>
                  <a:close/>
                  <a:moveTo>
                    <a:pt x="-1091185" y="4300728"/>
                  </a:moveTo>
                  <a:moveTo>
                    <a:pt x="45720" y="8256"/>
                  </a:moveTo>
                  <a:lnTo>
                    <a:pt x="45720" y="8256"/>
                  </a:lnTo>
                  <a:lnTo>
                    <a:pt x="38481" y="8256"/>
                  </a:lnTo>
                  <a:lnTo>
                    <a:pt x="31114" y="10033"/>
                  </a:lnTo>
                  <a:lnTo>
                    <a:pt x="26034" y="12700"/>
                  </a:lnTo>
                  <a:lnTo>
                    <a:pt x="19684" y="17273"/>
                  </a:lnTo>
                  <a:lnTo>
                    <a:pt x="15620" y="21844"/>
                  </a:lnTo>
                  <a:lnTo>
                    <a:pt x="12445" y="27306"/>
                  </a:lnTo>
                  <a:lnTo>
                    <a:pt x="10414" y="32767"/>
                  </a:lnTo>
                  <a:lnTo>
                    <a:pt x="9397" y="39117"/>
                  </a:lnTo>
                  <a:lnTo>
                    <a:pt x="10414" y="45594"/>
                  </a:lnTo>
                  <a:lnTo>
                    <a:pt x="12445" y="51944"/>
                  </a:lnTo>
                  <a:lnTo>
                    <a:pt x="15620" y="57405"/>
                  </a:lnTo>
                  <a:lnTo>
                    <a:pt x="19684" y="61976"/>
                  </a:lnTo>
                  <a:lnTo>
                    <a:pt x="26034" y="65532"/>
                  </a:lnTo>
                  <a:lnTo>
                    <a:pt x="31114" y="68326"/>
                  </a:lnTo>
                  <a:lnTo>
                    <a:pt x="38481" y="70105"/>
                  </a:lnTo>
                  <a:lnTo>
                    <a:pt x="45720" y="70994"/>
                  </a:lnTo>
                  <a:lnTo>
                    <a:pt x="52958" y="70105"/>
                  </a:lnTo>
                  <a:lnTo>
                    <a:pt x="59182" y="68326"/>
                  </a:lnTo>
                  <a:lnTo>
                    <a:pt x="65405" y="65532"/>
                  </a:lnTo>
                  <a:lnTo>
                    <a:pt x="70612" y="61976"/>
                  </a:lnTo>
                  <a:lnTo>
                    <a:pt x="75819" y="57405"/>
                  </a:lnTo>
                  <a:lnTo>
                    <a:pt x="78994" y="51944"/>
                  </a:lnTo>
                  <a:lnTo>
                    <a:pt x="81026" y="45594"/>
                  </a:lnTo>
                  <a:lnTo>
                    <a:pt x="82041" y="39117"/>
                  </a:lnTo>
                  <a:lnTo>
                    <a:pt x="81026" y="32767"/>
                  </a:lnTo>
                  <a:lnTo>
                    <a:pt x="78994" y="27306"/>
                  </a:lnTo>
                  <a:lnTo>
                    <a:pt x="75819" y="21844"/>
                  </a:lnTo>
                  <a:lnTo>
                    <a:pt x="70612" y="17273"/>
                  </a:lnTo>
                  <a:lnTo>
                    <a:pt x="65405" y="12700"/>
                  </a:lnTo>
                  <a:lnTo>
                    <a:pt x="59182" y="10033"/>
                  </a:lnTo>
                  <a:lnTo>
                    <a:pt x="52958" y="8256"/>
                  </a:lnTo>
                  <a:lnTo>
                    <a:pt x="45720" y="8256"/>
                  </a:lnTo>
                  <a:close/>
                  <a:moveTo>
                    <a:pt x="-1020192" y="4300728"/>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69" name="Freeform 1369"/>
            <p:cNvSpPr/>
            <p:nvPr/>
          </p:nvSpPr>
          <p:spPr>
            <a:xfrm>
              <a:off x="5279563" y="2347524"/>
              <a:ext cx="73115" cy="63975"/>
            </a:xfrm>
            <a:custGeom>
              <a:avLst/>
              <a:gdLst/>
              <a:ahLst/>
              <a:cxnLst/>
              <a:rect l="0" t="0" r="0" b="0"/>
              <a:pathLst>
                <a:path w="73153" h="64008">
                  <a:moveTo>
                    <a:pt x="36576" y="64008"/>
                  </a:moveTo>
                  <a:lnTo>
                    <a:pt x="36576" y="64008"/>
                  </a:lnTo>
                  <a:lnTo>
                    <a:pt x="29211" y="63119"/>
                  </a:lnTo>
                  <a:lnTo>
                    <a:pt x="21972" y="61214"/>
                  </a:lnTo>
                  <a:lnTo>
                    <a:pt x="15622" y="58548"/>
                  </a:lnTo>
                  <a:lnTo>
                    <a:pt x="10415" y="53975"/>
                  </a:lnTo>
                  <a:lnTo>
                    <a:pt x="6224" y="49404"/>
                  </a:lnTo>
                  <a:lnTo>
                    <a:pt x="2032" y="43943"/>
                  </a:lnTo>
                  <a:lnTo>
                    <a:pt x="0" y="38355"/>
                  </a:lnTo>
                  <a:lnTo>
                    <a:pt x="0" y="32005"/>
                  </a:lnTo>
                  <a:lnTo>
                    <a:pt x="0" y="25655"/>
                  </a:lnTo>
                  <a:lnTo>
                    <a:pt x="2032" y="19177"/>
                  </a:lnTo>
                  <a:lnTo>
                    <a:pt x="6224" y="13717"/>
                  </a:lnTo>
                  <a:lnTo>
                    <a:pt x="10415" y="9144"/>
                  </a:lnTo>
                  <a:lnTo>
                    <a:pt x="15622" y="5462"/>
                  </a:lnTo>
                  <a:lnTo>
                    <a:pt x="21972" y="1779"/>
                  </a:lnTo>
                  <a:lnTo>
                    <a:pt x="29211" y="0"/>
                  </a:lnTo>
                  <a:lnTo>
                    <a:pt x="36576" y="0"/>
                  </a:lnTo>
                  <a:lnTo>
                    <a:pt x="43943" y="0"/>
                  </a:lnTo>
                  <a:lnTo>
                    <a:pt x="50166" y="1779"/>
                  </a:lnTo>
                  <a:lnTo>
                    <a:pt x="56388" y="5462"/>
                  </a:lnTo>
                  <a:lnTo>
                    <a:pt x="62738" y="9144"/>
                  </a:lnTo>
                  <a:lnTo>
                    <a:pt x="66930" y="13717"/>
                  </a:lnTo>
                  <a:lnTo>
                    <a:pt x="69978" y="19177"/>
                  </a:lnTo>
                  <a:lnTo>
                    <a:pt x="72136" y="25655"/>
                  </a:lnTo>
                  <a:lnTo>
                    <a:pt x="73153" y="32005"/>
                  </a:lnTo>
                  <a:lnTo>
                    <a:pt x="72136" y="38355"/>
                  </a:lnTo>
                  <a:lnTo>
                    <a:pt x="69978" y="43943"/>
                  </a:lnTo>
                  <a:lnTo>
                    <a:pt x="66930" y="49404"/>
                  </a:lnTo>
                  <a:lnTo>
                    <a:pt x="62738" y="53975"/>
                  </a:lnTo>
                  <a:lnTo>
                    <a:pt x="56388" y="58548"/>
                  </a:lnTo>
                  <a:lnTo>
                    <a:pt x="50166" y="61214"/>
                  </a:lnTo>
                  <a:lnTo>
                    <a:pt x="43943" y="63119"/>
                  </a:lnTo>
                  <a:lnTo>
                    <a:pt x="36576" y="64008"/>
                  </a:lnTo>
                  <a:close/>
                  <a:moveTo>
                    <a:pt x="-832103" y="4511040"/>
                  </a:moveTo>
                  <a:moveTo>
                    <a:pt x="36576" y="8256"/>
                  </a:moveTo>
                  <a:lnTo>
                    <a:pt x="36576" y="8256"/>
                  </a:lnTo>
                  <a:lnTo>
                    <a:pt x="31369" y="8256"/>
                  </a:lnTo>
                  <a:lnTo>
                    <a:pt x="26162" y="10033"/>
                  </a:lnTo>
                  <a:lnTo>
                    <a:pt x="20955" y="11938"/>
                  </a:lnTo>
                  <a:lnTo>
                    <a:pt x="16765" y="14606"/>
                  </a:lnTo>
                  <a:lnTo>
                    <a:pt x="13590" y="18288"/>
                  </a:lnTo>
                  <a:lnTo>
                    <a:pt x="11557" y="21971"/>
                  </a:lnTo>
                  <a:lnTo>
                    <a:pt x="9399" y="26544"/>
                  </a:lnTo>
                  <a:lnTo>
                    <a:pt x="9399" y="32005"/>
                  </a:lnTo>
                  <a:lnTo>
                    <a:pt x="9399" y="36576"/>
                  </a:lnTo>
                  <a:lnTo>
                    <a:pt x="11557" y="41149"/>
                  </a:lnTo>
                  <a:lnTo>
                    <a:pt x="13590" y="44831"/>
                  </a:lnTo>
                  <a:lnTo>
                    <a:pt x="16765" y="48514"/>
                  </a:lnTo>
                  <a:lnTo>
                    <a:pt x="20955" y="51181"/>
                  </a:lnTo>
                  <a:lnTo>
                    <a:pt x="26162" y="53975"/>
                  </a:lnTo>
                  <a:lnTo>
                    <a:pt x="31369" y="54864"/>
                  </a:lnTo>
                  <a:lnTo>
                    <a:pt x="36576" y="55754"/>
                  </a:lnTo>
                  <a:lnTo>
                    <a:pt x="41784" y="54864"/>
                  </a:lnTo>
                  <a:lnTo>
                    <a:pt x="46991" y="53975"/>
                  </a:lnTo>
                  <a:lnTo>
                    <a:pt x="51181" y="51181"/>
                  </a:lnTo>
                  <a:lnTo>
                    <a:pt x="55373" y="48514"/>
                  </a:lnTo>
                  <a:lnTo>
                    <a:pt x="58548" y="44831"/>
                  </a:lnTo>
                  <a:lnTo>
                    <a:pt x="61595" y="41149"/>
                  </a:lnTo>
                  <a:lnTo>
                    <a:pt x="62738" y="36576"/>
                  </a:lnTo>
                  <a:lnTo>
                    <a:pt x="63755" y="32005"/>
                  </a:lnTo>
                  <a:lnTo>
                    <a:pt x="62738" y="26544"/>
                  </a:lnTo>
                  <a:lnTo>
                    <a:pt x="61595" y="21971"/>
                  </a:lnTo>
                  <a:lnTo>
                    <a:pt x="58548" y="18288"/>
                  </a:lnTo>
                  <a:lnTo>
                    <a:pt x="55373" y="14606"/>
                  </a:lnTo>
                  <a:lnTo>
                    <a:pt x="51181" y="11938"/>
                  </a:lnTo>
                  <a:lnTo>
                    <a:pt x="46991" y="10033"/>
                  </a:lnTo>
                  <a:lnTo>
                    <a:pt x="41784" y="8256"/>
                  </a:lnTo>
                  <a:lnTo>
                    <a:pt x="36576" y="8256"/>
                  </a:lnTo>
                  <a:close/>
                  <a:moveTo>
                    <a:pt x="-776351" y="4511040"/>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70" name="Freeform 1370"/>
            <p:cNvSpPr/>
            <p:nvPr/>
          </p:nvSpPr>
          <p:spPr>
            <a:xfrm>
              <a:off x="5547647" y="2457196"/>
              <a:ext cx="79207" cy="9139"/>
            </a:xfrm>
            <a:custGeom>
              <a:avLst/>
              <a:gdLst/>
              <a:ahLst/>
              <a:cxnLst/>
              <a:rect l="0" t="0" r="0" b="0"/>
              <a:pathLst>
                <a:path w="79248" h="9144">
                  <a:moveTo>
                    <a:pt x="0" y="9144"/>
                  </a:moveTo>
                  <a:lnTo>
                    <a:pt x="79248" y="9144"/>
                  </a:lnTo>
                  <a:lnTo>
                    <a:pt x="79248" y="0"/>
                  </a:lnTo>
                  <a:lnTo>
                    <a:pt x="0" y="0"/>
                  </a:lnTo>
                  <a:lnTo>
                    <a:pt x="0" y="9144"/>
                  </a:lnTo>
                  <a:close/>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71" name="Freeform 1371"/>
            <p:cNvSpPr/>
            <p:nvPr/>
          </p:nvSpPr>
          <p:spPr>
            <a:xfrm>
              <a:off x="5504999" y="2326198"/>
              <a:ext cx="70067" cy="85300"/>
            </a:xfrm>
            <a:custGeom>
              <a:avLst/>
              <a:gdLst/>
              <a:ahLst/>
              <a:cxnLst/>
              <a:rect l="0" t="0" r="0" b="0"/>
              <a:pathLst>
                <a:path w="70103" h="85344">
                  <a:moveTo>
                    <a:pt x="7365" y="85344"/>
                  </a:moveTo>
                  <a:lnTo>
                    <a:pt x="0" y="80899"/>
                  </a:lnTo>
                  <a:lnTo>
                    <a:pt x="61721" y="0"/>
                  </a:lnTo>
                  <a:lnTo>
                    <a:pt x="70103" y="3556"/>
                  </a:lnTo>
                  <a:lnTo>
                    <a:pt x="7365" y="85344"/>
                  </a:lnTo>
                  <a:close/>
                  <a:moveTo>
                    <a:pt x="-1057656" y="4532376"/>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72" name="Freeform 1372"/>
            <p:cNvSpPr/>
            <p:nvPr/>
          </p:nvSpPr>
          <p:spPr>
            <a:xfrm>
              <a:off x="5340491" y="2390174"/>
              <a:ext cx="85300" cy="48742"/>
            </a:xfrm>
            <a:custGeom>
              <a:avLst/>
              <a:gdLst/>
              <a:ahLst/>
              <a:cxnLst/>
              <a:rect l="0" t="0" r="0" b="0"/>
              <a:pathLst>
                <a:path w="85344" h="48767">
                  <a:moveTo>
                    <a:pt x="80263" y="48767"/>
                  </a:moveTo>
                  <a:lnTo>
                    <a:pt x="0" y="6350"/>
                  </a:lnTo>
                  <a:lnTo>
                    <a:pt x="5080" y="0"/>
                  </a:lnTo>
                  <a:lnTo>
                    <a:pt x="85344" y="41528"/>
                  </a:lnTo>
                  <a:lnTo>
                    <a:pt x="80263" y="48767"/>
                  </a:lnTo>
                  <a:close/>
                  <a:moveTo>
                    <a:pt x="-920496" y="4468367"/>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73" name="Freeform 1373"/>
            <p:cNvSpPr/>
            <p:nvPr/>
          </p:nvSpPr>
          <p:spPr>
            <a:xfrm>
              <a:off x="5374002" y="2505938"/>
              <a:ext cx="67021" cy="67021"/>
            </a:xfrm>
            <a:custGeom>
              <a:avLst/>
              <a:gdLst/>
              <a:ahLst/>
              <a:cxnLst/>
              <a:rect l="0" t="0" r="0" b="0"/>
              <a:pathLst>
                <a:path w="67056" h="67056">
                  <a:moveTo>
                    <a:pt x="7493" y="67056"/>
                  </a:moveTo>
                  <a:lnTo>
                    <a:pt x="0" y="61723"/>
                  </a:lnTo>
                  <a:lnTo>
                    <a:pt x="59563" y="0"/>
                  </a:lnTo>
                  <a:lnTo>
                    <a:pt x="67056" y="5335"/>
                  </a:lnTo>
                  <a:lnTo>
                    <a:pt x="7493" y="67056"/>
                  </a:lnTo>
                  <a:close/>
                  <a:moveTo>
                    <a:pt x="-1088135" y="4352544"/>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74" name="Freeform 1374"/>
            <p:cNvSpPr/>
            <p:nvPr/>
          </p:nvSpPr>
          <p:spPr>
            <a:xfrm>
              <a:off x="5532416" y="2572959"/>
              <a:ext cx="63975" cy="54836"/>
            </a:xfrm>
            <a:custGeom>
              <a:avLst/>
              <a:gdLst/>
              <a:ahLst/>
              <a:cxnLst/>
              <a:rect l="0" t="0" r="0" b="0"/>
              <a:pathLst>
                <a:path w="64008" h="54865">
                  <a:moveTo>
                    <a:pt x="32003" y="54865"/>
                  </a:moveTo>
                  <a:lnTo>
                    <a:pt x="32003" y="54865"/>
                  </a:lnTo>
                  <a:lnTo>
                    <a:pt x="25781" y="53975"/>
                  </a:lnTo>
                  <a:lnTo>
                    <a:pt x="19558" y="53086"/>
                  </a:lnTo>
                  <a:lnTo>
                    <a:pt x="13462" y="50547"/>
                  </a:lnTo>
                  <a:lnTo>
                    <a:pt x="9270" y="46991"/>
                  </a:lnTo>
                  <a:lnTo>
                    <a:pt x="5207" y="42673"/>
                  </a:lnTo>
                  <a:lnTo>
                    <a:pt x="2032" y="38354"/>
                  </a:lnTo>
                  <a:lnTo>
                    <a:pt x="0" y="33148"/>
                  </a:lnTo>
                  <a:lnTo>
                    <a:pt x="0" y="27813"/>
                  </a:lnTo>
                  <a:lnTo>
                    <a:pt x="0" y="21717"/>
                  </a:lnTo>
                  <a:lnTo>
                    <a:pt x="2032" y="17399"/>
                  </a:lnTo>
                  <a:lnTo>
                    <a:pt x="5207" y="12192"/>
                  </a:lnTo>
                  <a:lnTo>
                    <a:pt x="9270" y="8763"/>
                  </a:lnTo>
                  <a:lnTo>
                    <a:pt x="13462" y="5208"/>
                  </a:lnTo>
                  <a:lnTo>
                    <a:pt x="19558" y="2667"/>
                  </a:lnTo>
                  <a:lnTo>
                    <a:pt x="25781" y="890"/>
                  </a:lnTo>
                  <a:lnTo>
                    <a:pt x="32003" y="0"/>
                  </a:lnTo>
                  <a:lnTo>
                    <a:pt x="38226" y="890"/>
                  </a:lnTo>
                  <a:lnTo>
                    <a:pt x="44450" y="2667"/>
                  </a:lnTo>
                  <a:lnTo>
                    <a:pt x="49530" y="5208"/>
                  </a:lnTo>
                  <a:lnTo>
                    <a:pt x="54737" y="8763"/>
                  </a:lnTo>
                  <a:lnTo>
                    <a:pt x="58801" y="12192"/>
                  </a:lnTo>
                  <a:lnTo>
                    <a:pt x="61976" y="17399"/>
                  </a:lnTo>
                  <a:lnTo>
                    <a:pt x="62991" y="21717"/>
                  </a:lnTo>
                  <a:lnTo>
                    <a:pt x="64008" y="27813"/>
                  </a:lnTo>
                  <a:lnTo>
                    <a:pt x="62991" y="33148"/>
                  </a:lnTo>
                  <a:lnTo>
                    <a:pt x="61976" y="38354"/>
                  </a:lnTo>
                  <a:lnTo>
                    <a:pt x="58801" y="42673"/>
                  </a:lnTo>
                  <a:lnTo>
                    <a:pt x="54737" y="46991"/>
                  </a:lnTo>
                  <a:lnTo>
                    <a:pt x="49530" y="50547"/>
                  </a:lnTo>
                  <a:lnTo>
                    <a:pt x="44450" y="53086"/>
                  </a:lnTo>
                  <a:lnTo>
                    <a:pt x="38226" y="53975"/>
                  </a:lnTo>
                  <a:lnTo>
                    <a:pt x="32003" y="54865"/>
                  </a:lnTo>
                  <a:close/>
                  <a:moveTo>
                    <a:pt x="-1301497" y="4285488"/>
                  </a:moveTo>
                  <a:moveTo>
                    <a:pt x="32003" y="7874"/>
                  </a:moveTo>
                  <a:lnTo>
                    <a:pt x="32003" y="7874"/>
                  </a:lnTo>
                  <a:lnTo>
                    <a:pt x="26796" y="8763"/>
                  </a:lnTo>
                  <a:lnTo>
                    <a:pt x="22733" y="9525"/>
                  </a:lnTo>
                  <a:lnTo>
                    <a:pt x="18541" y="11304"/>
                  </a:lnTo>
                  <a:lnTo>
                    <a:pt x="15494" y="13971"/>
                  </a:lnTo>
                  <a:lnTo>
                    <a:pt x="12445" y="16510"/>
                  </a:lnTo>
                  <a:lnTo>
                    <a:pt x="10287" y="20067"/>
                  </a:lnTo>
                  <a:lnTo>
                    <a:pt x="9270" y="23496"/>
                  </a:lnTo>
                  <a:lnTo>
                    <a:pt x="9270" y="27813"/>
                  </a:lnTo>
                  <a:lnTo>
                    <a:pt x="9270" y="31369"/>
                  </a:lnTo>
                  <a:lnTo>
                    <a:pt x="10287" y="34798"/>
                  </a:lnTo>
                  <a:lnTo>
                    <a:pt x="12445" y="38354"/>
                  </a:lnTo>
                  <a:lnTo>
                    <a:pt x="15494" y="41784"/>
                  </a:lnTo>
                  <a:lnTo>
                    <a:pt x="18541" y="43561"/>
                  </a:lnTo>
                  <a:lnTo>
                    <a:pt x="22733" y="45340"/>
                  </a:lnTo>
                  <a:lnTo>
                    <a:pt x="26796" y="46991"/>
                  </a:lnTo>
                  <a:lnTo>
                    <a:pt x="32003" y="46991"/>
                  </a:lnTo>
                  <a:lnTo>
                    <a:pt x="36195" y="46991"/>
                  </a:lnTo>
                  <a:lnTo>
                    <a:pt x="41275" y="45340"/>
                  </a:lnTo>
                  <a:lnTo>
                    <a:pt x="44450" y="43561"/>
                  </a:lnTo>
                  <a:lnTo>
                    <a:pt x="48514" y="41784"/>
                  </a:lnTo>
                  <a:lnTo>
                    <a:pt x="50545" y="38354"/>
                  </a:lnTo>
                  <a:lnTo>
                    <a:pt x="52705" y="34798"/>
                  </a:lnTo>
                  <a:lnTo>
                    <a:pt x="54737" y="31369"/>
                  </a:lnTo>
                  <a:lnTo>
                    <a:pt x="54737" y="27813"/>
                  </a:lnTo>
                  <a:lnTo>
                    <a:pt x="54737" y="23496"/>
                  </a:lnTo>
                  <a:lnTo>
                    <a:pt x="52705" y="20067"/>
                  </a:lnTo>
                  <a:lnTo>
                    <a:pt x="50545" y="16510"/>
                  </a:lnTo>
                  <a:lnTo>
                    <a:pt x="48514" y="13971"/>
                  </a:lnTo>
                  <a:lnTo>
                    <a:pt x="44450" y="11304"/>
                  </a:lnTo>
                  <a:lnTo>
                    <a:pt x="41275" y="9525"/>
                  </a:lnTo>
                  <a:lnTo>
                    <a:pt x="36195" y="8763"/>
                  </a:lnTo>
                  <a:lnTo>
                    <a:pt x="32003" y="7874"/>
                  </a:lnTo>
                  <a:close/>
                  <a:moveTo>
                    <a:pt x="-1254506" y="4285488"/>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75" name="Freeform 1375"/>
            <p:cNvSpPr/>
            <p:nvPr/>
          </p:nvSpPr>
          <p:spPr>
            <a:xfrm>
              <a:off x="5508044" y="2512032"/>
              <a:ext cx="48743" cy="73113"/>
            </a:xfrm>
            <a:custGeom>
              <a:avLst/>
              <a:gdLst/>
              <a:ahLst/>
              <a:cxnLst/>
              <a:rect l="0" t="0" r="0" b="0"/>
              <a:pathLst>
                <a:path w="48768" h="73151">
                  <a:moveTo>
                    <a:pt x="40768" y="73151"/>
                  </a:moveTo>
                  <a:lnTo>
                    <a:pt x="0" y="3556"/>
                  </a:lnTo>
                  <a:lnTo>
                    <a:pt x="8001" y="0"/>
                  </a:lnTo>
                  <a:lnTo>
                    <a:pt x="48768" y="69595"/>
                  </a:lnTo>
                  <a:lnTo>
                    <a:pt x="40768" y="73151"/>
                  </a:lnTo>
                  <a:close/>
                  <a:moveTo>
                    <a:pt x="-1234439" y="4346447"/>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pic>
          <p:nvPicPr>
            <p:cNvPr id="1394" name="Picture 1394"/>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a:xfrm>
              <a:off x="5775621" y="2476489"/>
              <a:ext cx="290170" cy="570187"/>
            </a:xfrm>
            <a:prstGeom prst="rect">
              <a:avLst/>
            </a:prstGeom>
            <a:noFill/>
          </p:spPr>
        </p:pic>
        <p:pic>
          <p:nvPicPr>
            <p:cNvPr id="1395" name="Picture 1395"/>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a:xfrm>
              <a:off x="5962974" y="1781906"/>
              <a:ext cx="186466" cy="1263372"/>
            </a:xfrm>
            <a:prstGeom prst="rect">
              <a:avLst/>
            </a:prstGeom>
            <a:noFill/>
          </p:spPr>
        </p:pic>
        <p:pic>
          <p:nvPicPr>
            <p:cNvPr id="1442" name="Picture 1442"/>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a:xfrm>
              <a:off x="5873106" y="1781906"/>
              <a:ext cx="190654" cy="1263372"/>
            </a:xfrm>
            <a:prstGeom prst="rect">
              <a:avLst/>
            </a:prstGeom>
            <a:noFill/>
          </p:spPr>
        </p:pic>
        <p:pic>
          <p:nvPicPr>
            <p:cNvPr id="1443" name="Picture 1443"/>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a:xfrm>
              <a:off x="5962974" y="2476489"/>
              <a:ext cx="301722" cy="570187"/>
            </a:xfrm>
            <a:prstGeom prst="rect">
              <a:avLst/>
            </a:prstGeom>
            <a:noFill/>
          </p:spPr>
        </p:pic>
        <p:sp>
          <p:nvSpPr>
            <p:cNvPr id="1444" name="Freeform 1444"/>
            <p:cNvSpPr/>
            <p:nvPr/>
          </p:nvSpPr>
          <p:spPr>
            <a:xfrm>
              <a:off x="6388458" y="2268318"/>
              <a:ext cx="316827" cy="228481"/>
            </a:xfrm>
            <a:custGeom>
              <a:avLst/>
              <a:gdLst/>
              <a:ahLst/>
              <a:cxnLst/>
              <a:rect l="0" t="0" r="0" b="0"/>
              <a:pathLst>
                <a:path w="316992" h="228600">
                  <a:moveTo>
                    <a:pt x="316992" y="228473"/>
                  </a:moveTo>
                  <a:cubicBezTo>
                    <a:pt x="237109" y="228600"/>
                    <a:pt x="237109" y="228600"/>
                    <a:pt x="237109" y="228600"/>
                  </a:cubicBezTo>
                  <a:cubicBezTo>
                    <a:pt x="224282" y="206629"/>
                    <a:pt x="205485" y="196723"/>
                    <a:pt x="180594" y="196850"/>
                  </a:cubicBezTo>
                  <a:cubicBezTo>
                    <a:pt x="166497" y="196850"/>
                    <a:pt x="152273" y="196342"/>
                    <a:pt x="138175" y="196978"/>
                  </a:cubicBezTo>
                  <a:cubicBezTo>
                    <a:pt x="125730" y="197485"/>
                    <a:pt x="114299" y="195708"/>
                    <a:pt x="103251" y="189611"/>
                  </a:cubicBezTo>
                  <a:cubicBezTo>
                    <a:pt x="98170" y="186691"/>
                    <a:pt x="92328" y="185674"/>
                    <a:pt x="86740" y="184404"/>
                  </a:cubicBezTo>
                  <a:cubicBezTo>
                    <a:pt x="73025" y="181356"/>
                    <a:pt x="59563" y="177166"/>
                    <a:pt x="45846" y="173610"/>
                  </a:cubicBezTo>
                  <a:cubicBezTo>
                    <a:pt x="26415" y="168910"/>
                    <a:pt x="21844" y="166117"/>
                    <a:pt x="7620" y="160529"/>
                  </a:cubicBezTo>
                  <a:cubicBezTo>
                    <a:pt x="5207" y="159512"/>
                    <a:pt x="2413" y="160402"/>
                    <a:pt x="1270" y="157480"/>
                  </a:cubicBezTo>
                  <a:cubicBezTo>
                    <a:pt x="126" y="154686"/>
                    <a:pt x="0" y="151766"/>
                    <a:pt x="2032" y="149353"/>
                  </a:cubicBezTo>
                  <a:cubicBezTo>
                    <a:pt x="5461" y="145288"/>
                    <a:pt x="9017" y="143256"/>
                    <a:pt x="15239" y="143510"/>
                  </a:cubicBezTo>
                  <a:cubicBezTo>
                    <a:pt x="15620" y="143765"/>
                    <a:pt x="16256" y="143765"/>
                    <a:pt x="16637" y="143384"/>
                  </a:cubicBezTo>
                  <a:cubicBezTo>
                    <a:pt x="27686" y="137160"/>
                    <a:pt x="27686" y="141479"/>
                    <a:pt x="38988" y="142367"/>
                  </a:cubicBezTo>
                  <a:cubicBezTo>
                    <a:pt x="70865" y="146431"/>
                    <a:pt x="70865" y="146431"/>
                    <a:pt x="70865" y="146431"/>
                  </a:cubicBezTo>
                  <a:cubicBezTo>
                    <a:pt x="76581" y="146050"/>
                    <a:pt x="118872" y="156337"/>
                    <a:pt x="121158" y="151511"/>
                  </a:cubicBezTo>
                  <a:cubicBezTo>
                    <a:pt x="108203" y="151511"/>
                    <a:pt x="92963" y="141224"/>
                    <a:pt x="94869" y="138685"/>
                  </a:cubicBezTo>
                  <a:cubicBezTo>
                    <a:pt x="98044" y="134367"/>
                    <a:pt x="102743" y="132335"/>
                    <a:pt x="108331" y="132461"/>
                  </a:cubicBezTo>
                  <a:cubicBezTo>
                    <a:pt x="121411" y="132461"/>
                    <a:pt x="134238" y="132842"/>
                    <a:pt x="146938" y="136779"/>
                  </a:cubicBezTo>
                  <a:cubicBezTo>
                    <a:pt x="153543" y="138685"/>
                    <a:pt x="160400" y="138938"/>
                    <a:pt x="167259" y="137796"/>
                  </a:cubicBezTo>
                  <a:cubicBezTo>
                    <a:pt x="166877" y="135002"/>
                    <a:pt x="166370" y="132080"/>
                    <a:pt x="165735" y="129160"/>
                  </a:cubicBezTo>
                  <a:cubicBezTo>
                    <a:pt x="164719" y="123953"/>
                    <a:pt x="163195" y="118873"/>
                    <a:pt x="161671" y="113411"/>
                  </a:cubicBezTo>
                  <a:cubicBezTo>
                    <a:pt x="159765" y="108331"/>
                    <a:pt x="157987" y="103124"/>
                    <a:pt x="155574" y="97917"/>
                  </a:cubicBezTo>
                  <a:cubicBezTo>
                    <a:pt x="154432" y="95378"/>
                    <a:pt x="153161" y="92965"/>
                    <a:pt x="151764" y="90424"/>
                  </a:cubicBezTo>
                  <a:cubicBezTo>
                    <a:pt x="150368" y="88138"/>
                    <a:pt x="148971" y="85725"/>
                    <a:pt x="147447" y="83312"/>
                  </a:cubicBezTo>
                  <a:cubicBezTo>
                    <a:pt x="146049" y="81027"/>
                    <a:pt x="144272" y="78867"/>
                    <a:pt x="142748" y="76709"/>
                  </a:cubicBezTo>
                  <a:cubicBezTo>
                    <a:pt x="141097" y="74549"/>
                    <a:pt x="139319" y="72517"/>
                    <a:pt x="137668" y="70485"/>
                  </a:cubicBezTo>
                  <a:cubicBezTo>
                    <a:pt x="135889" y="68708"/>
                    <a:pt x="134238" y="66675"/>
                    <a:pt x="132207" y="64898"/>
                  </a:cubicBezTo>
                  <a:cubicBezTo>
                    <a:pt x="130428" y="63247"/>
                    <a:pt x="128650" y="61468"/>
                    <a:pt x="126746" y="59944"/>
                  </a:cubicBezTo>
                  <a:cubicBezTo>
                    <a:pt x="123062" y="56897"/>
                    <a:pt x="119380" y="54103"/>
                    <a:pt x="115823" y="51817"/>
                  </a:cubicBezTo>
                  <a:cubicBezTo>
                    <a:pt x="113919" y="50800"/>
                    <a:pt x="112268" y="49658"/>
                    <a:pt x="110617" y="48642"/>
                  </a:cubicBezTo>
                  <a:cubicBezTo>
                    <a:pt x="108838" y="47753"/>
                    <a:pt x="107314" y="46863"/>
                    <a:pt x="105790" y="46102"/>
                  </a:cubicBezTo>
                  <a:cubicBezTo>
                    <a:pt x="102615" y="44578"/>
                    <a:pt x="99821" y="43435"/>
                    <a:pt x="97663" y="42292"/>
                  </a:cubicBezTo>
                  <a:cubicBezTo>
                    <a:pt x="92963" y="40513"/>
                    <a:pt x="90296" y="39498"/>
                    <a:pt x="90296" y="39498"/>
                  </a:cubicBezTo>
                  <a:cubicBezTo>
                    <a:pt x="90296" y="39498"/>
                    <a:pt x="93090" y="40386"/>
                    <a:pt x="97789" y="41910"/>
                  </a:cubicBezTo>
                  <a:cubicBezTo>
                    <a:pt x="99949" y="42799"/>
                    <a:pt x="102870" y="43816"/>
                    <a:pt x="106045" y="45340"/>
                  </a:cubicBezTo>
                  <a:cubicBezTo>
                    <a:pt x="107569" y="46102"/>
                    <a:pt x="109346" y="46863"/>
                    <a:pt x="111125" y="47753"/>
                  </a:cubicBezTo>
                  <a:cubicBezTo>
                    <a:pt x="112902" y="48642"/>
                    <a:pt x="114681" y="49658"/>
                    <a:pt x="116459" y="50673"/>
                  </a:cubicBezTo>
                  <a:cubicBezTo>
                    <a:pt x="120142" y="52833"/>
                    <a:pt x="124078" y="55373"/>
                    <a:pt x="128143" y="58421"/>
                  </a:cubicBezTo>
                  <a:cubicBezTo>
                    <a:pt x="130048" y="59817"/>
                    <a:pt x="131952" y="61468"/>
                    <a:pt x="133858" y="63119"/>
                  </a:cubicBezTo>
                  <a:cubicBezTo>
                    <a:pt x="135889" y="64771"/>
                    <a:pt x="137795" y="66675"/>
                    <a:pt x="139699" y="68580"/>
                  </a:cubicBezTo>
                  <a:cubicBezTo>
                    <a:pt x="141477" y="70612"/>
                    <a:pt x="143510" y="72517"/>
                    <a:pt x="145287" y="74677"/>
                  </a:cubicBezTo>
                  <a:cubicBezTo>
                    <a:pt x="146938" y="76835"/>
                    <a:pt x="148844" y="78867"/>
                    <a:pt x="150368" y="81280"/>
                  </a:cubicBezTo>
                  <a:cubicBezTo>
                    <a:pt x="152019" y="83693"/>
                    <a:pt x="153670" y="85979"/>
                    <a:pt x="155194" y="88519"/>
                  </a:cubicBezTo>
                  <a:cubicBezTo>
                    <a:pt x="156718" y="90805"/>
                    <a:pt x="158114" y="93473"/>
                    <a:pt x="159511" y="96012"/>
                  </a:cubicBezTo>
                  <a:cubicBezTo>
                    <a:pt x="162306" y="101092"/>
                    <a:pt x="164464" y="106427"/>
                    <a:pt x="166623" y="111760"/>
                  </a:cubicBezTo>
                  <a:cubicBezTo>
                    <a:pt x="168401" y="117094"/>
                    <a:pt x="170180" y="122429"/>
                    <a:pt x="171576" y="127762"/>
                  </a:cubicBezTo>
                  <a:cubicBezTo>
                    <a:pt x="172465" y="130684"/>
                    <a:pt x="172847" y="133350"/>
                    <a:pt x="173355" y="136272"/>
                  </a:cubicBezTo>
                  <a:cubicBezTo>
                    <a:pt x="174371" y="135763"/>
                    <a:pt x="175260" y="135636"/>
                    <a:pt x="176402" y="135255"/>
                  </a:cubicBezTo>
                  <a:cubicBezTo>
                    <a:pt x="192659" y="128779"/>
                    <a:pt x="210058" y="126492"/>
                    <a:pt x="225424" y="136525"/>
                  </a:cubicBezTo>
                  <a:cubicBezTo>
                    <a:pt x="244348" y="148844"/>
                    <a:pt x="262255" y="162687"/>
                    <a:pt x="275844" y="181356"/>
                  </a:cubicBezTo>
                  <a:cubicBezTo>
                    <a:pt x="291973" y="203073"/>
                    <a:pt x="299593" y="207899"/>
                    <a:pt x="316992" y="228473"/>
                  </a:cubicBezTo>
                  <a:close/>
                  <a:moveTo>
                    <a:pt x="-2026793" y="4590288"/>
                  </a:moveTo>
                  <a:moveTo>
                    <a:pt x="163195" y="91441"/>
                  </a:moveTo>
                  <a:cubicBezTo>
                    <a:pt x="162686" y="88647"/>
                    <a:pt x="162560" y="85344"/>
                    <a:pt x="162813" y="81788"/>
                  </a:cubicBezTo>
                  <a:cubicBezTo>
                    <a:pt x="163195" y="78486"/>
                    <a:pt x="163702" y="74930"/>
                    <a:pt x="164464" y="71374"/>
                  </a:cubicBezTo>
                  <a:cubicBezTo>
                    <a:pt x="166497" y="64517"/>
                    <a:pt x="169798" y="58040"/>
                    <a:pt x="173227" y="53213"/>
                  </a:cubicBezTo>
                  <a:cubicBezTo>
                    <a:pt x="175006" y="51054"/>
                    <a:pt x="176784" y="49149"/>
                    <a:pt x="178181" y="47879"/>
                  </a:cubicBezTo>
                  <a:cubicBezTo>
                    <a:pt x="178943" y="47244"/>
                    <a:pt x="179450" y="46736"/>
                    <a:pt x="179832" y="46483"/>
                  </a:cubicBezTo>
                  <a:cubicBezTo>
                    <a:pt x="180339" y="46229"/>
                    <a:pt x="180594" y="46102"/>
                    <a:pt x="180594" y="46102"/>
                  </a:cubicBezTo>
                  <a:cubicBezTo>
                    <a:pt x="180594" y="46102"/>
                    <a:pt x="180721" y="46229"/>
                    <a:pt x="180848" y="46736"/>
                  </a:cubicBezTo>
                  <a:cubicBezTo>
                    <a:pt x="180974" y="47117"/>
                    <a:pt x="181356" y="48006"/>
                    <a:pt x="181736" y="48768"/>
                  </a:cubicBezTo>
                  <a:cubicBezTo>
                    <a:pt x="182245" y="50673"/>
                    <a:pt x="182752" y="53086"/>
                    <a:pt x="183260" y="56008"/>
                  </a:cubicBezTo>
                  <a:cubicBezTo>
                    <a:pt x="183896" y="61723"/>
                    <a:pt x="183642" y="69088"/>
                    <a:pt x="181736" y="76073"/>
                  </a:cubicBezTo>
                  <a:cubicBezTo>
                    <a:pt x="180721" y="79503"/>
                    <a:pt x="179450" y="82804"/>
                    <a:pt x="177926" y="85979"/>
                  </a:cubicBezTo>
                  <a:cubicBezTo>
                    <a:pt x="176402" y="89028"/>
                    <a:pt x="174624" y="91822"/>
                    <a:pt x="172973" y="94235"/>
                  </a:cubicBezTo>
                  <a:cubicBezTo>
                    <a:pt x="171196" y="96393"/>
                    <a:pt x="169418" y="98298"/>
                    <a:pt x="168021" y="99568"/>
                  </a:cubicBezTo>
                  <a:cubicBezTo>
                    <a:pt x="167385" y="100204"/>
                    <a:pt x="166750" y="100711"/>
                    <a:pt x="166370" y="100966"/>
                  </a:cubicBezTo>
                  <a:cubicBezTo>
                    <a:pt x="165861" y="101219"/>
                    <a:pt x="165608" y="101600"/>
                    <a:pt x="165608" y="101600"/>
                  </a:cubicBezTo>
                  <a:cubicBezTo>
                    <a:pt x="165608" y="101600"/>
                    <a:pt x="165481" y="101219"/>
                    <a:pt x="165353" y="100711"/>
                  </a:cubicBezTo>
                  <a:cubicBezTo>
                    <a:pt x="165226" y="100330"/>
                    <a:pt x="164846" y="99442"/>
                    <a:pt x="164719" y="98679"/>
                  </a:cubicBezTo>
                  <a:cubicBezTo>
                    <a:pt x="164084" y="96774"/>
                    <a:pt x="163448" y="94361"/>
                    <a:pt x="163195" y="91441"/>
                  </a:cubicBezTo>
                  <a:close/>
                  <a:moveTo>
                    <a:pt x="-1889761" y="4590288"/>
                  </a:moveTo>
                  <a:moveTo>
                    <a:pt x="132969" y="52579"/>
                  </a:moveTo>
                  <a:cubicBezTo>
                    <a:pt x="133223" y="53594"/>
                    <a:pt x="133476" y="54229"/>
                    <a:pt x="133603" y="54610"/>
                  </a:cubicBezTo>
                  <a:cubicBezTo>
                    <a:pt x="133858" y="55246"/>
                    <a:pt x="134111" y="55499"/>
                    <a:pt x="134111" y="55499"/>
                  </a:cubicBezTo>
                  <a:cubicBezTo>
                    <a:pt x="134111" y="55499"/>
                    <a:pt x="134238" y="55373"/>
                    <a:pt x="134620" y="54992"/>
                  </a:cubicBezTo>
                  <a:cubicBezTo>
                    <a:pt x="135000" y="54610"/>
                    <a:pt x="135762" y="54229"/>
                    <a:pt x="136271" y="53594"/>
                  </a:cubicBezTo>
                  <a:cubicBezTo>
                    <a:pt x="137668" y="52324"/>
                    <a:pt x="139446" y="50547"/>
                    <a:pt x="141223" y="48134"/>
                  </a:cubicBezTo>
                  <a:cubicBezTo>
                    <a:pt x="143001" y="45721"/>
                    <a:pt x="144780" y="43054"/>
                    <a:pt x="146176" y="40005"/>
                  </a:cubicBezTo>
                  <a:cubicBezTo>
                    <a:pt x="147700" y="36958"/>
                    <a:pt x="148971" y="33402"/>
                    <a:pt x="149986" y="29973"/>
                  </a:cubicBezTo>
                  <a:cubicBezTo>
                    <a:pt x="151892" y="22987"/>
                    <a:pt x="152273" y="15875"/>
                    <a:pt x="151510" y="10034"/>
                  </a:cubicBezTo>
                  <a:cubicBezTo>
                    <a:pt x="151130" y="7112"/>
                    <a:pt x="150495" y="4573"/>
                    <a:pt x="149986" y="2794"/>
                  </a:cubicBezTo>
                  <a:cubicBezTo>
                    <a:pt x="149733" y="1905"/>
                    <a:pt x="149478" y="1271"/>
                    <a:pt x="149224" y="635"/>
                  </a:cubicBezTo>
                  <a:cubicBezTo>
                    <a:pt x="148971" y="254"/>
                    <a:pt x="148844" y="0"/>
                    <a:pt x="148844" y="0"/>
                  </a:cubicBezTo>
                  <a:cubicBezTo>
                    <a:pt x="148844" y="0"/>
                    <a:pt x="148717" y="128"/>
                    <a:pt x="148209" y="381"/>
                  </a:cubicBezTo>
                  <a:cubicBezTo>
                    <a:pt x="147955" y="890"/>
                    <a:pt x="147193" y="1271"/>
                    <a:pt x="146558" y="1905"/>
                  </a:cubicBezTo>
                  <a:cubicBezTo>
                    <a:pt x="145160" y="3175"/>
                    <a:pt x="143383" y="4954"/>
                    <a:pt x="141732" y="7367"/>
                  </a:cubicBezTo>
                  <a:cubicBezTo>
                    <a:pt x="138048" y="11938"/>
                    <a:pt x="134747" y="18416"/>
                    <a:pt x="132969" y="25400"/>
                  </a:cubicBezTo>
                  <a:cubicBezTo>
                    <a:pt x="131952" y="28829"/>
                    <a:pt x="131445" y="32512"/>
                    <a:pt x="131190" y="35942"/>
                  </a:cubicBezTo>
                  <a:cubicBezTo>
                    <a:pt x="130810" y="39243"/>
                    <a:pt x="131063" y="42546"/>
                    <a:pt x="131445" y="45467"/>
                  </a:cubicBezTo>
                  <a:cubicBezTo>
                    <a:pt x="131698" y="48387"/>
                    <a:pt x="132334" y="50928"/>
                    <a:pt x="132969" y="52579"/>
                  </a:cubicBezTo>
                  <a:close/>
                  <a:moveTo>
                    <a:pt x="-1850899" y="4590288"/>
                  </a:moveTo>
                  <a:moveTo>
                    <a:pt x="99440" y="104013"/>
                  </a:moveTo>
                  <a:cubicBezTo>
                    <a:pt x="98551" y="104394"/>
                    <a:pt x="98044" y="105029"/>
                    <a:pt x="97663" y="105284"/>
                  </a:cubicBezTo>
                  <a:cubicBezTo>
                    <a:pt x="97155" y="105665"/>
                    <a:pt x="96901" y="105792"/>
                    <a:pt x="96901" y="105792"/>
                  </a:cubicBezTo>
                  <a:cubicBezTo>
                    <a:pt x="96901" y="105792"/>
                    <a:pt x="97155" y="105918"/>
                    <a:pt x="97663" y="106299"/>
                  </a:cubicBezTo>
                  <a:cubicBezTo>
                    <a:pt x="98044" y="106554"/>
                    <a:pt x="98551" y="107061"/>
                    <a:pt x="99440" y="107442"/>
                  </a:cubicBezTo>
                  <a:cubicBezTo>
                    <a:pt x="100964" y="108585"/>
                    <a:pt x="103124" y="109855"/>
                    <a:pt x="105918" y="110998"/>
                  </a:cubicBezTo>
                  <a:cubicBezTo>
                    <a:pt x="111378" y="113158"/>
                    <a:pt x="118363" y="114681"/>
                    <a:pt x="125602" y="114554"/>
                  </a:cubicBezTo>
                  <a:cubicBezTo>
                    <a:pt x="129159" y="114554"/>
                    <a:pt x="132842" y="114173"/>
                    <a:pt x="136144" y="113411"/>
                  </a:cubicBezTo>
                  <a:cubicBezTo>
                    <a:pt x="139573" y="112904"/>
                    <a:pt x="142621" y="111887"/>
                    <a:pt x="145414" y="110872"/>
                  </a:cubicBezTo>
                  <a:cubicBezTo>
                    <a:pt x="148082" y="109729"/>
                    <a:pt x="150240" y="108459"/>
                    <a:pt x="151764" y="107316"/>
                  </a:cubicBezTo>
                  <a:cubicBezTo>
                    <a:pt x="152653" y="106935"/>
                    <a:pt x="153288" y="106427"/>
                    <a:pt x="153670" y="106173"/>
                  </a:cubicBezTo>
                  <a:cubicBezTo>
                    <a:pt x="154177" y="105792"/>
                    <a:pt x="154305" y="105665"/>
                    <a:pt x="154305" y="105665"/>
                  </a:cubicBezTo>
                  <a:cubicBezTo>
                    <a:pt x="154305" y="105665"/>
                    <a:pt x="154177" y="105410"/>
                    <a:pt x="153670" y="105156"/>
                  </a:cubicBezTo>
                  <a:cubicBezTo>
                    <a:pt x="153288" y="104903"/>
                    <a:pt x="152653" y="104267"/>
                    <a:pt x="151764" y="103886"/>
                  </a:cubicBezTo>
                  <a:cubicBezTo>
                    <a:pt x="150240" y="102871"/>
                    <a:pt x="148082" y="101728"/>
                    <a:pt x="145287" y="100585"/>
                  </a:cubicBezTo>
                  <a:cubicBezTo>
                    <a:pt x="142621" y="99442"/>
                    <a:pt x="139446" y="98425"/>
                    <a:pt x="136144" y="97791"/>
                  </a:cubicBezTo>
                  <a:cubicBezTo>
                    <a:pt x="132842" y="97283"/>
                    <a:pt x="129159" y="96774"/>
                    <a:pt x="125602" y="96774"/>
                  </a:cubicBezTo>
                  <a:cubicBezTo>
                    <a:pt x="118363" y="96774"/>
                    <a:pt x="111251" y="98298"/>
                    <a:pt x="105918" y="100711"/>
                  </a:cubicBezTo>
                  <a:cubicBezTo>
                    <a:pt x="103124" y="101854"/>
                    <a:pt x="100964" y="103124"/>
                    <a:pt x="99440" y="104013"/>
                  </a:cubicBezTo>
                  <a:close/>
                  <a:moveTo>
                    <a:pt x="-1902333" y="4590288"/>
                  </a:moveTo>
                  <a:moveTo>
                    <a:pt x="69342" y="70104"/>
                  </a:moveTo>
                  <a:cubicBezTo>
                    <a:pt x="70993" y="70867"/>
                    <a:pt x="73406" y="72010"/>
                    <a:pt x="76200" y="72772"/>
                  </a:cubicBezTo>
                  <a:cubicBezTo>
                    <a:pt x="81661" y="74677"/>
                    <a:pt x="89026" y="75438"/>
                    <a:pt x="96138" y="74804"/>
                  </a:cubicBezTo>
                  <a:cubicBezTo>
                    <a:pt x="99695" y="74549"/>
                    <a:pt x="103251" y="73787"/>
                    <a:pt x="106552" y="72772"/>
                  </a:cubicBezTo>
                  <a:cubicBezTo>
                    <a:pt x="109855" y="71883"/>
                    <a:pt x="112902" y="70612"/>
                    <a:pt x="115443" y="69342"/>
                  </a:cubicBezTo>
                  <a:cubicBezTo>
                    <a:pt x="118110" y="67946"/>
                    <a:pt x="120142" y="66548"/>
                    <a:pt x="121538" y="65533"/>
                  </a:cubicBezTo>
                  <a:cubicBezTo>
                    <a:pt x="122427" y="64898"/>
                    <a:pt x="122935" y="64390"/>
                    <a:pt x="123444" y="64009"/>
                  </a:cubicBezTo>
                  <a:cubicBezTo>
                    <a:pt x="123824" y="63628"/>
                    <a:pt x="123951" y="63373"/>
                    <a:pt x="123951" y="63373"/>
                  </a:cubicBezTo>
                  <a:cubicBezTo>
                    <a:pt x="123951" y="63373"/>
                    <a:pt x="123698" y="63247"/>
                    <a:pt x="123189" y="62992"/>
                  </a:cubicBezTo>
                  <a:cubicBezTo>
                    <a:pt x="122809" y="62738"/>
                    <a:pt x="122173" y="62230"/>
                    <a:pt x="121285" y="61849"/>
                  </a:cubicBezTo>
                  <a:cubicBezTo>
                    <a:pt x="119634" y="61087"/>
                    <a:pt x="117348" y="60072"/>
                    <a:pt x="114553" y="59055"/>
                  </a:cubicBezTo>
                  <a:cubicBezTo>
                    <a:pt x="111759" y="58293"/>
                    <a:pt x="108584" y="57531"/>
                    <a:pt x="105282" y="57278"/>
                  </a:cubicBezTo>
                  <a:cubicBezTo>
                    <a:pt x="101726" y="56897"/>
                    <a:pt x="98170" y="56897"/>
                    <a:pt x="94614" y="57150"/>
                  </a:cubicBezTo>
                  <a:cubicBezTo>
                    <a:pt x="87502" y="57659"/>
                    <a:pt x="80518" y="59944"/>
                    <a:pt x="75311" y="62611"/>
                  </a:cubicBezTo>
                  <a:cubicBezTo>
                    <a:pt x="72644" y="64009"/>
                    <a:pt x="70612" y="65279"/>
                    <a:pt x="69088" y="66422"/>
                  </a:cubicBezTo>
                  <a:cubicBezTo>
                    <a:pt x="68452" y="67056"/>
                    <a:pt x="67818" y="67565"/>
                    <a:pt x="67437" y="67818"/>
                  </a:cubicBezTo>
                  <a:cubicBezTo>
                    <a:pt x="67056" y="68199"/>
                    <a:pt x="66801" y="68580"/>
                    <a:pt x="66801" y="68580"/>
                  </a:cubicBezTo>
                  <a:cubicBezTo>
                    <a:pt x="66801" y="68580"/>
                    <a:pt x="67056" y="68708"/>
                    <a:pt x="67437" y="68961"/>
                  </a:cubicBezTo>
                  <a:cubicBezTo>
                    <a:pt x="67945" y="69216"/>
                    <a:pt x="68580" y="69597"/>
                    <a:pt x="69342" y="70104"/>
                  </a:cubicBezTo>
                  <a:close/>
                  <a:moveTo>
                    <a:pt x="-1868424" y="4590288"/>
                  </a:moveTo>
                </a:path>
              </a:pathLst>
            </a:custGeom>
            <a:solidFill>
              <a:srgbClr val="97979C">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45" name="Freeform 1445"/>
            <p:cNvSpPr/>
            <p:nvPr/>
          </p:nvSpPr>
          <p:spPr>
            <a:xfrm>
              <a:off x="6309251" y="2460241"/>
              <a:ext cx="478287" cy="213250"/>
            </a:xfrm>
            <a:custGeom>
              <a:avLst/>
              <a:gdLst/>
              <a:ahLst/>
              <a:cxnLst/>
              <a:rect l="0" t="0" r="0" b="0"/>
              <a:pathLst>
                <a:path w="478536" h="213361">
                  <a:moveTo>
                    <a:pt x="434468" y="181864"/>
                  </a:moveTo>
                  <a:lnTo>
                    <a:pt x="443993" y="157480"/>
                  </a:lnTo>
                  <a:lnTo>
                    <a:pt x="426212" y="159131"/>
                  </a:lnTo>
                  <a:lnTo>
                    <a:pt x="31877" y="159131"/>
                  </a:lnTo>
                  <a:lnTo>
                    <a:pt x="31750" y="178943"/>
                  </a:lnTo>
                  <a:lnTo>
                    <a:pt x="22225" y="175768"/>
                  </a:lnTo>
                  <a:lnTo>
                    <a:pt x="17526" y="174499"/>
                  </a:lnTo>
                  <a:lnTo>
                    <a:pt x="12827" y="173482"/>
                  </a:lnTo>
                  <a:lnTo>
                    <a:pt x="13336" y="138811"/>
                  </a:lnTo>
                  <a:lnTo>
                    <a:pt x="425705" y="138811"/>
                  </a:lnTo>
                  <a:lnTo>
                    <a:pt x="473202" y="134748"/>
                  </a:lnTo>
                  <a:lnTo>
                    <a:pt x="457582" y="175134"/>
                  </a:lnTo>
                  <a:lnTo>
                    <a:pt x="452374" y="176530"/>
                  </a:lnTo>
                  <a:lnTo>
                    <a:pt x="446913" y="178055"/>
                  </a:lnTo>
                  <a:lnTo>
                    <a:pt x="440818" y="179832"/>
                  </a:lnTo>
                  <a:lnTo>
                    <a:pt x="434468" y="181864"/>
                  </a:lnTo>
                  <a:close/>
                  <a:moveTo>
                    <a:pt x="-2092959" y="4398264"/>
                  </a:moveTo>
                  <a:moveTo>
                    <a:pt x="0" y="187072"/>
                  </a:moveTo>
                  <a:lnTo>
                    <a:pt x="0" y="187072"/>
                  </a:lnTo>
                  <a:lnTo>
                    <a:pt x="5207" y="187325"/>
                  </a:lnTo>
                  <a:lnTo>
                    <a:pt x="10161" y="188087"/>
                  </a:lnTo>
                  <a:lnTo>
                    <a:pt x="14860" y="189104"/>
                  </a:lnTo>
                  <a:lnTo>
                    <a:pt x="19812" y="190247"/>
                  </a:lnTo>
                  <a:lnTo>
                    <a:pt x="24638" y="191517"/>
                  </a:lnTo>
                  <a:lnTo>
                    <a:pt x="29337" y="192913"/>
                  </a:lnTo>
                  <a:lnTo>
                    <a:pt x="39370" y="195961"/>
                  </a:lnTo>
                  <a:lnTo>
                    <a:pt x="44958" y="198120"/>
                  </a:lnTo>
                  <a:lnTo>
                    <a:pt x="50419" y="199644"/>
                  </a:lnTo>
                  <a:lnTo>
                    <a:pt x="55754" y="200914"/>
                  </a:lnTo>
                  <a:lnTo>
                    <a:pt x="60706" y="201676"/>
                  </a:lnTo>
                  <a:lnTo>
                    <a:pt x="65660" y="202311"/>
                  </a:lnTo>
                  <a:lnTo>
                    <a:pt x="70486" y="202566"/>
                  </a:lnTo>
                  <a:lnTo>
                    <a:pt x="75057" y="202693"/>
                  </a:lnTo>
                  <a:lnTo>
                    <a:pt x="79883" y="202566"/>
                  </a:lnTo>
                  <a:lnTo>
                    <a:pt x="84456" y="202311"/>
                  </a:lnTo>
                  <a:lnTo>
                    <a:pt x="88774" y="201676"/>
                  </a:lnTo>
                  <a:lnTo>
                    <a:pt x="93092" y="201042"/>
                  </a:lnTo>
                  <a:lnTo>
                    <a:pt x="97282" y="200153"/>
                  </a:lnTo>
                  <a:lnTo>
                    <a:pt x="101600" y="199136"/>
                  </a:lnTo>
                  <a:lnTo>
                    <a:pt x="105664" y="198120"/>
                  </a:lnTo>
                  <a:lnTo>
                    <a:pt x="113919" y="195835"/>
                  </a:lnTo>
                  <a:lnTo>
                    <a:pt x="122048" y="193675"/>
                  </a:lnTo>
                  <a:lnTo>
                    <a:pt x="130302" y="191389"/>
                  </a:lnTo>
                  <a:lnTo>
                    <a:pt x="134494" y="190374"/>
                  </a:lnTo>
                  <a:lnTo>
                    <a:pt x="138431" y="189230"/>
                  </a:lnTo>
                  <a:lnTo>
                    <a:pt x="142621" y="188595"/>
                  </a:lnTo>
                  <a:lnTo>
                    <a:pt x="146812" y="187961"/>
                  </a:lnTo>
                  <a:lnTo>
                    <a:pt x="151131" y="187325"/>
                  </a:lnTo>
                  <a:lnTo>
                    <a:pt x="155575" y="187072"/>
                  </a:lnTo>
                  <a:lnTo>
                    <a:pt x="159894" y="187072"/>
                  </a:lnTo>
                  <a:lnTo>
                    <a:pt x="164466" y="187072"/>
                  </a:lnTo>
                  <a:lnTo>
                    <a:pt x="169037" y="187706"/>
                  </a:lnTo>
                  <a:lnTo>
                    <a:pt x="173863" y="188214"/>
                  </a:lnTo>
                  <a:lnTo>
                    <a:pt x="178817" y="189104"/>
                  </a:lnTo>
                  <a:lnTo>
                    <a:pt x="183516" y="190500"/>
                  </a:lnTo>
                  <a:lnTo>
                    <a:pt x="192025" y="193168"/>
                  </a:lnTo>
                  <a:lnTo>
                    <a:pt x="201042" y="195961"/>
                  </a:lnTo>
                  <a:lnTo>
                    <a:pt x="206630" y="198120"/>
                  </a:lnTo>
                  <a:lnTo>
                    <a:pt x="211963" y="199644"/>
                  </a:lnTo>
                  <a:lnTo>
                    <a:pt x="217171" y="200914"/>
                  </a:lnTo>
                  <a:lnTo>
                    <a:pt x="222377" y="201676"/>
                  </a:lnTo>
                  <a:lnTo>
                    <a:pt x="227331" y="202311"/>
                  </a:lnTo>
                  <a:lnTo>
                    <a:pt x="232157" y="202566"/>
                  </a:lnTo>
                  <a:lnTo>
                    <a:pt x="236856" y="202693"/>
                  </a:lnTo>
                  <a:lnTo>
                    <a:pt x="241427" y="202566"/>
                  </a:lnTo>
                  <a:lnTo>
                    <a:pt x="245872" y="202311"/>
                  </a:lnTo>
                  <a:lnTo>
                    <a:pt x="250191" y="201676"/>
                  </a:lnTo>
                  <a:lnTo>
                    <a:pt x="254762" y="201042"/>
                  </a:lnTo>
                  <a:lnTo>
                    <a:pt x="258954" y="200153"/>
                  </a:lnTo>
                  <a:lnTo>
                    <a:pt x="263145" y="199136"/>
                  </a:lnTo>
                  <a:lnTo>
                    <a:pt x="267462" y="198120"/>
                  </a:lnTo>
                  <a:lnTo>
                    <a:pt x="275591" y="195835"/>
                  </a:lnTo>
                  <a:lnTo>
                    <a:pt x="283719" y="193675"/>
                  </a:lnTo>
                  <a:lnTo>
                    <a:pt x="291847" y="191389"/>
                  </a:lnTo>
                  <a:lnTo>
                    <a:pt x="295910" y="190374"/>
                  </a:lnTo>
                  <a:lnTo>
                    <a:pt x="300229" y="189230"/>
                  </a:lnTo>
                  <a:lnTo>
                    <a:pt x="304293" y="188595"/>
                  </a:lnTo>
                  <a:lnTo>
                    <a:pt x="308484" y="187961"/>
                  </a:lnTo>
                  <a:lnTo>
                    <a:pt x="312801" y="187325"/>
                  </a:lnTo>
                  <a:lnTo>
                    <a:pt x="317247" y="187072"/>
                  </a:lnTo>
                  <a:lnTo>
                    <a:pt x="321564" y="187072"/>
                  </a:lnTo>
                  <a:lnTo>
                    <a:pt x="326009" y="187072"/>
                  </a:lnTo>
                  <a:lnTo>
                    <a:pt x="330709" y="187706"/>
                  </a:lnTo>
                  <a:lnTo>
                    <a:pt x="335281" y="188214"/>
                  </a:lnTo>
                  <a:lnTo>
                    <a:pt x="340234" y="189104"/>
                  </a:lnTo>
                  <a:lnTo>
                    <a:pt x="345313" y="190500"/>
                  </a:lnTo>
                  <a:lnTo>
                    <a:pt x="353822" y="193168"/>
                  </a:lnTo>
                  <a:lnTo>
                    <a:pt x="362585" y="195961"/>
                  </a:lnTo>
                  <a:lnTo>
                    <a:pt x="367538" y="197867"/>
                  </a:lnTo>
                  <a:lnTo>
                    <a:pt x="372237" y="199263"/>
                  </a:lnTo>
                  <a:lnTo>
                    <a:pt x="376683" y="200534"/>
                  </a:lnTo>
                  <a:lnTo>
                    <a:pt x="381255" y="201423"/>
                  </a:lnTo>
                  <a:lnTo>
                    <a:pt x="385446" y="202311"/>
                  </a:lnTo>
                  <a:lnTo>
                    <a:pt x="389383" y="202693"/>
                  </a:lnTo>
                  <a:lnTo>
                    <a:pt x="393320" y="202947"/>
                  </a:lnTo>
                  <a:lnTo>
                    <a:pt x="397257" y="203200"/>
                  </a:lnTo>
                  <a:lnTo>
                    <a:pt x="400939" y="203200"/>
                  </a:lnTo>
                  <a:lnTo>
                    <a:pt x="404496" y="202693"/>
                  </a:lnTo>
                  <a:lnTo>
                    <a:pt x="408051" y="202438"/>
                  </a:lnTo>
                  <a:lnTo>
                    <a:pt x="411481" y="202185"/>
                  </a:lnTo>
                  <a:lnTo>
                    <a:pt x="414656" y="201423"/>
                  </a:lnTo>
                  <a:lnTo>
                    <a:pt x="418211" y="200661"/>
                  </a:lnTo>
                  <a:lnTo>
                    <a:pt x="424561" y="199010"/>
                  </a:lnTo>
                  <a:lnTo>
                    <a:pt x="430911" y="197105"/>
                  </a:lnTo>
                  <a:lnTo>
                    <a:pt x="437134" y="195073"/>
                  </a:lnTo>
                  <a:lnTo>
                    <a:pt x="443484" y="193168"/>
                  </a:lnTo>
                  <a:lnTo>
                    <a:pt x="449961" y="191262"/>
                  </a:lnTo>
                  <a:lnTo>
                    <a:pt x="456566" y="189485"/>
                  </a:lnTo>
                  <a:lnTo>
                    <a:pt x="459995" y="188849"/>
                  </a:lnTo>
                  <a:lnTo>
                    <a:pt x="463423" y="188087"/>
                  </a:lnTo>
                  <a:lnTo>
                    <a:pt x="466980" y="187706"/>
                  </a:lnTo>
                  <a:lnTo>
                    <a:pt x="470789" y="187199"/>
                  </a:lnTo>
                  <a:lnTo>
                    <a:pt x="474599" y="187072"/>
                  </a:lnTo>
                  <a:lnTo>
                    <a:pt x="478536" y="186944"/>
                  </a:lnTo>
                  <a:lnTo>
                    <a:pt x="478536" y="197105"/>
                  </a:lnTo>
                  <a:lnTo>
                    <a:pt x="474599" y="197105"/>
                  </a:lnTo>
                  <a:lnTo>
                    <a:pt x="470917" y="197231"/>
                  </a:lnTo>
                  <a:lnTo>
                    <a:pt x="467234" y="197867"/>
                  </a:lnTo>
                  <a:lnTo>
                    <a:pt x="463805" y="198248"/>
                  </a:lnTo>
                  <a:lnTo>
                    <a:pt x="460248" y="198882"/>
                  </a:lnTo>
                  <a:lnTo>
                    <a:pt x="457073" y="199644"/>
                  </a:lnTo>
                  <a:lnTo>
                    <a:pt x="450216" y="201423"/>
                  </a:lnTo>
                  <a:lnTo>
                    <a:pt x="443993" y="203328"/>
                  </a:lnTo>
                  <a:lnTo>
                    <a:pt x="437643" y="205486"/>
                  </a:lnTo>
                  <a:lnTo>
                    <a:pt x="431293" y="207518"/>
                  </a:lnTo>
                  <a:lnTo>
                    <a:pt x="424816" y="209297"/>
                  </a:lnTo>
                  <a:lnTo>
                    <a:pt x="418211" y="211074"/>
                  </a:lnTo>
                  <a:lnTo>
                    <a:pt x="414656" y="211710"/>
                  </a:lnTo>
                  <a:lnTo>
                    <a:pt x="411354" y="212472"/>
                  </a:lnTo>
                  <a:lnTo>
                    <a:pt x="407797" y="212725"/>
                  </a:lnTo>
                  <a:lnTo>
                    <a:pt x="403987" y="213234"/>
                  </a:lnTo>
                  <a:lnTo>
                    <a:pt x="400305" y="213361"/>
                  </a:lnTo>
                  <a:lnTo>
                    <a:pt x="396368" y="213361"/>
                  </a:lnTo>
                  <a:lnTo>
                    <a:pt x="392304" y="213234"/>
                  </a:lnTo>
                  <a:lnTo>
                    <a:pt x="388239" y="212725"/>
                  </a:lnTo>
                  <a:lnTo>
                    <a:pt x="383922" y="212344"/>
                  </a:lnTo>
                  <a:lnTo>
                    <a:pt x="379476" y="211455"/>
                  </a:lnTo>
                  <a:lnTo>
                    <a:pt x="374905" y="210312"/>
                  </a:lnTo>
                  <a:lnTo>
                    <a:pt x="369951" y="209169"/>
                  </a:lnTo>
                  <a:lnTo>
                    <a:pt x="364872" y="207645"/>
                  </a:lnTo>
                  <a:lnTo>
                    <a:pt x="359664" y="205741"/>
                  </a:lnTo>
                  <a:lnTo>
                    <a:pt x="347599" y="202057"/>
                  </a:lnTo>
                  <a:lnTo>
                    <a:pt x="342266" y="200534"/>
                  </a:lnTo>
                  <a:lnTo>
                    <a:pt x="337185" y="199136"/>
                  </a:lnTo>
                  <a:lnTo>
                    <a:pt x="332359" y="198248"/>
                  </a:lnTo>
                  <a:lnTo>
                    <a:pt x="327914" y="197359"/>
                  </a:lnTo>
                  <a:lnTo>
                    <a:pt x="323470" y="197105"/>
                  </a:lnTo>
                  <a:lnTo>
                    <a:pt x="319279" y="196850"/>
                  </a:lnTo>
                  <a:lnTo>
                    <a:pt x="314834" y="196850"/>
                  </a:lnTo>
                  <a:lnTo>
                    <a:pt x="310134" y="197359"/>
                  </a:lnTo>
                  <a:lnTo>
                    <a:pt x="305562" y="198120"/>
                  </a:lnTo>
                  <a:lnTo>
                    <a:pt x="300483" y="199136"/>
                  </a:lnTo>
                  <a:lnTo>
                    <a:pt x="295022" y="200534"/>
                  </a:lnTo>
                  <a:lnTo>
                    <a:pt x="288925" y="202185"/>
                  </a:lnTo>
                  <a:lnTo>
                    <a:pt x="282448" y="204217"/>
                  </a:lnTo>
                  <a:lnTo>
                    <a:pt x="275336" y="206630"/>
                  </a:lnTo>
                  <a:lnTo>
                    <a:pt x="269113" y="208407"/>
                  </a:lnTo>
                  <a:lnTo>
                    <a:pt x="263145" y="210059"/>
                  </a:lnTo>
                  <a:lnTo>
                    <a:pt x="257302" y="211329"/>
                  </a:lnTo>
                  <a:lnTo>
                    <a:pt x="251587" y="212218"/>
                  </a:lnTo>
                  <a:lnTo>
                    <a:pt x="246254" y="212725"/>
                  </a:lnTo>
                  <a:lnTo>
                    <a:pt x="241047" y="213106"/>
                  </a:lnTo>
                  <a:lnTo>
                    <a:pt x="235839" y="213234"/>
                  </a:lnTo>
                  <a:lnTo>
                    <a:pt x="231013" y="213106"/>
                  </a:lnTo>
                  <a:lnTo>
                    <a:pt x="226314" y="212599"/>
                  </a:lnTo>
                  <a:lnTo>
                    <a:pt x="221743" y="211963"/>
                  </a:lnTo>
                  <a:lnTo>
                    <a:pt x="217297" y="211329"/>
                  </a:lnTo>
                  <a:lnTo>
                    <a:pt x="213107" y="210312"/>
                  </a:lnTo>
                  <a:lnTo>
                    <a:pt x="209297" y="209297"/>
                  </a:lnTo>
                  <a:lnTo>
                    <a:pt x="205359" y="208154"/>
                  </a:lnTo>
                  <a:lnTo>
                    <a:pt x="201549" y="206884"/>
                  </a:lnTo>
                  <a:lnTo>
                    <a:pt x="197994" y="205741"/>
                  </a:lnTo>
                  <a:lnTo>
                    <a:pt x="185801" y="202057"/>
                  </a:lnTo>
                  <a:lnTo>
                    <a:pt x="180468" y="200534"/>
                  </a:lnTo>
                  <a:lnTo>
                    <a:pt x="175642" y="199136"/>
                  </a:lnTo>
                  <a:lnTo>
                    <a:pt x="170943" y="198248"/>
                  </a:lnTo>
                  <a:lnTo>
                    <a:pt x="166370" y="197359"/>
                  </a:lnTo>
                  <a:lnTo>
                    <a:pt x="162052" y="197105"/>
                  </a:lnTo>
                  <a:lnTo>
                    <a:pt x="157735" y="196850"/>
                  </a:lnTo>
                  <a:lnTo>
                    <a:pt x="153162" y="196850"/>
                  </a:lnTo>
                  <a:lnTo>
                    <a:pt x="148718" y="197359"/>
                  </a:lnTo>
                  <a:lnTo>
                    <a:pt x="143764" y="198120"/>
                  </a:lnTo>
                  <a:lnTo>
                    <a:pt x="138812" y="199136"/>
                  </a:lnTo>
                  <a:lnTo>
                    <a:pt x="133224" y="200534"/>
                  </a:lnTo>
                  <a:lnTo>
                    <a:pt x="127381" y="202185"/>
                  </a:lnTo>
                  <a:lnTo>
                    <a:pt x="120777" y="204217"/>
                  </a:lnTo>
                  <a:lnTo>
                    <a:pt x="113666" y="206630"/>
                  </a:lnTo>
                  <a:lnTo>
                    <a:pt x="107443" y="208407"/>
                  </a:lnTo>
                  <a:lnTo>
                    <a:pt x="101474" y="210059"/>
                  </a:lnTo>
                  <a:lnTo>
                    <a:pt x="95631" y="211329"/>
                  </a:lnTo>
                  <a:lnTo>
                    <a:pt x="90044" y="212218"/>
                  </a:lnTo>
                  <a:lnTo>
                    <a:pt x="84582" y="212725"/>
                  </a:lnTo>
                  <a:lnTo>
                    <a:pt x="79375" y="213106"/>
                  </a:lnTo>
                  <a:lnTo>
                    <a:pt x="74423" y="213234"/>
                  </a:lnTo>
                  <a:lnTo>
                    <a:pt x="69469" y="213106"/>
                  </a:lnTo>
                  <a:lnTo>
                    <a:pt x="64644" y="212599"/>
                  </a:lnTo>
                  <a:lnTo>
                    <a:pt x="60199" y="211963"/>
                  </a:lnTo>
                  <a:lnTo>
                    <a:pt x="55881" y="211329"/>
                  </a:lnTo>
                  <a:lnTo>
                    <a:pt x="51562" y="210312"/>
                  </a:lnTo>
                  <a:lnTo>
                    <a:pt x="47499" y="209297"/>
                  </a:lnTo>
                  <a:lnTo>
                    <a:pt x="43562" y="208154"/>
                  </a:lnTo>
                  <a:lnTo>
                    <a:pt x="40006" y="206884"/>
                  </a:lnTo>
                  <a:lnTo>
                    <a:pt x="36576" y="205741"/>
                  </a:lnTo>
                  <a:lnTo>
                    <a:pt x="27306" y="202693"/>
                  </a:lnTo>
                  <a:lnTo>
                    <a:pt x="22733" y="201423"/>
                  </a:lnTo>
                  <a:lnTo>
                    <a:pt x="18288" y="200153"/>
                  </a:lnTo>
                  <a:lnTo>
                    <a:pt x="13844" y="199136"/>
                  </a:lnTo>
                  <a:lnTo>
                    <a:pt x="9271" y="198248"/>
                  </a:lnTo>
                  <a:lnTo>
                    <a:pt x="4700" y="197612"/>
                  </a:lnTo>
                  <a:lnTo>
                    <a:pt x="0" y="197105"/>
                  </a:lnTo>
                  <a:lnTo>
                    <a:pt x="0" y="187072"/>
                  </a:lnTo>
                  <a:close/>
                  <a:moveTo>
                    <a:pt x="-2098167" y="4398264"/>
                  </a:moveTo>
                  <a:moveTo>
                    <a:pt x="21844" y="41530"/>
                  </a:moveTo>
                  <a:lnTo>
                    <a:pt x="18035" y="31369"/>
                  </a:lnTo>
                  <a:lnTo>
                    <a:pt x="29592" y="31369"/>
                  </a:lnTo>
                  <a:lnTo>
                    <a:pt x="29592" y="10161"/>
                  </a:lnTo>
                  <a:lnTo>
                    <a:pt x="50546" y="0"/>
                  </a:lnTo>
                  <a:lnTo>
                    <a:pt x="50546" y="31369"/>
                  </a:lnTo>
                  <a:lnTo>
                    <a:pt x="56007" y="31369"/>
                  </a:lnTo>
                  <a:lnTo>
                    <a:pt x="56007" y="12066"/>
                  </a:lnTo>
                  <a:lnTo>
                    <a:pt x="65532" y="12066"/>
                  </a:lnTo>
                  <a:lnTo>
                    <a:pt x="65532" y="31369"/>
                  </a:lnTo>
                  <a:lnTo>
                    <a:pt x="103379" y="31369"/>
                  </a:lnTo>
                  <a:lnTo>
                    <a:pt x="103125" y="41530"/>
                  </a:lnTo>
                  <a:lnTo>
                    <a:pt x="21844" y="41530"/>
                  </a:lnTo>
                  <a:close/>
                  <a:moveTo>
                    <a:pt x="-1952625" y="4398264"/>
                  </a:moveTo>
                  <a:moveTo>
                    <a:pt x="21844" y="129668"/>
                  </a:moveTo>
                  <a:lnTo>
                    <a:pt x="21844" y="122174"/>
                  </a:lnTo>
                  <a:lnTo>
                    <a:pt x="32386" y="119761"/>
                  </a:lnTo>
                  <a:lnTo>
                    <a:pt x="31624" y="68326"/>
                  </a:lnTo>
                  <a:lnTo>
                    <a:pt x="25400" y="51562"/>
                  </a:lnTo>
                  <a:lnTo>
                    <a:pt x="36323" y="51562"/>
                  </a:lnTo>
                  <a:lnTo>
                    <a:pt x="41275" y="66041"/>
                  </a:lnTo>
                  <a:lnTo>
                    <a:pt x="41783" y="117730"/>
                  </a:lnTo>
                  <a:lnTo>
                    <a:pt x="85091" y="108459"/>
                  </a:lnTo>
                  <a:lnTo>
                    <a:pt x="84710" y="65024"/>
                  </a:lnTo>
                  <a:lnTo>
                    <a:pt x="88138" y="61723"/>
                  </a:lnTo>
                  <a:lnTo>
                    <a:pt x="47880" y="61723"/>
                  </a:lnTo>
                  <a:lnTo>
                    <a:pt x="47880" y="51562"/>
                  </a:lnTo>
                  <a:lnTo>
                    <a:pt x="93092" y="51562"/>
                  </a:lnTo>
                  <a:lnTo>
                    <a:pt x="102744" y="51562"/>
                  </a:lnTo>
                  <a:lnTo>
                    <a:pt x="102362" y="61849"/>
                  </a:lnTo>
                  <a:lnTo>
                    <a:pt x="94235" y="69469"/>
                  </a:lnTo>
                  <a:lnTo>
                    <a:pt x="94869" y="129668"/>
                  </a:lnTo>
                  <a:lnTo>
                    <a:pt x="21844" y="129668"/>
                  </a:lnTo>
                  <a:close/>
                  <a:moveTo>
                    <a:pt x="-2040763" y="4398264"/>
                  </a:moveTo>
                </a:path>
              </a:pathLst>
            </a:custGeom>
            <a:solidFill>
              <a:srgbClr val="97979C">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26" name="Freeform 1526"/>
            <p:cNvSpPr/>
            <p:nvPr/>
          </p:nvSpPr>
          <p:spPr>
            <a:xfrm>
              <a:off x="4958165" y="1529563"/>
              <a:ext cx="2239114" cy="1669435"/>
            </a:xfrm>
            <a:custGeom>
              <a:avLst/>
              <a:gdLst/>
              <a:ahLst/>
              <a:cxnLst/>
              <a:rect l="0" t="0" r="0" b="0"/>
              <a:pathLst>
                <a:path w="2240280" h="1670304">
                  <a:moveTo>
                    <a:pt x="0" y="1670304"/>
                  </a:moveTo>
                  <a:lnTo>
                    <a:pt x="2240280" y="1670304"/>
                  </a:lnTo>
                  <a:lnTo>
                    <a:pt x="2240280" y="0"/>
                  </a:lnTo>
                  <a:lnTo>
                    <a:pt x="0" y="0"/>
                  </a:lnTo>
                  <a:lnTo>
                    <a:pt x="0" y="1670304"/>
                  </a:lnTo>
                  <a:close/>
                </a:path>
              </a:pathLst>
            </a:custGeom>
            <a:noFill/>
            <a:ln w="9525" cap="flat" cmpd="sng">
              <a:solidFill>
                <a:srgbClr val="FFF066"/>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1527" name="Freeform 1527"/>
            <p:cNvSpPr/>
            <p:nvPr/>
          </p:nvSpPr>
          <p:spPr>
            <a:xfrm>
              <a:off x="5370955" y="3032966"/>
              <a:ext cx="1282540" cy="292456"/>
            </a:xfrm>
            <a:custGeom>
              <a:avLst/>
              <a:gdLst/>
              <a:ahLst/>
              <a:cxnLst/>
              <a:rect l="0" t="0" r="0" b="0"/>
              <a:pathLst>
                <a:path w="1283208" h="292608">
                  <a:moveTo>
                    <a:pt x="0" y="292608"/>
                  </a:moveTo>
                  <a:lnTo>
                    <a:pt x="1283208" y="292608"/>
                  </a:lnTo>
                  <a:lnTo>
                    <a:pt x="1283208" y="0"/>
                  </a:lnTo>
                  <a:lnTo>
                    <a:pt x="0" y="0"/>
                  </a:lnTo>
                  <a:lnTo>
                    <a:pt x="0" y="292608"/>
                  </a:lnTo>
                  <a:close/>
                </a:path>
              </a:pathLst>
            </a:custGeom>
            <a:solidFill>
              <a:srgbClr val="2E2E38">
                <a:alpha val="10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554" name="Rectangle 1554"/>
            <p:cNvSpPr/>
            <p:nvPr/>
          </p:nvSpPr>
          <p:spPr>
            <a:xfrm>
              <a:off x="5099824" y="2023221"/>
              <a:ext cx="1854670" cy="154705"/>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1065734" algn="l"/>
                </a:tabLst>
                <a:defRPr/>
              </a:pPr>
              <a:r>
                <a:rPr kumimoji="0" lang="en-US" sz="1005" b="1" i="0" u="none" strike="noStrike" kern="1200" cap="none" spc="0" normalizeH="0" baseline="0" noProof="0" dirty="0">
                  <a:ln>
                    <a:noFill/>
                  </a:ln>
                  <a:solidFill>
                    <a:srgbClr val="188CE5"/>
                  </a:solidFill>
                  <a:effectLst/>
                  <a:uLnTx/>
                  <a:uFillTx/>
                  <a:latin typeface="EYInterstate-LightBold"/>
                  <a:ea typeface="+mn-ea"/>
                  <a:cs typeface="+mn-cs"/>
                </a:rPr>
                <a:t>Liquefaction</a:t>
              </a: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	Compression</a:t>
              </a:r>
            </a:p>
          </p:txBody>
        </p:sp>
        <p:sp>
          <p:nvSpPr>
            <p:cNvPr id="1561" name="Rectangle 1561"/>
            <p:cNvSpPr/>
            <p:nvPr/>
          </p:nvSpPr>
          <p:spPr>
            <a:xfrm>
              <a:off x="5295684" y="2706748"/>
              <a:ext cx="424796" cy="15478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LOHCs</a:t>
              </a:r>
            </a:p>
          </p:txBody>
        </p:sp>
        <p:sp>
          <p:nvSpPr>
            <p:cNvPr id="1577" name="Rectangle 1577"/>
            <p:cNvSpPr/>
            <p:nvPr/>
          </p:nvSpPr>
          <p:spPr>
            <a:xfrm>
              <a:off x="6262920" y="2706748"/>
              <a:ext cx="580287" cy="15478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Ammonia</a:t>
              </a:r>
            </a:p>
          </p:txBody>
        </p:sp>
        <p:sp>
          <p:nvSpPr>
            <p:cNvPr id="1578" name="Rectangle 1578"/>
            <p:cNvSpPr/>
            <p:nvPr/>
          </p:nvSpPr>
          <p:spPr>
            <a:xfrm>
              <a:off x="6488355" y="2383921"/>
              <a:ext cx="110550" cy="213922"/>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90" b="0" i="0" u="none" strike="noStrike" kern="1200" cap="none" spc="0" normalizeH="0" baseline="0" noProof="0" dirty="0">
                  <a:ln>
                    <a:noFill/>
                  </a:ln>
                  <a:solidFill>
                    <a:srgbClr val="97979C"/>
                  </a:solidFill>
                  <a:effectLst/>
                  <a:uLnTx/>
                  <a:uFillTx/>
                  <a:latin typeface="EYInterstate-Light"/>
                  <a:ea typeface="+mn-ea"/>
                  <a:cs typeface="+mn-cs"/>
                </a:rPr>
                <a:t>+</a:t>
              </a:r>
            </a:p>
          </p:txBody>
        </p:sp>
      </p:grpSp>
      <p:sp>
        <p:nvSpPr>
          <p:cNvPr id="1579" name="Rectangle 1579"/>
          <p:cNvSpPr/>
          <p:nvPr/>
        </p:nvSpPr>
        <p:spPr>
          <a:xfrm>
            <a:off x="1200706" y="1231853"/>
            <a:ext cx="9640546" cy="18434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2207565" algn="l"/>
                <a:tab pos="4497369" algn="l"/>
                <a:tab pos="6671466" algn="l"/>
                <a:tab pos="8986009" algn="l"/>
              </a:tabLst>
              <a:defRPr/>
            </a:pPr>
            <a:r>
              <a:rPr kumimoji="0" lang="en-US" sz="1198" b="1" i="0" u="none" strike="noStrike" kern="1200" cap="none" spc="0" normalizeH="0" baseline="0" noProof="0" dirty="0">
                <a:ln>
                  <a:noFill/>
                </a:ln>
                <a:solidFill>
                  <a:srgbClr val="2E2E38"/>
                </a:solidFill>
                <a:effectLst/>
                <a:uLnTx/>
                <a:uFillTx/>
                <a:latin typeface="EYInterstate-LightBold"/>
                <a:ea typeface="+mn-ea"/>
                <a:cs typeface="+mn-cs"/>
              </a:rPr>
              <a:t>E</a:t>
            </a:r>
            <a:r>
              <a:rPr kumimoji="0" lang="en-US" sz="1198" b="1" i="0" u="none" strike="noStrike" kern="1200" cap="none" spc="-13" normalizeH="0" baseline="0" noProof="0" dirty="0">
                <a:ln>
                  <a:noFill/>
                </a:ln>
                <a:solidFill>
                  <a:srgbClr val="2E2E38"/>
                </a:solidFill>
                <a:effectLst/>
                <a:uLnTx/>
                <a:uFillTx/>
                <a:latin typeface="EYInterstate-LightBold"/>
                <a:ea typeface="+mn-ea"/>
                <a:cs typeface="+mn-cs"/>
              </a:rPr>
              <a:t>n</a:t>
            </a:r>
            <a:r>
              <a:rPr kumimoji="0" lang="en-US" sz="1198" b="1" i="0" u="none" strike="noStrike" kern="1200" cap="none" spc="0" normalizeH="0" baseline="0" noProof="0" dirty="0">
                <a:ln>
                  <a:noFill/>
                </a:ln>
                <a:solidFill>
                  <a:srgbClr val="2E2E38"/>
                </a:solidFill>
                <a:effectLst/>
                <a:uLnTx/>
                <a:uFillTx/>
                <a:latin typeface="EYInterstate-LightBold"/>
                <a:ea typeface="+mn-ea"/>
                <a:cs typeface="+mn-cs"/>
              </a:rPr>
              <a:t>ergy s</a:t>
            </a:r>
            <a:r>
              <a:rPr kumimoji="0" lang="en-US" sz="1198" b="1" i="0" u="none" strike="noStrike" kern="1200" cap="none" spc="-11" normalizeH="0" baseline="0" noProof="0" dirty="0">
                <a:ln>
                  <a:noFill/>
                </a:ln>
                <a:solidFill>
                  <a:srgbClr val="2E2E38"/>
                </a:solidFill>
                <a:effectLst/>
                <a:uLnTx/>
                <a:uFillTx/>
                <a:latin typeface="EYInterstate-LightBold"/>
                <a:ea typeface="+mn-ea"/>
                <a:cs typeface="+mn-cs"/>
              </a:rPr>
              <a:t>o</a:t>
            </a:r>
            <a:r>
              <a:rPr kumimoji="0" lang="en-US" sz="1198" b="1" i="0" u="none" strike="noStrike" kern="1200" cap="none" spc="-12" normalizeH="0" baseline="0" noProof="0" dirty="0">
                <a:ln>
                  <a:noFill/>
                </a:ln>
                <a:solidFill>
                  <a:srgbClr val="2E2E38"/>
                </a:solidFill>
                <a:effectLst/>
                <a:uLnTx/>
                <a:uFillTx/>
                <a:latin typeface="EYInterstate-LightBold"/>
                <a:ea typeface="+mn-ea"/>
                <a:cs typeface="+mn-cs"/>
              </a:rPr>
              <a:t>u</a:t>
            </a:r>
            <a:r>
              <a:rPr kumimoji="0" lang="en-US" sz="1198" b="1" i="0" u="none" strike="noStrike" kern="1200" cap="none" spc="0" normalizeH="0" baseline="0" noProof="0" dirty="0">
                <a:ln>
                  <a:noFill/>
                </a:ln>
                <a:solidFill>
                  <a:srgbClr val="2E2E38"/>
                </a:solidFill>
                <a:effectLst/>
                <a:uLnTx/>
                <a:uFillTx/>
                <a:latin typeface="EYInterstate-LightBold"/>
                <a:ea typeface="+mn-ea"/>
                <a:cs typeface="+mn-cs"/>
              </a:rPr>
              <a:t>rce	H</a:t>
            </a:r>
            <a:r>
              <a:rPr kumimoji="0" lang="en-US" sz="1198" b="1" i="0" u="none" strike="noStrike" kern="1200" cap="none" spc="324" normalizeH="0" baseline="-36363" noProof="0" dirty="0">
                <a:ln>
                  <a:noFill/>
                </a:ln>
                <a:solidFill>
                  <a:srgbClr val="2E2E38"/>
                </a:solidFill>
                <a:effectLst/>
                <a:uLnTx/>
                <a:uFillTx/>
                <a:latin typeface="EYInterstate-LightBold"/>
                <a:ea typeface="+mn-ea"/>
                <a:cs typeface="+mn-cs"/>
              </a:rPr>
              <a:t>2</a:t>
            </a:r>
            <a:r>
              <a:rPr kumimoji="0" lang="en-US" sz="1198" b="1" i="0" u="none" strike="noStrike" kern="1200" cap="none" spc="0" normalizeH="0" baseline="0" noProof="0" dirty="0">
                <a:ln>
                  <a:noFill/>
                </a:ln>
                <a:solidFill>
                  <a:srgbClr val="2E2E38"/>
                </a:solidFill>
                <a:effectLst/>
                <a:uLnTx/>
                <a:uFillTx/>
                <a:latin typeface="EYInterstate-LightBold"/>
                <a:ea typeface="+mn-ea"/>
                <a:cs typeface="+mn-cs"/>
              </a:rPr>
              <a:t>Ge</a:t>
            </a:r>
            <a:r>
              <a:rPr kumimoji="0" lang="en-US" sz="1198" b="1" i="0" u="none" strike="noStrike" kern="1200" cap="none" spc="-12" normalizeH="0" baseline="0" noProof="0" dirty="0">
                <a:ln>
                  <a:noFill/>
                </a:ln>
                <a:solidFill>
                  <a:srgbClr val="2E2E38"/>
                </a:solidFill>
                <a:effectLst/>
                <a:uLnTx/>
                <a:uFillTx/>
                <a:latin typeface="EYInterstate-LightBold"/>
                <a:ea typeface="+mn-ea"/>
                <a:cs typeface="+mn-cs"/>
              </a:rPr>
              <a:t>n</a:t>
            </a:r>
            <a:r>
              <a:rPr kumimoji="0" lang="en-US" sz="1198" b="1" i="0" u="none" strike="noStrike" kern="1200" cap="none" spc="0" normalizeH="0" baseline="0" noProof="0" dirty="0">
                <a:ln>
                  <a:noFill/>
                </a:ln>
                <a:solidFill>
                  <a:srgbClr val="2E2E38"/>
                </a:solidFill>
                <a:effectLst/>
                <a:uLnTx/>
                <a:uFillTx/>
                <a:latin typeface="EYInterstate-LightBold"/>
                <a:ea typeface="+mn-ea"/>
                <a:cs typeface="+mn-cs"/>
              </a:rPr>
              <a:t>erati</a:t>
            </a:r>
            <a:r>
              <a:rPr kumimoji="0" lang="en-US" sz="1198" b="1" i="0" u="none" strike="noStrike" kern="1200" cap="none" spc="-12" normalizeH="0" baseline="0" noProof="0" dirty="0">
                <a:ln>
                  <a:noFill/>
                </a:ln>
                <a:solidFill>
                  <a:srgbClr val="2E2E38"/>
                </a:solidFill>
                <a:effectLst/>
                <a:uLnTx/>
                <a:uFillTx/>
                <a:latin typeface="EYInterstate-LightBold"/>
                <a:ea typeface="+mn-ea"/>
                <a:cs typeface="+mn-cs"/>
              </a:rPr>
              <a:t>o</a:t>
            </a:r>
            <a:r>
              <a:rPr kumimoji="0" lang="en-US" sz="1198" b="1" i="0" u="none" strike="noStrike" kern="1200" cap="none" spc="0" normalizeH="0" baseline="0" noProof="0" dirty="0">
                <a:ln>
                  <a:noFill/>
                </a:ln>
                <a:solidFill>
                  <a:srgbClr val="2E2E38"/>
                </a:solidFill>
                <a:effectLst/>
                <a:uLnTx/>
                <a:uFillTx/>
                <a:latin typeface="EYInterstate-LightBold"/>
                <a:ea typeface="+mn-ea"/>
                <a:cs typeface="+mn-cs"/>
              </a:rPr>
              <a:t>n	C</a:t>
            </a:r>
            <a:r>
              <a:rPr kumimoji="0" lang="en-US" sz="1198" b="1" i="0" u="none" strike="noStrike" kern="1200" cap="none" spc="-12" normalizeH="0" baseline="0" noProof="0" dirty="0">
                <a:ln>
                  <a:noFill/>
                </a:ln>
                <a:solidFill>
                  <a:srgbClr val="2E2E38"/>
                </a:solidFill>
                <a:effectLst/>
                <a:uLnTx/>
                <a:uFillTx/>
                <a:latin typeface="EYInterstate-LightBold"/>
                <a:ea typeface="+mn-ea"/>
                <a:cs typeface="+mn-cs"/>
              </a:rPr>
              <a:t>on</a:t>
            </a:r>
            <a:r>
              <a:rPr kumimoji="0" lang="en-US" sz="1198" b="1" i="0" u="none" strike="noStrike" kern="1200" cap="none" spc="0" normalizeH="0" baseline="0" noProof="0" dirty="0">
                <a:ln>
                  <a:noFill/>
                </a:ln>
                <a:solidFill>
                  <a:srgbClr val="2E2E38"/>
                </a:solidFill>
                <a:effectLst/>
                <a:uLnTx/>
                <a:uFillTx/>
                <a:latin typeface="EYInterstate-LightBold"/>
                <a:ea typeface="+mn-ea"/>
                <a:cs typeface="+mn-cs"/>
              </a:rPr>
              <a:t>versi</a:t>
            </a:r>
            <a:r>
              <a:rPr kumimoji="0" lang="en-US" sz="1198" b="1" i="0" u="none" strike="noStrike" kern="1200" cap="none" spc="-15" normalizeH="0" baseline="0" noProof="0" dirty="0">
                <a:ln>
                  <a:noFill/>
                </a:ln>
                <a:solidFill>
                  <a:srgbClr val="2E2E38"/>
                </a:solidFill>
                <a:effectLst/>
                <a:uLnTx/>
                <a:uFillTx/>
                <a:latin typeface="EYInterstate-LightBold"/>
                <a:ea typeface="+mn-ea"/>
                <a:cs typeface="+mn-cs"/>
              </a:rPr>
              <a:t>o</a:t>
            </a:r>
            <a:r>
              <a:rPr kumimoji="0" lang="en-US" sz="1198" b="1" i="0" u="none" strike="noStrike" kern="1200" cap="none" spc="0" normalizeH="0" baseline="0" noProof="0" dirty="0">
                <a:ln>
                  <a:noFill/>
                </a:ln>
                <a:solidFill>
                  <a:srgbClr val="2E2E38"/>
                </a:solidFill>
                <a:effectLst/>
                <a:uLnTx/>
                <a:uFillTx/>
                <a:latin typeface="EYInterstate-LightBold"/>
                <a:ea typeface="+mn-ea"/>
                <a:cs typeface="+mn-cs"/>
              </a:rPr>
              <a:t>n	Distri</a:t>
            </a:r>
            <a:r>
              <a:rPr kumimoji="0" lang="en-US" sz="1198" b="1" i="0" u="none" strike="noStrike" kern="1200" cap="none" spc="-13" normalizeH="0" baseline="0" noProof="0" dirty="0">
                <a:ln>
                  <a:noFill/>
                </a:ln>
                <a:solidFill>
                  <a:srgbClr val="2E2E38"/>
                </a:solidFill>
                <a:effectLst/>
                <a:uLnTx/>
                <a:uFillTx/>
                <a:latin typeface="EYInterstate-LightBold"/>
                <a:ea typeface="+mn-ea"/>
                <a:cs typeface="+mn-cs"/>
              </a:rPr>
              <a:t>b</a:t>
            </a:r>
            <a:r>
              <a:rPr kumimoji="0" lang="en-US" sz="1198" b="1" i="0" u="none" strike="noStrike" kern="1200" cap="none" spc="-12" normalizeH="0" baseline="0" noProof="0" dirty="0">
                <a:ln>
                  <a:noFill/>
                </a:ln>
                <a:solidFill>
                  <a:srgbClr val="2E2E38"/>
                </a:solidFill>
                <a:effectLst/>
                <a:uLnTx/>
                <a:uFillTx/>
                <a:latin typeface="EYInterstate-LightBold"/>
                <a:ea typeface="+mn-ea"/>
                <a:cs typeface="+mn-cs"/>
              </a:rPr>
              <a:t>u</a:t>
            </a:r>
            <a:r>
              <a:rPr kumimoji="0" lang="en-US" sz="1198" b="1" i="0" u="none" strike="noStrike" kern="1200" cap="none" spc="0" normalizeH="0" baseline="0" noProof="0" dirty="0">
                <a:ln>
                  <a:noFill/>
                </a:ln>
                <a:solidFill>
                  <a:srgbClr val="2E2E38"/>
                </a:solidFill>
                <a:effectLst/>
                <a:uLnTx/>
                <a:uFillTx/>
                <a:latin typeface="EYInterstate-LightBold"/>
                <a:ea typeface="+mn-ea"/>
                <a:cs typeface="+mn-cs"/>
              </a:rPr>
              <a:t>ti</a:t>
            </a:r>
            <a:r>
              <a:rPr kumimoji="0" lang="en-US" sz="1198" b="1" i="0" u="none" strike="noStrike" kern="1200" cap="none" spc="-13" normalizeH="0" baseline="0" noProof="0" dirty="0">
                <a:ln>
                  <a:noFill/>
                </a:ln>
                <a:solidFill>
                  <a:srgbClr val="2E2E38"/>
                </a:solidFill>
                <a:effectLst/>
                <a:uLnTx/>
                <a:uFillTx/>
                <a:latin typeface="EYInterstate-LightBold"/>
                <a:ea typeface="+mn-ea"/>
                <a:cs typeface="+mn-cs"/>
              </a:rPr>
              <a:t>o</a:t>
            </a:r>
            <a:r>
              <a:rPr kumimoji="0" lang="en-US" sz="1198" b="1" i="0" u="none" strike="noStrike" kern="1200" cap="none" spc="0" normalizeH="0" baseline="0" noProof="0" dirty="0">
                <a:ln>
                  <a:noFill/>
                </a:ln>
                <a:solidFill>
                  <a:srgbClr val="2E2E38"/>
                </a:solidFill>
                <a:effectLst/>
                <a:uLnTx/>
                <a:uFillTx/>
                <a:latin typeface="EYInterstate-LightBold"/>
                <a:ea typeface="+mn-ea"/>
                <a:cs typeface="+mn-cs"/>
              </a:rPr>
              <a:t>n	E</a:t>
            </a:r>
            <a:r>
              <a:rPr kumimoji="0" lang="en-US" sz="1198" b="1" i="0" u="none" strike="noStrike" kern="1200" cap="none" spc="-12" normalizeH="0" baseline="0" noProof="0" dirty="0">
                <a:ln>
                  <a:noFill/>
                </a:ln>
                <a:solidFill>
                  <a:srgbClr val="2E2E38"/>
                </a:solidFill>
                <a:effectLst/>
                <a:uLnTx/>
                <a:uFillTx/>
                <a:latin typeface="EYInterstate-LightBold"/>
                <a:ea typeface="+mn-ea"/>
                <a:cs typeface="+mn-cs"/>
              </a:rPr>
              <a:t>n</a:t>
            </a:r>
            <a:r>
              <a:rPr kumimoji="0" lang="en-US" sz="1198" b="1" i="0" u="none" strike="noStrike" kern="1200" cap="none" spc="-11" normalizeH="0" baseline="0" noProof="0" dirty="0">
                <a:ln>
                  <a:noFill/>
                </a:ln>
                <a:solidFill>
                  <a:srgbClr val="2E2E38"/>
                </a:solidFill>
                <a:effectLst/>
                <a:uLnTx/>
                <a:uFillTx/>
                <a:latin typeface="EYInterstate-LightBold"/>
                <a:ea typeface="+mn-ea"/>
                <a:cs typeface="+mn-cs"/>
              </a:rPr>
              <a:t>d</a:t>
            </a:r>
            <a:r>
              <a:rPr kumimoji="0" lang="en-US" sz="1198" b="1" i="0" u="none" strike="noStrike" kern="1200" cap="none" spc="0" normalizeH="0" baseline="0" noProof="0" dirty="0">
                <a:ln>
                  <a:noFill/>
                </a:ln>
                <a:solidFill>
                  <a:srgbClr val="2E2E38"/>
                </a:solidFill>
                <a:effectLst/>
                <a:uLnTx/>
                <a:uFillTx/>
                <a:latin typeface="EYInterstate-LightBold"/>
                <a:ea typeface="+mn-ea"/>
                <a:cs typeface="+mn-cs"/>
              </a:rPr>
              <a:t>-</a:t>
            </a:r>
            <a:r>
              <a:rPr kumimoji="0" lang="en-US" sz="1198" b="1" i="0" u="none" strike="noStrike" kern="1200" cap="none" spc="-13" normalizeH="0" baseline="0" noProof="0" dirty="0">
                <a:ln>
                  <a:noFill/>
                </a:ln>
                <a:solidFill>
                  <a:srgbClr val="2E2E38"/>
                </a:solidFill>
                <a:effectLst/>
                <a:uLnTx/>
                <a:uFillTx/>
                <a:latin typeface="EYInterstate-LightBold"/>
                <a:ea typeface="+mn-ea"/>
                <a:cs typeface="+mn-cs"/>
              </a:rPr>
              <a:t>u</a:t>
            </a:r>
            <a:r>
              <a:rPr kumimoji="0" lang="en-US" sz="1198" b="1" i="0" u="none" strike="noStrike" kern="1200" cap="none" spc="0" normalizeH="0" baseline="0" noProof="0" dirty="0">
                <a:ln>
                  <a:noFill/>
                </a:ln>
                <a:solidFill>
                  <a:srgbClr val="2E2E38"/>
                </a:solidFill>
                <a:effectLst/>
                <a:uLnTx/>
                <a:uFillTx/>
                <a:latin typeface="EYInterstate-LightBold"/>
                <a:ea typeface="+mn-ea"/>
                <a:cs typeface="+mn-cs"/>
              </a:rPr>
              <a:t>se</a:t>
            </a:r>
          </a:p>
        </p:txBody>
      </p:sp>
      <p:sp>
        <p:nvSpPr>
          <p:cNvPr id="1590" name="Rectangle 1590"/>
          <p:cNvSpPr/>
          <p:nvPr/>
        </p:nvSpPr>
        <p:spPr>
          <a:xfrm>
            <a:off x="5292927" y="3720444"/>
            <a:ext cx="1565265" cy="246990"/>
          </a:xfrm>
          <a:prstGeom prst="rect">
            <a:avLst/>
          </a:prstGeom>
          <a:solidFill>
            <a:srgbClr val="2E2E38"/>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5" b="1" i="0" u="none" strike="noStrike" kern="1200" cap="none" spc="-12" normalizeH="0" baseline="0" noProof="0" dirty="0">
                <a:ln>
                  <a:noFill/>
                </a:ln>
                <a:solidFill>
                  <a:srgbClr val="FFE600"/>
                </a:solidFill>
                <a:effectLst/>
                <a:uLnTx/>
                <a:uFillTx/>
                <a:latin typeface="EYInterstate-LightBold"/>
                <a:ea typeface="+mn-ea"/>
                <a:cs typeface="+mn-cs"/>
              </a:rPr>
              <a:t>R</a:t>
            </a:r>
            <a:r>
              <a:rPr kumimoji="0" lang="en-US" sz="1605" b="1" i="0" u="none" strike="noStrike" kern="1200" cap="none" spc="0" normalizeH="0" baseline="0" noProof="0" dirty="0">
                <a:ln>
                  <a:noFill/>
                </a:ln>
                <a:solidFill>
                  <a:srgbClr val="FFE600"/>
                </a:solidFill>
                <a:effectLst/>
                <a:uLnTx/>
                <a:uFillTx/>
                <a:latin typeface="EYInterstate-LightBold"/>
                <a:ea typeface="+mn-ea"/>
                <a:cs typeface="+mn-cs"/>
              </a:rPr>
              <a:t>efinement   </a:t>
            </a:r>
          </a:p>
        </p:txBody>
      </p:sp>
      <p:sp>
        <p:nvSpPr>
          <p:cNvPr id="1591" name="Rectangle 1591"/>
          <p:cNvSpPr/>
          <p:nvPr/>
        </p:nvSpPr>
        <p:spPr>
          <a:xfrm>
            <a:off x="5284022" y="3072381"/>
            <a:ext cx="1579147" cy="246861"/>
          </a:xfrm>
          <a:prstGeom prst="rect">
            <a:avLst/>
          </a:prstGeom>
          <a:solidFill>
            <a:srgbClr val="2E2E38"/>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5" b="1" i="0" u="none" strike="noStrike" kern="1200" cap="none" spc="0" normalizeH="0" baseline="0" noProof="0" dirty="0">
                <a:ln>
                  <a:noFill/>
                </a:ln>
                <a:solidFill>
                  <a:srgbClr val="FFE600"/>
                </a:solidFill>
                <a:effectLst/>
                <a:uLnTx/>
                <a:uFillTx/>
                <a:latin typeface="EYInterstate-LightBold"/>
                <a:ea typeface="+mn-ea"/>
                <a:cs typeface="+mn-cs"/>
              </a:rPr>
              <a:t>Conver</a:t>
            </a:r>
            <a:r>
              <a:rPr kumimoji="0" lang="en-US" sz="1605" b="1" i="0" u="none" strike="noStrike" kern="1200" cap="none" spc="-13" normalizeH="0" baseline="0" noProof="0" dirty="0">
                <a:ln>
                  <a:noFill/>
                </a:ln>
                <a:solidFill>
                  <a:srgbClr val="FFE600"/>
                </a:solidFill>
                <a:effectLst/>
                <a:uLnTx/>
                <a:uFillTx/>
                <a:latin typeface="EYInterstate-LightBold"/>
                <a:ea typeface="+mn-ea"/>
                <a:cs typeface="+mn-cs"/>
              </a:rPr>
              <a:t>s</a:t>
            </a:r>
            <a:r>
              <a:rPr kumimoji="0" lang="en-US" sz="1605" b="1" i="0" u="none" strike="noStrike" kern="1200" cap="none" spc="0" normalizeH="0" baseline="0" noProof="0" dirty="0">
                <a:ln>
                  <a:noFill/>
                </a:ln>
                <a:solidFill>
                  <a:srgbClr val="FFE600"/>
                </a:solidFill>
                <a:effectLst/>
                <a:uLnTx/>
                <a:uFillTx/>
                <a:latin typeface="EYInterstate-LightBold"/>
                <a:ea typeface="+mn-ea"/>
                <a:cs typeface="+mn-cs"/>
              </a:rPr>
              <a:t>ion</a:t>
            </a:r>
          </a:p>
        </p:txBody>
      </p:sp>
      <p:sp>
        <p:nvSpPr>
          <p:cNvPr id="1592" name="Rectangle 1592"/>
          <p:cNvSpPr/>
          <p:nvPr/>
        </p:nvSpPr>
        <p:spPr>
          <a:xfrm>
            <a:off x="7785086" y="2364221"/>
            <a:ext cx="998766" cy="246861"/>
          </a:xfrm>
          <a:prstGeom prst="rect">
            <a:avLst/>
          </a:prstGeom>
          <a:solidFill>
            <a:srgbClr val="2E2E38"/>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5" b="1" i="0" u="none" strike="noStrike" kern="1200" cap="none" spc="0" normalizeH="0" baseline="0" noProof="0" dirty="0">
                <a:ln>
                  <a:noFill/>
                </a:ln>
                <a:solidFill>
                  <a:srgbClr val="FFE600"/>
                </a:solidFill>
                <a:effectLst/>
                <a:uLnTx/>
                <a:uFillTx/>
                <a:latin typeface="EYInterstate-LightBold"/>
                <a:ea typeface="+mn-ea"/>
                <a:cs typeface="+mn-cs"/>
              </a:rPr>
              <a:t>Storage</a:t>
            </a:r>
          </a:p>
        </p:txBody>
      </p:sp>
      <p:sp>
        <p:nvSpPr>
          <p:cNvPr id="1595" name="Rectangle 1595"/>
          <p:cNvSpPr/>
          <p:nvPr/>
        </p:nvSpPr>
        <p:spPr>
          <a:xfrm>
            <a:off x="613662" y="6108646"/>
            <a:ext cx="1604156" cy="121830"/>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Sou</a:t>
            </a:r>
            <a:r>
              <a:rPr kumimoji="0" lang="en-US" sz="792" b="0" i="0" u="none" strike="noStrike" kern="1200" cap="none" spc="-11" normalizeH="0" baseline="0" noProof="0" dirty="0">
                <a:ln>
                  <a:noFill/>
                </a:ln>
                <a:solidFill>
                  <a:srgbClr val="FFFFFF"/>
                </a:solidFill>
                <a:effectLst/>
                <a:uLnTx/>
                <a:uFillTx/>
                <a:latin typeface="EYInterstate-Light"/>
                <a:ea typeface="+mn-ea"/>
                <a:cs typeface="+mn-cs"/>
              </a:rPr>
              <a:t>r</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ces: I</a:t>
            </a:r>
            <a:r>
              <a:rPr kumimoji="0" lang="en-US" sz="792" b="0" i="0" u="none" strike="noStrike" kern="1200" cap="none" spc="-11" normalizeH="0" baseline="0" noProof="0" dirty="0">
                <a:ln>
                  <a:noFill/>
                </a:ln>
                <a:solidFill>
                  <a:srgbClr val="FFFFFF"/>
                </a:solidFill>
                <a:effectLst/>
                <a:uLnTx/>
                <a:uFillTx/>
                <a:latin typeface="EYInterstate-Light"/>
                <a:ea typeface="+mn-ea"/>
                <a:cs typeface="+mn-cs"/>
              </a:rPr>
              <a:t>R</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ENA, IEA, EY analysis.</a:t>
            </a:r>
          </a:p>
        </p:txBody>
      </p:sp>
      <p:sp>
        <p:nvSpPr>
          <p:cNvPr id="1596" name="Rectangle 1596"/>
          <p:cNvSpPr/>
          <p:nvPr/>
        </p:nvSpPr>
        <p:spPr>
          <a:xfrm>
            <a:off x="613660" y="6230438"/>
            <a:ext cx="2836351" cy="121830"/>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Note: </a:t>
            </a:r>
            <a:r>
              <a:rPr kumimoji="0" lang="en-US" sz="792" b="0" i="0" u="none" strike="noStrike" kern="1200" cap="none" spc="-12" normalizeH="0" baseline="0" noProof="0" dirty="0">
                <a:ln>
                  <a:noFill/>
                </a:ln>
                <a:solidFill>
                  <a:srgbClr val="FFFFFF"/>
                </a:solidFill>
                <a:effectLst/>
                <a:uLnTx/>
                <a:uFillTx/>
                <a:latin typeface="EYInterstate-Light"/>
                <a:ea typeface="+mn-ea"/>
                <a:cs typeface="+mn-cs"/>
              </a:rPr>
              <a:t>1</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 Mainly foo</a:t>
            </a:r>
            <a:r>
              <a:rPr kumimoji="0" lang="en-US" sz="792" b="0" i="0" u="none" strike="noStrike" kern="1200" cap="none" spc="-12" normalizeH="0" baseline="0" noProof="0" dirty="0">
                <a:ln>
                  <a:noFill/>
                </a:ln>
                <a:solidFill>
                  <a:srgbClr val="FFFFFF"/>
                </a:solidFill>
                <a:effectLst/>
                <a:uLnTx/>
                <a:uFillTx/>
                <a:latin typeface="EYInterstate-Light"/>
                <a:ea typeface="+mn-ea"/>
                <a:cs typeface="+mn-cs"/>
              </a:rPr>
              <a:t>d</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 &amp; </a:t>
            </a:r>
            <a:r>
              <a:rPr kumimoji="0" lang="en-US" sz="792" b="0" i="0" u="none" strike="noStrike" kern="1200" cap="none" spc="-12" normalizeH="0" baseline="0" noProof="0" dirty="0">
                <a:ln>
                  <a:noFill/>
                </a:ln>
                <a:solidFill>
                  <a:srgbClr val="FFFFFF"/>
                </a:solidFill>
                <a:effectLst/>
                <a:uLnTx/>
                <a:uFillTx/>
                <a:latin typeface="EYInterstate-Light"/>
                <a:ea typeface="+mn-ea"/>
                <a:cs typeface="+mn-cs"/>
              </a:rPr>
              <a:t>b</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eve</a:t>
            </a:r>
            <a:r>
              <a:rPr kumimoji="0" lang="en-US" sz="792" b="0" i="0" u="none" strike="noStrike" kern="1200" cap="none" spc="-11" normalizeH="0" baseline="0" noProof="0" dirty="0">
                <a:ln>
                  <a:noFill/>
                </a:ln>
                <a:solidFill>
                  <a:srgbClr val="FFFFFF"/>
                </a:solidFill>
                <a:effectLst/>
                <a:uLnTx/>
                <a:uFillTx/>
                <a:latin typeface="EYInterstate-Light"/>
                <a:ea typeface="+mn-ea"/>
                <a:cs typeface="+mn-cs"/>
              </a:rPr>
              <a:t>r</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a</a:t>
            </a:r>
            <a:r>
              <a:rPr kumimoji="0" lang="en-US" sz="792" b="0" i="0" u="none" strike="noStrike" kern="1200" cap="none" spc="-12" normalizeH="0" baseline="0" noProof="0" dirty="0">
                <a:ln>
                  <a:noFill/>
                </a:ln>
                <a:solidFill>
                  <a:srgbClr val="FFFFFF"/>
                </a:solidFill>
                <a:effectLst/>
                <a:uLnTx/>
                <a:uFillTx/>
                <a:latin typeface="EYInterstate-Light"/>
                <a:ea typeface="+mn-ea"/>
                <a:cs typeface="+mn-cs"/>
              </a:rPr>
              <a:t>g</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e,</a:t>
            </a:r>
            <a:r>
              <a:rPr kumimoji="0" lang="en-US" sz="792" b="0" i="0" u="none" strike="noStrike" kern="1200" cap="none" spc="105" normalizeH="0" baseline="0" noProof="0" dirty="0">
                <a:ln>
                  <a:noFill/>
                </a:ln>
                <a:solidFill>
                  <a:srgbClr val="FFFFFF"/>
                </a:solidFill>
                <a:effectLst/>
                <a:uLnTx/>
                <a:uFillTx/>
                <a:latin typeface="EYInterstate-Light"/>
                <a:ea typeface="+mn-ea"/>
                <a:cs typeface="+mn-cs"/>
              </a:rPr>
              <a:t> </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semicon</a:t>
            </a:r>
            <a:r>
              <a:rPr kumimoji="0" lang="en-US" sz="792" b="0" i="0" u="none" strike="noStrike" kern="1200" cap="none" spc="-12" normalizeH="0" baseline="0" noProof="0" dirty="0">
                <a:ln>
                  <a:noFill/>
                </a:ln>
                <a:solidFill>
                  <a:srgbClr val="FFFFFF"/>
                </a:solidFill>
                <a:effectLst/>
                <a:uLnTx/>
                <a:uFillTx/>
                <a:latin typeface="EYInterstate-Light"/>
                <a:ea typeface="+mn-ea"/>
                <a:cs typeface="+mn-cs"/>
              </a:rPr>
              <a:t>d</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ucto</a:t>
            </a:r>
            <a:r>
              <a:rPr kumimoji="0" lang="en-US" sz="792" b="0" i="0" u="none" strike="noStrike" kern="1200" cap="none" spc="-11" normalizeH="0" baseline="0" noProof="0" dirty="0">
                <a:ln>
                  <a:noFill/>
                </a:ln>
                <a:solidFill>
                  <a:srgbClr val="FFFFFF"/>
                </a:solidFill>
                <a:effectLst/>
                <a:uLnTx/>
                <a:uFillTx/>
                <a:latin typeface="EYInterstate-Light"/>
                <a:ea typeface="+mn-ea"/>
                <a:cs typeface="+mn-cs"/>
              </a:rPr>
              <a:t>r</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s</a:t>
            </a:r>
            <a:r>
              <a:rPr kumimoji="0" lang="en-US" sz="792" b="0" i="0" u="none" strike="noStrike" kern="1200" cap="none" spc="105" normalizeH="0" baseline="0" noProof="0" dirty="0">
                <a:ln>
                  <a:noFill/>
                </a:ln>
                <a:solidFill>
                  <a:srgbClr val="FFFFFF"/>
                </a:solidFill>
                <a:effectLst/>
                <a:uLnTx/>
                <a:uFillTx/>
                <a:latin typeface="EYInterstate-Light"/>
                <a:ea typeface="+mn-ea"/>
                <a:cs typeface="+mn-cs"/>
              </a:rPr>
              <a:t> </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an</a:t>
            </a:r>
            <a:r>
              <a:rPr kumimoji="0" lang="en-US" sz="792" b="0" i="0" u="none" strike="noStrike" kern="1200" cap="none" spc="-12" normalizeH="0" baseline="0" noProof="0" dirty="0">
                <a:ln>
                  <a:noFill/>
                </a:ln>
                <a:solidFill>
                  <a:srgbClr val="FFFFFF"/>
                </a:solidFill>
                <a:effectLst/>
                <a:uLnTx/>
                <a:uFillTx/>
                <a:latin typeface="EYInterstate-Light"/>
                <a:ea typeface="+mn-ea"/>
                <a:cs typeface="+mn-cs"/>
              </a:rPr>
              <a:t>d</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 </a:t>
            </a:r>
            <a:r>
              <a:rPr kumimoji="0" lang="en-US" sz="792" b="0" i="0" u="none" strike="noStrike" kern="1200" cap="none" spc="-12" normalizeH="0" baseline="0" noProof="0" dirty="0">
                <a:ln>
                  <a:noFill/>
                </a:ln>
                <a:solidFill>
                  <a:srgbClr val="FFFFFF"/>
                </a:solidFill>
                <a:effectLst/>
                <a:uLnTx/>
                <a:uFillTx/>
                <a:latin typeface="EYInterstate-Light"/>
                <a:ea typeface="+mn-ea"/>
                <a:cs typeface="+mn-cs"/>
              </a:rPr>
              <a:t>g</a:t>
            </a:r>
            <a:r>
              <a:rPr kumimoji="0" lang="en-US" sz="792" b="0" i="0" u="none" strike="noStrike" kern="1200" cap="none" spc="0" normalizeH="0" baseline="0" noProof="0" dirty="0">
                <a:ln>
                  <a:noFill/>
                </a:ln>
                <a:solidFill>
                  <a:srgbClr val="FFFFFF"/>
                </a:solidFill>
                <a:effectLst/>
                <a:uLnTx/>
                <a:uFillTx/>
                <a:latin typeface="EYInterstate-Light"/>
                <a:ea typeface="+mn-ea"/>
                <a:cs typeface="+mn-cs"/>
              </a:rPr>
              <a:t>lass.</a:t>
            </a:r>
          </a:p>
        </p:txBody>
      </p:sp>
      <p:sp>
        <p:nvSpPr>
          <p:cNvPr id="1568" name="Rectangle 1568"/>
          <p:cNvSpPr/>
          <p:nvPr/>
        </p:nvSpPr>
        <p:spPr>
          <a:xfrm>
            <a:off x="2416310" y="4692827"/>
            <a:ext cx="368499" cy="246990"/>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5" b="1" i="0" u="none" strike="noStrike" kern="1200" cap="none" spc="0" normalizeH="0" baseline="0" noProof="0" dirty="0">
                <a:ln>
                  <a:noFill/>
                </a:ln>
                <a:solidFill>
                  <a:srgbClr val="FFE600"/>
                </a:solidFill>
                <a:effectLst/>
                <a:uLnTx/>
                <a:uFillTx/>
                <a:latin typeface="EYInterstate-LightBold"/>
                <a:ea typeface="+mn-ea"/>
                <a:cs typeface="+mn-cs"/>
              </a:rPr>
              <a:t>Gas</a:t>
            </a:r>
          </a:p>
        </p:txBody>
      </p:sp>
      <p:sp>
        <p:nvSpPr>
          <p:cNvPr id="452" name="Rectangle 1569">
            <a:extLst>
              <a:ext uri="{FF2B5EF4-FFF2-40B4-BE49-F238E27FC236}">
                <a16:creationId xmlns:a16="http://schemas.microsoft.com/office/drawing/2014/main" id="{56C4CA4F-A363-4545-8F7F-B0D5B3ED79EF}"/>
              </a:ext>
            </a:extLst>
          </p:cNvPr>
          <p:cNvSpPr/>
          <p:nvPr/>
        </p:nvSpPr>
        <p:spPr>
          <a:xfrm>
            <a:off x="9834644" y="2543559"/>
            <a:ext cx="1541041" cy="247503"/>
          </a:xfrm>
          <a:prstGeom prst="rect">
            <a:avLst/>
          </a:prstGeom>
          <a:solidFill>
            <a:srgbClr val="2E2E38"/>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1942426" algn="l"/>
              </a:tabLst>
              <a:defRPr/>
            </a:pPr>
            <a:r>
              <a:rPr kumimoji="0" lang="en-US" sz="1608" b="1" i="0" u="none" strike="noStrike" kern="1200" cap="none" spc="0" normalizeH="0" baseline="0" noProof="0" dirty="0">
                <a:ln>
                  <a:noFill/>
                </a:ln>
                <a:solidFill>
                  <a:srgbClr val="FFE600"/>
                </a:solidFill>
                <a:effectLst/>
                <a:uLnTx/>
                <a:uFillTx/>
                <a:latin typeface="EYInterstate-LightBold"/>
                <a:ea typeface="+mn-ea"/>
                <a:cs typeface="+mn-cs"/>
              </a:rPr>
              <a:t>Mobility</a:t>
            </a:r>
            <a:endParaRPr kumimoji="0" lang="en-US" sz="2432" b="1" i="0" u="none" strike="noStrike" kern="1200" cap="none" spc="0" normalizeH="0" baseline="17599" noProof="0" dirty="0">
              <a:ln>
                <a:noFill/>
              </a:ln>
              <a:solidFill>
                <a:srgbClr val="FFE600"/>
              </a:solidFill>
              <a:effectLst/>
              <a:uLnTx/>
              <a:uFillTx/>
              <a:latin typeface="EYInterstate-LightBold"/>
              <a:ea typeface="+mn-ea"/>
              <a:cs typeface="+mn-cs"/>
            </a:endParaRPr>
          </a:p>
        </p:txBody>
      </p:sp>
      <p:cxnSp>
        <p:nvCxnSpPr>
          <p:cNvPr id="20" name="Connector: Elbow 19">
            <a:extLst>
              <a:ext uri="{FF2B5EF4-FFF2-40B4-BE49-F238E27FC236}">
                <a16:creationId xmlns:a16="http://schemas.microsoft.com/office/drawing/2014/main" id="{22E81CE1-970B-4483-A75E-2B089E858475}"/>
              </a:ext>
            </a:extLst>
          </p:cNvPr>
          <p:cNvCxnSpPr>
            <a:cxnSpLocks/>
          </p:cNvCxnSpPr>
          <p:nvPr/>
        </p:nvCxnSpPr>
        <p:spPr>
          <a:xfrm rot="5400000" flipH="1" flipV="1">
            <a:off x="8578747" y="2563403"/>
            <a:ext cx="1585743" cy="303893"/>
          </a:xfrm>
          <a:prstGeom prst="bentConnector3">
            <a:avLst>
              <a:gd name="adj1" fmla="val 100030"/>
            </a:avLst>
          </a:prstGeom>
          <a:ln w="9525">
            <a:solidFill>
              <a:srgbClr val="C4C4CD"/>
            </a:solidFill>
            <a:tailEnd type="triangle"/>
          </a:ln>
        </p:spPr>
        <p:style>
          <a:lnRef idx="1">
            <a:schemeClr val="accent1"/>
          </a:lnRef>
          <a:fillRef idx="0">
            <a:schemeClr val="accent1"/>
          </a:fillRef>
          <a:effectRef idx="0">
            <a:schemeClr val="accent1"/>
          </a:effectRef>
          <a:fontRef idx="minor">
            <a:schemeClr val="tx1"/>
          </a:fontRef>
        </p:style>
      </p:cxnSp>
      <p:cxnSp>
        <p:nvCxnSpPr>
          <p:cNvPr id="481" name="Connector: Elbow 480">
            <a:extLst>
              <a:ext uri="{FF2B5EF4-FFF2-40B4-BE49-F238E27FC236}">
                <a16:creationId xmlns:a16="http://schemas.microsoft.com/office/drawing/2014/main" id="{6EBB795A-E81F-41E0-89E1-2C1AEEE7737F}"/>
              </a:ext>
            </a:extLst>
          </p:cNvPr>
          <p:cNvCxnSpPr>
            <a:cxnSpLocks/>
          </p:cNvCxnSpPr>
          <p:nvPr/>
        </p:nvCxnSpPr>
        <p:spPr>
          <a:xfrm rot="16200000" flipH="1">
            <a:off x="8546652" y="4169234"/>
            <a:ext cx="1608938" cy="253381"/>
          </a:xfrm>
          <a:prstGeom prst="bentConnector3">
            <a:avLst>
              <a:gd name="adj1" fmla="val 100097"/>
            </a:avLst>
          </a:prstGeom>
          <a:ln w="9525">
            <a:solidFill>
              <a:srgbClr val="C4C4CD"/>
            </a:solidFill>
            <a:tailEnd type="triangle"/>
          </a:ln>
        </p:spPr>
        <p:style>
          <a:lnRef idx="1">
            <a:schemeClr val="accent1"/>
          </a:lnRef>
          <a:fillRef idx="0">
            <a:schemeClr val="accent1"/>
          </a:fillRef>
          <a:effectRef idx="0">
            <a:schemeClr val="accent1"/>
          </a:effectRef>
          <a:fontRef idx="minor">
            <a:schemeClr val="tx1"/>
          </a:fontRef>
        </p:style>
      </p:cxnSp>
      <p:grpSp>
        <p:nvGrpSpPr>
          <p:cNvPr id="9" name="2. H2 Generation Reforming">
            <a:extLst>
              <a:ext uri="{FF2B5EF4-FFF2-40B4-BE49-F238E27FC236}">
                <a16:creationId xmlns:a16="http://schemas.microsoft.com/office/drawing/2014/main" id="{A8FCCAAD-1351-49BE-8FC7-E14A7FE2FFD7}"/>
              </a:ext>
            </a:extLst>
          </p:cNvPr>
          <p:cNvGrpSpPr/>
          <p:nvPr/>
        </p:nvGrpSpPr>
        <p:grpSpPr>
          <a:xfrm>
            <a:off x="2872143" y="3852259"/>
            <a:ext cx="1955044" cy="1767523"/>
            <a:chOff x="2873641" y="3799140"/>
            <a:chExt cx="1956063" cy="1768444"/>
          </a:xfrm>
        </p:grpSpPr>
        <p:sp>
          <p:nvSpPr>
            <p:cNvPr id="1270" name="Freeform 1270"/>
            <p:cNvSpPr/>
            <p:nvPr/>
          </p:nvSpPr>
          <p:spPr>
            <a:xfrm>
              <a:off x="3098331" y="4059608"/>
              <a:ext cx="127949" cy="243714"/>
            </a:xfrm>
            <a:custGeom>
              <a:avLst/>
              <a:gdLst/>
              <a:ahLst/>
              <a:cxnLst/>
              <a:rect l="0" t="0" r="0" b="0"/>
              <a:pathLst>
                <a:path w="128016" h="243841">
                  <a:moveTo>
                    <a:pt x="49912" y="95759"/>
                  </a:moveTo>
                  <a:lnTo>
                    <a:pt x="49912" y="165228"/>
                  </a:lnTo>
                  <a:lnTo>
                    <a:pt x="47499" y="166244"/>
                  </a:lnTo>
                  <a:lnTo>
                    <a:pt x="45212" y="167387"/>
                  </a:lnTo>
                  <a:lnTo>
                    <a:pt x="42927" y="168403"/>
                  </a:lnTo>
                  <a:lnTo>
                    <a:pt x="40768" y="169800"/>
                  </a:lnTo>
                  <a:lnTo>
                    <a:pt x="38735" y="171069"/>
                  </a:lnTo>
                  <a:lnTo>
                    <a:pt x="36958" y="172720"/>
                  </a:lnTo>
                  <a:lnTo>
                    <a:pt x="35180" y="174244"/>
                  </a:lnTo>
                  <a:lnTo>
                    <a:pt x="33656" y="176022"/>
                  </a:lnTo>
                  <a:lnTo>
                    <a:pt x="32259" y="177800"/>
                  </a:lnTo>
                  <a:lnTo>
                    <a:pt x="30988" y="179706"/>
                  </a:lnTo>
                  <a:lnTo>
                    <a:pt x="29846" y="181738"/>
                  </a:lnTo>
                  <a:lnTo>
                    <a:pt x="28956" y="183897"/>
                  </a:lnTo>
                  <a:lnTo>
                    <a:pt x="28322" y="185801"/>
                  </a:lnTo>
                  <a:lnTo>
                    <a:pt x="27813" y="188214"/>
                  </a:lnTo>
                  <a:lnTo>
                    <a:pt x="27433" y="190373"/>
                  </a:lnTo>
                  <a:lnTo>
                    <a:pt x="27306" y="192660"/>
                  </a:lnTo>
                  <a:lnTo>
                    <a:pt x="27306" y="194184"/>
                  </a:lnTo>
                  <a:lnTo>
                    <a:pt x="27433" y="195707"/>
                  </a:lnTo>
                  <a:lnTo>
                    <a:pt x="27813" y="197104"/>
                  </a:lnTo>
                  <a:lnTo>
                    <a:pt x="28068" y="198629"/>
                  </a:lnTo>
                  <a:lnTo>
                    <a:pt x="28575" y="200025"/>
                  </a:lnTo>
                  <a:lnTo>
                    <a:pt x="28956" y="201422"/>
                  </a:lnTo>
                  <a:lnTo>
                    <a:pt x="29591" y="202947"/>
                  </a:lnTo>
                  <a:lnTo>
                    <a:pt x="30227" y="204216"/>
                  </a:lnTo>
                  <a:lnTo>
                    <a:pt x="30988" y="205613"/>
                  </a:lnTo>
                  <a:lnTo>
                    <a:pt x="31750" y="206884"/>
                  </a:lnTo>
                  <a:lnTo>
                    <a:pt x="32640" y="208026"/>
                  </a:lnTo>
                  <a:lnTo>
                    <a:pt x="33656" y="209169"/>
                  </a:lnTo>
                  <a:lnTo>
                    <a:pt x="34672" y="210439"/>
                  </a:lnTo>
                  <a:lnTo>
                    <a:pt x="35687" y="211456"/>
                  </a:lnTo>
                  <a:lnTo>
                    <a:pt x="36958" y="212598"/>
                  </a:lnTo>
                  <a:lnTo>
                    <a:pt x="38100" y="213614"/>
                  </a:lnTo>
                  <a:lnTo>
                    <a:pt x="39371" y="214631"/>
                  </a:lnTo>
                  <a:lnTo>
                    <a:pt x="40640" y="215519"/>
                  </a:lnTo>
                  <a:lnTo>
                    <a:pt x="42037" y="216409"/>
                  </a:lnTo>
                  <a:lnTo>
                    <a:pt x="43434" y="217297"/>
                  </a:lnTo>
                  <a:lnTo>
                    <a:pt x="44959" y="218060"/>
                  </a:lnTo>
                  <a:lnTo>
                    <a:pt x="46483" y="218822"/>
                  </a:lnTo>
                  <a:lnTo>
                    <a:pt x="48134" y="219457"/>
                  </a:lnTo>
                  <a:lnTo>
                    <a:pt x="49658" y="219964"/>
                  </a:lnTo>
                  <a:lnTo>
                    <a:pt x="51435" y="220472"/>
                  </a:lnTo>
                  <a:lnTo>
                    <a:pt x="53087" y="220981"/>
                  </a:lnTo>
                  <a:lnTo>
                    <a:pt x="54865" y="221362"/>
                  </a:lnTo>
                  <a:lnTo>
                    <a:pt x="56515" y="221742"/>
                  </a:lnTo>
                  <a:lnTo>
                    <a:pt x="58421" y="221997"/>
                  </a:lnTo>
                  <a:lnTo>
                    <a:pt x="60199" y="222123"/>
                  </a:lnTo>
                  <a:lnTo>
                    <a:pt x="61977" y="222250"/>
                  </a:lnTo>
                  <a:lnTo>
                    <a:pt x="64135" y="222250"/>
                  </a:lnTo>
                  <a:lnTo>
                    <a:pt x="66040" y="222250"/>
                  </a:lnTo>
                  <a:lnTo>
                    <a:pt x="67818" y="222123"/>
                  </a:lnTo>
                  <a:lnTo>
                    <a:pt x="69724" y="221997"/>
                  </a:lnTo>
                  <a:lnTo>
                    <a:pt x="71502" y="221742"/>
                  </a:lnTo>
                  <a:lnTo>
                    <a:pt x="73280" y="221362"/>
                  </a:lnTo>
                  <a:lnTo>
                    <a:pt x="75058" y="220981"/>
                  </a:lnTo>
                  <a:lnTo>
                    <a:pt x="76581" y="220472"/>
                  </a:lnTo>
                  <a:lnTo>
                    <a:pt x="78359" y="219964"/>
                  </a:lnTo>
                  <a:lnTo>
                    <a:pt x="79884" y="219457"/>
                  </a:lnTo>
                  <a:lnTo>
                    <a:pt x="81534" y="218822"/>
                  </a:lnTo>
                  <a:lnTo>
                    <a:pt x="83185" y="218060"/>
                  </a:lnTo>
                  <a:lnTo>
                    <a:pt x="84583" y="217297"/>
                  </a:lnTo>
                  <a:lnTo>
                    <a:pt x="86106" y="216409"/>
                  </a:lnTo>
                  <a:lnTo>
                    <a:pt x="87377" y="215519"/>
                  </a:lnTo>
                  <a:lnTo>
                    <a:pt x="88647" y="214631"/>
                  </a:lnTo>
                  <a:lnTo>
                    <a:pt x="90043" y="213614"/>
                  </a:lnTo>
                  <a:lnTo>
                    <a:pt x="91187" y="212598"/>
                  </a:lnTo>
                  <a:lnTo>
                    <a:pt x="92330" y="211456"/>
                  </a:lnTo>
                  <a:lnTo>
                    <a:pt x="93472" y="210439"/>
                  </a:lnTo>
                  <a:lnTo>
                    <a:pt x="94362" y="209169"/>
                  </a:lnTo>
                  <a:lnTo>
                    <a:pt x="95378" y="208026"/>
                  </a:lnTo>
                  <a:lnTo>
                    <a:pt x="96266" y="206884"/>
                  </a:lnTo>
                  <a:lnTo>
                    <a:pt x="97028" y="205613"/>
                  </a:lnTo>
                  <a:lnTo>
                    <a:pt x="97918" y="204216"/>
                  </a:lnTo>
                  <a:lnTo>
                    <a:pt x="98553" y="202947"/>
                  </a:lnTo>
                  <a:lnTo>
                    <a:pt x="99060" y="201422"/>
                  </a:lnTo>
                  <a:lnTo>
                    <a:pt x="99568" y="200025"/>
                  </a:lnTo>
                  <a:lnTo>
                    <a:pt x="99950" y="198629"/>
                  </a:lnTo>
                  <a:lnTo>
                    <a:pt x="100203" y="197104"/>
                  </a:lnTo>
                  <a:lnTo>
                    <a:pt x="100584" y="195707"/>
                  </a:lnTo>
                  <a:lnTo>
                    <a:pt x="100712" y="194184"/>
                  </a:lnTo>
                  <a:lnTo>
                    <a:pt x="100712" y="192660"/>
                  </a:lnTo>
                  <a:lnTo>
                    <a:pt x="100584" y="190373"/>
                  </a:lnTo>
                  <a:lnTo>
                    <a:pt x="100203" y="188214"/>
                  </a:lnTo>
                  <a:lnTo>
                    <a:pt x="99696" y="185801"/>
                  </a:lnTo>
                  <a:lnTo>
                    <a:pt x="99060" y="183897"/>
                  </a:lnTo>
                  <a:lnTo>
                    <a:pt x="98172" y="181738"/>
                  </a:lnTo>
                  <a:lnTo>
                    <a:pt x="97028" y="179706"/>
                  </a:lnTo>
                  <a:lnTo>
                    <a:pt x="95759" y="177800"/>
                  </a:lnTo>
                  <a:lnTo>
                    <a:pt x="94362" y="176022"/>
                  </a:lnTo>
                  <a:lnTo>
                    <a:pt x="92837" y="174244"/>
                  </a:lnTo>
                  <a:lnTo>
                    <a:pt x="91059" y="172720"/>
                  </a:lnTo>
                  <a:lnTo>
                    <a:pt x="89281" y="171069"/>
                  </a:lnTo>
                  <a:lnTo>
                    <a:pt x="87250" y="169800"/>
                  </a:lnTo>
                  <a:lnTo>
                    <a:pt x="85090" y="168403"/>
                  </a:lnTo>
                  <a:lnTo>
                    <a:pt x="82805" y="167387"/>
                  </a:lnTo>
                  <a:lnTo>
                    <a:pt x="80646" y="166244"/>
                  </a:lnTo>
                  <a:lnTo>
                    <a:pt x="78106" y="165228"/>
                  </a:lnTo>
                  <a:lnTo>
                    <a:pt x="78106" y="95759"/>
                  </a:lnTo>
                  <a:lnTo>
                    <a:pt x="49912" y="95759"/>
                  </a:lnTo>
                  <a:close/>
                  <a:moveTo>
                    <a:pt x="-394462" y="2798064"/>
                  </a:moveTo>
                  <a:moveTo>
                    <a:pt x="50038" y="57150"/>
                  </a:moveTo>
                  <a:lnTo>
                    <a:pt x="75819" y="57150"/>
                  </a:lnTo>
                  <a:lnTo>
                    <a:pt x="75819" y="51816"/>
                  </a:lnTo>
                  <a:lnTo>
                    <a:pt x="50038" y="51816"/>
                  </a:lnTo>
                  <a:lnTo>
                    <a:pt x="50038" y="57150"/>
                  </a:lnTo>
                  <a:close/>
                  <a:moveTo>
                    <a:pt x="-355853" y="2798064"/>
                  </a:moveTo>
                  <a:moveTo>
                    <a:pt x="75819" y="26797"/>
                  </a:moveTo>
                  <a:lnTo>
                    <a:pt x="50038" y="26797"/>
                  </a:lnTo>
                  <a:lnTo>
                    <a:pt x="50038" y="32132"/>
                  </a:lnTo>
                  <a:lnTo>
                    <a:pt x="75819" y="32132"/>
                  </a:lnTo>
                  <a:lnTo>
                    <a:pt x="75819" y="26797"/>
                  </a:lnTo>
                  <a:close/>
                  <a:moveTo>
                    <a:pt x="-325500" y="2798064"/>
                  </a:moveTo>
                  <a:moveTo>
                    <a:pt x="50038" y="82423"/>
                  </a:moveTo>
                  <a:lnTo>
                    <a:pt x="75819" y="82423"/>
                  </a:lnTo>
                  <a:lnTo>
                    <a:pt x="75819" y="76963"/>
                  </a:lnTo>
                  <a:lnTo>
                    <a:pt x="50038" y="76963"/>
                  </a:lnTo>
                  <a:lnTo>
                    <a:pt x="50038" y="82423"/>
                  </a:lnTo>
                  <a:close/>
                  <a:moveTo>
                    <a:pt x="-381126" y="2798064"/>
                  </a:moveTo>
                  <a:moveTo>
                    <a:pt x="102997" y="151004"/>
                  </a:moveTo>
                  <a:lnTo>
                    <a:pt x="102997" y="22607"/>
                  </a:lnTo>
                  <a:lnTo>
                    <a:pt x="88519" y="22607"/>
                  </a:lnTo>
                  <a:lnTo>
                    <a:pt x="88519" y="157100"/>
                  </a:lnTo>
                  <a:lnTo>
                    <a:pt x="91822" y="158750"/>
                  </a:lnTo>
                  <a:lnTo>
                    <a:pt x="94108" y="160147"/>
                  </a:lnTo>
                  <a:lnTo>
                    <a:pt x="96393" y="161672"/>
                  </a:lnTo>
                  <a:lnTo>
                    <a:pt x="98680" y="163322"/>
                  </a:lnTo>
                  <a:lnTo>
                    <a:pt x="100712" y="164973"/>
                  </a:lnTo>
                  <a:lnTo>
                    <a:pt x="102616" y="166879"/>
                  </a:lnTo>
                  <a:lnTo>
                    <a:pt x="104394" y="168784"/>
                  </a:lnTo>
                  <a:lnTo>
                    <a:pt x="106046" y="170816"/>
                  </a:lnTo>
                  <a:lnTo>
                    <a:pt x="107569" y="172847"/>
                  </a:lnTo>
                  <a:lnTo>
                    <a:pt x="108840" y="175007"/>
                  </a:lnTo>
                  <a:lnTo>
                    <a:pt x="110109" y="177292"/>
                  </a:lnTo>
                  <a:lnTo>
                    <a:pt x="111125" y="179706"/>
                  </a:lnTo>
                  <a:lnTo>
                    <a:pt x="111887" y="182119"/>
                  </a:lnTo>
                  <a:lnTo>
                    <a:pt x="112650" y="184404"/>
                  </a:lnTo>
                  <a:lnTo>
                    <a:pt x="113158" y="186944"/>
                  </a:lnTo>
                  <a:lnTo>
                    <a:pt x="113412" y="189485"/>
                  </a:lnTo>
                  <a:lnTo>
                    <a:pt x="113538" y="192025"/>
                  </a:lnTo>
                  <a:lnTo>
                    <a:pt x="113412" y="194057"/>
                  </a:lnTo>
                  <a:lnTo>
                    <a:pt x="113284" y="196088"/>
                  </a:lnTo>
                  <a:lnTo>
                    <a:pt x="113031" y="198120"/>
                  </a:lnTo>
                  <a:lnTo>
                    <a:pt x="112522" y="200025"/>
                  </a:lnTo>
                  <a:lnTo>
                    <a:pt x="111887" y="202057"/>
                  </a:lnTo>
                  <a:lnTo>
                    <a:pt x="111253" y="203963"/>
                  </a:lnTo>
                  <a:lnTo>
                    <a:pt x="110490" y="205741"/>
                  </a:lnTo>
                  <a:lnTo>
                    <a:pt x="109728" y="207519"/>
                  </a:lnTo>
                  <a:lnTo>
                    <a:pt x="108585" y="209297"/>
                  </a:lnTo>
                  <a:lnTo>
                    <a:pt x="107569" y="211075"/>
                  </a:lnTo>
                  <a:lnTo>
                    <a:pt x="106427" y="212725"/>
                  </a:lnTo>
                  <a:lnTo>
                    <a:pt x="105030" y="214376"/>
                  </a:lnTo>
                  <a:lnTo>
                    <a:pt x="103759" y="215900"/>
                  </a:lnTo>
                  <a:lnTo>
                    <a:pt x="102235" y="217425"/>
                  </a:lnTo>
                  <a:lnTo>
                    <a:pt x="100712" y="218948"/>
                  </a:lnTo>
                  <a:lnTo>
                    <a:pt x="99060" y="220345"/>
                  </a:lnTo>
                  <a:lnTo>
                    <a:pt x="97283" y="221616"/>
                  </a:lnTo>
                  <a:lnTo>
                    <a:pt x="95505" y="222885"/>
                  </a:lnTo>
                  <a:lnTo>
                    <a:pt x="93600" y="224029"/>
                  </a:lnTo>
                  <a:lnTo>
                    <a:pt x="91822" y="225172"/>
                  </a:lnTo>
                  <a:lnTo>
                    <a:pt x="89790" y="226188"/>
                  </a:lnTo>
                  <a:lnTo>
                    <a:pt x="87631" y="227204"/>
                  </a:lnTo>
                  <a:lnTo>
                    <a:pt x="85472" y="228092"/>
                  </a:lnTo>
                  <a:lnTo>
                    <a:pt x="83312" y="228982"/>
                  </a:lnTo>
                  <a:lnTo>
                    <a:pt x="81153" y="229489"/>
                  </a:lnTo>
                  <a:lnTo>
                    <a:pt x="78740" y="230251"/>
                  </a:lnTo>
                  <a:lnTo>
                    <a:pt x="76455" y="230760"/>
                  </a:lnTo>
                  <a:lnTo>
                    <a:pt x="74041" y="231267"/>
                  </a:lnTo>
                  <a:lnTo>
                    <a:pt x="71628" y="231648"/>
                  </a:lnTo>
                  <a:lnTo>
                    <a:pt x="69215" y="231775"/>
                  </a:lnTo>
                  <a:lnTo>
                    <a:pt x="66675" y="232029"/>
                  </a:lnTo>
                  <a:lnTo>
                    <a:pt x="64135" y="232029"/>
                  </a:lnTo>
                  <a:lnTo>
                    <a:pt x="61341" y="232029"/>
                  </a:lnTo>
                  <a:lnTo>
                    <a:pt x="58802" y="231775"/>
                  </a:lnTo>
                  <a:lnTo>
                    <a:pt x="56388" y="231648"/>
                  </a:lnTo>
                  <a:lnTo>
                    <a:pt x="53975" y="231267"/>
                  </a:lnTo>
                  <a:lnTo>
                    <a:pt x="51562" y="230760"/>
                  </a:lnTo>
                  <a:lnTo>
                    <a:pt x="49277" y="230251"/>
                  </a:lnTo>
                  <a:lnTo>
                    <a:pt x="46990" y="229489"/>
                  </a:lnTo>
                  <a:lnTo>
                    <a:pt x="44705" y="228982"/>
                  </a:lnTo>
                  <a:lnTo>
                    <a:pt x="42546" y="228092"/>
                  </a:lnTo>
                  <a:lnTo>
                    <a:pt x="40387" y="227204"/>
                  </a:lnTo>
                  <a:lnTo>
                    <a:pt x="38355" y="226188"/>
                  </a:lnTo>
                  <a:lnTo>
                    <a:pt x="36196" y="225172"/>
                  </a:lnTo>
                  <a:lnTo>
                    <a:pt x="34418" y="224029"/>
                  </a:lnTo>
                  <a:lnTo>
                    <a:pt x="32512" y="222885"/>
                  </a:lnTo>
                  <a:lnTo>
                    <a:pt x="30734" y="221616"/>
                  </a:lnTo>
                  <a:lnTo>
                    <a:pt x="28956" y="220345"/>
                  </a:lnTo>
                  <a:lnTo>
                    <a:pt x="27306" y="218948"/>
                  </a:lnTo>
                  <a:lnTo>
                    <a:pt x="25781" y="217425"/>
                  </a:lnTo>
                  <a:lnTo>
                    <a:pt x="24258" y="215900"/>
                  </a:lnTo>
                  <a:lnTo>
                    <a:pt x="22987" y="214376"/>
                  </a:lnTo>
                  <a:lnTo>
                    <a:pt x="21590" y="212725"/>
                  </a:lnTo>
                  <a:lnTo>
                    <a:pt x="20447" y="211075"/>
                  </a:lnTo>
                  <a:lnTo>
                    <a:pt x="19431" y="209297"/>
                  </a:lnTo>
                  <a:lnTo>
                    <a:pt x="18415" y="207519"/>
                  </a:lnTo>
                  <a:lnTo>
                    <a:pt x="17527" y="205741"/>
                  </a:lnTo>
                  <a:lnTo>
                    <a:pt x="16765" y="203963"/>
                  </a:lnTo>
                  <a:lnTo>
                    <a:pt x="16130" y="202057"/>
                  </a:lnTo>
                  <a:lnTo>
                    <a:pt x="15494" y="200025"/>
                  </a:lnTo>
                  <a:lnTo>
                    <a:pt x="15113" y="198120"/>
                  </a:lnTo>
                  <a:lnTo>
                    <a:pt x="14733" y="196088"/>
                  </a:lnTo>
                  <a:lnTo>
                    <a:pt x="14606" y="194057"/>
                  </a:lnTo>
                  <a:lnTo>
                    <a:pt x="14478" y="192025"/>
                  </a:lnTo>
                  <a:lnTo>
                    <a:pt x="14606" y="189485"/>
                  </a:lnTo>
                  <a:lnTo>
                    <a:pt x="14859" y="186944"/>
                  </a:lnTo>
                  <a:lnTo>
                    <a:pt x="15368" y="184404"/>
                  </a:lnTo>
                  <a:lnTo>
                    <a:pt x="16130" y="182119"/>
                  </a:lnTo>
                  <a:lnTo>
                    <a:pt x="16891" y="179706"/>
                  </a:lnTo>
                  <a:lnTo>
                    <a:pt x="17908" y="177292"/>
                  </a:lnTo>
                  <a:lnTo>
                    <a:pt x="19178" y="175007"/>
                  </a:lnTo>
                  <a:lnTo>
                    <a:pt x="20447" y="172847"/>
                  </a:lnTo>
                  <a:lnTo>
                    <a:pt x="21972" y="170816"/>
                  </a:lnTo>
                  <a:lnTo>
                    <a:pt x="23622" y="168784"/>
                  </a:lnTo>
                  <a:lnTo>
                    <a:pt x="25400" y="166879"/>
                  </a:lnTo>
                  <a:lnTo>
                    <a:pt x="27306" y="164973"/>
                  </a:lnTo>
                  <a:lnTo>
                    <a:pt x="29337" y="163322"/>
                  </a:lnTo>
                  <a:lnTo>
                    <a:pt x="31624" y="161672"/>
                  </a:lnTo>
                  <a:lnTo>
                    <a:pt x="33909" y="160147"/>
                  </a:lnTo>
                  <a:lnTo>
                    <a:pt x="36196" y="158750"/>
                  </a:lnTo>
                  <a:lnTo>
                    <a:pt x="39625" y="157100"/>
                  </a:lnTo>
                  <a:lnTo>
                    <a:pt x="39625" y="11812"/>
                  </a:lnTo>
                  <a:lnTo>
                    <a:pt x="102997" y="11812"/>
                  </a:lnTo>
                  <a:lnTo>
                    <a:pt x="102997" y="10922"/>
                  </a:lnTo>
                  <a:lnTo>
                    <a:pt x="102997" y="9779"/>
                  </a:lnTo>
                  <a:lnTo>
                    <a:pt x="102743" y="8763"/>
                  </a:lnTo>
                  <a:lnTo>
                    <a:pt x="102362" y="7747"/>
                  </a:lnTo>
                  <a:lnTo>
                    <a:pt x="101981" y="6604"/>
                  </a:lnTo>
                  <a:lnTo>
                    <a:pt x="101474" y="5716"/>
                  </a:lnTo>
                  <a:lnTo>
                    <a:pt x="100838" y="4826"/>
                  </a:lnTo>
                  <a:lnTo>
                    <a:pt x="99950" y="3938"/>
                  </a:lnTo>
                  <a:lnTo>
                    <a:pt x="99060" y="3175"/>
                  </a:lnTo>
                  <a:lnTo>
                    <a:pt x="98172" y="2541"/>
                  </a:lnTo>
                  <a:lnTo>
                    <a:pt x="97028" y="1779"/>
                  </a:lnTo>
                  <a:lnTo>
                    <a:pt x="96012" y="1270"/>
                  </a:lnTo>
                  <a:lnTo>
                    <a:pt x="94869" y="889"/>
                  </a:lnTo>
                  <a:lnTo>
                    <a:pt x="93600" y="509"/>
                  </a:lnTo>
                  <a:lnTo>
                    <a:pt x="92330" y="128"/>
                  </a:lnTo>
                  <a:lnTo>
                    <a:pt x="90933" y="128"/>
                  </a:lnTo>
                  <a:lnTo>
                    <a:pt x="89535" y="0"/>
                  </a:lnTo>
                  <a:lnTo>
                    <a:pt x="38481" y="0"/>
                  </a:lnTo>
                  <a:lnTo>
                    <a:pt x="37084" y="128"/>
                  </a:lnTo>
                  <a:lnTo>
                    <a:pt x="35687" y="128"/>
                  </a:lnTo>
                  <a:lnTo>
                    <a:pt x="34418" y="509"/>
                  </a:lnTo>
                  <a:lnTo>
                    <a:pt x="33147" y="889"/>
                  </a:lnTo>
                  <a:lnTo>
                    <a:pt x="32005" y="1270"/>
                  </a:lnTo>
                  <a:lnTo>
                    <a:pt x="30988" y="1779"/>
                  </a:lnTo>
                  <a:lnTo>
                    <a:pt x="29846" y="2541"/>
                  </a:lnTo>
                  <a:lnTo>
                    <a:pt x="28956" y="3175"/>
                  </a:lnTo>
                  <a:lnTo>
                    <a:pt x="28068" y="3938"/>
                  </a:lnTo>
                  <a:lnTo>
                    <a:pt x="27178" y="4826"/>
                  </a:lnTo>
                  <a:lnTo>
                    <a:pt x="26543" y="5716"/>
                  </a:lnTo>
                  <a:lnTo>
                    <a:pt x="26035" y="6604"/>
                  </a:lnTo>
                  <a:lnTo>
                    <a:pt x="25655" y="7747"/>
                  </a:lnTo>
                  <a:lnTo>
                    <a:pt x="25274" y="8763"/>
                  </a:lnTo>
                  <a:lnTo>
                    <a:pt x="25019" y="9779"/>
                  </a:lnTo>
                  <a:lnTo>
                    <a:pt x="25019" y="10922"/>
                  </a:lnTo>
                  <a:lnTo>
                    <a:pt x="25019" y="151004"/>
                  </a:lnTo>
                  <a:lnTo>
                    <a:pt x="22225" y="152782"/>
                  </a:lnTo>
                  <a:lnTo>
                    <a:pt x="19559" y="154687"/>
                  </a:lnTo>
                  <a:lnTo>
                    <a:pt x="17018" y="156719"/>
                  </a:lnTo>
                  <a:lnTo>
                    <a:pt x="14606" y="159004"/>
                  </a:lnTo>
                  <a:lnTo>
                    <a:pt x="12447" y="161291"/>
                  </a:lnTo>
                  <a:lnTo>
                    <a:pt x="10415" y="163576"/>
                  </a:lnTo>
                  <a:lnTo>
                    <a:pt x="8509" y="166116"/>
                  </a:lnTo>
                  <a:lnTo>
                    <a:pt x="6731" y="168657"/>
                  </a:lnTo>
                  <a:lnTo>
                    <a:pt x="5208" y="171323"/>
                  </a:lnTo>
                  <a:lnTo>
                    <a:pt x="3810" y="174117"/>
                  </a:lnTo>
                  <a:lnTo>
                    <a:pt x="2668" y="177038"/>
                  </a:lnTo>
                  <a:lnTo>
                    <a:pt x="1778" y="179960"/>
                  </a:lnTo>
                  <a:lnTo>
                    <a:pt x="890" y="182754"/>
                  </a:lnTo>
                  <a:lnTo>
                    <a:pt x="381" y="185801"/>
                  </a:lnTo>
                  <a:lnTo>
                    <a:pt x="0" y="188850"/>
                  </a:lnTo>
                  <a:lnTo>
                    <a:pt x="0" y="192025"/>
                  </a:lnTo>
                  <a:lnTo>
                    <a:pt x="0" y="194691"/>
                  </a:lnTo>
                  <a:lnTo>
                    <a:pt x="255" y="197359"/>
                  </a:lnTo>
                  <a:lnTo>
                    <a:pt x="635" y="199898"/>
                  </a:lnTo>
                  <a:lnTo>
                    <a:pt x="1143" y="202438"/>
                  </a:lnTo>
                  <a:lnTo>
                    <a:pt x="2033" y="204851"/>
                  </a:lnTo>
                  <a:lnTo>
                    <a:pt x="2794" y="207391"/>
                  </a:lnTo>
                  <a:lnTo>
                    <a:pt x="3810" y="209932"/>
                  </a:lnTo>
                  <a:lnTo>
                    <a:pt x="4953" y="212091"/>
                  </a:lnTo>
                  <a:lnTo>
                    <a:pt x="6224" y="214504"/>
                  </a:lnTo>
                  <a:lnTo>
                    <a:pt x="7747" y="216789"/>
                  </a:lnTo>
                  <a:lnTo>
                    <a:pt x="9144" y="218948"/>
                  </a:lnTo>
                  <a:lnTo>
                    <a:pt x="10922" y="220981"/>
                  </a:lnTo>
                  <a:lnTo>
                    <a:pt x="12574" y="223013"/>
                  </a:lnTo>
                  <a:lnTo>
                    <a:pt x="14606" y="224917"/>
                  </a:lnTo>
                  <a:lnTo>
                    <a:pt x="16637" y="226822"/>
                  </a:lnTo>
                  <a:lnTo>
                    <a:pt x="18669" y="228728"/>
                  </a:lnTo>
                  <a:lnTo>
                    <a:pt x="20956" y="230379"/>
                  </a:lnTo>
                  <a:lnTo>
                    <a:pt x="23241" y="232029"/>
                  </a:lnTo>
                  <a:lnTo>
                    <a:pt x="25655" y="233554"/>
                  </a:lnTo>
                  <a:lnTo>
                    <a:pt x="28194" y="234823"/>
                  </a:lnTo>
                  <a:lnTo>
                    <a:pt x="30862" y="236347"/>
                  </a:lnTo>
                  <a:lnTo>
                    <a:pt x="33528" y="237617"/>
                  </a:lnTo>
                  <a:lnTo>
                    <a:pt x="36196" y="238634"/>
                  </a:lnTo>
                  <a:lnTo>
                    <a:pt x="38990" y="239776"/>
                  </a:lnTo>
                  <a:lnTo>
                    <a:pt x="41910" y="240666"/>
                  </a:lnTo>
                  <a:lnTo>
                    <a:pt x="44831" y="241554"/>
                  </a:lnTo>
                  <a:lnTo>
                    <a:pt x="47880" y="242189"/>
                  </a:lnTo>
                  <a:lnTo>
                    <a:pt x="51055" y="242825"/>
                  </a:lnTo>
                  <a:lnTo>
                    <a:pt x="54230" y="243206"/>
                  </a:lnTo>
                  <a:lnTo>
                    <a:pt x="57405" y="243460"/>
                  </a:lnTo>
                  <a:lnTo>
                    <a:pt x="60706" y="243713"/>
                  </a:lnTo>
                  <a:lnTo>
                    <a:pt x="64135" y="243841"/>
                  </a:lnTo>
                  <a:lnTo>
                    <a:pt x="67310" y="243713"/>
                  </a:lnTo>
                  <a:lnTo>
                    <a:pt x="70612" y="243460"/>
                  </a:lnTo>
                  <a:lnTo>
                    <a:pt x="73787" y="243206"/>
                  </a:lnTo>
                  <a:lnTo>
                    <a:pt x="76962" y="242825"/>
                  </a:lnTo>
                  <a:lnTo>
                    <a:pt x="80137" y="242189"/>
                  </a:lnTo>
                  <a:lnTo>
                    <a:pt x="83185" y="241554"/>
                  </a:lnTo>
                  <a:lnTo>
                    <a:pt x="86106" y="240666"/>
                  </a:lnTo>
                  <a:lnTo>
                    <a:pt x="89028" y="239776"/>
                  </a:lnTo>
                  <a:lnTo>
                    <a:pt x="91822" y="238634"/>
                  </a:lnTo>
                  <a:lnTo>
                    <a:pt x="94488" y="237617"/>
                  </a:lnTo>
                  <a:lnTo>
                    <a:pt x="97156" y="236347"/>
                  </a:lnTo>
                  <a:lnTo>
                    <a:pt x="99822" y="234823"/>
                  </a:lnTo>
                  <a:lnTo>
                    <a:pt x="102362" y="233554"/>
                  </a:lnTo>
                  <a:lnTo>
                    <a:pt x="104775" y="232029"/>
                  </a:lnTo>
                  <a:lnTo>
                    <a:pt x="107188" y="230379"/>
                  </a:lnTo>
                  <a:lnTo>
                    <a:pt x="109347" y="228728"/>
                  </a:lnTo>
                  <a:lnTo>
                    <a:pt x="111380" y="226822"/>
                  </a:lnTo>
                  <a:lnTo>
                    <a:pt x="113412" y="224917"/>
                  </a:lnTo>
                  <a:lnTo>
                    <a:pt x="115443" y="223013"/>
                  </a:lnTo>
                  <a:lnTo>
                    <a:pt x="117094" y="220981"/>
                  </a:lnTo>
                  <a:lnTo>
                    <a:pt x="118872" y="218948"/>
                  </a:lnTo>
                  <a:lnTo>
                    <a:pt x="120269" y="216789"/>
                  </a:lnTo>
                  <a:lnTo>
                    <a:pt x="121793" y="214504"/>
                  </a:lnTo>
                  <a:lnTo>
                    <a:pt x="123063" y="212091"/>
                  </a:lnTo>
                  <a:lnTo>
                    <a:pt x="124206" y="209932"/>
                  </a:lnTo>
                  <a:lnTo>
                    <a:pt x="125222" y="207391"/>
                  </a:lnTo>
                  <a:lnTo>
                    <a:pt x="125984" y="204851"/>
                  </a:lnTo>
                  <a:lnTo>
                    <a:pt x="126874" y="202438"/>
                  </a:lnTo>
                  <a:lnTo>
                    <a:pt x="127381" y="199898"/>
                  </a:lnTo>
                  <a:lnTo>
                    <a:pt x="127762" y="197359"/>
                  </a:lnTo>
                  <a:lnTo>
                    <a:pt x="128016" y="194691"/>
                  </a:lnTo>
                  <a:lnTo>
                    <a:pt x="128016" y="192025"/>
                  </a:lnTo>
                  <a:lnTo>
                    <a:pt x="128016" y="188850"/>
                  </a:lnTo>
                  <a:lnTo>
                    <a:pt x="127635" y="185801"/>
                  </a:lnTo>
                  <a:lnTo>
                    <a:pt x="127128" y="182754"/>
                  </a:lnTo>
                  <a:lnTo>
                    <a:pt x="126238" y="179960"/>
                  </a:lnTo>
                  <a:lnTo>
                    <a:pt x="125350" y="177038"/>
                  </a:lnTo>
                  <a:lnTo>
                    <a:pt x="124206" y="174117"/>
                  </a:lnTo>
                  <a:lnTo>
                    <a:pt x="122809" y="171323"/>
                  </a:lnTo>
                  <a:lnTo>
                    <a:pt x="121285" y="168657"/>
                  </a:lnTo>
                  <a:lnTo>
                    <a:pt x="119508" y="166116"/>
                  </a:lnTo>
                  <a:lnTo>
                    <a:pt x="117603" y="163576"/>
                  </a:lnTo>
                  <a:lnTo>
                    <a:pt x="115571" y="161291"/>
                  </a:lnTo>
                  <a:lnTo>
                    <a:pt x="113412" y="159004"/>
                  </a:lnTo>
                  <a:lnTo>
                    <a:pt x="110999" y="156719"/>
                  </a:lnTo>
                  <a:lnTo>
                    <a:pt x="108459" y="154687"/>
                  </a:lnTo>
                  <a:lnTo>
                    <a:pt x="105791" y="152782"/>
                  </a:lnTo>
                  <a:lnTo>
                    <a:pt x="102997" y="151004"/>
                  </a:lnTo>
                  <a:close/>
                  <a:moveTo>
                    <a:pt x="-449707" y="2798064"/>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37" name="Freeform 1337"/>
            <p:cNvSpPr/>
            <p:nvPr/>
          </p:nvSpPr>
          <p:spPr>
            <a:xfrm>
              <a:off x="4128018" y="3949938"/>
              <a:ext cx="411266" cy="371663"/>
            </a:xfrm>
            <a:custGeom>
              <a:avLst/>
              <a:gdLst/>
              <a:ahLst/>
              <a:cxnLst/>
              <a:rect l="0" t="0" r="0" b="0"/>
              <a:pathLst>
                <a:path w="411480" h="371857">
                  <a:moveTo>
                    <a:pt x="192787" y="49531"/>
                  </a:moveTo>
                  <a:lnTo>
                    <a:pt x="192787" y="49531"/>
                  </a:lnTo>
                  <a:lnTo>
                    <a:pt x="192787" y="48388"/>
                  </a:lnTo>
                  <a:lnTo>
                    <a:pt x="192913" y="47372"/>
                  </a:lnTo>
                  <a:lnTo>
                    <a:pt x="193168" y="46482"/>
                  </a:lnTo>
                  <a:lnTo>
                    <a:pt x="193422" y="45466"/>
                  </a:lnTo>
                  <a:lnTo>
                    <a:pt x="193675" y="44578"/>
                  </a:lnTo>
                  <a:lnTo>
                    <a:pt x="194056" y="43688"/>
                  </a:lnTo>
                  <a:lnTo>
                    <a:pt x="194564" y="42672"/>
                  </a:lnTo>
                  <a:lnTo>
                    <a:pt x="195073" y="41784"/>
                  </a:lnTo>
                  <a:lnTo>
                    <a:pt x="196343" y="40132"/>
                  </a:lnTo>
                  <a:lnTo>
                    <a:pt x="197739" y="38482"/>
                  </a:lnTo>
                  <a:lnTo>
                    <a:pt x="199391" y="36957"/>
                  </a:lnTo>
                  <a:lnTo>
                    <a:pt x="201295" y="35560"/>
                  </a:lnTo>
                  <a:lnTo>
                    <a:pt x="203328" y="34291"/>
                  </a:lnTo>
                  <a:lnTo>
                    <a:pt x="205487" y="33147"/>
                  </a:lnTo>
                  <a:lnTo>
                    <a:pt x="207899" y="32259"/>
                  </a:lnTo>
                  <a:lnTo>
                    <a:pt x="210439" y="31369"/>
                  </a:lnTo>
                  <a:lnTo>
                    <a:pt x="213106" y="30735"/>
                  </a:lnTo>
                  <a:lnTo>
                    <a:pt x="215774" y="30226"/>
                  </a:lnTo>
                  <a:lnTo>
                    <a:pt x="218694" y="29972"/>
                  </a:lnTo>
                  <a:lnTo>
                    <a:pt x="221616" y="29845"/>
                  </a:lnTo>
                  <a:lnTo>
                    <a:pt x="223520" y="29845"/>
                  </a:lnTo>
                  <a:lnTo>
                    <a:pt x="225425" y="29972"/>
                  </a:lnTo>
                  <a:lnTo>
                    <a:pt x="225806" y="28829"/>
                  </a:lnTo>
                  <a:lnTo>
                    <a:pt x="226187" y="27687"/>
                  </a:lnTo>
                  <a:lnTo>
                    <a:pt x="226695" y="26416"/>
                  </a:lnTo>
                  <a:lnTo>
                    <a:pt x="227330" y="25273"/>
                  </a:lnTo>
                  <a:lnTo>
                    <a:pt x="228093" y="24257"/>
                  </a:lnTo>
                  <a:lnTo>
                    <a:pt x="228855" y="23115"/>
                  </a:lnTo>
                  <a:lnTo>
                    <a:pt x="229743" y="22098"/>
                  </a:lnTo>
                  <a:lnTo>
                    <a:pt x="230760" y="20956"/>
                  </a:lnTo>
                  <a:lnTo>
                    <a:pt x="232792" y="19050"/>
                  </a:lnTo>
                  <a:lnTo>
                    <a:pt x="235078" y="17145"/>
                  </a:lnTo>
                  <a:lnTo>
                    <a:pt x="237491" y="15494"/>
                  </a:lnTo>
                  <a:lnTo>
                    <a:pt x="240285" y="13844"/>
                  </a:lnTo>
                  <a:lnTo>
                    <a:pt x="243205" y="12447"/>
                  </a:lnTo>
                  <a:lnTo>
                    <a:pt x="246380" y="11303"/>
                  </a:lnTo>
                  <a:lnTo>
                    <a:pt x="249682" y="10034"/>
                  </a:lnTo>
                  <a:lnTo>
                    <a:pt x="253112" y="9144"/>
                  </a:lnTo>
                  <a:lnTo>
                    <a:pt x="256794" y="8382"/>
                  </a:lnTo>
                  <a:lnTo>
                    <a:pt x="260605" y="7747"/>
                  </a:lnTo>
                  <a:lnTo>
                    <a:pt x="264414" y="7620"/>
                  </a:lnTo>
                  <a:lnTo>
                    <a:pt x="268351" y="7494"/>
                  </a:lnTo>
                  <a:lnTo>
                    <a:pt x="271780" y="7494"/>
                  </a:lnTo>
                  <a:lnTo>
                    <a:pt x="275337" y="7747"/>
                  </a:lnTo>
                  <a:lnTo>
                    <a:pt x="277495" y="6097"/>
                  </a:lnTo>
                  <a:lnTo>
                    <a:pt x="280036" y="4572"/>
                  </a:lnTo>
                  <a:lnTo>
                    <a:pt x="282449" y="3175"/>
                  </a:lnTo>
                  <a:lnTo>
                    <a:pt x="285116" y="2160"/>
                  </a:lnTo>
                  <a:lnTo>
                    <a:pt x="288037" y="1144"/>
                  </a:lnTo>
                  <a:lnTo>
                    <a:pt x="290957" y="509"/>
                  </a:lnTo>
                  <a:lnTo>
                    <a:pt x="294005" y="128"/>
                  </a:lnTo>
                  <a:lnTo>
                    <a:pt x="297180" y="0"/>
                  </a:lnTo>
                  <a:lnTo>
                    <a:pt x="298705" y="0"/>
                  </a:lnTo>
                  <a:lnTo>
                    <a:pt x="300355" y="128"/>
                  </a:lnTo>
                  <a:lnTo>
                    <a:pt x="303404" y="509"/>
                  </a:lnTo>
                  <a:lnTo>
                    <a:pt x="306451" y="1144"/>
                  </a:lnTo>
                  <a:lnTo>
                    <a:pt x="309373" y="2160"/>
                  </a:lnTo>
                  <a:lnTo>
                    <a:pt x="311912" y="3303"/>
                  </a:lnTo>
                  <a:lnTo>
                    <a:pt x="314580" y="4700"/>
                  </a:lnTo>
                  <a:lnTo>
                    <a:pt x="316993" y="6223"/>
                  </a:lnTo>
                  <a:lnTo>
                    <a:pt x="319151" y="8001"/>
                  </a:lnTo>
                  <a:lnTo>
                    <a:pt x="320168" y="8891"/>
                  </a:lnTo>
                  <a:lnTo>
                    <a:pt x="321184" y="9907"/>
                  </a:lnTo>
                  <a:lnTo>
                    <a:pt x="322073" y="10795"/>
                  </a:lnTo>
                  <a:lnTo>
                    <a:pt x="323088" y="12066"/>
                  </a:lnTo>
                  <a:lnTo>
                    <a:pt x="323850" y="13082"/>
                  </a:lnTo>
                  <a:lnTo>
                    <a:pt x="324486" y="14225"/>
                  </a:lnTo>
                  <a:lnTo>
                    <a:pt x="325248" y="15367"/>
                  </a:lnTo>
                  <a:lnTo>
                    <a:pt x="325882" y="16510"/>
                  </a:lnTo>
                  <a:lnTo>
                    <a:pt x="326518" y="17907"/>
                  </a:lnTo>
                  <a:lnTo>
                    <a:pt x="327025" y="19178"/>
                  </a:lnTo>
                  <a:lnTo>
                    <a:pt x="327406" y="20447"/>
                  </a:lnTo>
                  <a:lnTo>
                    <a:pt x="327787" y="21717"/>
                  </a:lnTo>
                  <a:lnTo>
                    <a:pt x="328042" y="23115"/>
                  </a:lnTo>
                  <a:lnTo>
                    <a:pt x="328295" y="24385"/>
                  </a:lnTo>
                  <a:lnTo>
                    <a:pt x="328423" y="25782"/>
                  </a:lnTo>
                  <a:lnTo>
                    <a:pt x="328423" y="27178"/>
                  </a:lnTo>
                  <a:lnTo>
                    <a:pt x="330709" y="26670"/>
                  </a:lnTo>
                  <a:lnTo>
                    <a:pt x="332994" y="25909"/>
                  </a:lnTo>
                  <a:lnTo>
                    <a:pt x="335407" y="25400"/>
                  </a:lnTo>
                  <a:lnTo>
                    <a:pt x="337820" y="25019"/>
                  </a:lnTo>
                  <a:lnTo>
                    <a:pt x="340361" y="24638"/>
                  </a:lnTo>
                  <a:lnTo>
                    <a:pt x="343028" y="24385"/>
                  </a:lnTo>
                  <a:lnTo>
                    <a:pt x="345694" y="24257"/>
                  </a:lnTo>
                  <a:lnTo>
                    <a:pt x="348362" y="24257"/>
                  </a:lnTo>
                  <a:lnTo>
                    <a:pt x="352425" y="24385"/>
                  </a:lnTo>
                  <a:lnTo>
                    <a:pt x="356362" y="24638"/>
                  </a:lnTo>
                  <a:lnTo>
                    <a:pt x="360045" y="25273"/>
                  </a:lnTo>
                  <a:lnTo>
                    <a:pt x="363601" y="25909"/>
                  </a:lnTo>
                  <a:lnTo>
                    <a:pt x="367157" y="26797"/>
                  </a:lnTo>
                  <a:lnTo>
                    <a:pt x="370332" y="28067"/>
                  </a:lnTo>
                  <a:lnTo>
                    <a:pt x="373380" y="29338"/>
                  </a:lnTo>
                  <a:lnTo>
                    <a:pt x="376174" y="30735"/>
                  </a:lnTo>
                  <a:lnTo>
                    <a:pt x="378842" y="32259"/>
                  </a:lnTo>
                  <a:lnTo>
                    <a:pt x="379857" y="33020"/>
                  </a:lnTo>
                  <a:lnTo>
                    <a:pt x="381000" y="33910"/>
                  </a:lnTo>
                  <a:lnTo>
                    <a:pt x="382017" y="34798"/>
                  </a:lnTo>
                  <a:lnTo>
                    <a:pt x="383032" y="35688"/>
                  </a:lnTo>
                  <a:lnTo>
                    <a:pt x="383794" y="36576"/>
                  </a:lnTo>
                  <a:lnTo>
                    <a:pt x="384684" y="37592"/>
                  </a:lnTo>
                  <a:lnTo>
                    <a:pt x="385445" y="38609"/>
                  </a:lnTo>
                  <a:lnTo>
                    <a:pt x="385954" y="39625"/>
                  </a:lnTo>
                  <a:lnTo>
                    <a:pt x="386462" y="40767"/>
                  </a:lnTo>
                  <a:lnTo>
                    <a:pt x="386969" y="41784"/>
                  </a:lnTo>
                  <a:lnTo>
                    <a:pt x="387350" y="42800"/>
                  </a:lnTo>
                  <a:lnTo>
                    <a:pt x="387478" y="43816"/>
                  </a:lnTo>
                  <a:lnTo>
                    <a:pt x="387731" y="45085"/>
                  </a:lnTo>
                  <a:lnTo>
                    <a:pt x="387731" y="46228"/>
                  </a:lnTo>
                  <a:lnTo>
                    <a:pt x="387731" y="46991"/>
                  </a:lnTo>
                  <a:lnTo>
                    <a:pt x="387605" y="47879"/>
                  </a:lnTo>
                  <a:lnTo>
                    <a:pt x="387478" y="48895"/>
                  </a:lnTo>
                  <a:lnTo>
                    <a:pt x="387224" y="49785"/>
                  </a:lnTo>
                  <a:lnTo>
                    <a:pt x="386588" y="51435"/>
                  </a:lnTo>
                  <a:lnTo>
                    <a:pt x="385826" y="53087"/>
                  </a:lnTo>
                  <a:lnTo>
                    <a:pt x="384684" y="54738"/>
                  </a:lnTo>
                  <a:lnTo>
                    <a:pt x="383413" y="56262"/>
                  </a:lnTo>
                  <a:lnTo>
                    <a:pt x="381889" y="57659"/>
                  </a:lnTo>
                  <a:lnTo>
                    <a:pt x="380238" y="59056"/>
                  </a:lnTo>
                  <a:lnTo>
                    <a:pt x="348488" y="59056"/>
                  </a:lnTo>
                  <a:lnTo>
                    <a:pt x="348743" y="61088"/>
                  </a:lnTo>
                  <a:lnTo>
                    <a:pt x="348743" y="62992"/>
                  </a:lnTo>
                  <a:lnTo>
                    <a:pt x="348743" y="64390"/>
                  </a:lnTo>
                  <a:lnTo>
                    <a:pt x="348616" y="65787"/>
                  </a:lnTo>
                  <a:lnTo>
                    <a:pt x="348488" y="67184"/>
                  </a:lnTo>
                  <a:lnTo>
                    <a:pt x="348107" y="68581"/>
                  </a:lnTo>
                  <a:lnTo>
                    <a:pt x="347854" y="69850"/>
                  </a:lnTo>
                  <a:lnTo>
                    <a:pt x="347473" y="71247"/>
                  </a:lnTo>
                  <a:lnTo>
                    <a:pt x="346837" y="72391"/>
                  </a:lnTo>
                  <a:lnTo>
                    <a:pt x="346330" y="73788"/>
                  </a:lnTo>
                  <a:lnTo>
                    <a:pt x="345694" y="74931"/>
                  </a:lnTo>
                  <a:lnTo>
                    <a:pt x="344932" y="76073"/>
                  </a:lnTo>
                  <a:lnTo>
                    <a:pt x="344298" y="77344"/>
                  </a:lnTo>
                  <a:lnTo>
                    <a:pt x="343409" y="78487"/>
                  </a:lnTo>
                  <a:lnTo>
                    <a:pt x="342519" y="79503"/>
                  </a:lnTo>
                  <a:lnTo>
                    <a:pt x="341630" y="80519"/>
                  </a:lnTo>
                  <a:lnTo>
                    <a:pt x="340614" y="81407"/>
                  </a:lnTo>
                  <a:lnTo>
                    <a:pt x="339599" y="82550"/>
                  </a:lnTo>
                  <a:lnTo>
                    <a:pt x="337312" y="84201"/>
                  </a:lnTo>
                  <a:lnTo>
                    <a:pt x="335026" y="85853"/>
                  </a:lnTo>
                  <a:lnTo>
                    <a:pt x="332360" y="87250"/>
                  </a:lnTo>
                  <a:lnTo>
                    <a:pt x="329693" y="88392"/>
                  </a:lnTo>
                  <a:lnTo>
                    <a:pt x="326772" y="89282"/>
                  </a:lnTo>
                  <a:lnTo>
                    <a:pt x="323724" y="90044"/>
                  </a:lnTo>
                  <a:lnTo>
                    <a:pt x="322199" y="90297"/>
                  </a:lnTo>
                  <a:lnTo>
                    <a:pt x="320675" y="90297"/>
                  </a:lnTo>
                  <a:lnTo>
                    <a:pt x="319024" y="90425"/>
                  </a:lnTo>
                  <a:lnTo>
                    <a:pt x="317500" y="90551"/>
                  </a:lnTo>
                  <a:lnTo>
                    <a:pt x="315849" y="90425"/>
                  </a:lnTo>
                  <a:lnTo>
                    <a:pt x="314325" y="90297"/>
                  </a:lnTo>
                  <a:lnTo>
                    <a:pt x="312801" y="90297"/>
                  </a:lnTo>
                  <a:lnTo>
                    <a:pt x="311150" y="90044"/>
                  </a:lnTo>
                  <a:lnTo>
                    <a:pt x="308230" y="89282"/>
                  </a:lnTo>
                  <a:lnTo>
                    <a:pt x="305436" y="88392"/>
                  </a:lnTo>
                  <a:lnTo>
                    <a:pt x="302642" y="87250"/>
                  </a:lnTo>
                  <a:lnTo>
                    <a:pt x="299974" y="85853"/>
                  </a:lnTo>
                  <a:lnTo>
                    <a:pt x="297562" y="84201"/>
                  </a:lnTo>
                  <a:lnTo>
                    <a:pt x="295403" y="82550"/>
                  </a:lnTo>
                  <a:lnTo>
                    <a:pt x="294260" y="81407"/>
                  </a:lnTo>
                  <a:lnTo>
                    <a:pt x="293370" y="80519"/>
                  </a:lnTo>
                  <a:lnTo>
                    <a:pt x="292481" y="79503"/>
                  </a:lnTo>
                  <a:lnTo>
                    <a:pt x="291466" y="78487"/>
                  </a:lnTo>
                  <a:lnTo>
                    <a:pt x="290704" y="77344"/>
                  </a:lnTo>
                  <a:lnTo>
                    <a:pt x="290068" y="76073"/>
                  </a:lnTo>
                  <a:lnTo>
                    <a:pt x="289306" y="74931"/>
                  </a:lnTo>
                  <a:lnTo>
                    <a:pt x="288672" y="73788"/>
                  </a:lnTo>
                  <a:lnTo>
                    <a:pt x="288037" y="72391"/>
                  </a:lnTo>
                  <a:lnTo>
                    <a:pt x="287529" y="71247"/>
                  </a:lnTo>
                  <a:lnTo>
                    <a:pt x="287148" y="69850"/>
                  </a:lnTo>
                  <a:lnTo>
                    <a:pt x="286893" y="68581"/>
                  </a:lnTo>
                  <a:lnTo>
                    <a:pt x="286512" y="67184"/>
                  </a:lnTo>
                  <a:lnTo>
                    <a:pt x="286386" y="65787"/>
                  </a:lnTo>
                  <a:lnTo>
                    <a:pt x="286259" y="64390"/>
                  </a:lnTo>
                  <a:lnTo>
                    <a:pt x="286131" y="62992"/>
                  </a:lnTo>
                  <a:lnTo>
                    <a:pt x="286259" y="61088"/>
                  </a:lnTo>
                  <a:lnTo>
                    <a:pt x="284226" y="61469"/>
                  </a:lnTo>
                  <a:lnTo>
                    <a:pt x="282068" y="62103"/>
                  </a:lnTo>
                  <a:lnTo>
                    <a:pt x="279909" y="62485"/>
                  </a:lnTo>
                  <a:lnTo>
                    <a:pt x="277623" y="62738"/>
                  </a:lnTo>
                  <a:lnTo>
                    <a:pt x="275463" y="63119"/>
                  </a:lnTo>
                  <a:lnTo>
                    <a:pt x="273050" y="63247"/>
                  </a:lnTo>
                  <a:lnTo>
                    <a:pt x="270764" y="63373"/>
                  </a:lnTo>
                  <a:lnTo>
                    <a:pt x="268351" y="63500"/>
                  </a:lnTo>
                  <a:lnTo>
                    <a:pt x="265430" y="63373"/>
                  </a:lnTo>
                  <a:lnTo>
                    <a:pt x="262382" y="63119"/>
                  </a:lnTo>
                  <a:lnTo>
                    <a:pt x="259588" y="62866"/>
                  </a:lnTo>
                  <a:lnTo>
                    <a:pt x="256794" y="62485"/>
                  </a:lnTo>
                  <a:lnTo>
                    <a:pt x="254000" y="61850"/>
                  </a:lnTo>
                  <a:lnTo>
                    <a:pt x="251334" y="61341"/>
                  </a:lnTo>
                  <a:lnTo>
                    <a:pt x="248667" y="60453"/>
                  </a:lnTo>
                  <a:lnTo>
                    <a:pt x="246254" y="59691"/>
                  </a:lnTo>
                  <a:lnTo>
                    <a:pt x="245237" y="60707"/>
                  </a:lnTo>
                  <a:lnTo>
                    <a:pt x="244094" y="61595"/>
                  </a:lnTo>
                  <a:lnTo>
                    <a:pt x="243079" y="62485"/>
                  </a:lnTo>
                  <a:lnTo>
                    <a:pt x="241681" y="63500"/>
                  </a:lnTo>
                  <a:lnTo>
                    <a:pt x="240412" y="64390"/>
                  </a:lnTo>
                  <a:lnTo>
                    <a:pt x="239014" y="65151"/>
                  </a:lnTo>
                  <a:lnTo>
                    <a:pt x="237491" y="65787"/>
                  </a:lnTo>
                  <a:lnTo>
                    <a:pt x="236093" y="66422"/>
                  </a:lnTo>
                  <a:lnTo>
                    <a:pt x="234443" y="66929"/>
                  </a:lnTo>
                  <a:lnTo>
                    <a:pt x="232664" y="67565"/>
                  </a:lnTo>
                  <a:lnTo>
                    <a:pt x="230887" y="68072"/>
                  </a:lnTo>
                  <a:lnTo>
                    <a:pt x="229236" y="68453"/>
                  </a:lnTo>
                  <a:lnTo>
                    <a:pt x="227330" y="68581"/>
                  </a:lnTo>
                  <a:lnTo>
                    <a:pt x="225425" y="68835"/>
                  </a:lnTo>
                  <a:lnTo>
                    <a:pt x="223648" y="68962"/>
                  </a:lnTo>
                  <a:lnTo>
                    <a:pt x="221616" y="69088"/>
                  </a:lnTo>
                  <a:lnTo>
                    <a:pt x="218694" y="68962"/>
                  </a:lnTo>
                  <a:lnTo>
                    <a:pt x="215774" y="68581"/>
                  </a:lnTo>
                  <a:lnTo>
                    <a:pt x="213106" y="68200"/>
                  </a:lnTo>
                  <a:lnTo>
                    <a:pt x="210439" y="67438"/>
                  </a:lnTo>
                  <a:lnTo>
                    <a:pt x="207899" y="66675"/>
                  </a:lnTo>
                  <a:lnTo>
                    <a:pt x="205487" y="65787"/>
                  </a:lnTo>
                  <a:lnTo>
                    <a:pt x="203328" y="64516"/>
                  </a:lnTo>
                  <a:lnTo>
                    <a:pt x="201295" y="63247"/>
                  </a:lnTo>
                  <a:lnTo>
                    <a:pt x="199391" y="61976"/>
                  </a:lnTo>
                  <a:lnTo>
                    <a:pt x="197739" y="60453"/>
                  </a:lnTo>
                  <a:lnTo>
                    <a:pt x="196343" y="58801"/>
                  </a:lnTo>
                  <a:lnTo>
                    <a:pt x="195073" y="57023"/>
                  </a:lnTo>
                  <a:lnTo>
                    <a:pt x="194564" y="56135"/>
                  </a:lnTo>
                  <a:lnTo>
                    <a:pt x="194056" y="55372"/>
                  </a:lnTo>
                  <a:lnTo>
                    <a:pt x="193675" y="54357"/>
                  </a:lnTo>
                  <a:lnTo>
                    <a:pt x="193422" y="53467"/>
                  </a:lnTo>
                  <a:lnTo>
                    <a:pt x="193168" y="52325"/>
                  </a:lnTo>
                  <a:lnTo>
                    <a:pt x="192913" y="51435"/>
                  </a:lnTo>
                  <a:lnTo>
                    <a:pt x="192787" y="50419"/>
                  </a:lnTo>
                  <a:lnTo>
                    <a:pt x="192787" y="49531"/>
                  </a:lnTo>
                  <a:close/>
                  <a:moveTo>
                    <a:pt x="-1268730" y="2907792"/>
                  </a:moveTo>
                  <a:moveTo>
                    <a:pt x="160020" y="214122"/>
                  </a:moveTo>
                  <a:lnTo>
                    <a:pt x="160020" y="253492"/>
                  </a:lnTo>
                  <a:lnTo>
                    <a:pt x="0" y="253492"/>
                  </a:lnTo>
                  <a:lnTo>
                    <a:pt x="0" y="214122"/>
                  </a:lnTo>
                  <a:lnTo>
                    <a:pt x="160020" y="214122"/>
                  </a:lnTo>
                  <a:close/>
                  <a:moveTo>
                    <a:pt x="-1433321" y="2907792"/>
                  </a:moveTo>
                  <a:moveTo>
                    <a:pt x="252730" y="327534"/>
                  </a:moveTo>
                  <a:lnTo>
                    <a:pt x="278130" y="371857"/>
                  </a:lnTo>
                  <a:lnTo>
                    <a:pt x="268351" y="371857"/>
                  </a:lnTo>
                  <a:lnTo>
                    <a:pt x="245111" y="331090"/>
                  </a:lnTo>
                  <a:lnTo>
                    <a:pt x="244856" y="331216"/>
                  </a:lnTo>
                  <a:lnTo>
                    <a:pt x="244856" y="330835"/>
                  </a:lnTo>
                  <a:lnTo>
                    <a:pt x="240412" y="322962"/>
                  </a:lnTo>
                  <a:lnTo>
                    <a:pt x="242570" y="322326"/>
                  </a:lnTo>
                  <a:lnTo>
                    <a:pt x="244856" y="321310"/>
                  </a:lnTo>
                  <a:lnTo>
                    <a:pt x="246507" y="320675"/>
                  </a:lnTo>
                  <a:lnTo>
                    <a:pt x="248159" y="319660"/>
                  </a:lnTo>
                  <a:lnTo>
                    <a:pt x="251080" y="318009"/>
                  </a:lnTo>
                  <a:lnTo>
                    <a:pt x="253747" y="316231"/>
                  </a:lnTo>
                  <a:lnTo>
                    <a:pt x="256287" y="314072"/>
                  </a:lnTo>
                  <a:lnTo>
                    <a:pt x="258699" y="311913"/>
                  </a:lnTo>
                  <a:lnTo>
                    <a:pt x="260986" y="309372"/>
                  </a:lnTo>
                  <a:lnTo>
                    <a:pt x="263144" y="306706"/>
                  </a:lnTo>
                  <a:lnTo>
                    <a:pt x="265049" y="303912"/>
                  </a:lnTo>
                  <a:lnTo>
                    <a:pt x="266828" y="300991"/>
                  </a:lnTo>
                  <a:lnTo>
                    <a:pt x="268351" y="297816"/>
                  </a:lnTo>
                  <a:lnTo>
                    <a:pt x="269749" y="294513"/>
                  </a:lnTo>
                  <a:lnTo>
                    <a:pt x="271018" y="291338"/>
                  </a:lnTo>
                  <a:lnTo>
                    <a:pt x="272162" y="287910"/>
                  </a:lnTo>
                  <a:lnTo>
                    <a:pt x="272924" y="284226"/>
                  </a:lnTo>
                  <a:lnTo>
                    <a:pt x="273431" y="280544"/>
                  </a:lnTo>
                  <a:lnTo>
                    <a:pt x="273812" y="276734"/>
                  </a:lnTo>
                  <a:lnTo>
                    <a:pt x="274067" y="272923"/>
                  </a:lnTo>
                  <a:lnTo>
                    <a:pt x="274067" y="270003"/>
                  </a:lnTo>
                  <a:lnTo>
                    <a:pt x="273812" y="267082"/>
                  </a:lnTo>
                  <a:lnTo>
                    <a:pt x="273431" y="264288"/>
                  </a:lnTo>
                  <a:lnTo>
                    <a:pt x="272924" y="261494"/>
                  </a:lnTo>
                  <a:lnTo>
                    <a:pt x="272416" y="258953"/>
                  </a:lnTo>
                  <a:lnTo>
                    <a:pt x="271780" y="256541"/>
                  </a:lnTo>
                  <a:lnTo>
                    <a:pt x="271018" y="254128"/>
                  </a:lnTo>
                  <a:lnTo>
                    <a:pt x="270256" y="251841"/>
                  </a:lnTo>
                  <a:lnTo>
                    <a:pt x="269368" y="249682"/>
                  </a:lnTo>
                  <a:lnTo>
                    <a:pt x="268351" y="247397"/>
                  </a:lnTo>
                  <a:lnTo>
                    <a:pt x="267209" y="245491"/>
                  </a:lnTo>
                  <a:lnTo>
                    <a:pt x="266066" y="243587"/>
                  </a:lnTo>
                  <a:lnTo>
                    <a:pt x="264795" y="241682"/>
                  </a:lnTo>
                  <a:lnTo>
                    <a:pt x="263525" y="240031"/>
                  </a:lnTo>
                  <a:lnTo>
                    <a:pt x="262129" y="238253"/>
                  </a:lnTo>
                  <a:lnTo>
                    <a:pt x="260859" y="236728"/>
                  </a:lnTo>
                  <a:lnTo>
                    <a:pt x="259462" y="235204"/>
                  </a:lnTo>
                  <a:lnTo>
                    <a:pt x="258064" y="233807"/>
                  </a:lnTo>
                  <a:lnTo>
                    <a:pt x="256541" y="232410"/>
                  </a:lnTo>
                  <a:lnTo>
                    <a:pt x="255143" y="231267"/>
                  </a:lnTo>
                  <a:lnTo>
                    <a:pt x="253619" y="230125"/>
                  </a:lnTo>
                  <a:lnTo>
                    <a:pt x="252095" y="228854"/>
                  </a:lnTo>
                  <a:lnTo>
                    <a:pt x="249048" y="227076"/>
                  </a:lnTo>
                  <a:lnTo>
                    <a:pt x="246126" y="225298"/>
                  </a:lnTo>
                  <a:lnTo>
                    <a:pt x="243332" y="224028"/>
                  </a:lnTo>
                  <a:lnTo>
                    <a:pt x="240666" y="222885"/>
                  </a:lnTo>
                  <a:lnTo>
                    <a:pt x="238253" y="222123"/>
                  </a:lnTo>
                  <a:lnTo>
                    <a:pt x="237491" y="221869"/>
                  </a:lnTo>
                  <a:lnTo>
                    <a:pt x="236855" y="221488"/>
                  </a:lnTo>
                  <a:lnTo>
                    <a:pt x="236474" y="220981"/>
                  </a:lnTo>
                  <a:lnTo>
                    <a:pt x="236093" y="220472"/>
                  </a:lnTo>
                  <a:lnTo>
                    <a:pt x="235586" y="219965"/>
                  </a:lnTo>
                  <a:lnTo>
                    <a:pt x="235331" y="219203"/>
                  </a:lnTo>
                  <a:lnTo>
                    <a:pt x="235205" y="218313"/>
                  </a:lnTo>
                  <a:lnTo>
                    <a:pt x="235078" y="217551"/>
                  </a:lnTo>
                  <a:lnTo>
                    <a:pt x="235078" y="208916"/>
                  </a:lnTo>
                  <a:lnTo>
                    <a:pt x="222886" y="208916"/>
                  </a:lnTo>
                  <a:lnTo>
                    <a:pt x="222886" y="217551"/>
                  </a:lnTo>
                  <a:lnTo>
                    <a:pt x="222759" y="218313"/>
                  </a:lnTo>
                  <a:lnTo>
                    <a:pt x="222631" y="218948"/>
                  </a:lnTo>
                  <a:lnTo>
                    <a:pt x="222250" y="219710"/>
                  </a:lnTo>
                  <a:lnTo>
                    <a:pt x="221869" y="220345"/>
                  </a:lnTo>
                  <a:lnTo>
                    <a:pt x="221362" y="220981"/>
                  </a:lnTo>
                  <a:lnTo>
                    <a:pt x="220854" y="221488"/>
                  </a:lnTo>
                  <a:lnTo>
                    <a:pt x="220218" y="221869"/>
                  </a:lnTo>
                  <a:lnTo>
                    <a:pt x="219711" y="222123"/>
                  </a:lnTo>
                  <a:lnTo>
                    <a:pt x="217805" y="222632"/>
                  </a:lnTo>
                  <a:lnTo>
                    <a:pt x="215900" y="223266"/>
                  </a:lnTo>
                  <a:lnTo>
                    <a:pt x="214123" y="224028"/>
                  </a:lnTo>
                  <a:lnTo>
                    <a:pt x="212218" y="224663"/>
                  </a:lnTo>
                  <a:lnTo>
                    <a:pt x="210439" y="225679"/>
                  </a:lnTo>
                  <a:lnTo>
                    <a:pt x="208788" y="226569"/>
                  </a:lnTo>
                  <a:lnTo>
                    <a:pt x="207011" y="227457"/>
                  </a:lnTo>
                  <a:lnTo>
                    <a:pt x="205487" y="228728"/>
                  </a:lnTo>
                  <a:lnTo>
                    <a:pt x="203962" y="229870"/>
                  </a:lnTo>
                  <a:lnTo>
                    <a:pt x="202312" y="231141"/>
                  </a:lnTo>
                  <a:lnTo>
                    <a:pt x="200787" y="232410"/>
                  </a:lnTo>
                  <a:lnTo>
                    <a:pt x="199391" y="233807"/>
                  </a:lnTo>
                  <a:lnTo>
                    <a:pt x="197993" y="235204"/>
                  </a:lnTo>
                  <a:lnTo>
                    <a:pt x="196597" y="236728"/>
                  </a:lnTo>
                  <a:lnTo>
                    <a:pt x="195454" y="238379"/>
                  </a:lnTo>
                  <a:lnTo>
                    <a:pt x="194184" y="240031"/>
                  </a:lnTo>
                  <a:lnTo>
                    <a:pt x="192913" y="241682"/>
                  </a:lnTo>
                  <a:lnTo>
                    <a:pt x="191770" y="243460"/>
                  </a:lnTo>
                  <a:lnTo>
                    <a:pt x="190755" y="245238"/>
                  </a:lnTo>
                  <a:lnTo>
                    <a:pt x="189738" y="247142"/>
                  </a:lnTo>
                  <a:lnTo>
                    <a:pt x="188849" y="249047"/>
                  </a:lnTo>
                  <a:lnTo>
                    <a:pt x="188087" y="251079"/>
                  </a:lnTo>
                  <a:lnTo>
                    <a:pt x="187325" y="252985"/>
                  </a:lnTo>
                  <a:lnTo>
                    <a:pt x="186691" y="255144"/>
                  </a:lnTo>
                  <a:lnTo>
                    <a:pt x="186055" y="257303"/>
                  </a:lnTo>
                  <a:lnTo>
                    <a:pt x="185420" y="259335"/>
                  </a:lnTo>
                  <a:lnTo>
                    <a:pt x="185039" y="261494"/>
                  </a:lnTo>
                  <a:lnTo>
                    <a:pt x="184659" y="263653"/>
                  </a:lnTo>
                  <a:lnTo>
                    <a:pt x="184405" y="265938"/>
                  </a:lnTo>
                  <a:lnTo>
                    <a:pt x="184150" y="268225"/>
                  </a:lnTo>
                  <a:lnTo>
                    <a:pt x="183897" y="270510"/>
                  </a:lnTo>
                  <a:lnTo>
                    <a:pt x="183897" y="272923"/>
                  </a:lnTo>
                  <a:lnTo>
                    <a:pt x="184024" y="275591"/>
                  </a:lnTo>
                  <a:lnTo>
                    <a:pt x="184150" y="278257"/>
                  </a:lnTo>
                  <a:lnTo>
                    <a:pt x="184405" y="280925"/>
                  </a:lnTo>
                  <a:lnTo>
                    <a:pt x="184912" y="283591"/>
                  </a:lnTo>
                  <a:lnTo>
                    <a:pt x="175768" y="275463"/>
                  </a:lnTo>
                  <a:lnTo>
                    <a:pt x="175768" y="272923"/>
                  </a:lnTo>
                  <a:lnTo>
                    <a:pt x="175768" y="270257"/>
                  </a:lnTo>
                  <a:lnTo>
                    <a:pt x="176023" y="267590"/>
                  </a:lnTo>
                  <a:lnTo>
                    <a:pt x="176149" y="265050"/>
                  </a:lnTo>
                  <a:lnTo>
                    <a:pt x="176404" y="262510"/>
                  </a:lnTo>
                  <a:lnTo>
                    <a:pt x="177038" y="260097"/>
                  </a:lnTo>
                  <a:lnTo>
                    <a:pt x="177419" y="257557"/>
                  </a:lnTo>
                  <a:lnTo>
                    <a:pt x="178055" y="255144"/>
                  </a:lnTo>
                  <a:lnTo>
                    <a:pt x="178689" y="252857"/>
                  </a:lnTo>
                  <a:lnTo>
                    <a:pt x="179451" y="250444"/>
                  </a:lnTo>
                  <a:lnTo>
                    <a:pt x="180213" y="248159"/>
                  </a:lnTo>
                  <a:lnTo>
                    <a:pt x="181103" y="245872"/>
                  </a:lnTo>
                  <a:lnTo>
                    <a:pt x="182118" y="243713"/>
                  </a:lnTo>
                  <a:lnTo>
                    <a:pt x="183388" y="241682"/>
                  </a:lnTo>
                  <a:lnTo>
                    <a:pt x="184405" y="239522"/>
                  </a:lnTo>
                  <a:lnTo>
                    <a:pt x="185548" y="237491"/>
                  </a:lnTo>
                  <a:lnTo>
                    <a:pt x="186818" y="235585"/>
                  </a:lnTo>
                  <a:lnTo>
                    <a:pt x="188087" y="233553"/>
                  </a:lnTo>
                  <a:lnTo>
                    <a:pt x="189612" y="231775"/>
                  </a:lnTo>
                  <a:lnTo>
                    <a:pt x="191009" y="229870"/>
                  </a:lnTo>
                  <a:lnTo>
                    <a:pt x="192532" y="228219"/>
                  </a:lnTo>
                  <a:lnTo>
                    <a:pt x="194184" y="226695"/>
                  </a:lnTo>
                  <a:lnTo>
                    <a:pt x="195707" y="225044"/>
                  </a:lnTo>
                  <a:lnTo>
                    <a:pt x="197359" y="223647"/>
                  </a:lnTo>
                  <a:lnTo>
                    <a:pt x="199263" y="222123"/>
                  </a:lnTo>
                  <a:lnTo>
                    <a:pt x="201042" y="220726"/>
                  </a:lnTo>
                  <a:lnTo>
                    <a:pt x="202819" y="219584"/>
                  </a:lnTo>
                  <a:lnTo>
                    <a:pt x="204724" y="218313"/>
                  </a:lnTo>
                  <a:lnTo>
                    <a:pt x="206630" y="217297"/>
                  </a:lnTo>
                  <a:lnTo>
                    <a:pt x="208535" y="216282"/>
                  </a:lnTo>
                  <a:lnTo>
                    <a:pt x="210693" y="215519"/>
                  </a:lnTo>
                  <a:lnTo>
                    <a:pt x="212725" y="214631"/>
                  </a:lnTo>
                  <a:lnTo>
                    <a:pt x="214757" y="213869"/>
                  </a:lnTo>
                  <a:lnTo>
                    <a:pt x="214757" y="204216"/>
                  </a:lnTo>
                  <a:lnTo>
                    <a:pt x="214885" y="203328"/>
                  </a:lnTo>
                  <a:lnTo>
                    <a:pt x="215138" y="202312"/>
                  </a:lnTo>
                  <a:lnTo>
                    <a:pt x="215519" y="201676"/>
                  </a:lnTo>
                  <a:lnTo>
                    <a:pt x="216028" y="200915"/>
                  </a:lnTo>
                  <a:lnTo>
                    <a:pt x="216662" y="200407"/>
                  </a:lnTo>
                  <a:lnTo>
                    <a:pt x="217298" y="199898"/>
                  </a:lnTo>
                  <a:lnTo>
                    <a:pt x="218060" y="199644"/>
                  </a:lnTo>
                  <a:lnTo>
                    <a:pt x="218822" y="199517"/>
                  </a:lnTo>
                  <a:lnTo>
                    <a:pt x="239142" y="199517"/>
                  </a:lnTo>
                  <a:lnTo>
                    <a:pt x="240030" y="199644"/>
                  </a:lnTo>
                  <a:lnTo>
                    <a:pt x="240666" y="199898"/>
                  </a:lnTo>
                  <a:lnTo>
                    <a:pt x="241428" y="200407"/>
                  </a:lnTo>
                  <a:lnTo>
                    <a:pt x="242062" y="200915"/>
                  </a:lnTo>
                  <a:lnTo>
                    <a:pt x="242443" y="201676"/>
                  </a:lnTo>
                  <a:lnTo>
                    <a:pt x="242951" y="202312"/>
                  </a:lnTo>
                  <a:lnTo>
                    <a:pt x="243079" y="203328"/>
                  </a:lnTo>
                  <a:lnTo>
                    <a:pt x="243205" y="204216"/>
                  </a:lnTo>
                  <a:lnTo>
                    <a:pt x="243205" y="213869"/>
                  </a:lnTo>
                  <a:lnTo>
                    <a:pt x="245364" y="214631"/>
                  </a:lnTo>
                  <a:lnTo>
                    <a:pt x="247397" y="215519"/>
                  </a:lnTo>
                  <a:lnTo>
                    <a:pt x="249429" y="216282"/>
                  </a:lnTo>
                  <a:lnTo>
                    <a:pt x="251334" y="217297"/>
                  </a:lnTo>
                  <a:lnTo>
                    <a:pt x="253238" y="218313"/>
                  </a:lnTo>
                  <a:lnTo>
                    <a:pt x="255143" y="219584"/>
                  </a:lnTo>
                  <a:lnTo>
                    <a:pt x="257049" y="220726"/>
                  </a:lnTo>
                  <a:lnTo>
                    <a:pt x="258699" y="222123"/>
                  </a:lnTo>
                  <a:lnTo>
                    <a:pt x="260605" y="223647"/>
                  </a:lnTo>
                  <a:lnTo>
                    <a:pt x="262129" y="225044"/>
                  </a:lnTo>
                  <a:lnTo>
                    <a:pt x="263780" y="226695"/>
                  </a:lnTo>
                  <a:lnTo>
                    <a:pt x="265430" y="228219"/>
                  </a:lnTo>
                  <a:lnTo>
                    <a:pt x="266955" y="229870"/>
                  </a:lnTo>
                  <a:lnTo>
                    <a:pt x="268351" y="231775"/>
                  </a:lnTo>
                  <a:lnTo>
                    <a:pt x="269749" y="233553"/>
                  </a:lnTo>
                  <a:lnTo>
                    <a:pt x="271145" y="235585"/>
                  </a:lnTo>
                  <a:lnTo>
                    <a:pt x="272416" y="237491"/>
                  </a:lnTo>
                  <a:lnTo>
                    <a:pt x="273559" y="239522"/>
                  </a:lnTo>
                  <a:lnTo>
                    <a:pt x="274701" y="241682"/>
                  </a:lnTo>
                  <a:lnTo>
                    <a:pt x="275844" y="243713"/>
                  </a:lnTo>
                  <a:lnTo>
                    <a:pt x="276861" y="245872"/>
                  </a:lnTo>
                  <a:lnTo>
                    <a:pt x="277749" y="248159"/>
                  </a:lnTo>
                  <a:lnTo>
                    <a:pt x="278512" y="250444"/>
                  </a:lnTo>
                  <a:lnTo>
                    <a:pt x="279274" y="252857"/>
                  </a:lnTo>
                  <a:lnTo>
                    <a:pt x="280036" y="255144"/>
                  </a:lnTo>
                  <a:lnTo>
                    <a:pt x="280543" y="257557"/>
                  </a:lnTo>
                  <a:lnTo>
                    <a:pt x="281051" y="260097"/>
                  </a:lnTo>
                  <a:lnTo>
                    <a:pt x="281432" y="262510"/>
                  </a:lnTo>
                  <a:lnTo>
                    <a:pt x="281813" y="265050"/>
                  </a:lnTo>
                  <a:lnTo>
                    <a:pt x="282068" y="267590"/>
                  </a:lnTo>
                  <a:lnTo>
                    <a:pt x="282194" y="270257"/>
                  </a:lnTo>
                  <a:lnTo>
                    <a:pt x="282194" y="272923"/>
                  </a:lnTo>
                  <a:lnTo>
                    <a:pt x="282194" y="275082"/>
                  </a:lnTo>
                  <a:lnTo>
                    <a:pt x="282068" y="277369"/>
                  </a:lnTo>
                  <a:lnTo>
                    <a:pt x="281941" y="279528"/>
                  </a:lnTo>
                  <a:lnTo>
                    <a:pt x="281687" y="281560"/>
                  </a:lnTo>
                  <a:lnTo>
                    <a:pt x="281432" y="283845"/>
                  </a:lnTo>
                  <a:lnTo>
                    <a:pt x="281051" y="286004"/>
                  </a:lnTo>
                  <a:lnTo>
                    <a:pt x="280543" y="288037"/>
                  </a:lnTo>
                  <a:lnTo>
                    <a:pt x="280036" y="290195"/>
                  </a:lnTo>
                  <a:lnTo>
                    <a:pt x="279400" y="292100"/>
                  </a:lnTo>
                  <a:lnTo>
                    <a:pt x="278766" y="294132"/>
                  </a:lnTo>
                  <a:lnTo>
                    <a:pt x="278257" y="296165"/>
                  </a:lnTo>
                  <a:lnTo>
                    <a:pt x="277495" y="298069"/>
                  </a:lnTo>
                  <a:lnTo>
                    <a:pt x="276734" y="299975"/>
                  </a:lnTo>
                  <a:lnTo>
                    <a:pt x="275844" y="301879"/>
                  </a:lnTo>
                  <a:lnTo>
                    <a:pt x="275082" y="303657"/>
                  </a:lnTo>
                  <a:lnTo>
                    <a:pt x="274067" y="305435"/>
                  </a:lnTo>
                  <a:lnTo>
                    <a:pt x="273050" y="307213"/>
                  </a:lnTo>
                  <a:lnTo>
                    <a:pt x="271907" y="308991"/>
                  </a:lnTo>
                  <a:lnTo>
                    <a:pt x="270764" y="310516"/>
                  </a:lnTo>
                  <a:lnTo>
                    <a:pt x="269749" y="312166"/>
                  </a:lnTo>
                  <a:lnTo>
                    <a:pt x="268479" y="313817"/>
                  </a:lnTo>
                  <a:lnTo>
                    <a:pt x="267336" y="315215"/>
                  </a:lnTo>
                  <a:lnTo>
                    <a:pt x="266066" y="316738"/>
                  </a:lnTo>
                  <a:lnTo>
                    <a:pt x="264795" y="318135"/>
                  </a:lnTo>
                  <a:lnTo>
                    <a:pt x="263399" y="319532"/>
                  </a:lnTo>
                  <a:lnTo>
                    <a:pt x="261874" y="320929"/>
                  </a:lnTo>
                  <a:lnTo>
                    <a:pt x="260478" y="322072"/>
                  </a:lnTo>
                  <a:lnTo>
                    <a:pt x="259080" y="323342"/>
                  </a:lnTo>
                  <a:lnTo>
                    <a:pt x="257556" y="324485"/>
                  </a:lnTo>
                  <a:lnTo>
                    <a:pt x="255905" y="325628"/>
                  </a:lnTo>
                  <a:lnTo>
                    <a:pt x="254381" y="326517"/>
                  </a:lnTo>
                  <a:lnTo>
                    <a:pt x="252730" y="327534"/>
                  </a:lnTo>
                  <a:close/>
                  <a:moveTo>
                    <a:pt x="-1546733" y="2907792"/>
                  </a:moveTo>
                  <a:moveTo>
                    <a:pt x="16256" y="328422"/>
                  </a:moveTo>
                  <a:lnTo>
                    <a:pt x="50293" y="328422"/>
                  </a:lnTo>
                  <a:lnTo>
                    <a:pt x="50419" y="283465"/>
                  </a:lnTo>
                  <a:lnTo>
                    <a:pt x="50547" y="282703"/>
                  </a:lnTo>
                  <a:lnTo>
                    <a:pt x="50674" y="281813"/>
                  </a:lnTo>
                  <a:lnTo>
                    <a:pt x="50800" y="281178"/>
                  </a:lnTo>
                  <a:lnTo>
                    <a:pt x="51055" y="280544"/>
                  </a:lnTo>
                  <a:lnTo>
                    <a:pt x="51436" y="279909"/>
                  </a:lnTo>
                  <a:lnTo>
                    <a:pt x="51689" y="279528"/>
                  </a:lnTo>
                  <a:lnTo>
                    <a:pt x="52070" y="279019"/>
                  </a:lnTo>
                  <a:lnTo>
                    <a:pt x="52579" y="278892"/>
                  </a:lnTo>
                  <a:lnTo>
                    <a:pt x="52960" y="278638"/>
                  </a:lnTo>
                  <a:lnTo>
                    <a:pt x="53468" y="278512"/>
                  </a:lnTo>
                  <a:lnTo>
                    <a:pt x="54103" y="278512"/>
                  </a:lnTo>
                  <a:lnTo>
                    <a:pt x="54611" y="278638"/>
                  </a:lnTo>
                  <a:lnTo>
                    <a:pt x="55245" y="278766"/>
                  </a:lnTo>
                  <a:lnTo>
                    <a:pt x="55880" y="279019"/>
                  </a:lnTo>
                  <a:lnTo>
                    <a:pt x="56388" y="279400"/>
                  </a:lnTo>
                  <a:lnTo>
                    <a:pt x="57024" y="279909"/>
                  </a:lnTo>
                  <a:lnTo>
                    <a:pt x="103505" y="322072"/>
                  </a:lnTo>
                  <a:lnTo>
                    <a:pt x="103505" y="283591"/>
                  </a:lnTo>
                  <a:lnTo>
                    <a:pt x="103632" y="282703"/>
                  </a:lnTo>
                  <a:lnTo>
                    <a:pt x="103632" y="281813"/>
                  </a:lnTo>
                  <a:lnTo>
                    <a:pt x="103760" y="281178"/>
                  </a:lnTo>
                  <a:lnTo>
                    <a:pt x="104013" y="280544"/>
                  </a:lnTo>
                  <a:lnTo>
                    <a:pt x="104394" y="279909"/>
                  </a:lnTo>
                  <a:lnTo>
                    <a:pt x="104649" y="279528"/>
                  </a:lnTo>
                  <a:lnTo>
                    <a:pt x="105030" y="279019"/>
                  </a:lnTo>
                  <a:lnTo>
                    <a:pt x="105537" y="278892"/>
                  </a:lnTo>
                  <a:lnTo>
                    <a:pt x="106045" y="278638"/>
                  </a:lnTo>
                  <a:lnTo>
                    <a:pt x="106554" y="278512"/>
                  </a:lnTo>
                  <a:lnTo>
                    <a:pt x="107062" y="278512"/>
                  </a:lnTo>
                  <a:lnTo>
                    <a:pt x="107697" y="278638"/>
                  </a:lnTo>
                  <a:lnTo>
                    <a:pt x="108331" y="278766"/>
                  </a:lnTo>
                  <a:lnTo>
                    <a:pt x="108839" y="279019"/>
                  </a:lnTo>
                  <a:lnTo>
                    <a:pt x="109474" y="279400"/>
                  </a:lnTo>
                  <a:lnTo>
                    <a:pt x="110110" y="279909"/>
                  </a:lnTo>
                  <a:lnTo>
                    <a:pt x="133986" y="301625"/>
                  </a:lnTo>
                  <a:lnTo>
                    <a:pt x="133986" y="262891"/>
                  </a:lnTo>
                  <a:lnTo>
                    <a:pt x="150242" y="262891"/>
                  </a:lnTo>
                  <a:lnTo>
                    <a:pt x="150242" y="316231"/>
                  </a:lnTo>
                  <a:lnTo>
                    <a:pt x="156464" y="322072"/>
                  </a:lnTo>
                  <a:lnTo>
                    <a:pt x="156464" y="283591"/>
                  </a:lnTo>
                  <a:lnTo>
                    <a:pt x="156592" y="282703"/>
                  </a:lnTo>
                  <a:lnTo>
                    <a:pt x="156718" y="281813"/>
                  </a:lnTo>
                  <a:lnTo>
                    <a:pt x="156718" y="281178"/>
                  </a:lnTo>
                  <a:lnTo>
                    <a:pt x="157099" y="280544"/>
                  </a:lnTo>
                  <a:lnTo>
                    <a:pt x="157354" y="279909"/>
                  </a:lnTo>
                  <a:lnTo>
                    <a:pt x="157735" y="279528"/>
                  </a:lnTo>
                  <a:lnTo>
                    <a:pt x="158116" y="279019"/>
                  </a:lnTo>
                  <a:lnTo>
                    <a:pt x="158497" y="278892"/>
                  </a:lnTo>
                  <a:lnTo>
                    <a:pt x="159005" y="278638"/>
                  </a:lnTo>
                  <a:lnTo>
                    <a:pt x="159512" y="278512"/>
                  </a:lnTo>
                  <a:lnTo>
                    <a:pt x="160020" y="278512"/>
                  </a:lnTo>
                  <a:lnTo>
                    <a:pt x="160655" y="278638"/>
                  </a:lnTo>
                  <a:lnTo>
                    <a:pt x="161291" y="278766"/>
                  </a:lnTo>
                  <a:lnTo>
                    <a:pt x="161799" y="279019"/>
                  </a:lnTo>
                  <a:lnTo>
                    <a:pt x="162434" y="279400"/>
                  </a:lnTo>
                  <a:lnTo>
                    <a:pt x="163068" y="279909"/>
                  </a:lnTo>
                  <a:lnTo>
                    <a:pt x="206375" y="319025"/>
                  </a:lnTo>
                  <a:lnTo>
                    <a:pt x="237999" y="319025"/>
                  </a:lnTo>
                  <a:lnTo>
                    <a:pt x="237999" y="371857"/>
                  </a:lnTo>
                  <a:lnTo>
                    <a:pt x="0" y="371857"/>
                  </a:lnTo>
                  <a:lnTo>
                    <a:pt x="0" y="262891"/>
                  </a:lnTo>
                  <a:lnTo>
                    <a:pt x="16256" y="262891"/>
                  </a:lnTo>
                  <a:lnTo>
                    <a:pt x="16256" y="328422"/>
                  </a:lnTo>
                  <a:close/>
                  <a:moveTo>
                    <a:pt x="-1547621" y="2907792"/>
                  </a:moveTo>
                  <a:moveTo>
                    <a:pt x="208662" y="333122"/>
                  </a:moveTo>
                  <a:lnTo>
                    <a:pt x="164593" y="293116"/>
                  </a:lnTo>
                  <a:lnTo>
                    <a:pt x="164593" y="331597"/>
                  </a:lnTo>
                  <a:lnTo>
                    <a:pt x="164593" y="332487"/>
                  </a:lnTo>
                  <a:lnTo>
                    <a:pt x="164466" y="333248"/>
                  </a:lnTo>
                  <a:lnTo>
                    <a:pt x="164338" y="334010"/>
                  </a:lnTo>
                  <a:lnTo>
                    <a:pt x="164085" y="334645"/>
                  </a:lnTo>
                  <a:lnTo>
                    <a:pt x="163830" y="335281"/>
                  </a:lnTo>
                  <a:lnTo>
                    <a:pt x="163449" y="335662"/>
                  </a:lnTo>
                  <a:lnTo>
                    <a:pt x="163068" y="336042"/>
                  </a:lnTo>
                  <a:lnTo>
                    <a:pt x="162561" y="336423"/>
                  </a:lnTo>
                  <a:lnTo>
                    <a:pt x="162053" y="336678"/>
                  </a:lnTo>
                  <a:lnTo>
                    <a:pt x="161544" y="336678"/>
                  </a:lnTo>
                  <a:lnTo>
                    <a:pt x="161037" y="336678"/>
                  </a:lnTo>
                  <a:lnTo>
                    <a:pt x="160401" y="336678"/>
                  </a:lnTo>
                  <a:lnTo>
                    <a:pt x="159767" y="336550"/>
                  </a:lnTo>
                  <a:lnTo>
                    <a:pt x="159386" y="336169"/>
                  </a:lnTo>
                  <a:lnTo>
                    <a:pt x="158750" y="335788"/>
                  </a:lnTo>
                  <a:lnTo>
                    <a:pt x="157988" y="335281"/>
                  </a:lnTo>
                  <a:lnTo>
                    <a:pt x="111634" y="293116"/>
                  </a:lnTo>
                  <a:lnTo>
                    <a:pt x="111634" y="331597"/>
                  </a:lnTo>
                  <a:lnTo>
                    <a:pt x="111634" y="332487"/>
                  </a:lnTo>
                  <a:lnTo>
                    <a:pt x="111506" y="333248"/>
                  </a:lnTo>
                  <a:lnTo>
                    <a:pt x="111380" y="334010"/>
                  </a:lnTo>
                  <a:lnTo>
                    <a:pt x="111125" y="334645"/>
                  </a:lnTo>
                  <a:lnTo>
                    <a:pt x="110744" y="335281"/>
                  </a:lnTo>
                  <a:lnTo>
                    <a:pt x="110363" y="335662"/>
                  </a:lnTo>
                  <a:lnTo>
                    <a:pt x="109982" y="336042"/>
                  </a:lnTo>
                  <a:lnTo>
                    <a:pt x="109601" y="336423"/>
                  </a:lnTo>
                  <a:lnTo>
                    <a:pt x="109093" y="336678"/>
                  </a:lnTo>
                  <a:lnTo>
                    <a:pt x="108586" y="336678"/>
                  </a:lnTo>
                  <a:lnTo>
                    <a:pt x="108078" y="336678"/>
                  </a:lnTo>
                  <a:lnTo>
                    <a:pt x="107443" y="336678"/>
                  </a:lnTo>
                  <a:lnTo>
                    <a:pt x="106807" y="336550"/>
                  </a:lnTo>
                  <a:lnTo>
                    <a:pt x="106299" y="336169"/>
                  </a:lnTo>
                  <a:lnTo>
                    <a:pt x="105664" y="335788"/>
                  </a:lnTo>
                  <a:lnTo>
                    <a:pt x="105030" y="335281"/>
                  </a:lnTo>
                  <a:lnTo>
                    <a:pt x="58801" y="293116"/>
                  </a:lnTo>
                  <a:lnTo>
                    <a:pt x="58801" y="331725"/>
                  </a:lnTo>
                  <a:lnTo>
                    <a:pt x="58674" y="332994"/>
                  </a:lnTo>
                  <a:lnTo>
                    <a:pt x="58420" y="334265"/>
                  </a:lnTo>
                  <a:lnTo>
                    <a:pt x="58039" y="335281"/>
                  </a:lnTo>
                  <a:lnTo>
                    <a:pt x="57405" y="336169"/>
                  </a:lnTo>
                  <a:lnTo>
                    <a:pt x="56769" y="336932"/>
                  </a:lnTo>
                  <a:lnTo>
                    <a:pt x="56007" y="337313"/>
                  </a:lnTo>
                  <a:lnTo>
                    <a:pt x="55118" y="337694"/>
                  </a:lnTo>
                  <a:lnTo>
                    <a:pt x="54356" y="337694"/>
                  </a:lnTo>
                  <a:lnTo>
                    <a:pt x="16256" y="337694"/>
                  </a:lnTo>
                  <a:lnTo>
                    <a:pt x="16256" y="353188"/>
                  </a:lnTo>
                  <a:lnTo>
                    <a:pt x="16511" y="353188"/>
                  </a:lnTo>
                  <a:lnTo>
                    <a:pt x="224155" y="353188"/>
                  </a:lnTo>
                  <a:lnTo>
                    <a:pt x="224155" y="333122"/>
                  </a:lnTo>
                  <a:lnTo>
                    <a:pt x="208662" y="333122"/>
                  </a:lnTo>
                  <a:close/>
                  <a:moveTo>
                    <a:pt x="-1552321" y="2907792"/>
                  </a:moveTo>
                  <a:moveTo>
                    <a:pt x="356998" y="204851"/>
                  </a:moveTo>
                  <a:lnTo>
                    <a:pt x="360935" y="68200"/>
                  </a:lnTo>
                  <a:lnTo>
                    <a:pt x="378968" y="68200"/>
                  </a:lnTo>
                  <a:lnTo>
                    <a:pt x="382779" y="204851"/>
                  </a:lnTo>
                  <a:lnTo>
                    <a:pt x="356998" y="204851"/>
                  </a:lnTo>
                  <a:close/>
                  <a:moveTo>
                    <a:pt x="-1424050" y="2907792"/>
                  </a:moveTo>
                  <a:moveTo>
                    <a:pt x="368809" y="77470"/>
                  </a:moveTo>
                  <a:lnTo>
                    <a:pt x="365761" y="186691"/>
                  </a:lnTo>
                  <a:lnTo>
                    <a:pt x="373888" y="177292"/>
                  </a:lnTo>
                  <a:lnTo>
                    <a:pt x="371094" y="77470"/>
                  </a:lnTo>
                  <a:lnTo>
                    <a:pt x="368809" y="77470"/>
                  </a:lnTo>
                  <a:close/>
                  <a:moveTo>
                    <a:pt x="-1296669" y="2907792"/>
                  </a:moveTo>
                  <a:moveTo>
                    <a:pt x="391795" y="228473"/>
                  </a:moveTo>
                  <a:lnTo>
                    <a:pt x="397892" y="228473"/>
                  </a:lnTo>
                  <a:lnTo>
                    <a:pt x="397892" y="252985"/>
                  </a:lnTo>
                  <a:lnTo>
                    <a:pt x="411480" y="252985"/>
                  </a:lnTo>
                  <a:lnTo>
                    <a:pt x="411480" y="371857"/>
                  </a:lnTo>
                  <a:lnTo>
                    <a:pt x="300482" y="371857"/>
                  </a:lnTo>
                  <a:lnTo>
                    <a:pt x="300482" y="252985"/>
                  </a:lnTo>
                  <a:lnTo>
                    <a:pt x="339218" y="252985"/>
                  </a:lnTo>
                  <a:lnTo>
                    <a:pt x="339218" y="228473"/>
                  </a:lnTo>
                  <a:lnTo>
                    <a:pt x="346456" y="228473"/>
                  </a:lnTo>
                  <a:lnTo>
                    <a:pt x="346456" y="214122"/>
                  </a:lnTo>
                  <a:lnTo>
                    <a:pt x="391795" y="214122"/>
                  </a:lnTo>
                  <a:lnTo>
                    <a:pt x="391795" y="228473"/>
                  </a:lnTo>
                  <a:close/>
                  <a:moveTo>
                    <a:pt x="-1447672" y="2907792"/>
                  </a:moveTo>
                  <a:moveTo>
                    <a:pt x="362712" y="247142"/>
                  </a:moveTo>
                  <a:lnTo>
                    <a:pt x="355474" y="247142"/>
                  </a:lnTo>
                  <a:lnTo>
                    <a:pt x="355474" y="271653"/>
                  </a:lnTo>
                  <a:lnTo>
                    <a:pt x="316738" y="271653"/>
                  </a:lnTo>
                  <a:lnTo>
                    <a:pt x="316738" y="353188"/>
                  </a:lnTo>
                  <a:lnTo>
                    <a:pt x="395224" y="353188"/>
                  </a:lnTo>
                  <a:lnTo>
                    <a:pt x="395224" y="271653"/>
                  </a:lnTo>
                  <a:lnTo>
                    <a:pt x="381636" y="271653"/>
                  </a:lnTo>
                  <a:lnTo>
                    <a:pt x="381636" y="247142"/>
                  </a:lnTo>
                  <a:lnTo>
                    <a:pt x="375539" y="247142"/>
                  </a:lnTo>
                  <a:lnTo>
                    <a:pt x="375539" y="232791"/>
                  </a:lnTo>
                  <a:lnTo>
                    <a:pt x="362712" y="232791"/>
                  </a:lnTo>
                  <a:lnTo>
                    <a:pt x="362712" y="247142"/>
                  </a:lnTo>
                  <a:close/>
                  <a:moveTo>
                    <a:pt x="-1466341" y="2907792"/>
                  </a:moveTo>
                  <a:moveTo>
                    <a:pt x="328676" y="317628"/>
                  </a:moveTo>
                  <a:lnTo>
                    <a:pt x="355474" y="317628"/>
                  </a:lnTo>
                  <a:lnTo>
                    <a:pt x="355474" y="327025"/>
                  </a:lnTo>
                  <a:lnTo>
                    <a:pt x="328676" y="327025"/>
                  </a:lnTo>
                  <a:lnTo>
                    <a:pt x="328676" y="317628"/>
                  </a:lnTo>
                  <a:close/>
                  <a:moveTo>
                    <a:pt x="-1536827" y="2907792"/>
                  </a:moveTo>
                  <a:moveTo>
                    <a:pt x="328676" y="284988"/>
                  </a:moveTo>
                  <a:lnTo>
                    <a:pt x="355474" y="284988"/>
                  </a:lnTo>
                  <a:lnTo>
                    <a:pt x="355474" y="294387"/>
                  </a:lnTo>
                  <a:lnTo>
                    <a:pt x="328676" y="294387"/>
                  </a:lnTo>
                  <a:lnTo>
                    <a:pt x="328676" y="284988"/>
                  </a:lnTo>
                  <a:close/>
                  <a:moveTo>
                    <a:pt x="-1504187" y="2907792"/>
                  </a:moveTo>
                  <a:moveTo>
                    <a:pt x="328676" y="301372"/>
                  </a:moveTo>
                  <a:lnTo>
                    <a:pt x="355474" y="301372"/>
                  </a:lnTo>
                  <a:lnTo>
                    <a:pt x="355474" y="310769"/>
                  </a:lnTo>
                  <a:lnTo>
                    <a:pt x="328676" y="310769"/>
                  </a:lnTo>
                  <a:lnTo>
                    <a:pt x="328676" y="301372"/>
                  </a:lnTo>
                  <a:close/>
                  <a:moveTo>
                    <a:pt x="-1520571" y="2907792"/>
                  </a:moveTo>
                  <a:moveTo>
                    <a:pt x="105030" y="77470"/>
                  </a:moveTo>
                  <a:lnTo>
                    <a:pt x="102109" y="186691"/>
                  </a:lnTo>
                  <a:lnTo>
                    <a:pt x="110363" y="177292"/>
                  </a:lnTo>
                  <a:lnTo>
                    <a:pt x="107443" y="77470"/>
                  </a:lnTo>
                  <a:lnTo>
                    <a:pt x="105030" y="77470"/>
                  </a:lnTo>
                  <a:close/>
                  <a:moveTo>
                    <a:pt x="-1296669" y="2907792"/>
                  </a:moveTo>
                  <a:moveTo>
                    <a:pt x="93345" y="204851"/>
                  </a:moveTo>
                  <a:lnTo>
                    <a:pt x="97282" y="68200"/>
                  </a:lnTo>
                  <a:lnTo>
                    <a:pt x="115317" y="68200"/>
                  </a:lnTo>
                  <a:lnTo>
                    <a:pt x="119254" y="204851"/>
                  </a:lnTo>
                  <a:lnTo>
                    <a:pt x="93345" y="204851"/>
                  </a:lnTo>
                  <a:close/>
                  <a:moveTo>
                    <a:pt x="-1424050" y="2907792"/>
                  </a:moveTo>
                  <a:moveTo>
                    <a:pt x="68962" y="77470"/>
                  </a:moveTo>
                  <a:lnTo>
                    <a:pt x="65913" y="186691"/>
                  </a:lnTo>
                  <a:lnTo>
                    <a:pt x="74042" y="177292"/>
                  </a:lnTo>
                  <a:lnTo>
                    <a:pt x="71374" y="77470"/>
                  </a:lnTo>
                  <a:lnTo>
                    <a:pt x="68962" y="77470"/>
                  </a:lnTo>
                  <a:close/>
                  <a:moveTo>
                    <a:pt x="-1296669" y="2907792"/>
                  </a:moveTo>
                  <a:moveTo>
                    <a:pt x="57278" y="204851"/>
                  </a:moveTo>
                  <a:lnTo>
                    <a:pt x="61087" y="68200"/>
                  </a:lnTo>
                  <a:lnTo>
                    <a:pt x="79249" y="68200"/>
                  </a:lnTo>
                  <a:lnTo>
                    <a:pt x="83059" y="204851"/>
                  </a:lnTo>
                  <a:lnTo>
                    <a:pt x="57278" y="204851"/>
                  </a:lnTo>
                  <a:close/>
                  <a:moveTo>
                    <a:pt x="-1424050" y="2907792"/>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38" name="Freeform 1338"/>
            <p:cNvSpPr/>
            <p:nvPr/>
          </p:nvSpPr>
          <p:spPr>
            <a:xfrm>
              <a:off x="4399150" y="5302546"/>
              <a:ext cx="24370" cy="27419"/>
            </a:xfrm>
            <a:custGeom>
              <a:avLst/>
              <a:gdLst/>
              <a:ahLst/>
              <a:cxnLst/>
              <a:rect l="0" t="0" r="0" b="0"/>
              <a:pathLst>
                <a:path w="24383" h="27433">
                  <a:moveTo>
                    <a:pt x="4318" y="19939"/>
                  </a:moveTo>
                  <a:lnTo>
                    <a:pt x="4318" y="19939"/>
                  </a:lnTo>
                  <a:lnTo>
                    <a:pt x="5714" y="17400"/>
                  </a:lnTo>
                  <a:lnTo>
                    <a:pt x="7112" y="16256"/>
                  </a:lnTo>
                  <a:lnTo>
                    <a:pt x="10032" y="16256"/>
                  </a:lnTo>
                  <a:lnTo>
                    <a:pt x="11430" y="16256"/>
                  </a:lnTo>
                  <a:lnTo>
                    <a:pt x="17271" y="14986"/>
                  </a:lnTo>
                  <a:lnTo>
                    <a:pt x="20065" y="13717"/>
                  </a:lnTo>
                  <a:lnTo>
                    <a:pt x="22987" y="11177"/>
                  </a:lnTo>
                  <a:lnTo>
                    <a:pt x="24383" y="7494"/>
                  </a:lnTo>
                  <a:lnTo>
                    <a:pt x="22987" y="3683"/>
                  </a:lnTo>
                  <a:lnTo>
                    <a:pt x="20065" y="1270"/>
                  </a:lnTo>
                  <a:lnTo>
                    <a:pt x="17271" y="0"/>
                  </a:lnTo>
                  <a:lnTo>
                    <a:pt x="12953" y="0"/>
                  </a:lnTo>
                  <a:lnTo>
                    <a:pt x="8636" y="0"/>
                  </a:lnTo>
                  <a:lnTo>
                    <a:pt x="4318" y="1270"/>
                  </a:lnTo>
                  <a:lnTo>
                    <a:pt x="1396" y="3683"/>
                  </a:lnTo>
                  <a:lnTo>
                    <a:pt x="0" y="7494"/>
                  </a:lnTo>
                  <a:lnTo>
                    <a:pt x="4318" y="7494"/>
                  </a:lnTo>
                  <a:lnTo>
                    <a:pt x="5714" y="4953"/>
                  </a:lnTo>
                  <a:lnTo>
                    <a:pt x="7112" y="3683"/>
                  </a:lnTo>
                  <a:lnTo>
                    <a:pt x="10032" y="3683"/>
                  </a:lnTo>
                  <a:lnTo>
                    <a:pt x="12953" y="3683"/>
                  </a:lnTo>
                  <a:lnTo>
                    <a:pt x="15747" y="3683"/>
                  </a:lnTo>
                  <a:lnTo>
                    <a:pt x="17271" y="3683"/>
                  </a:lnTo>
                  <a:lnTo>
                    <a:pt x="18669" y="6223"/>
                  </a:lnTo>
                  <a:lnTo>
                    <a:pt x="20065" y="7494"/>
                  </a:lnTo>
                  <a:lnTo>
                    <a:pt x="18669" y="10033"/>
                  </a:lnTo>
                  <a:lnTo>
                    <a:pt x="17271" y="11177"/>
                  </a:lnTo>
                  <a:lnTo>
                    <a:pt x="14351" y="12447"/>
                  </a:lnTo>
                  <a:lnTo>
                    <a:pt x="11430" y="12447"/>
                  </a:lnTo>
                  <a:lnTo>
                    <a:pt x="7112" y="12447"/>
                  </a:lnTo>
                  <a:lnTo>
                    <a:pt x="4318" y="13717"/>
                  </a:lnTo>
                  <a:lnTo>
                    <a:pt x="1396" y="16256"/>
                  </a:lnTo>
                  <a:lnTo>
                    <a:pt x="0" y="19939"/>
                  </a:lnTo>
                  <a:lnTo>
                    <a:pt x="0" y="27433"/>
                  </a:lnTo>
                  <a:lnTo>
                    <a:pt x="24383" y="27433"/>
                  </a:lnTo>
                  <a:lnTo>
                    <a:pt x="24383" y="22480"/>
                  </a:lnTo>
                  <a:lnTo>
                    <a:pt x="4318" y="22480"/>
                  </a:lnTo>
                  <a:lnTo>
                    <a:pt x="4318" y="19939"/>
                  </a:lnTo>
                  <a:close/>
                  <a:moveTo>
                    <a:pt x="-2863723" y="1554480"/>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39" name="Freeform 1339"/>
            <p:cNvSpPr/>
            <p:nvPr/>
          </p:nvSpPr>
          <p:spPr>
            <a:xfrm>
              <a:off x="4262060" y="5272081"/>
              <a:ext cx="57882" cy="57883"/>
            </a:xfrm>
            <a:custGeom>
              <a:avLst/>
              <a:gdLst/>
              <a:ahLst/>
              <a:cxnLst/>
              <a:rect l="0" t="0" r="0" b="0"/>
              <a:pathLst>
                <a:path w="57912" h="57913">
                  <a:moveTo>
                    <a:pt x="43816" y="47880"/>
                  </a:moveTo>
                  <a:lnTo>
                    <a:pt x="43816" y="47880"/>
                  </a:lnTo>
                  <a:lnTo>
                    <a:pt x="38100" y="49149"/>
                  </a:lnTo>
                  <a:lnTo>
                    <a:pt x="33910" y="50419"/>
                  </a:lnTo>
                  <a:lnTo>
                    <a:pt x="28194" y="49149"/>
                  </a:lnTo>
                  <a:lnTo>
                    <a:pt x="24004" y="47880"/>
                  </a:lnTo>
                  <a:lnTo>
                    <a:pt x="19812" y="46610"/>
                  </a:lnTo>
                  <a:lnTo>
                    <a:pt x="15494" y="44069"/>
                  </a:lnTo>
                  <a:lnTo>
                    <a:pt x="14098" y="40260"/>
                  </a:lnTo>
                  <a:lnTo>
                    <a:pt x="11304" y="36449"/>
                  </a:lnTo>
                  <a:lnTo>
                    <a:pt x="9906" y="28957"/>
                  </a:lnTo>
                  <a:lnTo>
                    <a:pt x="11304" y="21463"/>
                  </a:lnTo>
                  <a:lnTo>
                    <a:pt x="14098" y="17653"/>
                  </a:lnTo>
                  <a:lnTo>
                    <a:pt x="15494" y="15113"/>
                  </a:lnTo>
                  <a:lnTo>
                    <a:pt x="19812" y="12574"/>
                  </a:lnTo>
                  <a:lnTo>
                    <a:pt x="24004" y="10033"/>
                  </a:lnTo>
                  <a:lnTo>
                    <a:pt x="28194" y="8763"/>
                  </a:lnTo>
                  <a:lnTo>
                    <a:pt x="33910" y="7494"/>
                  </a:lnTo>
                  <a:lnTo>
                    <a:pt x="42418" y="10033"/>
                  </a:lnTo>
                  <a:lnTo>
                    <a:pt x="46610" y="11303"/>
                  </a:lnTo>
                  <a:lnTo>
                    <a:pt x="50800" y="13844"/>
                  </a:lnTo>
                  <a:lnTo>
                    <a:pt x="57912" y="7494"/>
                  </a:lnTo>
                  <a:lnTo>
                    <a:pt x="52325" y="3810"/>
                  </a:lnTo>
                  <a:lnTo>
                    <a:pt x="46610" y="1271"/>
                  </a:lnTo>
                  <a:lnTo>
                    <a:pt x="41022" y="0"/>
                  </a:lnTo>
                  <a:lnTo>
                    <a:pt x="33910" y="0"/>
                  </a:lnTo>
                  <a:lnTo>
                    <a:pt x="25400" y="0"/>
                  </a:lnTo>
                  <a:lnTo>
                    <a:pt x="19812" y="2541"/>
                  </a:lnTo>
                  <a:lnTo>
                    <a:pt x="12700" y="5080"/>
                  </a:lnTo>
                  <a:lnTo>
                    <a:pt x="8510" y="8763"/>
                  </a:lnTo>
                  <a:lnTo>
                    <a:pt x="5588" y="13844"/>
                  </a:lnTo>
                  <a:lnTo>
                    <a:pt x="2794" y="18924"/>
                  </a:lnTo>
                  <a:lnTo>
                    <a:pt x="1398" y="23877"/>
                  </a:lnTo>
                  <a:lnTo>
                    <a:pt x="0" y="28957"/>
                  </a:lnTo>
                  <a:lnTo>
                    <a:pt x="1398" y="35307"/>
                  </a:lnTo>
                  <a:lnTo>
                    <a:pt x="2794" y="40260"/>
                  </a:lnTo>
                  <a:lnTo>
                    <a:pt x="5588" y="45339"/>
                  </a:lnTo>
                  <a:lnTo>
                    <a:pt x="8510" y="49149"/>
                  </a:lnTo>
                  <a:lnTo>
                    <a:pt x="12700" y="52833"/>
                  </a:lnTo>
                  <a:lnTo>
                    <a:pt x="19812" y="56643"/>
                  </a:lnTo>
                  <a:lnTo>
                    <a:pt x="25400" y="57913"/>
                  </a:lnTo>
                  <a:lnTo>
                    <a:pt x="33910" y="57913"/>
                  </a:lnTo>
                  <a:lnTo>
                    <a:pt x="41022" y="57913"/>
                  </a:lnTo>
                  <a:lnTo>
                    <a:pt x="46610" y="56643"/>
                  </a:lnTo>
                  <a:lnTo>
                    <a:pt x="52325" y="54102"/>
                  </a:lnTo>
                  <a:lnTo>
                    <a:pt x="57912" y="50419"/>
                  </a:lnTo>
                  <a:lnTo>
                    <a:pt x="50800" y="44069"/>
                  </a:lnTo>
                  <a:lnTo>
                    <a:pt x="48006" y="46610"/>
                  </a:lnTo>
                  <a:lnTo>
                    <a:pt x="43816" y="47880"/>
                  </a:lnTo>
                  <a:close/>
                  <a:moveTo>
                    <a:pt x="-2724023" y="1584960"/>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40" name="Freeform 1340"/>
            <p:cNvSpPr/>
            <p:nvPr/>
          </p:nvSpPr>
          <p:spPr>
            <a:xfrm>
              <a:off x="4326036" y="5269035"/>
              <a:ext cx="67021" cy="60929"/>
            </a:xfrm>
            <a:custGeom>
              <a:avLst/>
              <a:gdLst/>
              <a:ahLst/>
              <a:cxnLst/>
              <a:rect l="0" t="0" r="0" b="0"/>
              <a:pathLst>
                <a:path w="67056" h="60961">
                  <a:moveTo>
                    <a:pt x="58548" y="10161"/>
                  </a:moveTo>
                  <a:lnTo>
                    <a:pt x="58548" y="10161"/>
                  </a:lnTo>
                  <a:lnTo>
                    <a:pt x="54229" y="6350"/>
                  </a:lnTo>
                  <a:lnTo>
                    <a:pt x="48515" y="2541"/>
                  </a:lnTo>
                  <a:lnTo>
                    <a:pt x="41403" y="1270"/>
                  </a:lnTo>
                  <a:lnTo>
                    <a:pt x="32767" y="0"/>
                  </a:lnTo>
                  <a:lnTo>
                    <a:pt x="27052" y="1270"/>
                  </a:lnTo>
                  <a:lnTo>
                    <a:pt x="19940" y="2541"/>
                  </a:lnTo>
                  <a:lnTo>
                    <a:pt x="14224" y="5081"/>
                  </a:lnTo>
                  <a:lnTo>
                    <a:pt x="10034" y="8891"/>
                  </a:lnTo>
                  <a:lnTo>
                    <a:pt x="5716" y="13970"/>
                  </a:lnTo>
                  <a:lnTo>
                    <a:pt x="2794" y="19050"/>
                  </a:lnTo>
                  <a:lnTo>
                    <a:pt x="1398" y="24131"/>
                  </a:lnTo>
                  <a:lnTo>
                    <a:pt x="0" y="30481"/>
                  </a:lnTo>
                  <a:lnTo>
                    <a:pt x="1398" y="36831"/>
                  </a:lnTo>
                  <a:lnTo>
                    <a:pt x="2794" y="41911"/>
                  </a:lnTo>
                  <a:lnTo>
                    <a:pt x="4318" y="46991"/>
                  </a:lnTo>
                  <a:lnTo>
                    <a:pt x="8510" y="50800"/>
                  </a:lnTo>
                  <a:lnTo>
                    <a:pt x="12828" y="54611"/>
                  </a:lnTo>
                  <a:lnTo>
                    <a:pt x="18542" y="58420"/>
                  </a:lnTo>
                  <a:lnTo>
                    <a:pt x="25654" y="59691"/>
                  </a:lnTo>
                  <a:lnTo>
                    <a:pt x="32767" y="60961"/>
                  </a:lnTo>
                  <a:lnTo>
                    <a:pt x="41403" y="59691"/>
                  </a:lnTo>
                  <a:lnTo>
                    <a:pt x="48515" y="58420"/>
                  </a:lnTo>
                  <a:lnTo>
                    <a:pt x="54229" y="54611"/>
                  </a:lnTo>
                  <a:lnTo>
                    <a:pt x="58548" y="50800"/>
                  </a:lnTo>
                  <a:lnTo>
                    <a:pt x="61342" y="46991"/>
                  </a:lnTo>
                  <a:lnTo>
                    <a:pt x="64262" y="41911"/>
                  </a:lnTo>
                  <a:lnTo>
                    <a:pt x="65660" y="36831"/>
                  </a:lnTo>
                  <a:lnTo>
                    <a:pt x="67056" y="30481"/>
                  </a:lnTo>
                  <a:lnTo>
                    <a:pt x="65660" y="25400"/>
                  </a:lnTo>
                  <a:lnTo>
                    <a:pt x="64262" y="19050"/>
                  </a:lnTo>
                  <a:lnTo>
                    <a:pt x="61342" y="13970"/>
                  </a:lnTo>
                  <a:lnTo>
                    <a:pt x="58548" y="10161"/>
                  </a:lnTo>
                  <a:close/>
                  <a:moveTo>
                    <a:pt x="-2747264" y="1588008"/>
                  </a:moveTo>
                  <a:moveTo>
                    <a:pt x="54229" y="39370"/>
                  </a:moveTo>
                  <a:lnTo>
                    <a:pt x="54229" y="39370"/>
                  </a:lnTo>
                  <a:lnTo>
                    <a:pt x="52833" y="41911"/>
                  </a:lnTo>
                  <a:lnTo>
                    <a:pt x="51309" y="45720"/>
                  </a:lnTo>
                  <a:lnTo>
                    <a:pt x="47117" y="48261"/>
                  </a:lnTo>
                  <a:lnTo>
                    <a:pt x="44197" y="49531"/>
                  </a:lnTo>
                  <a:lnTo>
                    <a:pt x="38481" y="52070"/>
                  </a:lnTo>
                  <a:lnTo>
                    <a:pt x="32767" y="52070"/>
                  </a:lnTo>
                  <a:lnTo>
                    <a:pt x="27052" y="52070"/>
                  </a:lnTo>
                  <a:lnTo>
                    <a:pt x="22860" y="49531"/>
                  </a:lnTo>
                  <a:lnTo>
                    <a:pt x="18542" y="48261"/>
                  </a:lnTo>
                  <a:lnTo>
                    <a:pt x="15748" y="45720"/>
                  </a:lnTo>
                  <a:lnTo>
                    <a:pt x="11430" y="38100"/>
                  </a:lnTo>
                  <a:lnTo>
                    <a:pt x="10034" y="30481"/>
                  </a:lnTo>
                  <a:lnTo>
                    <a:pt x="11430" y="21591"/>
                  </a:lnTo>
                  <a:lnTo>
                    <a:pt x="14224" y="17781"/>
                  </a:lnTo>
                  <a:lnTo>
                    <a:pt x="17146" y="15241"/>
                  </a:lnTo>
                  <a:lnTo>
                    <a:pt x="19940" y="12700"/>
                  </a:lnTo>
                  <a:lnTo>
                    <a:pt x="24258" y="10161"/>
                  </a:lnTo>
                  <a:lnTo>
                    <a:pt x="28575" y="8891"/>
                  </a:lnTo>
                  <a:lnTo>
                    <a:pt x="32767" y="8891"/>
                  </a:lnTo>
                  <a:lnTo>
                    <a:pt x="38481" y="10161"/>
                  </a:lnTo>
                  <a:lnTo>
                    <a:pt x="44197" y="11431"/>
                  </a:lnTo>
                  <a:lnTo>
                    <a:pt x="47117" y="12700"/>
                  </a:lnTo>
                  <a:lnTo>
                    <a:pt x="51309" y="16511"/>
                  </a:lnTo>
                  <a:lnTo>
                    <a:pt x="52833" y="19050"/>
                  </a:lnTo>
                  <a:lnTo>
                    <a:pt x="54229" y="22861"/>
                  </a:lnTo>
                  <a:lnTo>
                    <a:pt x="55627" y="30481"/>
                  </a:lnTo>
                  <a:lnTo>
                    <a:pt x="54229" y="39370"/>
                  </a:lnTo>
                  <a:close/>
                  <a:moveTo>
                    <a:pt x="-2776473" y="1588008"/>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41" name="Freeform 1341"/>
            <p:cNvSpPr/>
            <p:nvPr/>
          </p:nvSpPr>
          <p:spPr>
            <a:xfrm>
              <a:off x="4048812" y="4982671"/>
              <a:ext cx="587958" cy="322920"/>
            </a:xfrm>
            <a:custGeom>
              <a:avLst/>
              <a:gdLst/>
              <a:ahLst/>
              <a:cxnLst/>
              <a:rect l="0" t="0" r="0" b="0"/>
              <a:pathLst>
                <a:path w="588264" h="323088">
                  <a:moveTo>
                    <a:pt x="469772" y="323088"/>
                  </a:moveTo>
                  <a:lnTo>
                    <a:pt x="385952" y="323088"/>
                  </a:lnTo>
                  <a:lnTo>
                    <a:pt x="385952" y="311785"/>
                  </a:lnTo>
                  <a:lnTo>
                    <a:pt x="469772" y="311785"/>
                  </a:lnTo>
                  <a:lnTo>
                    <a:pt x="481329" y="310515"/>
                  </a:lnTo>
                  <a:lnTo>
                    <a:pt x="491363" y="309373"/>
                  </a:lnTo>
                  <a:lnTo>
                    <a:pt x="501522" y="306832"/>
                  </a:lnTo>
                  <a:lnTo>
                    <a:pt x="511683" y="304293"/>
                  </a:lnTo>
                  <a:lnTo>
                    <a:pt x="520319" y="300609"/>
                  </a:lnTo>
                  <a:lnTo>
                    <a:pt x="528954" y="295529"/>
                  </a:lnTo>
                  <a:lnTo>
                    <a:pt x="537717" y="290576"/>
                  </a:lnTo>
                  <a:lnTo>
                    <a:pt x="544957" y="284226"/>
                  </a:lnTo>
                  <a:lnTo>
                    <a:pt x="550671" y="278004"/>
                  </a:lnTo>
                  <a:lnTo>
                    <a:pt x="557910" y="270510"/>
                  </a:lnTo>
                  <a:lnTo>
                    <a:pt x="562228" y="263018"/>
                  </a:lnTo>
                  <a:lnTo>
                    <a:pt x="566546" y="255524"/>
                  </a:lnTo>
                  <a:lnTo>
                    <a:pt x="570865" y="246762"/>
                  </a:lnTo>
                  <a:lnTo>
                    <a:pt x="573785" y="237872"/>
                  </a:lnTo>
                  <a:lnTo>
                    <a:pt x="575309" y="229109"/>
                  </a:lnTo>
                  <a:lnTo>
                    <a:pt x="575309" y="220345"/>
                  </a:lnTo>
                  <a:lnTo>
                    <a:pt x="573785" y="205360"/>
                  </a:lnTo>
                  <a:lnTo>
                    <a:pt x="569467" y="190373"/>
                  </a:lnTo>
                  <a:lnTo>
                    <a:pt x="562228" y="176531"/>
                  </a:lnTo>
                  <a:lnTo>
                    <a:pt x="553592" y="165354"/>
                  </a:lnTo>
                  <a:lnTo>
                    <a:pt x="542035" y="154051"/>
                  </a:lnTo>
                  <a:lnTo>
                    <a:pt x="528954" y="144019"/>
                  </a:lnTo>
                  <a:lnTo>
                    <a:pt x="514603" y="137795"/>
                  </a:lnTo>
                  <a:lnTo>
                    <a:pt x="498602" y="131445"/>
                  </a:lnTo>
                  <a:lnTo>
                    <a:pt x="492886" y="130175"/>
                  </a:lnTo>
                  <a:lnTo>
                    <a:pt x="492886" y="126493"/>
                  </a:lnTo>
                  <a:lnTo>
                    <a:pt x="494284" y="116460"/>
                  </a:lnTo>
                  <a:lnTo>
                    <a:pt x="492886" y="105156"/>
                  </a:lnTo>
                  <a:lnTo>
                    <a:pt x="491363" y="95123"/>
                  </a:lnTo>
                  <a:lnTo>
                    <a:pt x="488569" y="85218"/>
                  </a:lnTo>
                  <a:lnTo>
                    <a:pt x="484251" y="75185"/>
                  </a:lnTo>
                  <a:lnTo>
                    <a:pt x="479806" y="66422"/>
                  </a:lnTo>
                  <a:lnTo>
                    <a:pt x="472694" y="57659"/>
                  </a:lnTo>
                  <a:lnTo>
                    <a:pt x="466852" y="48895"/>
                  </a:lnTo>
                  <a:lnTo>
                    <a:pt x="458215" y="41275"/>
                  </a:lnTo>
                  <a:lnTo>
                    <a:pt x="449452" y="35053"/>
                  </a:lnTo>
                  <a:lnTo>
                    <a:pt x="440816" y="28829"/>
                  </a:lnTo>
                  <a:lnTo>
                    <a:pt x="430657" y="23750"/>
                  </a:lnTo>
                  <a:lnTo>
                    <a:pt x="420623" y="20066"/>
                  </a:lnTo>
                  <a:lnTo>
                    <a:pt x="409066" y="16256"/>
                  </a:lnTo>
                  <a:lnTo>
                    <a:pt x="397509" y="13716"/>
                  </a:lnTo>
                  <a:lnTo>
                    <a:pt x="385952" y="11303"/>
                  </a:lnTo>
                  <a:lnTo>
                    <a:pt x="372871" y="11303"/>
                  </a:lnTo>
                  <a:lnTo>
                    <a:pt x="354076" y="12573"/>
                  </a:lnTo>
                  <a:lnTo>
                    <a:pt x="336803" y="16256"/>
                  </a:lnTo>
                  <a:lnTo>
                    <a:pt x="319404" y="22479"/>
                  </a:lnTo>
                  <a:lnTo>
                    <a:pt x="303529" y="30100"/>
                  </a:lnTo>
                  <a:lnTo>
                    <a:pt x="290576" y="40132"/>
                  </a:lnTo>
                  <a:lnTo>
                    <a:pt x="277495" y="52578"/>
                  </a:lnTo>
                  <a:lnTo>
                    <a:pt x="267334" y="65151"/>
                  </a:lnTo>
                  <a:lnTo>
                    <a:pt x="260222" y="80138"/>
                  </a:lnTo>
                  <a:lnTo>
                    <a:pt x="257302" y="86360"/>
                  </a:lnTo>
                  <a:lnTo>
                    <a:pt x="251459" y="83947"/>
                  </a:lnTo>
                  <a:lnTo>
                    <a:pt x="234188" y="80138"/>
                  </a:lnTo>
                  <a:lnTo>
                    <a:pt x="216789" y="77597"/>
                  </a:lnTo>
                  <a:lnTo>
                    <a:pt x="200914" y="78868"/>
                  </a:lnTo>
                  <a:lnTo>
                    <a:pt x="185039" y="82678"/>
                  </a:lnTo>
                  <a:lnTo>
                    <a:pt x="170560" y="88900"/>
                  </a:lnTo>
                  <a:lnTo>
                    <a:pt x="157607" y="96394"/>
                  </a:lnTo>
                  <a:lnTo>
                    <a:pt x="145922" y="105156"/>
                  </a:lnTo>
                  <a:lnTo>
                    <a:pt x="135890" y="116460"/>
                  </a:lnTo>
                  <a:lnTo>
                    <a:pt x="128651" y="129032"/>
                  </a:lnTo>
                  <a:lnTo>
                    <a:pt x="124333" y="142748"/>
                  </a:lnTo>
                  <a:lnTo>
                    <a:pt x="122809" y="147828"/>
                  </a:lnTo>
                  <a:lnTo>
                    <a:pt x="117094" y="146559"/>
                  </a:lnTo>
                  <a:lnTo>
                    <a:pt x="108458" y="146559"/>
                  </a:lnTo>
                  <a:lnTo>
                    <a:pt x="98297" y="146559"/>
                  </a:lnTo>
                  <a:lnTo>
                    <a:pt x="89661" y="147828"/>
                  </a:lnTo>
                  <a:lnTo>
                    <a:pt x="80898" y="150241"/>
                  </a:lnTo>
                  <a:lnTo>
                    <a:pt x="70865" y="152781"/>
                  </a:lnTo>
                  <a:lnTo>
                    <a:pt x="63627" y="156591"/>
                  </a:lnTo>
                  <a:lnTo>
                    <a:pt x="54864" y="160275"/>
                  </a:lnTo>
                  <a:lnTo>
                    <a:pt x="47752" y="165354"/>
                  </a:lnTo>
                  <a:lnTo>
                    <a:pt x="41909" y="170307"/>
                  </a:lnTo>
                  <a:lnTo>
                    <a:pt x="34671" y="176531"/>
                  </a:lnTo>
                  <a:lnTo>
                    <a:pt x="28956" y="182881"/>
                  </a:lnTo>
                  <a:lnTo>
                    <a:pt x="24510" y="189103"/>
                  </a:lnTo>
                  <a:lnTo>
                    <a:pt x="20192" y="196597"/>
                  </a:lnTo>
                  <a:lnTo>
                    <a:pt x="17398" y="204090"/>
                  </a:lnTo>
                  <a:lnTo>
                    <a:pt x="15875" y="211582"/>
                  </a:lnTo>
                  <a:lnTo>
                    <a:pt x="14477" y="220345"/>
                  </a:lnTo>
                  <a:lnTo>
                    <a:pt x="12953" y="229109"/>
                  </a:lnTo>
                  <a:lnTo>
                    <a:pt x="14477" y="236728"/>
                  </a:lnTo>
                  <a:lnTo>
                    <a:pt x="15875" y="245491"/>
                  </a:lnTo>
                  <a:lnTo>
                    <a:pt x="17398" y="252984"/>
                  </a:lnTo>
                  <a:lnTo>
                    <a:pt x="20192" y="260478"/>
                  </a:lnTo>
                  <a:lnTo>
                    <a:pt x="24510" y="267970"/>
                  </a:lnTo>
                  <a:lnTo>
                    <a:pt x="28956" y="274193"/>
                  </a:lnTo>
                  <a:lnTo>
                    <a:pt x="34671" y="281813"/>
                  </a:lnTo>
                  <a:lnTo>
                    <a:pt x="41909" y="286767"/>
                  </a:lnTo>
                  <a:lnTo>
                    <a:pt x="47752" y="291720"/>
                  </a:lnTo>
                  <a:lnTo>
                    <a:pt x="54864" y="296799"/>
                  </a:lnTo>
                  <a:lnTo>
                    <a:pt x="63627" y="301753"/>
                  </a:lnTo>
                  <a:lnTo>
                    <a:pt x="70865" y="304293"/>
                  </a:lnTo>
                  <a:lnTo>
                    <a:pt x="80898" y="308103"/>
                  </a:lnTo>
                  <a:lnTo>
                    <a:pt x="89661" y="309373"/>
                  </a:lnTo>
                  <a:lnTo>
                    <a:pt x="98297" y="310515"/>
                  </a:lnTo>
                  <a:lnTo>
                    <a:pt x="108458" y="311785"/>
                  </a:lnTo>
                  <a:lnTo>
                    <a:pt x="195071" y="311785"/>
                  </a:lnTo>
                  <a:lnTo>
                    <a:pt x="195071" y="323088"/>
                  </a:lnTo>
                  <a:lnTo>
                    <a:pt x="108458" y="323088"/>
                  </a:lnTo>
                  <a:lnTo>
                    <a:pt x="96901" y="321818"/>
                  </a:lnTo>
                  <a:lnTo>
                    <a:pt x="86740" y="320548"/>
                  </a:lnTo>
                  <a:lnTo>
                    <a:pt x="76581" y="318135"/>
                  </a:lnTo>
                  <a:lnTo>
                    <a:pt x="66547" y="315595"/>
                  </a:lnTo>
                  <a:lnTo>
                    <a:pt x="56388" y="310515"/>
                  </a:lnTo>
                  <a:lnTo>
                    <a:pt x="47752" y="306832"/>
                  </a:lnTo>
                  <a:lnTo>
                    <a:pt x="38989" y="300609"/>
                  </a:lnTo>
                  <a:lnTo>
                    <a:pt x="31750" y="295529"/>
                  </a:lnTo>
                  <a:lnTo>
                    <a:pt x="24510" y="288037"/>
                  </a:lnTo>
                  <a:lnTo>
                    <a:pt x="18796" y="280543"/>
                  </a:lnTo>
                  <a:lnTo>
                    <a:pt x="12953" y="273051"/>
                  </a:lnTo>
                  <a:lnTo>
                    <a:pt x="8635" y="265431"/>
                  </a:lnTo>
                  <a:lnTo>
                    <a:pt x="5841" y="256668"/>
                  </a:lnTo>
                  <a:lnTo>
                    <a:pt x="2921" y="247904"/>
                  </a:lnTo>
                  <a:lnTo>
                    <a:pt x="1396" y="237872"/>
                  </a:lnTo>
                  <a:lnTo>
                    <a:pt x="0" y="229109"/>
                  </a:lnTo>
                  <a:lnTo>
                    <a:pt x="1396" y="219203"/>
                  </a:lnTo>
                  <a:lnTo>
                    <a:pt x="2921" y="210440"/>
                  </a:lnTo>
                  <a:lnTo>
                    <a:pt x="5841" y="200406"/>
                  </a:lnTo>
                  <a:lnTo>
                    <a:pt x="8635" y="192913"/>
                  </a:lnTo>
                  <a:lnTo>
                    <a:pt x="12953" y="184023"/>
                  </a:lnTo>
                  <a:lnTo>
                    <a:pt x="18796" y="176531"/>
                  </a:lnTo>
                  <a:lnTo>
                    <a:pt x="24510" y="169038"/>
                  </a:lnTo>
                  <a:lnTo>
                    <a:pt x="31750" y="162815"/>
                  </a:lnTo>
                  <a:lnTo>
                    <a:pt x="38989" y="156591"/>
                  </a:lnTo>
                  <a:lnTo>
                    <a:pt x="47752" y="151512"/>
                  </a:lnTo>
                  <a:lnTo>
                    <a:pt x="56388" y="146559"/>
                  </a:lnTo>
                  <a:lnTo>
                    <a:pt x="66547" y="142748"/>
                  </a:lnTo>
                  <a:lnTo>
                    <a:pt x="76581" y="139066"/>
                  </a:lnTo>
                  <a:lnTo>
                    <a:pt x="86740" y="136525"/>
                  </a:lnTo>
                  <a:lnTo>
                    <a:pt x="96901" y="135256"/>
                  </a:lnTo>
                  <a:lnTo>
                    <a:pt x="108458" y="135256"/>
                  </a:lnTo>
                  <a:lnTo>
                    <a:pt x="112776" y="135256"/>
                  </a:lnTo>
                  <a:lnTo>
                    <a:pt x="118490" y="120269"/>
                  </a:lnTo>
                  <a:lnTo>
                    <a:pt x="127253" y="107697"/>
                  </a:lnTo>
                  <a:lnTo>
                    <a:pt x="138810" y="95123"/>
                  </a:lnTo>
                  <a:lnTo>
                    <a:pt x="151765" y="86360"/>
                  </a:lnTo>
                  <a:lnTo>
                    <a:pt x="166242" y="77597"/>
                  </a:lnTo>
                  <a:lnTo>
                    <a:pt x="182117" y="71375"/>
                  </a:lnTo>
                  <a:lnTo>
                    <a:pt x="199516" y="67565"/>
                  </a:lnTo>
                  <a:lnTo>
                    <a:pt x="216789" y="66422"/>
                  </a:lnTo>
                  <a:lnTo>
                    <a:pt x="234188" y="67565"/>
                  </a:lnTo>
                  <a:lnTo>
                    <a:pt x="250063" y="71375"/>
                  </a:lnTo>
                  <a:lnTo>
                    <a:pt x="258698" y="56388"/>
                  </a:lnTo>
                  <a:lnTo>
                    <a:pt x="270256" y="42545"/>
                  </a:lnTo>
                  <a:lnTo>
                    <a:pt x="283336" y="30100"/>
                  </a:lnTo>
                  <a:lnTo>
                    <a:pt x="299211" y="20066"/>
                  </a:lnTo>
                  <a:lnTo>
                    <a:pt x="316484" y="11303"/>
                  </a:lnTo>
                  <a:lnTo>
                    <a:pt x="333883" y="4953"/>
                  </a:lnTo>
                  <a:lnTo>
                    <a:pt x="352678" y="1270"/>
                  </a:lnTo>
                  <a:lnTo>
                    <a:pt x="372871" y="0"/>
                  </a:lnTo>
                  <a:lnTo>
                    <a:pt x="387350" y="0"/>
                  </a:lnTo>
                  <a:lnTo>
                    <a:pt x="400303" y="2541"/>
                  </a:lnTo>
                  <a:lnTo>
                    <a:pt x="413384" y="4953"/>
                  </a:lnTo>
                  <a:lnTo>
                    <a:pt x="424941" y="8763"/>
                  </a:lnTo>
                  <a:lnTo>
                    <a:pt x="436498" y="13716"/>
                  </a:lnTo>
                  <a:lnTo>
                    <a:pt x="448056" y="20066"/>
                  </a:lnTo>
                  <a:lnTo>
                    <a:pt x="458215" y="26290"/>
                  </a:lnTo>
                  <a:lnTo>
                    <a:pt x="468248" y="33782"/>
                  </a:lnTo>
                  <a:lnTo>
                    <a:pt x="477011" y="42545"/>
                  </a:lnTo>
                  <a:lnTo>
                    <a:pt x="484251" y="51309"/>
                  </a:lnTo>
                  <a:lnTo>
                    <a:pt x="491363" y="60072"/>
                  </a:lnTo>
                  <a:lnTo>
                    <a:pt x="495808" y="71375"/>
                  </a:lnTo>
                  <a:lnTo>
                    <a:pt x="501522" y="81407"/>
                  </a:lnTo>
                  <a:lnTo>
                    <a:pt x="504444" y="92710"/>
                  </a:lnTo>
                  <a:lnTo>
                    <a:pt x="505840" y="103887"/>
                  </a:lnTo>
                  <a:lnTo>
                    <a:pt x="507365" y="116460"/>
                  </a:lnTo>
                  <a:lnTo>
                    <a:pt x="507365" y="122682"/>
                  </a:lnTo>
                  <a:lnTo>
                    <a:pt x="524636" y="129032"/>
                  </a:lnTo>
                  <a:lnTo>
                    <a:pt x="540511" y="137795"/>
                  </a:lnTo>
                  <a:lnTo>
                    <a:pt x="553592" y="147828"/>
                  </a:lnTo>
                  <a:lnTo>
                    <a:pt x="565150" y="160275"/>
                  </a:lnTo>
                  <a:lnTo>
                    <a:pt x="575309" y="172847"/>
                  </a:lnTo>
                  <a:lnTo>
                    <a:pt x="582421" y="187834"/>
                  </a:lnTo>
                  <a:lnTo>
                    <a:pt x="586866" y="204090"/>
                  </a:lnTo>
                  <a:lnTo>
                    <a:pt x="588264" y="220345"/>
                  </a:lnTo>
                  <a:lnTo>
                    <a:pt x="588264" y="230378"/>
                  </a:lnTo>
                  <a:lnTo>
                    <a:pt x="585342" y="240412"/>
                  </a:lnTo>
                  <a:lnTo>
                    <a:pt x="582421" y="250445"/>
                  </a:lnTo>
                  <a:lnTo>
                    <a:pt x="579627" y="259207"/>
                  </a:lnTo>
                  <a:lnTo>
                    <a:pt x="573785" y="269240"/>
                  </a:lnTo>
                  <a:lnTo>
                    <a:pt x="568071" y="276734"/>
                  </a:lnTo>
                  <a:lnTo>
                    <a:pt x="560832" y="285496"/>
                  </a:lnTo>
                  <a:lnTo>
                    <a:pt x="553592" y="291720"/>
                  </a:lnTo>
                  <a:lnTo>
                    <a:pt x="544957" y="299340"/>
                  </a:lnTo>
                  <a:lnTo>
                    <a:pt x="536194" y="305562"/>
                  </a:lnTo>
                  <a:lnTo>
                    <a:pt x="526160" y="310515"/>
                  </a:lnTo>
                  <a:lnTo>
                    <a:pt x="516001" y="314326"/>
                  </a:lnTo>
                  <a:lnTo>
                    <a:pt x="505840" y="318135"/>
                  </a:lnTo>
                  <a:lnTo>
                    <a:pt x="494284" y="320548"/>
                  </a:lnTo>
                  <a:lnTo>
                    <a:pt x="482727" y="321818"/>
                  </a:lnTo>
                  <a:lnTo>
                    <a:pt x="469772" y="323088"/>
                  </a:lnTo>
                  <a:close/>
                  <a:moveTo>
                    <a:pt x="-2496312" y="1874520"/>
                  </a:moveTo>
                </a:path>
              </a:pathLst>
            </a:custGeom>
            <a:solidFill>
              <a:srgbClr val="FFFFFF">
                <a:alpha val="50195"/>
              </a:srgbClr>
            </a:solidFill>
            <a:ln w="12700">
              <a:solidFill>
                <a:srgbClr val="C4C4CD"/>
              </a:solidFill>
            </a:ln>
          </p:spPr>
          <p:style>
            <a:lnRef idx="2">
              <a:schemeClr val="accent1">
                <a:shade val="50000"/>
              </a:schemeClr>
            </a:lnRef>
            <a:fillRef idx="1">
              <a:schemeClr val="accent1"/>
            </a:fillRef>
            <a:effectRef idx="0">
              <a:schemeClr val="accent1"/>
            </a:effectRef>
            <a:fontRef idx="minor">
              <a:schemeClr val="lt1"/>
            </a:fontRef>
          </p:style>
        </p:sp>
        <p:sp>
          <p:nvSpPr>
            <p:cNvPr id="1342" name="Freeform 1342"/>
            <p:cNvSpPr/>
            <p:nvPr/>
          </p:nvSpPr>
          <p:spPr>
            <a:xfrm>
              <a:off x="4326036" y="5019228"/>
              <a:ext cx="91393" cy="76160"/>
            </a:xfrm>
            <a:custGeom>
              <a:avLst/>
              <a:gdLst/>
              <a:ahLst/>
              <a:cxnLst/>
              <a:rect l="0" t="0" r="0" b="0"/>
              <a:pathLst>
                <a:path w="91441" h="76200">
                  <a:moveTo>
                    <a:pt x="13081" y="76200"/>
                  </a:moveTo>
                  <a:lnTo>
                    <a:pt x="0" y="76200"/>
                  </a:lnTo>
                  <a:lnTo>
                    <a:pt x="0" y="67692"/>
                  </a:lnTo>
                  <a:lnTo>
                    <a:pt x="1398" y="60452"/>
                  </a:lnTo>
                  <a:lnTo>
                    <a:pt x="4318" y="53214"/>
                  </a:lnTo>
                  <a:lnTo>
                    <a:pt x="7240" y="45974"/>
                  </a:lnTo>
                  <a:lnTo>
                    <a:pt x="16003" y="32640"/>
                  </a:lnTo>
                  <a:lnTo>
                    <a:pt x="26162" y="21718"/>
                  </a:lnTo>
                  <a:lnTo>
                    <a:pt x="40641" y="12065"/>
                  </a:lnTo>
                  <a:lnTo>
                    <a:pt x="55118" y="6096"/>
                  </a:lnTo>
                  <a:lnTo>
                    <a:pt x="63881" y="2414"/>
                  </a:lnTo>
                  <a:lnTo>
                    <a:pt x="72517" y="1271"/>
                  </a:lnTo>
                  <a:lnTo>
                    <a:pt x="81280" y="0"/>
                  </a:lnTo>
                  <a:lnTo>
                    <a:pt x="91441" y="0"/>
                  </a:lnTo>
                  <a:lnTo>
                    <a:pt x="91441" y="10922"/>
                  </a:lnTo>
                  <a:lnTo>
                    <a:pt x="75439" y="12065"/>
                  </a:lnTo>
                  <a:lnTo>
                    <a:pt x="60960" y="15749"/>
                  </a:lnTo>
                  <a:lnTo>
                    <a:pt x="47879" y="21718"/>
                  </a:lnTo>
                  <a:lnTo>
                    <a:pt x="36323" y="29084"/>
                  </a:lnTo>
                  <a:lnTo>
                    <a:pt x="26162" y="38736"/>
                  </a:lnTo>
                  <a:lnTo>
                    <a:pt x="18923" y="50800"/>
                  </a:lnTo>
                  <a:lnTo>
                    <a:pt x="14479" y="62865"/>
                  </a:lnTo>
                  <a:lnTo>
                    <a:pt x="13081" y="76200"/>
                  </a:lnTo>
                  <a:close/>
                  <a:moveTo>
                    <a:pt x="-2563367" y="1837944"/>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43" name="Freeform 1343"/>
            <p:cNvSpPr/>
            <p:nvPr/>
          </p:nvSpPr>
          <p:spPr>
            <a:xfrm>
              <a:off x="4079275" y="5144130"/>
              <a:ext cx="76160" cy="70068"/>
            </a:xfrm>
            <a:custGeom>
              <a:avLst/>
              <a:gdLst/>
              <a:ahLst/>
              <a:cxnLst/>
              <a:rect l="0" t="0" r="0" b="0"/>
              <a:pathLst>
                <a:path w="76200" h="70104">
                  <a:moveTo>
                    <a:pt x="12700" y="70104"/>
                  </a:moveTo>
                  <a:lnTo>
                    <a:pt x="0" y="70104"/>
                  </a:lnTo>
                  <a:lnTo>
                    <a:pt x="1398" y="55881"/>
                  </a:lnTo>
                  <a:lnTo>
                    <a:pt x="5588" y="42800"/>
                  </a:lnTo>
                  <a:lnTo>
                    <a:pt x="12700" y="31116"/>
                  </a:lnTo>
                  <a:lnTo>
                    <a:pt x="22606" y="20828"/>
                  </a:lnTo>
                  <a:lnTo>
                    <a:pt x="33910" y="11684"/>
                  </a:lnTo>
                  <a:lnTo>
                    <a:pt x="46610" y="6478"/>
                  </a:lnTo>
                  <a:lnTo>
                    <a:pt x="60706" y="1271"/>
                  </a:lnTo>
                  <a:lnTo>
                    <a:pt x="76200" y="0"/>
                  </a:lnTo>
                  <a:lnTo>
                    <a:pt x="76200" y="11684"/>
                  </a:lnTo>
                  <a:lnTo>
                    <a:pt x="63500" y="12954"/>
                  </a:lnTo>
                  <a:lnTo>
                    <a:pt x="52198" y="16891"/>
                  </a:lnTo>
                  <a:lnTo>
                    <a:pt x="40894" y="22099"/>
                  </a:lnTo>
                  <a:lnTo>
                    <a:pt x="30988" y="28575"/>
                  </a:lnTo>
                  <a:lnTo>
                    <a:pt x="24004" y="37593"/>
                  </a:lnTo>
                  <a:lnTo>
                    <a:pt x="18288" y="48006"/>
                  </a:lnTo>
                  <a:lnTo>
                    <a:pt x="14098" y="58421"/>
                  </a:lnTo>
                  <a:lnTo>
                    <a:pt x="12700" y="70104"/>
                  </a:lnTo>
                  <a:close/>
                  <a:moveTo>
                    <a:pt x="-2435351" y="1712976"/>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44" name="Freeform 1344"/>
            <p:cNvSpPr/>
            <p:nvPr/>
          </p:nvSpPr>
          <p:spPr>
            <a:xfrm>
              <a:off x="4524053" y="5144131"/>
              <a:ext cx="76160" cy="63976"/>
            </a:xfrm>
            <a:custGeom>
              <a:avLst/>
              <a:gdLst/>
              <a:ahLst/>
              <a:cxnLst/>
              <a:rect l="0" t="0" r="0" b="0"/>
              <a:pathLst>
                <a:path w="76200" h="64009">
                  <a:moveTo>
                    <a:pt x="76200" y="64009"/>
                  </a:moveTo>
                  <a:lnTo>
                    <a:pt x="63246" y="64009"/>
                  </a:lnTo>
                  <a:lnTo>
                    <a:pt x="61848" y="53087"/>
                  </a:lnTo>
                  <a:lnTo>
                    <a:pt x="57531" y="43434"/>
                  </a:lnTo>
                  <a:lnTo>
                    <a:pt x="51815" y="35053"/>
                  </a:lnTo>
                  <a:lnTo>
                    <a:pt x="44577" y="26544"/>
                  </a:lnTo>
                  <a:lnTo>
                    <a:pt x="34544" y="20575"/>
                  </a:lnTo>
                  <a:lnTo>
                    <a:pt x="24383" y="15749"/>
                  </a:lnTo>
                  <a:lnTo>
                    <a:pt x="12953" y="12066"/>
                  </a:lnTo>
                  <a:lnTo>
                    <a:pt x="0" y="10922"/>
                  </a:lnTo>
                  <a:lnTo>
                    <a:pt x="0" y="0"/>
                  </a:lnTo>
                  <a:lnTo>
                    <a:pt x="15875" y="1271"/>
                  </a:lnTo>
                  <a:lnTo>
                    <a:pt x="30226" y="4826"/>
                  </a:lnTo>
                  <a:lnTo>
                    <a:pt x="41656" y="10922"/>
                  </a:lnTo>
                  <a:lnTo>
                    <a:pt x="53213" y="19304"/>
                  </a:lnTo>
                  <a:lnTo>
                    <a:pt x="63246" y="28956"/>
                  </a:lnTo>
                  <a:lnTo>
                    <a:pt x="70484" y="39878"/>
                  </a:lnTo>
                  <a:lnTo>
                    <a:pt x="74802" y="50674"/>
                  </a:lnTo>
                  <a:lnTo>
                    <a:pt x="76200" y="64009"/>
                  </a:lnTo>
                  <a:close/>
                  <a:moveTo>
                    <a:pt x="-2874265" y="1712976"/>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45" name="Freeform 1345"/>
            <p:cNvSpPr/>
            <p:nvPr/>
          </p:nvSpPr>
          <p:spPr>
            <a:xfrm>
              <a:off x="4152391" y="5241617"/>
              <a:ext cx="12185" cy="12186"/>
            </a:xfrm>
            <a:custGeom>
              <a:avLst/>
              <a:gdLst/>
              <a:ahLst/>
              <a:cxnLst/>
              <a:rect l="0" t="0" r="0" b="0"/>
              <a:pathLst>
                <a:path w="12191" h="12192">
                  <a:moveTo>
                    <a:pt x="0" y="12192"/>
                  </a:moveTo>
                  <a:lnTo>
                    <a:pt x="12191" y="12192"/>
                  </a:lnTo>
                  <a:lnTo>
                    <a:pt x="12191" y="0"/>
                  </a:lnTo>
                  <a:lnTo>
                    <a:pt x="0" y="0"/>
                  </a:lnTo>
                  <a:lnTo>
                    <a:pt x="0" y="12192"/>
                  </a:lnTo>
                  <a:close/>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46" name="Freeform 1346"/>
            <p:cNvSpPr/>
            <p:nvPr/>
          </p:nvSpPr>
          <p:spPr>
            <a:xfrm>
              <a:off x="4191995" y="5241617"/>
              <a:ext cx="12185" cy="12186"/>
            </a:xfrm>
            <a:custGeom>
              <a:avLst/>
              <a:gdLst/>
              <a:ahLst/>
              <a:cxnLst/>
              <a:rect l="0" t="0" r="0" b="0"/>
              <a:pathLst>
                <a:path w="12191" h="12192">
                  <a:moveTo>
                    <a:pt x="0" y="12192"/>
                  </a:moveTo>
                  <a:lnTo>
                    <a:pt x="12191" y="12192"/>
                  </a:lnTo>
                  <a:lnTo>
                    <a:pt x="12191" y="0"/>
                  </a:lnTo>
                  <a:lnTo>
                    <a:pt x="0" y="0"/>
                  </a:lnTo>
                  <a:lnTo>
                    <a:pt x="0" y="12192"/>
                  </a:lnTo>
                  <a:close/>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47" name="Freeform 1347"/>
            <p:cNvSpPr/>
            <p:nvPr/>
          </p:nvSpPr>
          <p:spPr>
            <a:xfrm>
              <a:off x="4228552" y="5241617"/>
              <a:ext cx="12185" cy="12186"/>
            </a:xfrm>
            <a:custGeom>
              <a:avLst/>
              <a:gdLst/>
              <a:ahLst/>
              <a:cxnLst/>
              <a:rect l="0" t="0" r="0" b="0"/>
              <a:pathLst>
                <a:path w="12191" h="12192">
                  <a:moveTo>
                    <a:pt x="0" y="12192"/>
                  </a:moveTo>
                  <a:lnTo>
                    <a:pt x="12191" y="12192"/>
                  </a:lnTo>
                  <a:lnTo>
                    <a:pt x="12191" y="0"/>
                  </a:lnTo>
                  <a:lnTo>
                    <a:pt x="0" y="0"/>
                  </a:lnTo>
                  <a:lnTo>
                    <a:pt x="0" y="12192"/>
                  </a:lnTo>
                  <a:close/>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48" name="Freeform 1348"/>
            <p:cNvSpPr/>
            <p:nvPr/>
          </p:nvSpPr>
          <p:spPr>
            <a:xfrm>
              <a:off x="4435708" y="5241617"/>
              <a:ext cx="9139" cy="12186"/>
            </a:xfrm>
            <a:custGeom>
              <a:avLst/>
              <a:gdLst/>
              <a:ahLst/>
              <a:cxnLst/>
              <a:rect l="0" t="0" r="0" b="0"/>
              <a:pathLst>
                <a:path w="9144" h="12192">
                  <a:moveTo>
                    <a:pt x="0" y="12192"/>
                  </a:moveTo>
                  <a:lnTo>
                    <a:pt x="9144" y="12192"/>
                  </a:lnTo>
                  <a:lnTo>
                    <a:pt x="9144" y="0"/>
                  </a:lnTo>
                  <a:lnTo>
                    <a:pt x="0" y="0"/>
                  </a:lnTo>
                  <a:lnTo>
                    <a:pt x="0" y="12192"/>
                  </a:lnTo>
                  <a:close/>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49" name="Freeform 1349"/>
            <p:cNvSpPr/>
            <p:nvPr/>
          </p:nvSpPr>
          <p:spPr>
            <a:xfrm>
              <a:off x="4472262" y="5241617"/>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50" name="Freeform 1350"/>
            <p:cNvSpPr/>
            <p:nvPr/>
          </p:nvSpPr>
          <p:spPr>
            <a:xfrm>
              <a:off x="4511867" y="5241617"/>
              <a:ext cx="12186" cy="12186"/>
            </a:xfrm>
            <a:custGeom>
              <a:avLst/>
              <a:gdLst/>
              <a:ahLst/>
              <a:cxnLst/>
              <a:rect l="0" t="0" r="0" b="0"/>
              <a:pathLst>
                <a:path w="12192" h="12192">
                  <a:moveTo>
                    <a:pt x="0" y="12192"/>
                  </a:moveTo>
                  <a:lnTo>
                    <a:pt x="12192" y="12192"/>
                  </a:lnTo>
                  <a:lnTo>
                    <a:pt x="12192" y="0"/>
                  </a:lnTo>
                  <a:lnTo>
                    <a:pt x="0" y="0"/>
                  </a:lnTo>
                  <a:lnTo>
                    <a:pt x="0" y="12192"/>
                  </a:lnTo>
                  <a:close/>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pic>
          <p:nvPicPr>
            <p:cNvPr id="1355" name="Picture 1355"/>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a:xfrm>
              <a:off x="4290494" y="4506669"/>
              <a:ext cx="125156" cy="449346"/>
            </a:xfrm>
            <a:prstGeom prst="rect">
              <a:avLst/>
            </a:prstGeom>
            <a:noFill/>
          </p:spPr>
        </p:pic>
        <p:sp>
          <p:nvSpPr>
            <p:cNvPr id="1545" name="Rectangle 1545"/>
            <p:cNvSpPr/>
            <p:nvPr/>
          </p:nvSpPr>
          <p:spPr>
            <a:xfrm>
              <a:off x="3069644" y="4328386"/>
              <a:ext cx="574260" cy="154786"/>
            </a:xfrm>
            <a:prstGeom prst="rect">
              <a:avLst/>
            </a:prstGeom>
            <a:solidFill>
              <a:srgbClr val="2E2E38"/>
            </a:solid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11" normalizeH="0" baseline="0" noProof="0" dirty="0">
                  <a:ln>
                    <a:noFill/>
                  </a:ln>
                  <a:solidFill>
                    <a:srgbClr val="8B8B90"/>
                  </a:solidFill>
                  <a:effectLst/>
                  <a:uLnTx/>
                  <a:uFillTx/>
                  <a:latin typeface="EYInterstate-LightBold"/>
                  <a:ea typeface="+mn-ea"/>
                  <a:cs typeface="+mn-cs"/>
                </a:rPr>
                <a:t>P</a:t>
              </a: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yrol</a:t>
              </a:r>
              <a:r>
                <a:rPr kumimoji="0" lang="en-US" sz="1005" b="1" i="0" u="none" strike="noStrike" kern="1200" cap="none" spc="-11" normalizeH="0" baseline="0" noProof="0" dirty="0">
                  <a:ln>
                    <a:noFill/>
                  </a:ln>
                  <a:solidFill>
                    <a:srgbClr val="8B8B90"/>
                  </a:solidFill>
                  <a:effectLst/>
                  <a:uLnTx/>
                  <a:uFillTx/>
                  <a:latin typeface="EYInterstate-LightBold"/>
                  <a:ea typeface="+mn-ea"/>
                  <a:cs typeface="+mn-cs"/>
                </a:rPr>
                <a:t>y</a:t>
              </a: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sis</a:t>
              </a:r>
            </a:p>
          </p:txBody>
        </p:sp>
        <p:sp>
          <p:nvSpPr>
            <p:cNvPr id="1559" name="Rectangle 1559"/>
            <p:cNvSpPr/>
            <p:nvPr/>
          </p:nvSpPr>
          <p:spPr>
            <a:xfrm>
              <a:off x="4022028" y="4322040"/>
              <a:ext cx="628050" cy="154705"/>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188CE5"/>
                  </a:solidFill>
                  <a:effectLst/>
                  <a:uLnTx/>
                  <a:uFillTx/>
                  <a:latin typeface="EYInterstate-LightBold"/>
                  <a:ea typeface="+mn-ea"/>
                  <a:cs typeface="+mn-cs"/>
                </a:rPr>
                <a:t>Reforming</a:t>
              </a:r>
            </a:p>
          </p:txBody>
        </p:sp>
        <p:sp>
          <p:nvSpPr>
            <p:cNvPr id="1560" name="Rectangle 1560"/>
            <p:cNvSpPr/>
            <p:nvPr/>
          </p:nvSpPr>
          <p:spPr>
            <a:xfrm>
              <a:off x="4216618" y="5330021"/>
              <a:ext cx="258084" cy="15478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FFFFFF"/>
                  </a:solidFill>
                  <a:effectLst/>
                  <a:uLnTx/>
                  <a:uFillTx/>
                  <a:latin typeface="EYInterstate-LightBold"/>
                  <a:ea typeface="+mn-ea"/>
                  <a:cs typeface="+mn-cs"/>
                </a:rPr>
                <a:t>CCS</a:t>
              </a:r>
            </a:p>
          </p:txBody>
        </p:sp>
        <p:sp>
          <p:nvSpPr>
            <p:cNvPr id="447" name="Freeform 1530">
              <a:extLst>
                <a:ext uri="{FF2B5EF4-FFF2-40B4-BE49-F238E27FC236}">
                  <a16:creationId xmlns:a16="http://schemas.microsoft.com/office/drawing/2014/main" id="{92ECB062-BFEE-4436-A750-D9B54EFE8640}"/>
                </a:ext>
              </a:extLst>
            </p:cNvPr>
            <p:cNvSpPr/>
            <p:nvPr/>
          </p:nvSpPr>
          <p:spPr>
            <a:xfrm>
              <a:off x="2873641" y="3799140"/>
              <a:ext cx="1956063" cy="1768444"/>
            </a:xfrm>
            <a:custGeom>
              <a:avLst/>
              <a:gdLst/>
              <a:ahLst/>
              <a:cxnLst/>
              <a:rect l="0" t="0" r="0" b="0"/>
              <a:pathLst>
                <a:path w="1850136" h="4014216">
                  <a:moveTo>
                    <a:pt x="0" y="4014216"/>
                  </a:moveTo>
                  <a:lnTo>
                    <a:pt x="1850136" y="4014216"/>
                  </a:lnTo>
                  <a:lnTo>
                    <a:pt x="1850136" y="0"/>
                  </a:lnTo>
                  <a:lnTo>
                    <a:pt x="0" y="0"/>
                  </a:lnTo>
                  <a:lnTo>
                    <a:pt x="0" y="4014216"/>
                  </a:lnTo>
                  <a:close/>
                </a:path>
              </a:pathLst>
            </a:custGeom>
            <a:noFill/>
            <a:ln w="9525" cap="flat" cmpd="sng">
              <a:solidFill>
                <a:srgbClr val="188CE5"/>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1269" name="Freeform 1269"/>
            <p:cNvSpPr/>
            <p:nvPr/>
          </p:nvSpPr>
          <p:spPr>
            <a:xfrm>
              <a:off x="3226280" y="3977355"/>
              <a:ext cx="359477" cy="335106"/>
            </a:xfrm>
            <a:custGeom>
              <a:avLst/>
              <a:gdLst/>
              <a:ahLst/>
              <a:cxnLst/>
              <a:rect l="0" t="0" r="0" b="0"/>
              <a:pathLst>
                <a:path w="359664" h="335281">
                  <a:moveTo>
                    <a:pt x="171958" y="165609"/>
                  </a:moveTo>
                  <a:lnTo>
                    <a:pt x="171958" y="165609"/>
                  </a:lnTo>
                  <a:lnTo>
                    <a:pt x="168276" y="172847"/>
                  </a:lnTo>
                  <a:lnTo>
                    <a:pt x="166370" y="176531"/>
                  </a:lnTo>
                  <a:lnTo>
                    <a:pt x="164593" y="180340"/>
                  </a:lnTo>
                  <a:lnTo>
                    <a:pt x="162942" y="184150"/>
                  </a:lnTo>
                  <a:lnTo>
                    <a:pt x="161290" y="187960"/>
                  </a:lnTo>
                  <a:lnTo>
                    <a:pt x="159767" y="191897"/>
                  </a:lnTo>
                  <a:lnTo>
                    <a:pt x="158243" y="195962"/>
                  </a:lnTo>
                  <a:lnTo>
                    <a:pt x="156972" y="199899"/>
                  </a:lnTo>
                  <a:lnTo>
                    <a:pt x="155702" y="203835"/>
                  </a:lnTo>
                  <a:lnTo>
                    <a:pt x="154813" y="207772"/>
                  </a:lnTo>
                  <a:lnTo>
                    <a:pt x="153925" y="211709"/>
                  </a:lnTo>
                  <a:lnTo>
                    <a:pt x="153163" y="215646"/>
                  </a:lnTo>
                  <a:lnTo>
                    <a:pt x="152655" y="219456"/>
                  </a:lnTo>
                  <a:lnTo>
                    <a:pt x="152274" y="223266"/>
                  </a:lnTo>
                  <a:lnTo>
                    <a:pt x="152274" y="227077"/>
                  </a:lnTo>
                  <a:lnTo>
                    <a:pt x="152274" y="230633"/>
                  </a:lnTo>
                  <a:lnTo>
                    <a:pt x="152655" y="233934"/>
                  </a:lnTo>
                  <a:lnTo>
                    <a:pt x="152908" y="237109"/>
                  </a:lnTo>
                  <a:lnTo>
                    <a:pt x="153289" y="240158"/>
                  </a:lnTo>
                  <a:lnTo>
                    <a:pt x="153797" y="242952"/>
                  </a:lnTo>
                  <a:lnTo>
                    <a:pt x="154432" y="245618"/>
                  </a:lnTo>
                  <a:lnTo>
                    <a:pt x="155195" y="248031"/>
                  </a:lnTo>
                  <a:lnTo>
                    <a:pt x="156211" y="250444"/>
                  </a:lnTo>
                  <a:lnTo>
                    <a:pt x="156972" y="252477"/>
                  </a:lnTo>
                  <a:lnTo>
                    <a:pt x="158115" y="254509"/>
                  </a:lnTo>
                  <a:lnTo>
                    <a:pt x="159258" y="256287"/>
                  </a:lnTo>
                  <a:lnTo>
                    <a:pt x="160401" y="258065"/>
                  </a:lnTo>
                  <a:lnTo>
                    <a:pt x="161671" y="259588"/>
                  </a:lnTo>
                  <a:lnTo>
                    <a:pt x="162942" y="260985"/>
                  </a:lnTo>
                  <a:lnTo>
                    <a:pt x="164338" y="262256"/>
                  </a:lnTo>
                  <a:lnTo>
                    <a:pt x="165736" y="263399"/>
                  </a:lnTo>
                  <a:lnTo>
                    <a:pt x="165101" y="261493"/>
                  </a:lnTo>
                  <a:lnTo>
                    <a:pt x="164593" y="259588"/>
                  </a:lnTo>
                  <a:lnTo>
                    <a:pt x="164212" y="257303"/>
                  </a:lnTo>
                  <a:lnTo>
                    <a:pt x="163831" y="255016"/>
                  </a:lnTo>
                  <a:lnTo>
                    <a:pt x="163576" y="252603"/>
                  </a:lnTo>
                  <a:lnTo>
                    <a:pt x="163322" y="250190"/>
                  </a:lnTo>
                  <a:lnTo>
                    <a:pt x="163322" y="247524"/>
                  </a:lnTo>
                  <a:lnTo>
                    <a:pt x="163069" y="244730"/>
                  </a:lnTo>
                  <a:lnTo>
                    <a:pt x="163322" y="242190"/>
                  </a:lnTo>
                  <a:lnTo>
                    <a:pt x="163322" y="239522"/>
                  </a:lnTo>
                  <a:lnTo>
                    <a:pt x="163703" y="236728"/>
                  </a:lnTo>
                  <a:lnTo>
                    <a:pt x="163957" y="234188"/>
                  </a:lnTo>
                  <a:lnTo>
                    <a:pt x="164846" y="228728"/>
                  </a:lnTo>
                  <a:lnTo>
                    <a:pt x="165989" y="223393"/>
                  </a:lnTo>
                  <a:lnTo>
                    <a:pt x="167513" y="218059"/>
                  </a:lnTo>
                  <a:lnTo>
                    <a:pt x="168911" y="212980"/>
                  </a:lnTo>
                  <a:lnTo>
                    <a:pt x="170562" y="207900"/>
                  </a:lnTo>
                  <a:lnTo>
                    <a:pt x="172213" y="203328"/>
                  </a:lnTo>
                  <a:lnTo>
                    <a:pt x="173990" y="199009"/>
                  </a:lnTo>
                  <a:lnTo>
                    <a:pt x="175514" y="194946"/>
                  </a:lnTo>
                  <a:lnTo>
                    <a:pt x="178563" y="188468"/>
                  </a:lnTo>
                  <a:lnTo>
                    <a:pt x="180595" y="184150"/>
                  </a:lnTo>
                  <a:lnTo>
                    <a:pt x="181230" y="182627"/>
                  </a:lnTo>
                  <a:lnTo>
                    <a:pt x="182119" y="184150"/>
                  </a:lnTo>
                  <a:lnTo>
                    <a:pt x="184151" y="188468"/>
                  </a:lnTo>
                  <a:lnTo>
                    <a:pt x="187071" y="194946"/>
                  </a:lnTo>
                  <a:lnTo>
                    <a:pt x="188850" y="199009"/>
                  </a:lnTo>
                  <a:lnTo>
                    <a:pt x="190374" y="203328"/>
                  </a:lnTo>
                  <a:lnTo>
                    <a:pt x="192151" y="207900"/>
                  </a:lnTo>
                  <a:lnTo>
                    <a:pt x="193802" y="212980"/>
                  </a:lnTo>
                  <a:lnTo>
                    <a:pt x="195326" y="218059"/>
                  </a:lnTo>
                  <a:lnTo>
                    <a:pt x="196724" y="223393"/>
                  </a:lnTo>
                  <a:lnTo>
                    <a:pt x="197867" y="228728"/>
                  </a:lnTo>
                  <a:lnTo>
                    <a:pt x="198756" y="234188"/>
                  </a:lnTo>
                  <a:lnTo>
                    <a:pt x="199009" y="236728"/>
                  </a:lnTo>
                  <a:lnTo>
                    <a:pt x="199263" y="239522"/>
                  </a:lnTo>
                  <a:lnTo>
                    <a:pt x="199518" y="242190"/>
                  </a:lnTo>
                  <a:lnTo>
                    <a:pt x="199518" y="244730"/>
                  </a:lnTo>
                  <a:lnTo>
                    <a:pt x="199518" y="247905"/>
                  </a:lnTo>
                  <a:lnTo>
                    <a:pt x="199263" y="250953"/>
                  </a:lnTo>
                  <a:lnTo>
                    <a:pt x="199009" y="253874"/>
                  </a:lnTo>
                  <a:lnTo>
                    <a:pt x="198628" y="256413"/>
                  </a:lnTo>
                  <a:lnTo>
                    <a:pt x="198120" y="258953"/>
                  </a:lnTo>
                  <a:lnTo>
                    <a:pt x="197486" y="261366"/>
                  </a:lnTo>
                  <a:lnTo>
                    <a:pt x="196724" y="263525"/>
                  </a:lnTo>
                  <a:lnTo>
                    <a:pt x="195962" y="265558"/>
                  </a:lnTo>
                  <a:lnTo>
                    <a:pt x="197739" y="264541"/>
                  </a:lnTo>
                  <a:lnTo>
                    <a:pt x="199518" y="263271"/>
                  </a:lnTo>
                  <a:lnTo>
                    <a:pt x="201042" y="262128"/>
                  </a:lnTo>
                  <a:lnTo>
                    <a:pt x="202693" y="260478"/>
                  </a:lnTo>
                  <a:lnTo>
                    <a:pt x="204217" y="258827"/>
                  </a:lnTo>
                  <a:lnTo>
                    <a:pt x="205613" y="256921"/>
                  </a:lnTo>
                  <a:lnTo>
                    <a:pt x="207011" y="254762"/>
                  </a:lnTo>
                  <a:lnTo>
                    <a:pt x="208153" y="252603"/>
                  </a:lnTo>
                  <a:lnTo>
                    <a:pt x="209170" y="250190"/>
                  </a:lnTo>
                  <a:lnTo>
                    <a:pt x="210313" y="247524"/>
                  </a:lnTo>
                  <a:lnTo>
                    <a:pt x="211201" y="244730"/>
                  </a:lnTo>
                  <a:lnTo>
                    <a:pt x="211837" y="241555"/>
                  </a:lnTo>
                  <a:lnTo>
                    <a:pt x="212345" y="238253"/>
                  </a:lnTo>
                  <a:lnTo>
                    <a:pt x="212980" y="234824"/>
                  </a:lnTo>
                  <a:lnTo>
                    <a:pt x="213107" y="231013"/>
                  </a:lnTo>
                  <a:lnTo>
                    <a:pt x="213233" y="227077"/>
                  </a:lnTo>
                  <a:lnTo>
                    <a:pt x="213233" y="224663"/>
                  </a:lnTo>
                  <a:lnTo>
                    <a:pt x="213107" y="222124"/>
                  </a:lnTo>
                  <a:lnTo>
                    <a:pt x="212599" y="217171"/>
                  </a:lnTo>
                  <a:lnTo>
                    <a:pt x="211709" y="212218"/>
                  </a:lnTo>
                  <a:lnTo>
                    <a:pt x="210567" y="207010"/>
                  </a:lnTo>
                  <a:lnTo>
                    <a:pt x="209170" y="201931"/>
                  </a:lnTo>
                  <a:lnTo>
                    <a:pt x="207519" y="196724"/>
                  </a:lnTo>
                  <a:lnTo>
                    <a:pt x="205613" y="191516"/>
                  </a:lnTo>
                  <a:lnTo>
                    <a:pt x="203455" y="186309"/>
                  </a:lnTo>
                  <a:lnTo>
                    <a:pt x="201295" y="181103"/>
                  </a:lnTo>
                  <a:lnTo>
                    <a:pt x="199009" y="176150"/>
                  </a:lnTo>
                  <a:lnTo>
                    <a:pt x="196343" y="171069"/>
                  </a:lnTo>
                  <a:lnTo>
                    <a:pt x="193802" y="166116"/>
                  </a:lnTo>
                  <a:lnTo>
                    <a:pt x="191008" y="161290"/>
                  </a:lnTo>
                  <a:lnTo>
                    <a:pt x="188214" y="156591"/>
                  </a:lnTo>
                  <a:lnTo>
                    <a:pt x="185420" y="152019"/>
                  </a:lnTo>
                  <a:lnTo>
                    <a:pt x="182626" y="147702"/>
                  </a:lnTo>
                  <a:lnTo>
                    <a:pt x="180213" y="151638"/>
                  </a:lnTo>
                  <a:lnTo>
                    <a:pt x="177546" y="155956"/>
                  </a:lnTo>
                  <a:lnTo>
                    <a:pt x="174880" y="160656"/>
                  </a:lnTo>
                  <a:lnTo>
                    <a:pt x="171958" y="165609"/>
                  </a:lnTo>
                  <a:close/>
                  <a:moveTo>
                    <a:pt x="-510032" y="2880360"/>
                  </a:moveTo>
                  <a:moveTo>
                    <a:pt x="151765" y="157988"/>
                  </a:moveTo>
                  <a:lnTo>
                    <a:pt x="151765" y="157988"/>
                  </a:lnTo>
                  <a:lnTo>
                    <a:pt x="153925" y="154433"/>
                  </a:lnTo>
                  <a:lnTo>
                    <a:pt x="156211" y="150496"/>
                  </a:lnTo>
                  <a:lnTo>
                    <a:pt x="161163" y="142494"/>
                  </a:lnTo>
                  <a:lnTo>
                    <a:pt x="166370" y="135002"/>
                  </a:lnTo>
                  <a:lnTo>
                    <a:pt x="171324" y="127890"/>
                  </a:lnTo>
                  <a:lnTo>
                    <a:pt x="175769" y="121540"/>
                  </a:lnTo>
                  <a:lnTo>
                    <a:pt x="179325" y="116587"/>
                  </a:lnTo>
                  <a:lnTo>
                    <a:pt x="182626" y="112268"/>
                  </a:lnTo>
                  <a:lnTo>
                    <a:pt x="185928" y="116587"/>
                  </a:lnTo>
                  <a:lnTo>
                    <a:pt x="189612" y="121540"/>
                  </a:lnTo>
                  <a:lnTo>
                    <a:pt x="194183" y="127890"/>
                  </a:lnTo>
                  <a:lnTo>
                    <a:pt x="199263" y="135002"/>
                  </a:lnTo>
                  <a:lnTo>
                    <a:pt x="204344" y="142494"/>
                  </a:lnTo>
                  <a:lnTo>
                    <a:pt x="209170" y="150496"/>
                  </a:lnTo>
                  <a:lnTo>
                    <a:pt x="211456" y="154433"/>
                  </a:lnTo>
                  <a:lnTo>
                    <a:pt x="213614" y="157988"/>
                  </a:lnTo>
                  <a:lnTo>
                    <a:pt x="217678" y="165609"/>
                  </a:lnTo>
                  <a:lnTo>
                    <a:pt x="219583" y="169546"/>
                  </a:lnTo>
                  <a:lnTo>
                    <a:pt x="221615" y="173609"/>
                  </a:lnTo>
                  <a:lnTo>
                    <a:pt x="223394" y="177800"/>
                  </a:lnTo>
                  <a:lnTo>
                    <a:pt x="225171" y="181991"/>
                  </a:lnTo>
                  <a:lnTo>
                    <a:pt x="226950" y="186437"/>
                  </a:lnTo>
                  <a:lnTo>
                    <a:pt x="228474" y="190881"/>
                  </a:lnTo>
                  <a:lnTo>
                    <a:pt x="229997" y="195327"/>
                  </a:lnTo>
                  <a:lnTo>
                    <a:pt x="231395" y="199771"/>
                  </a:lnTo>
                  <a:lnTo>
                    <a:pt x="232538" y="204343"/>
                  </a:lnTo>
                  <a:lnTo>
                    <a:pt x="233426" y="208915"/>
                  </a:lnTo>
                  <a:lnTo>
                    <a:pt x="234315" y="213487"/>
                  </a:lnTo>
                  <a:lnTo>
                    <a:pt x="234951" y="218059"/>
                  </a:lnTo>
                  <a:lnTo>
                    <a:pt x="235205" y="222631"/>
                  </a:lnTo>
                  <a:lnTo>
                    <a:pt x="235458" y="227077"/>
                  </a:lnTo>
                  <a:lnTo>
                    <a:pt x="235458" y="230378"/>
                  </a:lnTo>
                  <a:lnTo>
                    <a:pt x="235205" y="233681"/>
                  </a:lnTo>
                  <a:lnTo>
                    <a:pt x="234951" y="236856"/>
                  </a:lnTo>
                  <a:lnTo>
                    <a:pt x="234443" y="240158"/>
                  </a:lnTo>
                  <a:lnTo>
                    <a:pt x="233934" y="243078"/>
                  </a:lnTo>
                  <a:lnTo>
                    <a:pt x="233426" y="246000"/>
                  </a:lnTo>
                  <a:lnTo>
                    <a:pt x="232538" y="248921"/>
                  </a:lnTo>
                  <a:lnTo>
                    <a:pt x="231649" y="251715"/>
                  </a:lnTo>
                  <a:lnTo>
                    <a:pt x="230759" y="254381"/>
                  </a:lnTo>
                  <a:lnTo>
                    <a:pt x="229744" y="257049"/>
                  </a:lnTo>
                  <a:lnTo>
                    <a:pt x="228474" y="259588"/>
                  </a:lnTo>
                  <a:lnTo>
                    <a:pt x="227203" y="262128"/>
                  </a:lnTo>
                  <a:lnTo>
                    <a:pt x="225807" y="264287"/>
                  </a:lnTo>
                  <a:lnTo>
                    <a:pt x="224282" y="266446"/>
                  </a:lnTo>
                  <a:lnTo>
                    <a:pt x="222758" y="268733"/>
                  </a:lnTo>
                  <a:lnTo>
                    <a:pt x="221107" y="270765"/>
                  </a:lnTo>
                  <a:lnTo>
                    <a:pt x="219330" y="272543"/>
                  </a:lnTo>
                  <a:lnTo>
                    <a:pt x="217551" y="274447"/>
                  </a:lnTo>
                  <a:lnTo>
                    <a:pt x="215646" y="276099"/>
                  </a:lnTo>
                  <a:lnTo>
                    <a:pt x="213488" y="277750"/>
                  </a:lnTo>
                  <a:lnTo>
                    <a:pt x="211456" y="279146"/>
                  </a:lnTo>
                  <a:lnTo>
                    <a:pt x="209170" y="280416"/>
                  </a:lnTo>
                  <a:lnTo>
                    <a:pt x="206757" y="281687"/>
                  </a:lnTo>
                  <a:lnTo>
                    <a:pt x="204470" y="282830"/>
                  </a:lnTo>
                  <a:lnTo>
                    <a:pt x="201931" y="283846"/>
                  </a:lnTo>
                  <a:lnTo>
                    <a:pt x="199518" y="284608"/>
                  </a:lnTo>
                  <a:lnTo>
                    <a:pt x="196851" y="285496"/>
                  </a:lnTo>
                  <a:lnTo>
                    <a:pt x="194183" y="286131"/>
                  </a:lnTo>
                  <a:lnTo>
                    <a:pt x="191389" y="286512"/>
                  </a:lnTo>
                  <a:lnTo>
                    <a:pt x="188595" y="286893"/>
                  </a:lnTo>
                  <a:lnTo>
                    <a:pt x="185675" y="287147"/>
                  </a:lnTo>
                  <a:lnTo>
                    <a:pt x="182626" y="287147"/>
                  </a:lnTo>
                  <a:lnTo>
                    <a:pt x="179706" y="287147"/>
                  </a:lnTo>
                  <a:lnTo>
                    <a:pt x="176784" y="286893"/>
                  </a:lnTo>
                  <a:lnTo>
                    <a:pt x="174118" y="286512"/>
                  </a:lnTo>
                  <a:lnTo>
                    <a:pt x="171324" y="286131"/>
                  </a:lnTo>
                  <a:lnTo>
                    <a:pt x="168657" y="285496"/>
                  </a:lnTo>
                  <a:lnTo>
                    <a:pt x="165989" y="284862"/>
                  </a:lnTo>
                  <a:lnTo>
                    <a:pt x="163576" y="283972"/>
                  </a:lnTo>
                  <a:lnTo>
                    <a:pt x="161037" y="282956"/>
                  </a:lnTo>
                  <a:lnTo>
                    <a:pt x="158624" y="281940"/>
                  </a:lnTo>
                  <a:lnTo>
                    <a:pt x="156211" y="280671"/>
                  </a:lnTo>
                  <a:lnTo>
                    <a:pt x="154051" y="279400"/>
                  </a:lnTo>
                  <a:lnTo>
                    <a:pt x="152020" y="278003"/>
                  </a:lnTo>
                  <a:lnTo>
                    <a:pt x="149988" y="276480"/>
                  </a:lnTo>
                  <a:lnTo>
                    <a:pt x="147956" y="274702"/>
                  </a:lnTo>
                  <a:lnTo>
                    <a:pt x="146177" y="273050"/>
                  </a:lnTo>
                  <a:lnTo>
                    <a:pt x="144400" y="271146"/>
                  </a:lnTo>
                  <a:lnTo>
                    <a:pt x="142749" y="269113"/>
                  </a:lnTo>
                  <a:lnTo>
                    <a:pt x="141097" y="266955"/>
                  </a:lnTo>
                  <a:lnTo>
                    <a:pt x="139574" y="264796"/>
                  </a:lnTo>
                  <a:lnTo>
                    <a:pt x="138303" y="262509"/>
                  </a:lnTo>
                  <a:lnTo>
                    <a:pt x="136907" y="260096"/>
                  </a:lnTo>
                  <a:lnTo>
                    <a:pt x="135763" y="257556"/>
                  </a:lnTo>
                  <a:lnTo>
                    <a:pt x="134747" y="255016"/>
                  </a:lnTo>
                  <a:lnTo>
                    <a:pt x="133858" y="252222"/>
                  </a:lnTo>
                  <a:lnTo>
                    <a:pt x="132843" y="249302"/>
                  </a:lnTo>
                  <a:lnTo>
                    <a:pt x="132207" y="246508"/>
                  </a:lnTo>
                  <a:lnTo>
                    <a:pt x="131445" y="243459"/>
                  </a:lnTo>
                  <a:lnTo>
                    <a:pt x="131064" y="240284"/>
                  </a:lnTo>
                  <a:lnTo>
                    <a:pt x="130683" y="237109"/>
                  </a:lnTo>
                  <a:lnTo>
                    <a:pt x="130176" y="233934"/>
                  </a:lnTo>
                  <a:lnTo>
                    <a:pt x="130049" y="230506"/>
                  </a:lnTo>
                  <a:lnTo>
                    <a:pt x="130049" y="227077"/>
                  </a:lnTo>
                  <a:lnTo>
                    <a:pt x="130176" y="222631"/>
                  </a:lnTo>
                  <a:lnTo>
                    <a:pt x="130430" y="218059"/>
                  </a:lnTo>
                  <a:lnTo>
                    <a:pt x="131192" y="213487"/>
                  </a:lnTo>
                  <a:lnTo>
                    <a:pt x="131826" y="208915"/>
                  </a:lnTo>
                  <a:lnTo>
                    <a:pt x="132970" y="204343"/>
                  </a:lnTo>
                  <a:lnTo>
                    <a:pt x="134113" y="199771"/>
                  </a:lnTo>
                  <a:lnTo>
                    <a:pt x="135509" y="195327"/>
                  </a:lnTo>
                  <a:lnTo>
                    <a:pt x="136907" y="190881"/>
                  </a:lnTo>
                  <a:lnTo>
                    <a:pt x="138557" y="186437"/>
                  </a:lnTo>
                  <a:lnTo>
                    <a:pt x="140208" y="181991"/>
                  </a:lnTo>
                  <a:lnTo>
                    <a:pt x="141987" y="177800"/>
                  </a:lnTo>
                  <a:lnTo>
                    <a:pt x="144019" y="173609"/>
                  </a:lnTo>
                  <a:lnTo>
                    <a:pt x="145924" y="169546"/>
                  </a:lnTo>
                  <a:lnTo>
                    <a:pt x="147828" y="165609"/>
                  </a:lnTo>
                  <a:lnTo>
                    <a:pt x="151765" y="157988"/>
                  </a:lnTo>
                  <a:close/>
                  <a:moveTo>
                    <a:pt x="-502411" y="2880360"/>
                  </a:moveTo>
                  <a:moveTo>
                    <a:pt x="301499" y="74422"/>
                  </a:moveTo>
                  <a:lnTo>
                    <a:pt x="63246" y="74422"/>
                  </a:lnTo>
                  <a:lnTo>
                    <a:pt x="63246" y="315850"/>
                  </a:lnTo>
                  <a:lnTo>
                    <a:pt x="41021" y="315850"/>
                  </a:lnTo>
                  <a:lnTo>
                    <a:pt x="41021" y="0"/>
                  </a:lnTo>
                  <a:lnTo>
                    <a:pt x="323724" y="0"/>
                  </a:lnTo>
                  <a:lnTo>
                    <a:pt x="323724" y="315850"/>
                  </a:lnTo>
                  <a:lnTo>
                    <a:pt x="301499" y="315850"/>
                  </a:lnTo>
                  <a:lnTo>
                    <a:pt x="301499" y="74422"/>
                  </a:lnTo>
                  <a:close/>
                  <a:moveTo>
                    <a:pt x="-418845" y="2880360"/>
                  </a:moveTo>
                  <a:moveTo>
                    <a:pt x="63246" y="65278"/>
                  </a:moveTo>
                  <a:lnTo>
                    <a:pt x="301499" y="65278"/>
                  </a:lnTo>
                  <a:lnTo>
                    <a:pt x="301499" y="18288"/>
                  </a:lnTo>
                  <a:lnTo>
                    <a:pt x="63246" y="18288"/>
                  </a:lnTo>
                  <a:lnTo>
                    <a:pt x="63246" y="65278"/>
                  </a:lnTo>
                  <a:close/>
                  <a:moveTo>
                    <a:pt x="-409701" y="2880360"/>
                  </a:moveTo>
                  <a:moveTo>
                    <a:pt x="94362" y="38481"/>
                  </a:moveTo>
                  <a:lnTo>
                    <a:pt x="94362" y="38481"/>
                  </a:lnTo>
                  <a:lnTo>
                    <a:pt x="92964" y="38609"/>
                  </a:lnTo>
                  <a:lnTo>
                    <a:pt x="91821" y="38990"/>
                  </a:lnTo>
                  <a:lnTo>
                    <a:pt x="90806" y="39371"/>
                  </a:lnTo>
                  <a:lnTo>
                    <a:pt x="89789" y="40006"/>
                  </a:lnTo>
                  <a:lnTo>
                    <a:pt x="89027" y="40768"/>
                  </a:lnTo>
                  <a:lnTo>
                    <a:pt x="88520" y="41784"/>
                  </a:lnTo>
                  <a:lnTo>
                    <a:pt x="88012" y="42800"/>
                  </a:lnTo>
                  <a:lnTo>
                    <a:pt x="87884" y="43815"/>
                  </a:lnTo>
                  <a:lnTo>
                    <a:pt x="88012" y="44959"/>
                  </a:lnTo>
                  <a:lnTo>
                    <a:pt x="88520" y="45975"/>
                  </a:lnTo>
                  <a:lnTo>
                    <a:pt x="89027" y="46863"/>
                  </a:lnTo>
                  <a:lnTo>
                    <a:pt x="89789" y="47753"/>
                  </a:lnTo>
                  <a:lnTo>
                    <a:pt x="90806" y="48260"/>
                  </a:lnTo>
                  <a:lnTo>
                    <a:pt x="91821" y="48896"/>
                  </a:lnTo>
                  <a:lnTo>
                    <a:pt x="92964" y="49022"/>
                  </a:lnTo>
                  <a:lnTo>
                    <a:pt x="94362" y="49150"/>
                  </a:lnTo>
                  <a:lnTo>
                    <a:pt x="95632" y="49022"/>
                  </a:lnTo>
                  <a:lnTo>
                    <a:pt x="96901" y="48896"/>
                  </a:lnTo>
                  <a:lnTo>
                    <a:pt x="98045" y="48260"/>
                  </a:lnTo>
                  <a:lnTo>
                    <a:pt x="98933" y="47753"/>
                  </a:lnTo>
                  <a:lnTo>
                    <a:pt x="99822" y="46863"/>
                  </a:lnTo>
                  <a:lnTo>
                    <a:pt x="100331" y="45975"/>
                  </a:lnTo>
                  <a:lnTo>
                    <a:pt x="100712" y="44959"/>
                  </a:lnTo>
                  <a:lnTo>
                    <a:pt x="100965" y="43815"/>
                  </a:lnTo>
                  <a:lnTo>
                    <a:pt x="100712" y="42800"/>
                  </a:lnTo>
                  <a:lnTo>
                    <a:pt x="100331" y="41784"/>
                  </a:lnTo>
                  <a:lnTo>
                    <a:pt x="99822" y="40768"/>
                  </a:lnTo>
                  <a:lnTo>
                    <a:pt x="98933" y="40006"/>
                  </a:lnTo>
                  <a:lnTo>
                    <a:pt x="98045" y="39371"/>
                  </a:lnTo>
                  <a:lnTo>
                    <a:pt x="96901" y="38990"/>
                  </a:lnTo>
                  <a:lnTo>
                    <a:pt x="95632" y="38609"/>
                  </a:lnTo>
                  <a:lnTo>
                    <a:pt x="94362" y="38481"/>
                  </a:lnTo>
                  <a:close/>
                  <a:moveTo>
                    <a:pt x="-382904" y="2880360"/>
                  </a:moveTo>
                  <a:moveTo>
                    <a:pt x="94362" y="29337"/>
                  </a:moveTo>
                  <a:lnTo>
                    <a:pt x="94362" y="29337"/>
                  </a:lnTo>
                  <a:lnTo>
                    <a:pt x="96267" y="29465"/>
                  </a:lnTo>
                  <a:lnTo>
                    <a:pt x="97918" y="29591"/>
                  </a:lnTo>
                  <a:lnTo>
                    <a:pt x="99695" y="29972"/>
                  </a:lnTo>
                  <a:lnTo>
                    <a:pt x="101220" y="30353"/>
                  </a:lnTo>
                  <a:lnTo>
                    <a:pt x="102744" y="31115"/>
                  </a:lnTo>
                  <a:lnTo>
                    <a:pt x="104268" y="31878"/>
                  </a:lnTo>
                  <a:lnTo>
                    <a:pt x="105664" y="32640"/>
                  </a:lnTo>
                  <a:lnTo>
                    <a:pt x="106934" y="33656"/>
                  </a:lnTo>
                  <a:lnTo>
                    <a:pt x="108077" y="34671"/>
                  </a:lnTo>
                  <a:lnTo>
                    <a:pt x="108967" y="35687"/>
                  </a:lnTo>
                  <a:lnTo>
                    <a:pt x="109856" y="36958"/>
                  </a:lnTo>
                  <a:lnTo>
                    <a:pt x="110618" y="38228"/>
                  </a:lnTo>
                  <a:lnTo>
                    <a:pt x="111126" y="39497"/>
                  </a:lnTo>
                  <a:lnTo>
                    <a:pt x="111633" y="41021"/>
                  </a:lnTo>
                  <a:lnTo>
                    <a:pt x="111888" y="42291"/>
                  </a:lnTo>
                  <a:lnTo>
                    <a:pt x="112014" y="43815"/>
                  </a:lnTo>
                  <a:lnTo>
                    <a:pt x="111888" y="45340"/>
                  </a:lnTo>
                  <a:lnTo>
                    <a:pt x="111633" y="46863"/>
                  </a:lnTo>
                  <a:lnTo>
                    <a:pt x="111126" y="48134"/>
                  </a:lnTo>
                  <a:lnTo>
                    <a:pt x="110618" y="49531"/>
                  </a:lnTo>
                  <a:lnTo>
                    <a:pt x="109856" y="50800"/>
                  </a:lnTo>
                  <a:lnTo>
                    <a:pt x="108967" y="51943"/>
                  </a:lnTo>
                  <a:lnTo>
                    <a:pt x="108077" y="53087"/>
                  </a:lnTo>
                  <a:lnTo>
                    <a:pt x="106934" y="54103"/>
                  </a:lnTo>
                  <a:lnTo>
                    <a:pt x="105664" y="54991"/>
                  </a:lnTo>
                  <a:lnTo>
                    <a:pt x="104268" y="56008"/>
                  </a:lnTo>
                  <a:lnTo>
                    <a:pt x="102744" y="56643"/>
                  </a:lnTo>
                  <a:lnTo>
                    <a:pt x="101220" y="57278"/>
                  </a:lnTo>
                  <a:lnTo>
                    <a:pt x="99695" y="57785"/>
                  </a:lnTo>
                  <a:lnTo>
                    <a:pt x="97918" y="58166"/>
                  </a:lnTo>
                  <a:lnTo>
                    <a:pt x="96267" y="58293"/>
                  </a:lnTo>
                  <a:lnTo>
                    <a:pt x="94362" y="58293"/>
                  </a:lnTo>
                  <a:lnTo>
                    <a:pt x="92583" y="58293"/>
                  </a:lnTo>
                  <a:lnTo>
                    <a:pt x="90806" y="58166"/>
                  </a:lnTo>
                  <a:lnTo>
                    <a:pt x="89155" y="57785"/>
                  </a:lnTo>
                  <a:lnTo>
                    <a:pt x="87376" y="57278"/>
                  </a:lnTo>
                  <a:lnTo>
                    <a:pt x="85852" y="56643"/>
                  </a:lnTo>
                  <a:lnTo>
                    <a:pt x="84582" y="56008"/>
                  </a:lnTo>
                  <a:lnTo>
                    <a:pt x="83186" y="54991"/>
                  </a:lnTo>
                  <a:lnTo>
                    <a:pt x="81915" y="54103"/>
                  </a:lnTo>
                  <a:lnTo>
                    <a:pt x="80772" y="53087"/>
                  </a:lnTo>
                  <a:lnTo>
                    <a:pt x="79630" y="51943"/>
                  </a:lnTo>
                  <a:lnTo>
                    <a:pt x="78868" y="50800"/>
                  </a:lnTo>
                  <a:lnTo>
                    <a:pt x="78106" y="49531"/>
                  </a:lnTo>
                  <a:lnTo>
                    <a:pt x="77597" y="48134"/>
                  </a:lnTo>
                  <a:lnTo>
                    <a:pt x="76963" y="46863"/>
                  </a:lnTo>
                  <a:lnTo>
                    <a:pt x="76708" y="45340"/>
                  </a:lnTo>
                  <a:lnTo>
                    <a:pt x="76708" y="43815"/>
                  </a:lnTo>
                  <a:lnTo>
                    <a:pt x="76708" y="42291"/>
                  </a:lnTo>
                  <a:lnTo>
                    <a:pt x="76963" y="41021"/>
                  </a:lnTo>
                  <a:lnTo>
                    <a:pt x="77597" y="39497"/>
                  </a:lnTo>
                  <a:lnTo>
                    <a:pt x="78106" y="38228"/>
                  </a:lnTo>
                  <a:lnTo>
                    <a:pt x="78868" y="36958"/>
                  </a:lnTo>
                  <a:lnTo>
                    <a:pt x="79630" y="35687"/>
                  </a:lnTo>
                  <a:lnTo>
                    <a:pt x="80772" y="34671"/>
                  </a:lnTo>
                  <a:lnTo>
                    <a:pt x="81915" y="33656"/>
                  </a:lnTo>
                  <a:lnTo>
                    <a:pt x="83186" y="32640"/>
                  </a:lnTo>
                  <a:lnTo>
                    <a:pt x="84582" y="31878"/>
                  </a:lnTo>
                  <a:lnTo>
                    <a:pt x="85852" y="31115"/>
                  </a:lnTo>
                  <a:lnTo>
                    <a:pt x="87376" y="30353"/>
                  </a:lnTo>
                  <a:lnTo>
                    <a:pt x="89155" y="29972"/>
                  </a:lnTo>
                  <a:lnTo>
                    <a:pt x="90806" y="29591"/>
                  </a:lnTo>
                  <a:lnTo>
                    <a:pt x="92583" y="29465"/>
                  </a:lnTo>
                  <a:lnTo>
                    <a:pt x="94362" y="29337"/>
                  </a:lnTo>
                  <a:close/>
                  <a:moveTo>
                    <a:pt x="-373760" y="2880360"/>
                  </a:moveTo>
                  <a:moveTo>
                    <a:pt x="0" y="326137"/>
                  </a:moveTo>
                  <a:lnTo>
                    <a:pt x="172847" y="326137"/>
                  </a:lnTo>
                  <a:lnTo>
                    <a:pt x="172847" y="303150"/>
                  </a:lnTo>
                  <a:lnTo>
                    <a:pt x="195072" y="303150"/>
                  </a:lnTo>
                  <a:lnTo>
                    <a:pt x="195072" y="326137"/>
                  </a:lnTo>
                  <a:lnTo>
                    <a:pt x="359664" y="326137"/>
                  </a:lnTo>
                  <a:lnTo>
                    <a:pt x="359664" y="335281"/>
                  </a:lnTo>
                  <a:lnTo>
                    <a:pt x="0" y="335281"/>
                  </a:lnTo>
                  <a:lnTo>
                    <a:pt x="0" y="326137"/>
                  </a:lnTo>
                  <a:close/>
                  <a:moveTo>
                    <a:pt x="-670560" y="2880360"/>
                  </a:moveTo>
                </a:path>
              </a:pathLst>
            </a:custGeom>
            <a:solidFill>
              <a:srgbClr val="97979C"/>
            </a:solidFill>
            <a:ln w="3175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white"/>
                </a:solidFill>
                <a:effectLst/>
                <a:uLnTx/>
                <a:uFillTx/>
                <a:latin typeface="EYInterstate Light"/>
                <a:ea typeface="+mn-ea"/>
                <a:cs typeface="+mn-cs"/>
              </a:endParaRPr>
            </a:p>
          </p:txBody>
        </p:sp>
      </p:grpSp>
      <p:cxnSp>
        <p:nvCxnSpPr>
          <p:cNvPr id="471" name="Straight Arrow Connector 470">
            <a:extLst>
              <a:ext uri="{FF2B5EF4-FFF2-40B4-BE49-F238E27FC236}">
                <a16:creationId xmlns:a16="http://schemas.microsoft.com/office/drawing/2014/main" id="{602F4F10-50C5-4BD3-9F76-5839E14AB976}"/>
              </a:ext>
            </a:extLst>
          </p:cNvPr>
          <p:cNvCxnSpPr>
            <a:cxnSpLocks/>
          </p:cNvCxnSpPr>
          <p:nvPr/>
        </p:nvCxnSpPr>
        <p:spPr>
          <a:xfrm>
            <a:off x="2837908" y="4823584"/>
            <a:ext cx="1287962" cy="0"/>
          </a:xfrm>
          <a:prstGeom prst="straightConnector1">
            <a:avLst/>
          </a:prstGeom>
          <a:ln w="38100">
            <a:solidFill>
              <a:srgbClr val="188CE5"/>
            </a:solidFill>
            <a:tailEnd type="none"/>
          </a:ln>
        </p:spPr>
        <p:style>
          <a:lnRef idx="1">
            <a:schemeClr val="accent1"/>
          </a:lnRef>
          <a:fillRef idx="0">
            <a:schemeClr val="accent1"/>
          </a:fillRef>
          <a:effectRef idx="0">
            <a:schemeClr val="accent1"/>
          </a:effectRef>
          <a:fontRef idx="minor">
            <a:schemeClr val="tx1"/>
          </a:fontRef>
        </p:style>
      </p:cxnSp>
      <p:cxnSp>
        <p:nvCxnSpPr>
          <p:cNvPr id="479" name="Straight Arrow Connector 478">
            <a:extLst>
              <a:ext uri="{FF2B5EF4-FFF2-40B4-BE49-F238E27FC236}">
                <a16:creationId xmlns:a16="http://schemas.microsoft.com/office/drawing/2014/main" id="{7A9A5A75-6A4A-46F0-B42F-2F89AFBBAE21}"/>
              </a:ext>
            </a:extLst>
          </p:cNvPr>
          <p:cNvCxnSpPr>
            <a:cxnSpLocks/>
          </p:cNvCxnSpPr>
          <p:nvPr/>
        </p:nvCxnSpPr>
        <p:spPr>
          <a:xfrm flipV="1">
            <a:off x="4114810" y="4520935"/>
            <a:ext cx="0" cy="321511"/>
          </a:xfrm>
          <a:prstGeom prst="straightConnector1">
            <a:avLst/>
          </a:prstGeom>
          <a:ln w="38100">
            <a:solidFill>
              <a:srgbClr val="188CE5"/>
            </a:solidFill>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EE532021-10B8-4904-9E33-4DBEFD88CC16}"/>
              </a:ext>
            </a:extLst>
          </p:cNvPr>
          <p:cNvCxnSpPr>
            <a:cxnSpLocks/>
          </p:cNvCxnSpPr>
          <p:nvPr/>
        </p:nvCxnSpPr>
        <p:spPr>
          <a:xfrm rot="5400000">
            <a:off x="4153832" y="4759753"/>
            <a:ext cx="437812" cy="59747"/>
          </a:xfrm>
          <a:prstGeom prst="bentConnector3">
            <a:avLst/>
          </a:prstGeom>
          <a:ln w="38100">
            <a:solidFill>
              <a:srgbClr val="188CE5"/>
            </a:solidFill>
            <a:tailEnd type="triangle"/>
          </a:ln>
        </p:spPr>
        <p:style>
          <a:lnRef idx="1">
            <a:schemeClr val="accent1"/>
          </a:lnRef>
          <a:fillRef idx="0">
            <a:schemeClr val="accent1"/>
          </a:fillRef>
          <a:effectRef idx="0">
            <a:schemeClr val="accent1"/>
          </a:effectRef>
          <a:fontRef idx="minor">
            <a:schemeClr val="tx1"/>
          </a:fontRef>
        </p:style>
      </p:cxnSp>
      <p:cxnSp>
        <p:nvCxnSpPr>
          <p:cNvPr id="490" name="Straight Arrow Connector 489">
            <a:extLst>
              <a:ext uri="{FF2B5EF4-FFF2-40B4-BE49-F238E27FC236}">
                <a16:creationId xmlns:a16="http://schemas.microsoft.com/office/drawing/2014/main" id="{36B7BC02-1E14-43EB-AFB6-669B91B8C798}"/>
              </a:ext>
            </a:extLst>
          </p:cNvPr>
          <p:cNvCxnSpPr>
            <a:cxnSpLocks/>
          </p:cNvCxnSpPr>
          <p:nvPr/>
        </p:nvCxnSpPr>
        <p:spPr>
          <a:xfrm flipV="1">
            <a:off x="4213816" y="3788372"/>
            <a:ext cx="0" cy="387814"/>
          </a:xfrm>
          <a:prstGeom prst="straightConnector1">
            <a:avLst/>
          </a:prstGeom>
          <a:ln w="38100">
            <a:solidFill>
              <a:srgbClr val="188CE5"/>
            </a:solidFill>
            <a:tailEnd type="triangle"/>
          </a:ln>
        </p:spPr>
        <p:style>
          <a:lnRef idx="1">
            <a:schemeClr val="accent1"/>
          </a:lnRef>
          <a:fillRef idx="0">
            <a:schemeClr val="accent1"/>
          </a:fillRef>
          <a:effectRef idx="0">
            <a:schemeClr val="accent1"/>
          </a:effectRef>
          <a:fontRef idx="minor">
            <a:schemeClr val="tx1"/>
          </a:fontRef>
        </p:style>
      </p:cxnSp>
      <p:sp>
        <p:nvSpPr>
          <p:cNvPr id="492" name="Freeform 1341">
            <a:extLst>
              <a:ext uri="{FF2B5EF4-FFF2-40B4-BE49-F238E27FC236}">
                <a16:creationId xmlns:a16="http://schemas.microsoft.com/office/drawing/2014/main" id="{E6096A23-0E53-4AF9-9AD5-EB67591BEAA9}"/>
              </a:ext>
            </a:extLst>
          </p:cNvPr>
          <p:cNvSpPr/>
          <p:nvPr/>
        </p:nvSpPr>
        <p:spPr>
          <a:xfrm>
            <a:off x="4047361" y="5035368"/>
            <a:ext cx="587652" cy="322752"/>
          </a:xfrm>
          <a:custGeom>
            <a:avLst/>
            <a:gdLst/>
            <a:ahLst/>
            <a:cxnLst/>
            <a:rect l="0" t="0" r="0" b="0"/>
            <a:pathLst>
              <a:path w="588264" h="323088">
                <a:moveTo>
                  <a:pt x="469772" y="323088"/>
                </a:moveTo>
                <a:lnTo>
                  <a:pt x="385952" y="323088"/>
                </a:lnTo>
                <a:lnTo>
                  <a:pt x="385952" y="311785"/>
                </a:lnTo>
                <a:lnTo>
                  <a:pt x="469772" y="311785"/>
                </a:lnTo>
                <a:lnTo>
                  <a:pt x="481329" y="310515"/>
                </a:lnTo>
                <a:lnTo>
                  <a:pt x="491363" y="309373"/>
                </a:lnTo>
                <a:lnTo>
                  <a:pt x="501522" y="306832"/>
                </a:lnTo>
                <a:lnTo>
                  <a:pt x="511683" y="304293"/>
                </a:lnTo>
                <a:lnTo>
                  <a:pt x="520319" y="300609"/>
                </a:lnTo>
                <a:lnTo>
                  <a:pt x="528954" y="295529"/>
                </a:lnTo>
                <a:lnTo>
                  <a:pt x="537717" y="290576"/>
                </a:lnTo>
                <a:lnTo>
                  <a:pt x="544957" y="284226"/>
                </a:lnTo>
                <a:lnTo>
                  <a:pt x="550671" y="278004"/>
                </a:lnTo>
                <a:lnTo>
                  <a:pt x="557910" y="270510"/>
                </a:lnTo>
                <a:lnTo>
                  <a:pt x="562228" y="263018"/>
                </a:lnTo>
                <a:lnTo>
                  <a:pt x="566546" y="255524"/>
                </a:lnTo>
                <a:lnTo>
                  <a:pt x="570865" y="246762"/>
                </a:lnTo>
                <a:lnTo>
                  <a:pt x="573785" y="237872"/>
                </a:lnTo>
                <a:lnTo>
                  <a:pt x="575309" y="229109"/>
                </a:lnTo>
                <a:lnTo>
                  <a:pt x="575309" y="220345"/>
                </a:lnTo>
                <a:lnTo>
                  <a:pt x="573785" y="205360"/>
                </a:lnTo>
                <a:lnTo>
                  <a:pt x="569467" y="190373"/>
                </a:lnTo>
                <a:lnTo>
                  <a:pt x="562228" y="176531"/>
                </a:lnTo>
                <a:lnTo>
                  <a:pt x="553592" y="165354"/>
                </a:lnTo>
                <a:lnTo>
                  <a:pt x="542035" y="154051"/>
                </a:lnTo>
                <a:lnTo>
                  <a:pt x="528954" y="144019"/>
                </a:lnTo>
                <a:lnTo>
                  <a:pt x="514603" y="137795"/>
                </a:lnTo>
                <a:lnTo>
                  <a:pt x="498602" y="131445"/>
                </a:lnTo>
                <a:lnTo>
                  <a:pt x="492886" y="130175"/>
                </a:lnTo>
                <a:lnTo>
                  <a:pt x="492886" y="126493"/>
                </a:lnTo>
                <a:lnTo>
                  <a:pt x="494284" y="116460"/>
                </a:lnTo>
                <a:lnTo>
                  <a:pt x="492886" y="105156"/>
                </a:lnTo>
                <a:lnTo>
                  <a:pt x="491363" y="95123"/>
                </a:lnTo>
                <a:lnTo>
                  <a:pt x="488569" y="85218"/>
                </a:lnTo>
                <a:lnTo>
                  <a:pt x="484251" y="75185"/>
                </a:lnTo>
                <a:lnTo>
                  <a:pt x="479806" y="66422"/>
                </a:lnTo>
                <a:lnTo>
                  <a:pt x="472694" y="57659"/>
                </a:lnTo>
                <a:lnTo>
                  <a:pt x="466852" y="48895"/>
                </a:lnTo>
                <a:lnTo>
                  <a:pt x="458215" y="41275"/>
                </a:lnTo>
                <a:lnTo>
                  <a:pt x="449452" y="35053"/>
                </a:lnTo>
                <a:lnTo>
                  <a:pt x="440816" y="28829"/>
                </a:lnTo>
                <a:lnTo>
                  <a:pt x="430657" y="23750"/>
                </a:lnTo>
                <a:lnTo>
                  <a:pt x="420623" y="20066"/>
                </a:lnTo>
                <a:lnTo>
                  <a:pt x="409066" y="16256"/>
                </a:lnTo>
                <a:lnTo>
                  <a:pt x="397509" y="13716"/>
                </a:lnTo>
                <a:lnTo>
                  <a:pt x="385952" y="11303"/>
                </a:lnTo>
                <a:lnTo>
                  <a:pt x="372871" y="11303"/>
                </a:lnTo>
                <a:lnTo>
                  <a:pt x="354076" y="12573"/>
                </a:lnTo>
                <a:lnTo>
                  <a:pt x="336803" y="16256"/>
                </a:lnTo>
                <a:lnTo>
                  <a:pt x="319404" y="22479"/>
                </a:lnTo>
                <a:lnTo>
                  <a:pt x="303529" y="30100"/>
                </a:lnTo>
                <a:lnTo>
                  <a:pt x="290576" y="40132"/>
                </a:lnTo>
                <a:lnTo>
                  <a:pt x="277495" y="52578"/>
                </a:lnTo>
                <a:lnTo>
                  <a:pt x="267334" y="65151"/>
                </a:lnTo>
                <a:lnTo>
                  <a:pt x="260222" y="80138"/>
                </a:lnTo>
                <a:lnTo>
                  <a:pt x="257302" y="86360"/>
                </a:lnTo>
                <a:lnTo>
                  <a:pt x="251459" y="83947"/>
                </a:lnTo>
                <a:lnTo>
                  <a:pt x="234188" y="80138"/>
                </a:lnTo>
                <a:lnTo>
                  <a:pt x="216789" y="77597"/>
                </a:lnTo>
                <a:lnTo>
                  <a:pt x="200914" y="78868"/>
                </a:lnTo>
                <a:lnTo>
                  <a:pt x="185039" y="82678"/>
                </a:lnTo>
                <a:lnTo>
                  <a:pt x="170560" y="88900"/>
                </a:lnTo>
                <a:lnTo>
                  <a:pt x="157607" y="96394"/>
                </a:lnTo>
                <a:lnTo>
                  <a:pt x="145922" y="105156"/>
                </a:lnTo>
                <a:lnTo>
                  <a:pt x="135890" y="116460"/>
                </a:lnTo>
                <a:lnTo>
                  <a:pt x="128651" y="129032"/>
                </a:lnTo>
                <a:lnTo>
                  <a:pt x="124333" y="142748"/>
                </a:lnTo>
                <a:lnTo>
                  <a:pt x="122809" y="147828"/>
                </a:lnTo>
                <a:lnTo>
                  <a:pt x="117094" y="146559"/>
                </a:lnTo>
                <a:lnTo>
                  <a:pt x="108458" y="146559"/>
                </a:lnTo>
                <a:lnTo>
                  <a:pt x="98297" y="146559"/>
                </a:lnTo>
                <a:lnTo>
                  <a:pt x="89661" y="147828"/>
                </a:lnTo>
                <a:lnTo>
                  <a:pt x="80898" y="150241"/>
                </a:lnTo>
                <a:lnTo>
                  <a:pt x="70865" y="152781"/>
                </a:lnTo>
                <a:lnTo>
                  <a:pt x="63627" y="156591"/>
                </a:lnTo>
                <a:lnTo>
                  <a:pt x="54864" y="160275"/>
                </a:lnTo>
                <a:lnTo>
                  <a:pt x="47752" y="165354"/>
                </a:lnTo>
                <a:lnTo>
                  <a:pt x="41909" y="170307"/>
                </a:lnTo>
                <a:lnTo>
                  <a:pt x="34671" y="176531"/>
                </a:lnTo>
                <a:lnTo>
                  <a:pt x="28956" y="182881"/>
                </a:lnTo>
                <a:lnTo>
                  <a:pt x="24510" y="189103"/>
                </a:lnTo>
                <a:lnTo>
                  <a:pt x="20192" y="196597"/>
                </a:lnTo>
                <a:lnTo>
                  <a:pt x="17398" y="204090"/>
                </a:lnTo>
                <a:lnTo>
                  <a:pt x="15875" y="211582"/>
                </a:lnTo>
                <a:lnTo>
                  <a:pt x="14477" y="220345"/>
                </a:lnTo>
                <a:lnTo>
                  <a:pt x="12953" y="229109"/>
                </a:lnTo>
                <a:lnTo>
                  <a:pt x="14477" y="236728"/>
                </a:lnTo>
                <a:lnTo>
                  <a:pt x="15875" y="245491"/>
                </a:lnTo>
                <a:lnTo>
                  <a:pt x="17398" y="252984"/>
                </a:lnTo>
                <a:lnTo>
                  <a:pt x="20192" y="260478"/>
                </a:lnTo>
                <a:lnTo>
                  <a:pt x="24510" y="267970"/>
                </a:lnTo>
                <a:lnTo>
                  <a:pt x="28956" y="274193"/>
                </a:lnTo>
                <a:lnTo>
                  <a:pt x="34671" y="281813"/>
                </a:lnTo>
                <a:lnTo>
                  <a:pt x="41909" y="286767"/>
                </a:lnTo>
                <a:lnTo>
                  <a:pt x="47752" y="291720"/>
                </a:lnTo>
                <a:lnTo>
                  <a:pt x="54864" y="296799"/>
                </a:lnTo>
                <a:lnTo>
                  <a:pt x="63627" y="301753"/>
                </a:lnTo>
                <a:lnTo>
                  <a:pt x="70865" y="304293"/>
                </a:lnTo>
                <a:lnTo>
                  <a:pt x="80898" y="308103"/>
                </a:lnTo>
                <a:lnTo>
                  <a:pt x="89661" y="309373"/>
                </a:lnTo>
                <a:lnTo>
                  <a:pt x="98297" y="310515"/>
                </a:lnTo>
                <a:lnTo>
                  <a:pt x="108458" y="311785"/>
                </a:lnTo>
                <a:lnTo>
                  <a:pt x="195071" y="311785"/>
                </a:lnTo>
                <a:lnTo>
                  <a:pt x="195071" y="323088"/>
                </a:lnTo>
                <a:lnTo>
                  <a:pt x="108458" y="323088"/>
                </a:lnTo>
                <a:lnTo>
                  <a:pt x="96901" y="321818"/>
                </a:lnTo>
                <a:lnTo>
                  <a:pt x="86740" y="320548"/>
                </a:lnTo>
                <a:lnTo>
                  <a:pt x="76581" y="318135"/>
                </a:lnTo>
                <a:lnTo>
                  <a:pt x="66547" y="315595"/>
                </a:lnTo>
                <a:lnTo>
                  <a:pt x="56388" y="310515"/>
                </a:lnTo>
                <a:lnTo>
                  <a:pt x="47752" y="306832"/>
                </a:lnTo>
                <a:lnTo>
                  <a:pt x="38989" y="300609"/>
                </a:lnTo>
                <a:lnTo>
                  <a:pt x="31750" y="295529"/>
                </a:lnTo>
                <a:lnTo>
                  <a:pt x="24510" y="288037"/>
                </a:lnTo>
                <a:lnTo>
                  <a:pt x="18796" y="280543"/>
                </a:lnTo>
                <a:lnTo>
                  <a:pt x="12953" y="273051"/>
                </a:lnTo>
                <a:lnTo>
                  <a:pt x="8635" y="265431"/>
                </a:lnTo>
                <a:lnTo>
                  <a:pt x="5841" y="256668"/>
                </a:lnTo>
                <a:lnTo>
                  <a:pt x="2921" y="247904"/>
                </a:lnTo>
                <a:lnTo>
                  <a:pt x="1396" y="237872"/>
                </a:lnTo>
                <a:lnTo>
                  <a:pt x="0" y="229109"/>
                </a:lnTo>
                <a:lnTo>
                  <a:pt x="1396" y="219203"/>
                </a:lnTo>
                <a:lnTo>
                  <a:pt x="2921" y="210440"/>
                </a:lnTo>
                <a:lnTo>
                  <a:pt x="5841" y="200406"/>
                </a:lnTo>
                <a:lnTo>
                  <a:pt x="8635" y="192913"/>
                </a:lnTo>
                <a:lnTo>
                  <a:pt x="12953" y="184023"/>
                </a:lnTo>
                <a:lnTo>
                  <a:pt x="18796" y="176531"/>
                </a:lnTo>
                <a:lnTo>
                  <a:pt x="24510" y="169038"/>
                </a:lnTo>
                <a:lnTo>
                  <a:pt x="31750" y="162815"/>
                </a:lnTo>
                <a:lnTo>
                  <a:pt x="38989" y="156591"/>
                </a:lnTo>
                <a:lnTo>
                  <a:pt x="47752" y="151512"/>
                </a:lnTo>
                <a:lnTo>
                  <a:pt x="56388" y="146559"/>
                </a:lnTo>
                <a:lnTo>
                  <a:pt x="66547" y="142748"/>
                </a:lnTo>
                <a:lnTo>
                  <a:pt x="76581" y="139066"/>
                </a:lnTo>
                <a:lnTo>
                  <a:pt x="86740" y="136525"/>
                </a:lnTo>
                <a:lnTo>
                  <a:pt x="96901" y="135256"/>
                </a:lnTo>
                <a:lnTo>
                  <a:pt x="108458" y="135256"/>
                </a:lnTo>
                <a:lnTo>
                  <a:pt x="112776" y="135256"/>
                </a:lnTo>
                <a:lnTo>
                  <a:pt x="118490" y="120269"/>
                </a:lnTo>
                <a:lnTo>
                  <a:pt x="127253" y="107697"/>
                </a:lnTo>
                <a:lnTo>
                  <a:pt x="138810" y="95123"/>
                </a:lnTo>
                <a:lnTo>
                  <a:pt x="151765" y="86360"/>
                </a:lnTo>
                <a:lnTo>
                  <a:pt x="166242" y="77597"/>
                </a:lnTo>
                <a:lnTo>
                  <a:pt x="182117" y="71375"/>
                </a:lnTo>
                <a:lnTo>
                  <a:pt x="199516" y="67565"/>
                </a:lnTo>
                <a:lnTo>
                  <a:pt x="216789" y="66422"/>
                </a:lnTo>
                <a:lnTo>
                  <a:pt x="234188" y="67565"/>
                </a:lnTo>
                <a:lnTo>
                  <a:pt x="250063" y="71375"/>
                </a:lnTo>
                <a:lnTo>
                  <a:pt x="258698" y="56388"/>
                </a:lnTo>
                <a:lnTo>
                  <a:pt x="270256" y="42545"/>
                </a:lnTo>
                <a:lnTo>
                  <a:pt x="283336" y="30100"/>
                </a:lnTo>
                <a:lnTo>
                  <a:pt x="299211" y="20066"/>
                </a:lnTo>
                <a:lnTo>
                  <a:pt x="316484" y="11303"/>
                </a:lnTo>
                <a:lnTo>
                  <a:pt x="333883" y="4953"/>
                </a:lnTo>
                <a:lnTo>
                  <a:pt x="352678" y="1270"/>
                </a:lnTo>
                <a:lnTo>
                  <a:pt x="372871" y="0"/>
                </a:lnTo>
                <a:lnTo>
                  <a:pt x="387350" y="0"/>
                </a:lnTo>
                <a:lnTo>
                  <a:pt x="400303" y="2541"/>
                </a:lnTo>
                <a:lnTo>
                  <a:pt x="413384" y="4953"/>
                </a:lnTo>
                <a:lnTo>
                  <a:pt x="424941" y="8763"/>
                </a:lnTo>
                <a:lnTo>
                  <a:pt x="436498" y="13716"/>
                </a:lnTo>
                <a:lnTo>
                  <a:pt x="448056" y="20066"/>
                </a:lnTo>
                <a:lnTo>
                  <a:pt x="458215" y="26290"/>
                </a:lnTo>
                <a:lnTo>
                  <a:pt x="468248" y="33782"/>
                </a:lnTo>
                <a:lnTo>
                  <a:pt x="477011" y="42545"/>
                </a:lnTo>
                <a:lnTo>
                  <a:pt x="484251" y="51309"/>
                </a:lnTo>
                <a:lnTo>
                  <a:pt x="491363" y="60072"/>
                </a:lnTo>
                <a:lnTo>
                  <a:pt x="495808" y="71375"/>
                </a:lnTo>
                <a:lnTo>
                  <a:pt x="501522" y="81407"/>
                </a:lnTo>
                <a:lnTo>
                  <a:pt x="504444" y="92710"/>
                </a:lnTo>
                <a:lnTo>
                  <a:pt x="505840" y="103887"/>
                </a:lnTo>
                <a:lnTo>
                  <a:pt x="507365" y="116460"/>
                </a:lnTo>
                <a:lnTo>
                  <a:pt x="507365" y="122682"/>
                </a:lnTo>
                <a:lnTo>
                  <a:pt x="524636" y="129032"/>
                </a:lnTo>
                <a:lnTo>
                  <a:pt x="540511" y="137795"/>
                </a:lnTo>
                <a:lnTo>
                  <a:pt x="553592" y="147828"/>
                </a:lnTo>
                <a:lnTo>
                  <a:pt x="565150" y="160275"/>
                </a:lnTo>
                <a:lnTo>
                  <a:pt x="575309" y="172847"/>
                </a:lnTo>
                <a:lnTo>
                  <a:pt x="582421" y="187834"/>
                </a:lnTo>
                <a:lnTo>
                  <a:pt x="586866" y="204090"/>
                </a:lnTo>
                <a:lnTo>
                  <a:pt x="588264" y="220345"/>
                </a:lnTo>
                <a:lnTo>
                  <a:pt x="588264" y="230378"/>
                </a:lnTo>
                <a:lnTo>
                  <a:pt x="585342" y="240412"/>
                </a:lnTo>
                <a:lnTo>
                  <a:pt x="582421" y="250445"/>
                </a:lnTo>
                <a:lnTo>
                  <a:pt x="579627" y="259207"/>
                </a:lnTo>
                <a:lnTo>
                  <a:pt x="573785" y="269240"/>
                </a:lnTo>
                <a:lnTo>
                  <a:pt x="568071" y="276734"/>
                </a:lnTo>
                <a:lnTo>
                  <a:pt x="560832" y="285496"/>
                </a:lnTo>
                <a:lnTo>
                  <a:pt x="553592" y="291720"/>
                </a:lnTo>
                <a:lnTo>
                  <a:pt x="544957" y="299340"/>
                </a:lnTo>
                <a:lnTo>
                  <a:pt x="536194" y="305562"/>
                </a:lnTo>
                <a:lnTo>
                  <a:pt x="526160" y="310515"/>
                </a:lnTo>
                <a:lnTo>
                  <a:pt x="516001" y="314326"/>
                </a:lnTo>
                <a:lnTo>
                  <a:pt x="505840" y="318135"/>
                </a:lnTo>
                <a:lnTo>
                  <a:pt x="494284" y="320548"/>
                </a:lnTo>
                <a:lnTo>
                  <a:pt x="482727" y="321818"/>
                </a:lnTo>
                <a:lnTo>
                  <a:pt x="469772" y="323088"/>
                </a:lnTo>
                <a:close/>
                <a:moveTo>
                  <a:pt x="-2496312" y="1874520"/>
                </a:moveTo>
              </a:path>
            </a:pathLst>
          </a:custGeom>
          <a:solidFill>
            <a:srgbClr val="FFFFFF">
              <a:alpha val="50195"/>
            </a:srgbClr>
          </a:solidFill>
          <a:ln w="12700">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493" name="Freeform 1341">
            <a:extLst>
              <a:ext uri="{FF2B5EF4-FFF2-40B4-BE49-F238E27FC236}">
                <a16:creationId xmlns:a16="http://schemas.microsoft.com/office/drawing/2014/main" id="{A2BE57E7-FE1E-4418-9E18-235C310B83D6}"/>
              </a:ext>
            </a:extLst>
          </p:cNvPr>
          <p:cNvSpPr/>
          <p:nvPr/>
        </p:nvSpPr>
        <p:spPr>
          <a:xfrm>
            <a:off x="5242802" y="5065816"/>
            <a:ext cx="587652" cy="322752"/>
          </a:xfrm>
          <a:custGeom>
            <a:avLst/>
            <a:gdLst/>
            <a:ahLst/>
            <a:cxnLst/>
            <a:rect l="0" t="0" r="0" b="0"/>
            <a:pathLst>
              <a:path w="588264" h="323088">
                <a:moveTo>
                  <a:pt x="469772" y="323088"/>
                </a:moveTo>
                <a:lnTo>
                  <a:pt x="385952" y="323088"/>
                </a:lnTo>
                <a:lnTo>
                  <a:pt x="385952" y="311785"/>
                </a:lnTo>
                <a:lnTo>
                  <a:pt x="469772" y="311785"/>
                </a:lnTo>
                <a:lnTo>
                  <a:pt x="481329" y="310515"/>
                </a:lnTo>
                <a:lnTo>
                  <a:pt x="491363" y="309373"/>
                </a:lnTo>
                <a:lnTo>
                  <a:pt x="501522" y="306832"/>
                </a:lnTo>
                <a:lnTo>
                  <a:pt x="511683" y="304293"/>
                </a:lnTo>
                <a:lnTo>
                  <a:pt x="520319" y="300609"/>
                </a:lnTo>
                <a:lnTo>
                  <a:pt x="528954" y="295529"/>
                </a:lnTo>
                <a:lnTo>
                  <a:pt x="537717" y="290576"/>
                </a:lnTo>
                <a:lnTo>
                  <a:pt x="544957" y="284226"/>
                </a:lnTo>
                <a:lnTo>
                  <a:pt x="550671" y="278004"/>
                </a:lnTo>
                <a:lnTo>
                  <a:pt x="557910" y="270510"/>
                </a:lnTo>
                <a:lnTo>
                  <a:pt x="562228" y="263018"/>
                </a:lnTo>
                <a:lnTo>
                  <a:pt x="566546" y="255524"/>
                </a:lnTo>
                <a:lnTo>
                  <a:pt x="570865" y="246762"/>
                </a:lnTo>
                <a:lnTo>
                  <a:pt x="573785" y="237872"/>
                </a:lnTo>
                <a:lnTo>
                  <a:pt x="575309" y="229109"/>
                </a:lnTo>
                <a:lnTo>
                  <a:pt x="575309" y="220345"/>
                </a:lnTo>
                <a:lnTo>
                  <a:pt x="573785" y="205360"/>
                </a:lnTo>
                <a:lnTo>
                  <a:pt x="569467" y="190373"/>
                </a:lnTo>
                <a:lnTo>
                  <a:pt x="562228" y="176531"/>
                </a:lnTo>
                <a:lnTo>
                  <a:pt x="553592" y="165354"/>
                </a:lnTo>
                <a:lnTo>
                  <a:pt x="542035" y="154051"/>
                </a:lnTo>
                <a:lnTo>
                  <a:pt x="528954" y="144019"/>
                </a:lnTo>
                <a:lnTo>
                  <a:pt x="514603" y="137795"/>
                </a:lnTo>
                <a:lnTo>
                  <a:pt x="498602" y="131445"/>
                </a:lnTo>
                <a:lnTo>
                  <a:pt x="492886" y="130175"/>
                </a:lnTo>
                <a:lnTo>
                  <a:pt x="492886" y="126493"/>
                </a:lnTo>
                <a:lnTo>
                  <a:pt x="494284" y="116460"/>
                </a:lnTo>
                <a:lnTo>
                  <a:pt x="492886" y="105156"/>
                </a:lnTo>
                <a:lnTo>
                  <a:pt x="491363" y="95123"/>
                </a:lnTo>
                <a:lnTo>
                  <a:pt x="488569" y="85218"/>
                </a:lnTo>
                <a:lnTo>
                  <a:pt x="484251" y="75185"/>
                </a:lnTo>
                <a:lnTo>
                  <a:pt x="479806" y="66422"/>
                </a:lnTo>
                <a:lnTo>
                  <a:pt x="472694" y="57659"/>
                </a:lnTo>
                <a:lnTo>
                  <a:pt x="466852" y="48895"/>
                </a:lnTo>
                <a:lnTo>
                  <a:pt x="458215" y="41275"/>
                </a:lnTo>
                <a:lnTo>
                  <a:pt x="449452" y="35053"/>
                </a:lnTo>
                <a:lnTo>
                  <a:pt x="440816" y="28829"/>
                </a:lnTo>
                <a:lnTo>
                  <a:pt x="430657" y="23750"/>
                </a:lnTo>
                <a:lnTo>
                  <a:pt x="420623" y="20066"/>
                </a:lnTo>
                <a:lnTo>
                  <a:pt x="409066" y="16256"/>
                </a:lnTo>
                <a:lnTo>
                  <a:pt x="397509" y="13716"/>
                </a:lnTo>
                <a:lnTo>
                  <a:pt x="385952" y="11303"/>
                </a:lnTo>
                <a:lnTo>
                  <a:pt x="372871" y="11303"/>
                </a:lnTo>
                <a:lnTo>
                  <a:pt x="354076" y="12573"/>
                </a:lnTo>
                <a:lnTo>
                  <a:pt x="336803" y="16256"/>
                </a:lnTo>
                <a:lnTo>
                  <a:pt x="319404" y="22479"/>
                </a:lnTo>
                <a:lnTo>
                  <a:pt x="303529" y="30100"/>
                </a:lnTo>
                <a:lnTo>
                  <a:pt x="290576" y="40132"/>
                </a:lnTo>
                <a:lnTo>
                  <a:pt x="277495" y="52578"/>
                </a:lnTo>
                <a:lnTo>
                  <a:pt x="267334" y="65151"/>
                </a:lnTo>
                <a:lnTo>
                  <a:pt x="260222" y="80138"/>
                </a:lnTo>
                <a:lnTo>
                  <a:pt x="257302" y="86360"/>
                </a:lnTo>
                <a:lnTo>
                  <a:pt x="251459" y="83947"/>
                </a:lnTo>
                <a:lnTo>
                  <a:pt x="234188" y="80138"/>
                </a:lnTo>
                <a:lnTo>
                  <a:pt x="216789" y="77597"/>
                </a:lnTo>
                <a:lnTo>
                  <a:pt x="200914" y="78868"/>
                </a:lnTo>
                <a:lnTo>
                  <a:pt x="185039" y="82678"/>
                </a:lnTo>
                <a:lnTo>
                  <a:pt x="170560" y="88900"/>
                </a:lnTo>
                <a:lnTo>
                  <a:pt x="157607" y="96394"/>
                </a:lnTo>
                <a:lnTo>
                  <a:pt x="145922" y="105156"/>
                </a:lnTo>
                <a:lnTo>
                  <a:pt x="135890" y="116460"/>
                </a:lnTo>
                <a:lnTo>
                  <a:pt x="128651" y="129032"/>
                </a:lnTo>
                <a:lnTo>
                  <a:pt x="124333" y="142748"/>
                </a:lnTo>
                <a:lnTo>
                  <a:pt x="122809" y="147828"/>
                </a:lnTo>
                <a:lnTo>
                  <a:pt x="117094" y="146559"/>
                </a:lnTo>
                <a:lnTo>
                  <a:pt x="108458" y="146559"/>
                </a:lnTo>
                <a:lnTo>
                  <a:pt x="98297" y="146559"/>
                </a:lnTo>
                <a:lnTo>
                  <a:pt x="89661" y="147828"/>
                </a:lnTo>
                <a:lnTo>
                  <a:pt x="80898" y="150241"/>
                </a:lnTo>
                <a:lnTo>
                  <a:pt x="70865" y="152781"/>
                </a:lnTo>
                <a:lnTo>
                  <a:pt x="63627" y="156591"/>
                </a:lnTo>
                <a:lnTo>
                  <a:pt x="54864" y="160275"/>
                </a:lnTo>
                <a:lnTo>
                  <a:pt x="47752" y="165354"/>
                </a:lnTo>
                <a:lnTo>
                  <a:pt x="41909" y="170307"/>
                </a:lnTo>
                <a:lnTo>
                  <a:pt x="34671" y="176531"/>
                </a:lnTo>
                <a:lnTo>
                  <a:pt x="28956" y="182881"/>
                </a:lnTo>
                <a:lnTo>
                  <a:pt x="24510" y="189103"/>
                </a:lnTo>
                <a:lnTo>
                  <a:pt x="20192" y="196597"/>
                </a:lnTo>
                <a:lnTo>
                  <a:pt x="17398" y="204090"/>
                </a:lnTo>
                <a:lnTo>
                  <a:pt x="15875" y="211582"/>
                </a:lnTo>
                <a:lnTo>
                  <a:pt x="14477" y="220345"/>
                </a:lnTo>
                <a:lnTo>
                  <a:pt x="12953" y="229109"/>
                </a:lnTo>
                <a:lnTo>
                  <a:pt x="14477" y="236728"/>
                </a:lnTo>
                <a:lnTo>
                  <a:pt x="15875" y="245491"/>
                </a:lnTo>
                <a:lnTo>
                  <a:pt x="17398" y="252984"/>
                </a:lnTo>
                <a:lnTo>
                  <a:pt x="20192" y="260478"/>
                </a:lnTo>
                <a:lnTo>
                  <a:pt x="24510" y="267970"/>
                </a:lnTo>
                <a:lnTo>
                  <a:pt x="28956" y="274193"/>
                </a:lnTo>
                <a:lnTo>
                  <a:pt x="34671" y="281813"/>
                </a:lnTo>
                <a:lnTo>
                  <a:pt x="41909" y="286767"/>
                </a:lnTo>
                <a:lnTo>
                  <a:pt x="47752" y="291720"/>
                </a:lnTo>
                <a:lnTo>
                  <a:pt x="54864" y="296799"/>
                </a:lnTo>
                <a:lnTo>
                  <a:pt x="63627" y="301753"/>
                </a:lnTo>
                <a:lnTo>
                  <a:pt x="70865" y="304293"/>
                </a:lnTo>
                <a:lnTo>
                  <a:pt x="80898" y="308103"/>
                </a:lnTo>
                <a:lnTo>
                  <a:pt x="89661" y="309373"/>
                </a:lnTo>
                <a:lnTo>
                  <a:pt x="98297" y="310515"/>
                </a:lnTo>
                <a:lnTo>
                  <a:pt x="108458" y="311785"/>
                </a:lnTo>
                <a:lnTo>
                  <a:pt x="195071" y="311785"/>
                </a:lnTo>
                <a:lnTo>
                  <a:pt x="195071" y="323088"/>
                </a:lnTo>
                <a:lnTo>
                  <a:pt x="108458" y="323088"/>
                </a:lnTo>
                <a:lnTo>
                  <a:pt x="96901" y="321818"/>
                </a:lnTo>
                <a:lnTo>
                  <a:pt x="86740" y="320548"/>
                </a:lnTo>
                <a:lnTo>
                  <a:pt x="76581" y="318135"/>
                </a:lnTo>
                <a:lnTo>
                  <a:pt x="66547" y="315595"/>
                </a:lnTo>
                <a:lnTo>
                  <a:pt x="56388" y="310515"/>
                </a:lnTo>
                <a:lnTo>
                  <a:pt x="47752" y="306832"/>
                </a:lnTo>
                <a:lnTo>
                  <a:pt x="38989" y="300609"/>
                </a:lnTo>
                <a:lnTo>
                  <a:pt x="31750" y="295529"/>
                </a:lnTo>
                <a:lnTo>
                  <a:pt x="24510" y="288037"/>
                </a:lnTo>
                <a:lnTo>
                  <a:pt x="18796" y="280543"/>
                </a:lnTo>
                <a:lnTo>
                  <a:pt x="12953" y="273051"/>
                </a:lnTo>
                <a:lnTo>
                  <a:pt x="8635" y="265431"/>
                </a:lnTo>
                <a:lnTo>
                  <a:pt x="5841" y="256668"/>
                </a:lnTo>
                <a:lnTo>
                  <a:pt x="2921" y="247904"/>
                </a:lnTo>
                <a:lnTo>
                  <a:pt x="1396" y="237872"/>
                </a:lnTo>
                <a:lnTo>
                  <a:pt x="0" y="229109"/>
                </a:lnTo>
                <a:lnTo>
                  <a:pt x="1396" y="219203"/>
                </a:lnTo>
                <a:lnTo>
                  <a:pt x="2921" y="210440"/>
                </a:lnTo>
                <a:lnTo>
                  <a:pt x="5841" y="200406"/>
                </a:lnTo>
                <a:lnTo>
                  <a:pt x="8635" y="192913"/>
                </a:lnTo>
                <a:lnTo>
                  <a:pt x="12953" y="184023"/>
                </a:lnTo>
                <a:lnTo>
                  <a:pt x="18796" y="176531"/>
                </a:lnTo>
                <a:lnTo>
                  <a:pt x="24510" y="169038"/>
                </a:lnTo>
                <a:lnTo>
                  <a:pt x="31750" y="162815"/>
                </a:lnTo>
                <a:lnTo>
                  <a:pt x="38989" y="156591"/>
                </a:lnTo>
                <a:lnTo>
                  <a:pt x="47752" y="151512"/>
                </a:lnTo>
                <a:lnTo>
                  <a:pt x="56388" y="146559"/>
                </a:lnTo>
                <a:lnTo>
                  <a:pt x="66547" y="142748"/>
                </a:lnTo>
                <a:lnTo>
                  <a:pt x="76581" y="139066"/>
                </a:lnTo>
                <a:lnTo>
                  <a:pt x="86740" y="136525"/>
                </a:lnTo>
                <a:lnTo>
                  <a:pt x="96901" y="135256"/>
                </a:lnTo>
                <a:lnTo>
                  <a:pt x="108458" y="135256"/>
                </a:lnTo>
                <a:lnTo>
                  <a:pt x="112776" y="135256"/>
                </a:lnTo>
                <a:lnTo>
                  <a:pt x="118490" y="120269"/>
                </a:lnTo>
                <a:lnTo>
                  <a:pt x="127253" y="107697"/>
                </a:lnTo>
                <a:lnTo>
                  <a:pt x="138810" y="95123"/>
                </a:lnTo>
                <a:lnTo>
                  <a:pt x="151765" y="86360"/>
                </a:lnTo>
                <a:lnTo>
                  <a:pt x="166242" y="77597"/>
                </a:lnTo>
                <a:lnTo>
                  <a:pt x="182117" y="71375"/>
                </a:lnTo>
                <a:lnTo>
                  <a:pt x="199516" y="67565"/>
                </a:lnTo>
                <a:lnTo>
                  <a:pt x="216789" y="66422"/>
                </a:lnTo>
                <a:lnTo>
                  <a:pt x="234188" y="67565"/>
                </a:lnTo>
                <a:lnTo>
                  <a:pt x="250063" y="71375"/>
                </a:lnTo>
                <a:lnTo>
                  <a:pt x="258698" y="56388"/>
                </a:lnTo>
                <a:lnTo>
                  <a:pt x="270256" y="42545"/>
                </a:lnTo>
                <a:lnTo>
                  <a:pt x="283336" y="30100"/>
                </a:lnTo>
                <a:lnTo>
                  <a:pt x="299211" y="20066"/>
                </a:lnTo>
                <a:lnTo>
                  <a:pt x="316484" y="11303"/>
                </a:lnTo>
                <a:lnTo>
                  <a:pt x="333883" y="4953"/>
                </a:lnTo>
                <a:lnTo>
                  <a:pt x="352678" y="1270"/>
                </a:lnTo>
                <a:lnTo>
                  <a:pt x="372871" y="0"/>
                </a:lnTo>
                <a:lnTo>
                  <a:pt x="387350" y="0"/>
                </a:lnTo>
                <a:lnTo>
                  <a:pt x="400303" y="2541"/>
                </a:lnTo>
                <a:lnTo>
                  <a:pt x="413384" y="4953"/>
                </a:lnTo>
                <a:lnTo>
                  <a:pt x="424941" y="8763"/>
                </a:lnTo>
                <a:lnTo>
                  <a:pt x="436498" y="13716"/>
                </a:lnTo>
                <a:lnTo>
                  <a:pt x="448056" y="20066"/>
                </a:lnTo>
                <a:lnTo>
                  <a:pt x="458215" y="26290"/>
                </a:lnTo>
                <a:lnTo>
                  <a:pt x="468248" y="33782"/>
                </a:lnTo>
                <a:lnTo>
                  <a:pt x="477011" y="42545"/>
                </a:lnTo>
                <a:lnTo>
                  <a:pt x="484251" y="51309"/>
                </a:lnTo>
                <a:lnTo>
                  <a:pt x="491363" y="60072"/>
                </a:lnTo>
                <a:lnTo>
                  <a:pt x="495808" y="71375"/>
                </a:lnTo>
                <a:lnTo>
                  <a:pt x="501522" y="81407"/>
                </a:lnTo>
                <a:lnTo>
                  <a:pt x="504444" y="92710"/>
                </a:lnTo>
                <a:lnTo>
                  <a:pt x="505840" y="103887"/>
                </a:lnTo>
                <a:lnTo>
                  <a:pt x="507365" y="116460"/>
                </a:lnTo>
                <a:lnTo>
                  <a:pt x="507365" y="122682"/>
                </a:lnTo>
                <a:lnTo>
                  <a:pt x="524636" y="129032"/>
                </a:lnTo>
                <a:lnTo>
                  <a:pt x="540511" y="137795"/>
                </a:lnTo>
                <a:lnTo>
                  <a:pt x="553592" y="147828"/>
                </a:lnTo>
                <a:lnTo>
                  <a:pt x="565150" y="160275"/>
                </a:lnTo>
                <a:lnTo>
                  <a:pt x="575309" y="172847"/>
                </a:lnTo>
                <a:lnTo>
                  <a:pt x="582421" y="187834"/>
                </a:lnTo>
                <a:lnTo>
                  <a:pt x="586866" y="204090"/>
                </a:lnTo>
                <a:lnTo>
                  <a:pt x="588264" y="220345"/>
                </a:lnTo>
                <a:lnTo>
                  <a:pt x="588264" y="230378"/>
                </a:lnTo>
                <a:lnTo>
                  <a:pt x="585342" y="240412"/>
                </a:lnTo>
                <a:lnTo>
                  <a:pt x="582421" y="250445"/>
                </a:lnTo>
                <a:lnTo>
                  <a:pt x="579627" y="259207"/>
                </a:lnTo>
                <a:lnTo>
                  <a:pt x="573785" y="269240"/>
                </a:lnTo>
                <a:lnTo>
                  <a:pt x="568071" y="276734"/>
                </a:lnTo>
                <a:lnTo>
                  <a:pt x="560832" y="285496"/>
                </a:lnTo>
                <a:lnTo>
                  <a:pt x="553592" y="291720"/>
                </a:lnTo>
                <a:lnTo>
                  <a:pt x="544957" y="299340"/>
                </a:lnTo>
                <a:lnTo>
                  <a:pt x="536194" y="305562"/>
                </a:lnTo>
                <a:lnTo>
                  <a:pt x="526160" y="310515"/>
                </a:lnTo>
                <a:lnTo>
                  <a:pt x="516001" y="314326"/>
                </a:lnTo>
                <a:lnTo>
                  <a:pt x="505840" y="318135"/>
                </a:lnTo>
                <a:lnTo>
                  <a:pt x="494284" y="320548"/>
                </a:lnTo>
                <a:lnTo>
                  <a:pt x="482727" y="321818"/>
                </a:lnTo>
                <a:lnTo>
                  <a:pt x="469772" y="323088"/>
                </a:lnTo>
                <a:close/>
                <a:moveTo>
                  <a:pt x="-2496312" y="1874520"/>
                </a:moveTo>
              </a:path>
            </a:pathLst>
          </a:custGeom>
          <a:solidFill>
            <a:srgbClr val="FFFFFF">
              <a:alpha val="50195"/>
            </a:srgbClr>
          </a:solidFill>
          <a:ln w="12700">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cxnSp>
        <p:nvCxnSpPr>
          <p:cNvPr id="494" name="Straight Arrow Connector 493">
            <a:extLst>
              <a:ext uri="{FF2B5EF4-FFF2-40B4-BE49-F238E27FC236}">
                <a16:creationId xmlns:a16="http://schemas.microsoft.com/office/drawing/2014/main" id="{7B3BB70B-B0A5-4B1C-9800-4D3287C1096B}"/>
              </a:ext>
            </a:extLst>
          </p:cNvPr>
          <p:cNvCxnSpPr>
            <a:cxnSpLocks/>
          </p:cNvCxnSpPr>
          <p:nvPr/>
        </p:nvCxnSpPr>
        <p:spPr>
          <a:xfrm rot="16200000" flipH="1">
            <a:off x="4591972" y="4666178"/>
            <a:ext cx="703342" cy="485292"/>
          </a:xfrm>
          <a:prstGeom prst="bentConnector3">
            <a:avLst>
              <a:gd name="adj1" fmla="val 100107"/>
            </a:avLst>
          </a:prstGeom>
          <a:ln w="38100">
            <a:solidFill>
              <a:srgbClr val="188CE5"/>
            </a:solidFill>
            <a:tailEnd type="triangle"/>
          </a:ln>
        </p:spPr>
        <p:style>
          <a:lnRef idx="1">
            <a:schemeClr val="accent1"/>
          </a:lnRef>
          <a:fillRef idx="0">
            <a:schemeClr val="accent1"/>
          </a:fillRef>
          <a:effectRef idx="0">
            <a:schemeClr val="accent1"/>
          </a:effectRef>
          <a:fontRef idx="minor">
            <a:schemeClr val="tx1"/>
          </a:fontRef>
        </p:style>
      </p:cxnSp>
      <p:cxnSp>
        <p:nvCxnSpPr>
          <p:cNvPr id="497" name="Straight Arrow Connector 496">
            <a:extLst>
              <a:ext uri="{FF2B5EF4-FFF2-40B4-BE49-F238E27FC236}">
                <a16:creationId xmlns:a16="http://schemas.microsoft.com/office/drawing/2014/main" id="{44BBD024-3DB2-4628-BB69-70A7B88E9736}"/>
              </a:ext>
            </a:extLst>
          </p:cNvPr>
          <p:cNvCxnSpPr>
            <a:cxnSpLocks/>
          </p:cNvCxnSpPr>
          <p:nvPr/>
        </p:nvCxnSpPr>
        <p:spPr>
          <a:xfrm>
            <a:off x="5006078" y="3476759"/>
            <a:ext cx="895759" cy="0"/>
          </a:xfrm>
          <a:prstGeom prst="straightConnector1">
            <a:avLst/>
          </a:prstGeom>
          <a:ln w="38100">
            <a:solidFill>
              <a:srgbClr val="188CE5"/>
            </a:solidFill>
            <a:tailEnd type="triangle"/>
          </a:ln>
        </p:spPr>
        <p:style>
          <a:lnRef idx="1">
            <a:schemeClr val="accent1"/>
          </a:lnRef>
          <a:fillRef idx="0">
            <a:schemeClr val="accent1"/>
          </a:fillRef>
          <a:effectRef idx="0">
            <a:schemeClr val="accent1"/>
          </a:effectRef>
          <a:fontRef idx="minor">
            <a:schemeClr val="tx1"/>
          </a:fontRef>
        </p:style>
      </p:cxnSp>
      <p:cxnSp>
        <p:nvCxnSpPr>
          <p:cNvPr id="536" name="Connector: Elbow 535">
            <a:extLst>
              <a:ext uri="{FF2B5EF4-FFF2-40B4-BE49-F238E27FC236}">
                <a16:creationId xmlns:a16="http://schemas.microsoft.com/office/drawing/2014/main" id="{7BDF6ED3-4D50-4791-9C7F-31598DA6B156}"/>
              </a:ext>
            </a:extLst>
          </p:cNvPr>
          <p:cNvCxnSpPr>
            <a:cxnSpLocks/>
          </p:cNvCxnSpPr>
          <p:nvPr/>
        </p:nvCxnSpPr>
        <p:spPr>
          <a:xfrm rot="5400000" flipH="1" flipV="1">
            <a:off x="8972136" y="2921767"/>
            <a:ext cx="809875" cy="314798"/>
          </a:xfrm>
          <a:prstGeom prst="bentConnector3">
            <a:avLst>
              <a:gd name="adj1" fmla="val 100181"/>
            </a:avLst>
          </a:prstGeom>
          <a:ln w="38100">
            <a:solidFill>
              <a:srgbClr val="188CE5"/>
            </a:solidFill>
            <a:tailEnd type="triangle"/>
          </a:ln>
        </p:spPr>
        <p:style>
          <a:lnRef idx="1">
            <a:schemeClr val="accent1"/>
          </a:lnRef>
          <a:fillRef idx="0">
            <a:schemeClr val="accent1"/>
          </a:fillRef>
          <a:effectRef idx="0">
            <a:schemeClr val="accent1"/>
          </a:effectRef>
          <a:fontRef idx="minor">
            <a:schemeClr val="tx1"/>
          </a:fontRef>
        </p:style>
      </p:cxnSp>
      <p:cxnSp>
        <p:nvCxnSpPr>
          <p:cNvPr id="547" name="Straight Arrow Connector 546">
            <a:extLst>
              <a:ext uri="{FF2B5EF4-FFF2-40B4-BE49-F238E27FC236}">
                <a16:creationId xmlns:a16="http://schemas.microsoft.com/office/drawing/2014/main" id="{7CCDD861-CCBE-478E-BA70-A2C07FF9A95A}"/>
              </a:ext>
            </a:extLst>
          </p:cNvPr>
          <p:cNvCxnSpPr>
            <a:cxnSpLocks/>
          </p:cNvCxnSpPr>
          <p:nvPr/>
        </p:nvCxnSpPr>
        <p:spPr>
          <a:xfrm flipV="1">
            <a:off x="8272127" y="2626330"/>
            <a:ext cx="0" cy="747162"/>
          </a:xfrm>
          <a:prstGeom prst="straightConnector1">
            <a:avLst/>
          </a:prstGeom>
          <a:ln w="38100">
            <a:solidFill>
              <a:srgbClr val="188CE5"/>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475" name="1. Source - Gas">
            <a:extLst>
              <a:ext uri="{FF2B5EF4-FFF2-40B4-BE49-F238E27FC236}">
                <a16:creationId xmlns:a16="http://schemas.microsoft.com/office/drawing/2014/main" id="{2D7741F1-F542-4C4B-89B3-232F07EBE0E8}"/>
              </a:ext>
            </a:extLst>
          </p:cNvPr>
          <p:cNvGrpSpPr/>
          <p:nvPr/>
        </p:nvGrpSpPr>
        <p:grpSpPr>
          <a:xfrm>
            <a:off x="832961" y="3322629"/>
            <a:ext cx="1854943" cy="2519229"/>
            <a:chOff x="833395" y="3322574"/>
            <a:chExt cx="1855909" cy="2520542"/>
          </a:xfrm>
        </p:grpSpPr>
        <p:cxnSp>
          <p:nvCxnSpPr>
            <p:cNvPr id="30" name="Straight Connector 29">
              <a:extLst>
                <a:ext uri="{FF2B5EF4-FFF2-40B4-BE49-F238E27FC236}">
                  <a16:creationId xmlns:a16="http://schemas.microsoft.com/office/drawing/2014/main" id="{6FF5D29E-BD2C-4B2A-A275-8255727E959F}"/>
                </a:ext>
              </a:extLst>
            </p:cNvPr>
            <p:cNvCxnSpPr>
              <a:cxnSpLocks/>
            </p:cNvCxnSpPr>
            <p:nvPr/>
          </p:nvCxnSpPr>
          <p:spPr>
            <a:xfrm>
              <a:off x="1933354" y="4385168"/>
              <a:ext cx="0" cy="275201"/>
            </a:xfrm>
            <a:prstGeom prst="line">
              <a:avLst/>
            </a:prstGeom>
            <a:ln w="9525">
              <a:solidFill>
                <a:srgbClr val="D2D2DA"/>
              </a:solidFill>
              <a:tailEnd type="none"/>
            </a:ln>
          </p:spPr>
          <p:style>
            <a:lnRef idx="1">
              <a:schemeClr val="accent1"/>
            </a:lnRef>
            <a:fillRef idx="0">
              <a:schemeClr val="accent1"/>
            </a:fillRef>
            <a:effectRef idx="0">
              <a:schemeClr val="accent1"/>
            </a:effectRef>
            <a:fontRef idx="minor">
              <a:schemeClr val="tx1"/>
            </a:fontRef>
          </p:style>
        </p:cxnSp>
        <p:pic>
          <p:nvPicPr>
            <p:cNvPr id="1423" name="Picture 1423"/>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a:xfrm>
              <a:off x="1383629" y="3517021"/>
              <a:ext cx="1284570" cy="1129331"/>
            </a:xfrm>
            <a:prstGeom prst="rect">
              <a:avLst/>
            </a:prstGeom>
            <a:noFill/>
          </p:spPr>
        </p:pic>
        <p:sp>
          <p:nvSpPr>
            <p:cNvPr id="1301" name="Freeform 1301"/>
            <p:cNvSpPr/>
            <p:nvPr/>
          </p:nvSpPr>
          <p:spPr>
            <a:xfrm>
              <a:off x="1743359" y="3910476"/>
              <a:ext cx="362523" cy="130995"/>
            </a:xfrm>
            <a:custGeom>
              <a:avLst/>
              <a:gdLst/>
              <a:ahLst/>
              <a:cxnLst/>
              <a:rect l="0" t="0" r="0" b="0"/>
              <a:pathLst>
                <a:path w="362712" h="131063">
                  <a:moveTo>
                    <a:pt x="24003" y="121284"/>
                  </a:moveTo>
                  <a:lnTo>
                    <a:pt x="113157" y="121284"/>
                  </a:lnTo>
                  <a:lnTo>
                    <a:pt x="111379" y="131063"/>
                  </a:lnTo>
                  <a:lnTo>
                    <a:pt x="0" y="131063"/>
                  </a:lnTo>
                  <a:lnTo>
                    <a:pt x="0" y="126237"/>
                  </a:lnTo>
                  <a:lnTo>
                    <a:pt x="0" y="122428"/>
                  </a:lnTo>
                  <a:lnTo>
                    <a:pt x="254" y="118618"/>
                  </a:lnTo>
                  <a:lnTo>
                    <a:pt x="635" y="114934"/>
                  </a:lnTo>
                  <a:lnTo>
                    <a:pt x="1016" y="111125"/>
                  </a:lnTo>
                  <a:lnTo>
                    <a:pt x="1652" y="107569"/>
                  </a:lnTo>
                  <a:lnTo>
                    <a:pt x="2159" y="104012"/>
                  </a:lnTo>
                  <a:lnTo>
                    <a:pt x="3049" y="100456"/>
                  </a:lnTo>
                  <a:lnTo>
                    <a:pt x="4065" y="97154"/>
                  </a:lnTo>
                  <a:lnTo>
                    <a:pt x="5081" y="93725"/>
                  </a:lnTo>
                  <a:lnTo>
                    <a:pt x="6224" y="90424"/>
                  </a:lnTo>
                  <a:lnTo>
                    <a:pt x="7621" y="87122"/>
                  </a:lnTo>
                  <a:lnTo>
                    <a:pt x="8891" y="83947"/>
                  </a:lnTo>
                  <a:lnTo>
                    <a:pt x="10415" y="80772"/>
                  </a:lnTo>
                  <a:lnTo>
                    <a:pt x="12066" y="77724"/>
                  </a:lnTo>
                  <a:lnTo>
                    <a:pt x="13716" y="74803"/>
                  </a:lnTo>
                  <a:lnTo>
                    <a:pt x="15494" y="71754"/>
                  </a:lnTo>
                  <a:lnTo>
                    <a:pt x="17400" y="68834"/>
                  </a:lnTo>
                  <a:lnTo>
                    <a:pt x="19559" y="65912"/>
                  </a:lnTo>
                  <a:lnTo>
                    <a:pt x="21591" y="63246"/>
                  </a:lnTo>
                  <a:lnTo>
                    <a:pt x="23750" y="60451"/>
                  </a:lnTo>
                  <a:lnTo>
                    <a:pt x="26035" y="57784"/>
                  </a:lnTo>
                  <a:lnTo>
                    <a:pt x="28449" y="55244"/>
                  </a:lnTo>
                  <a:lnTo>
                    <a:pt x="30862" y="52704"/>
                  </a:lnTo>
                  <a:lnTo>
                    <a:pt x="33402" y="50165"/>
                  </a:lnTo>
                  <a:lnTo>
                    <a:pt x="36069" y="47751"/>
                  </a:lnTo>
                  <a:lnTo>
                    <a:pt x="38735" y="45466"/>
                  </a:lnTo>
                  <a:lnTo>
                    <a:pt x="41656" y="43053"/>
                  </a:lnTo>
                  <a:lnTo>
                    <a:pt x="44450" y="40766"/>
                  </a:lnTo>
                  <a:lnTo>
                    <a:pt x="47372" y="38607"/>
                  </a:lnTo>
                  <a:lnTo>
                    <a:pt x="50419" y="36449"/>
                  </a:lnTo>
                  <a:lnTo>
                    <a:pt x="53594" y="34416"/>
                  </a:lnTo>
                  <a:lnTo>
                    <a:pt x="56643" y="32512"/>
                  </a:lnTo>
                  <a:lnTo>
                    <a:pt x="59818" y="30479"/>
                  </a:lnTo>
                  <a:lnTo>
                    <a:pt x="63119" y="28575"/>
                  </a:lnTo>
                  <a:lnTo>
                    <a:pt x="66549" y="26669"/>
                  </a:lnTo>
                  <a:lnTo>
                    <a:pt x="69978" y="25019"/>
                  </a:lnTo>
                  <a:lnTo>
                    <a:pt x="73279" y="23241"/>
                  </a:lnTo>
                  <a:lnTo>
                    <a:pt x="76962" y="21590"/>
                  </a:lnTo>
                  <a:lnTo>
                    <a:pt x="84075" y="18415"/>
                  </a:lnTo>
                  <a:lnTo>
                    <a:pt x="91441" y="15621"/>
                  </a:lnTo>
                  <a:lnTo>
                    <a:pt x="99060" y="12953"/>
                  </a:lnTo>
                  <a:lnTo>
                    <a:pt x="106807" y="10668"/>
                  </a:lnTo>
                  <a:lnTo>
                    <a:pt x="114681" y="8381"/>
                  </a:lnTo>
                  <a:lnTo>
                    <a:pt x="122809" y="6603"/>
                  </a:lnTo>
                  <a:lnTo>
                    <a:pt x="130937" y="4825"/>
                  </a:lnTo>
                  <a:lnTo>
                    <a:pt x="139193" y="3428"/>
                  </a:lnTo>
                  <a:lnTo>
                    <a:pt x="147447" y="2285"/>
                  </a:lnTo>
                  <a:lnTo>
                    <a:pt x="155829" y="1397"/>
                  </a:lnTo>
                  <a:lnTo>
                    <a:pt x="164338" y="634"/>
                  </a:lnTo>
                  <a:lnTo>
                    <a:pt x="172847" y="253"/>
                  </a:lnTo>
                  <a:lnTo>
                    <a:pt x="181356" y="0"/>
                  </a:lnTo>
                  <a:lnTo>
                    <a:pt x="189866" y="126"/>
                  </a:lnTo>
                  <a:lnTo>
                    <a:pt x="198375" y="381"/>
                  </a:lnTo>
                  <a:lnTo>
                    <a:pt x="206629" y="1016"/>
                  </a:lnTo>
                  <a:lnTo>
                    <a:pt x="215266" y="1778"/>
                  </a:lnTo>
                  <a:lnTo>
                    <a:pt x="223394" y="2666"/>
                  </a:lnTo>
                  <a:lnTo>
                    <a:pt x="231775" y="4063"/>
                  </a:lnTo>
                  <a:lnTo>
                    <a:pt x="239777" y="5587"/>
                  </a:lnTo>
                  <a:lnTo>
                    <a:pt x="247904" y="7366"/>
                  </a:lnTo>
                  <a:lnTo>
                    <a:pt x="255778" y="9397"/>
                  </a:lnTo>
                  <a:lnTo>
                    <a:pt x="263525" y="11810"/>
                  </a:lnTo>
                  <a:lnTo>
                    <a:pt x="271146" y="14224"/>
                  </a:lnTo>
                  <a:lnTo>
                    <a:pt x="278638" y="17144"/>
                  </a:lnTo>
                  <a:lnTo>
                    <a:pt x="282194" y="18541"/>
                  </a:lnTo>
                  <a:lnTo>
                    <a:pt x="285750" y="20066"/>
                  </a:lnTo>
                  <a:lnTo>
                    <a:pt x="289306" y="21716"/>
                  </a:lnTo>
                  <a:lnTo>
                    <a:pt x="292735" y="23368"/>
                  </a:lnTo>
                  <a:lnTo>
                    <a:pt x="296165" y="25146"/>
                  </a:lnTo>
                  <a:lnTo>
                    <a:pt x="299466" y="27050"/>
                  </a:lnTo>
                  <a:lnTo>
                    <a:pt x="302769" y="28828"/>
                  </a:lnTo>
                  <a:lnTo>
                    <a:pt x="306071" y="30734"/>
                  </a:lnTo>
                  <a:lnTo>
                    <a:pt x="309119" y="32766"/>
                  </a:lnTo>
                  <a:lnTo>
                    <a:pt x="312294" y="34797"/>
                  </a:lnTo>
                  <a:lnTo>
                    <a:pt x="315341" y="36956"/>
                  </a:lnTo>
                  <a:lnTo>
                    <a:pt x="318262" y="39116"/>
                  </a:lnTo>
                  <a:lnTo>
                    <a:pt x="321056" y="41275"/>
                  </a:lnTo>
                  <a:lnTo>
                    <a:pt x="323724" y="43687"/>
                  </a:lnTo>
                  <a:lnTo>
                    <a:pt x="326644" y="46100"/>
                  </a:lnTo>
                  <a:lnTo>
                    <a:pt x="329184" y="48513"/>
                  </a:lnTo>
                  <a:lnTo>
                    <a:pt x="331725" y="51053"/>
                  </a:lnTo>
                  <a:lnTo>
                    <a:pt x="334265" y="53594"/>
                  </a:lnTo>
                  <a:lnTo>
                    <a:pt x="336678" y="56134"/>
                  </a:lnTo>
                  <a:lnTo>
                    <a:pt x="338837" y="58928"/>
                  </a:lnTo>
                  <a:lnTo>
                    <a:pt x="341122" y="61594"/>
                  </a:lnTo>
                  <a:lnTo>
                    <a:pt x="343154" y="64516"/>
                  </a:lnTo>
                  <a:lnTo>
                    <a:pt x="345187" y="67309"/>
                  </a:lnTo>
                  <a:lnTo>
                    <a:pt x="347091" y="70231"/>
                  </a:lnTo>
                  <a:lnTo>
                    <a:pt x="348869" y="73278"/>
                  </a:lnTo>
                  <a:lnTo>
                    <a:pt x="350647" y="76326"/>
                  </a:lnTo>
                  <a:lnTo>
                    <a:pt x="352299" y="79501"/>
                  </a:lnTo>
                  <a:lnTo>
                    <a:pt x="353822" y="82676"/>
                  </a:lnTo>
                  <a:lnTo>
                    <a:pt x="355093" y="86106"/>
                  </a:lnTo>
                  <a:lnTo>
                    <a:pt x="356490" y="89407"/>
                  </a:lnTo>
                  <a:lnTo>
                    <a:pt x="357506" y="92709"/>
                  </a:lnTo>
                  <a:lnTo>
                    <a:pt x="358522" y="96138"/>
                  </a:lnTo>
                  <a:lnTo>
                    <a:pt x="359665" y="99822"/>
                  </a:lnTo>
                  <a:lnTo>
                    <a:pt x="360300" y="103378"/>
                  </a:lnTo>
                  <a:lnTo>
                    <a:pt x="361062" y="106934"/>
                  </a:lnTo>
                  <a:lnTo>
                    <a:pt x="361697" y="110744"/>
                  </a:lnTo>
                  <a:lnTo>
                    <a:pt x="362078" y="114553"/>
                  </a:lnTo>
                  <a:lnTo>
                    <a:pt x="362459" y="118363"/>
                  </a:lnTo>
                  <a:lnTo>
                    <a:pt x="362585" y="122300"/>
                  </a:lnTo>
                  <a:lnTo>
                    <a:pt x="362712" y="126237"/>
                  </a:lnTo>
                  <a:lnTo>
                    <a:pt x="362712" y="131063"/>
                  </a:lnTo>
                  <a:lnTo>
                    <a:pt x="260350" y="131063"/>
                  </a:lnTo>
                  <a:lnTo>
                    <a:pt x="258572" y="121284"/>
                  </a:lnTo>
                  <a:lnTo>
                    <a:pt x="338709" y="121284"/>
                  </a:lnTo>
                  <a:lnTo>
                    <a:pt x="338456" y="118109"/>
                  </a:lnTo>
                  <a:lnTo>
                    <a:pt x="338075" y="114934"/>
                  </a:lnTo>
                  <a:lnTo>
                    <a:pt x="337694" y="111759"/>
                  </a:lnTo>
                  <a:lnTo>
                    <a:pt x="337185" y="108712"/>
                  </a:lnTo>
                  <a:lnTo>
                    <a:pt x="336678" y="105791"/>
                  </a:lnTo>
                  <a:lnTo>
                    <a:pt x="335916" y="102743"/>
                  </a:lnTo>
                  <a:lnTo>
                    <a:pt x="335027" y="99822"/>
                  </a:lnTo>
                  <a:lnTo>
                    <a:pt x="334137" y="97028"/>
                  </a:lnTo>
                  <a:lnTo>
                    <a:pt x="332994" y="94234"/>
                  </a:lnTo>
                  <a:lnTo>
                    <a:pt x="331978" y="91440"/>
                  </a:lnTo>
                  <a:lnTo>
                    <a:pt x="330709" y="88900"/>
                  </a:lnTo>
                  <a:lnTo>
                    <a:pt x="329438" y="86232"/>
                  </a:lnTo>
                  <a:lnTo>
                    <a:pt x="328169" y="83566"/>
                  </a:lnTo>
                  <a:lnTo>
                    <a:pt x="326644" y="81153"/>
                  </a:lnTo>
                  <a:lnTo>
                    <a:pt x="325121" y="78612"/>
                  </a:lnTo>
                  <a:lnTo>
                    <a:pt x="323469" y="76200"/>
                  </a:lnTo>
                  <a:lnTo>
                    <a:pt x="321691" y="73787"/>
                  </a:lnTo>
                  <a:lnTo>
                    <a:pt x="319913" y="71374"/>
                  </a:lnTo>
                  <a:lnTo>
                    <a:pt x="318135" y="69215"/>
                  </a:lnTo>
                  <a:lnTo>
                    <a:pt x="316231" y="67056"/>
                  </a:lnTo>
                  <a:lnTo>
                    <a:pt x="314072" y="64769"/>
                  </a:lnTo>
                  <a:lnTo>
                    <a:pt x="312040" y="62610"/>
                  </a:lnTo>
                  <a:lnTo>
                    <a:pt x="309881" y="60706"/>
                  </a:lnTo>
                  <a:lnTo>
                    <a:pt x="307594" y="58547"/>
                  </a:lnTo>
                  <a:lnTo>
                    <a:pt x="305435" y="56641"/>
                  </a:lnTo>
                  <a:lnTo>
                    <a:pt x="303150" y="54737"/>
                  </a:lnTo>
                  <a:lnTo>
                    <a:pt x="298197" y="51053"/>
                  </a:lnTo>
                  <a:lnTo>
                    <a:pt x="292990" y="47497"/>
                  </a:lnTo>
                  <a:lnTo>
                    <a:pt x="287528" y="44322"/>
                  </a:lnTo>
                  <a:lnTo>
                    <a:pt x="281941" y="41275"/>
                  </a:lnTo>
                  <a:lnTo>
                    <a:pt x="276225" y="38353"/>
                  </a:lnTo>
                  <a:lnTo>
                    <a:pt x="270256" y="35813"/>
                  </a:lnTo>
                  <a:lnTo>
                    <a:pt x="264034" y="33274"/>
                  </a:lnTo>
                  <a:lnTo>
                    <a:pt x="257684" y="31115"/>
                  </a:lnTo>
                  <a:lnTo>
                    <a:pt x="251334" y="28956"/>
                  </a:lnTo>
                  <a:lnTo>
                    <a:pt x="244729" y="27178"/>
                  </a:lnTo>
                  <a:lnTo>
                    <a:pt x="237872" y="25526"/>
                  </a:lnTo>
                  <a:lnTo>
                    <a:pt x="231141" y="24129"/>
                  </a:lnTo>
                  <a:lnTo>
                    <a:pt x="224156" y="22859"/>
                  </a:lnTo>
                  <a:lnTo>
                    <a:pt x="217171" y="21971"/>
                  </a:lnTo>
                  <a:lnTo>
                    <a:pt x="210059" y="21081"/>
                  </a:lnTo>
                  <a:lnTo>
                    <a:pt x="202947" y="20447"/>
                  </a:lnTo>
                  <a:lnTo>
                    <a:pt x="195834" y="19938"/>
                  </a:lnTo>
                  <a:lnTo>
                    <a:pt x="188722" y="19684"/>
                  </a:lnTo>
                  <a:lnTo>
                    <a:pt x="181484" y="19684"/>
                  </a:lnTo>
                  <a:lnTo>
                    <a:pt x="174244" y="19812"/>
                  </a:lnTo>
                  <a:lnTo>
                    <a:pt x="167006" y="20193"/>
                  </a:lnTo>
                  <a:lnTo>
                    <a:pt x="159894" y="20828"/>
                  </a:lnTo>
                  <a:lnTo>
                    <a:pt x="152654" y="21590"/>
                  </a:lnTo>
                  <a:lnTo>
                    <a:pt x="145669" y="22478"/>
                  </a:lnTo>
                  <a:lnTo>
                    <a:pt x="138684" y="23622"/>
                  </a:lnTo>
                  <a:lnTo>
                    <a:pt x="131700" y="25019"/>
                  </a:lnTo>
                  <a:lnTo>
                    <a:pt x="124841" y="26543"/>
                  </a:lnTo>
                  <a:lnTo>
                    <a:pt x="118110" y="28194"/>
                  </a:lnTo>
                  <a:lnTo>
                    <a:pt x="111634" y="30225"/>
                  </a:lnTo>
                  <a:lnTo>
                    <a:pt x="105156" y="32257"/>
                  </a:lnTo>
                  <a:lnTo>
                    <a:pt x="98679" y="34671"/>
                  </a:lnTo>
                  <a:lnTo>
                    <a:pt x="92584" y="37084"/>
                  </a:lnTo>
                  <a:lnTo>
                    <a:pt x="86615" y="39878"/>
                  </a:lnTo>
                  <a:lnTo>
                    <a:pt x="80772" y="42672"/>
                  </a:lnTo>
                  <a:lnTo>
                    <a:pt x="75184" y="45719"/>
                  </a:lnTo>
                  <a:lnTo>
                    <a:pt x="69724" y="49149"/>
                  </a:lnTo>
                  <a:lnTo>
                    <a:pt x="64771" y="52578"/>
                  </a:lnTo>
                  <a:lnTo>
                    <a:pt x="59818" y="56260"/>
                  </a:lnTo>
                  <a:lnTo>
                    <a:pt x="55119" y="60197"/>
                  </a:lnTo>
                  <a:lnTo>
                    <a:pt x="52832" y="62103"/>
                  </a:lnTo>
                  <a:lnTo>
                    <a:pt x="50674" y="64262"/>
                  </a:lnTo>
                  <a:lnTo>
                    <a:pt x="48641" y="66421"/>
                  </a:lnTo>
                  <a:lnTo>
                    <a:pt x="46609" y="68453"/>
                  </a:lnTo>
                  <a:lnTo>
                    <a:pt x="44578" y="70738"/>
                  </a:lnTo>
                  <a:lnTo>
                    <a:pt x="42800" y="72897"/>
                  </a:lnTo>
                  <a:lnTo>
                    <a:pt x="41022" y="75184"/>
                  </a:lnTo>
                  <a:lnTo>
                    <a:pt x="39244" y="77469"/>
                  </a:lnTo>
                  <a:lnTo>
                    <a:pt x="37593" y="79882"/>
                  </a:lnTo>
                  <a:lnTo>
                    <a:pt x="36069" y="82296"/>
                  </a:lnTo>
                  <a:lnTo>
                    <a:pt x="34544" y="84835"/>
                  </a:lnTo>
                  <a:lnTo>
                    <a:pt x="33275" y="87249"/>
                  </a:lnTo>
                  <a:lnTo>
                    <a:pt x="31878" y="89916"/>
                  </a:lnTo>
                  <a:lnTo>
                    <a:pt x="30734" y="92456"/>
                  </a:lnTo>
                  <a:lnTo>
                    <a:pt x="29719" y="95250"/>
                  </a:lnTo>
                  <a:lnTo>
                    <a:pt x="28575" y="97916"/>
                  </a:lnTo>
                  <a:lnTo>
                    <a:pt x="27687" y="100584"/>
                  </a:lnTo>
                  <a:lnTo>
                    <a:pt x="26797" y="103504"/>
                  </a:lnTo>
                  <a:lnTo>
                    <a:pt x="26035" y="106299"/>
                  </a:lnTo>
                  <a:lnTo>
                    <a:pt x="25528" y="109093"/>
                  </a:lnTo>
                  <a:lnTo>
                    <a:pt x="24893" y="112141"/>
                  </a:lnTo>
                  <a:lnTo>
                    <a:pt x="24512" y="115188"/>
                  </a:lnTo>
                  <a:lnTo>
                    <a:pt x="24131" y="118237"/>
                  </a:lnTo>
                  <a:lnTo>
                    <a:pt x="24003" y="121284"/>
                  </a:lnTo>
                  <a:close/>
                  <a:moveTo>
                    <a:pt x="1207644" y="3044951"/>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02" name="Freeform 1302"/>
            <p:cNvSpPr/>
            <p:nvPr/>
          </p:nvSpPr>
          <p:spPr>
            <a:xfrm>
              <a:off x="1743359" y="4050610"/>
              <a:ext cx="24371" cy="146228"/>
            </a:xfrm>
            <a:custGeom>
              <a:avLst/>
              <a:gdLst/>
              <a:ahLst/>
              <a:cxnLst/>
              <a:rect l="0" t="0" r="0" b="0"/>
              <a:pathLst>
                <a:path w="24384" h="146304">
                  <a:moveTo>
                    <a:pt x="0" y="146304"/>
                  </a:moveTo>
                  <a:lnTo>
                    <a:pt x="24384" y="146304"/>
                  </a:lnTo>
                  <a:lnTo>
                    <a:pt x="24384" y="0"/>
                  </a:lnTo>
                  <a:lnTo>
                    <a:pt x="0" y="0"/>
                  </a:lnTo>
                  <a:lnTo>
                    <a:pt x="0" y="14630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03" name="Freeform 1303"/>
            <p:cNvSpPr/>
            <p:nvPr/>
          </p:nvSpPr>
          <p:spPr>
            <a:xfrm>
              <a:off x="2081511" y="3913522"/>
              <a:ext cx="185831" cy="283317"/>
            </a:xfrm>
            <a:custGeom>
              <a:avLst/>
              <a:gdLst/>
              <a:ahLst/>
              <a:cxnLst/>
              <a:rect l="0" t="0" r="0" b="0"/>
              <a:pathLst>
                <a:path w="185928" h="283465">
                  <a:moveTo>
                    <a:pt x="70104" y="0"/>
                  </a:moveTo>
                  <a:lnTo>
                    <a:pt x="70104" y="26797"/>
                  </a:lnTo>
                  <a:lnTo>
                    <a:pt x="41149" y="26797"/>
                  </a:lnTo>
                  <a:lnTo>
                    <a:pt x="41149" y="253112"/>
                  </a:lnTo>
                  <a:lnTo>
                    <a:pt x="24003" y="253112"/>
                  </a:lnTo>
                  <a:lnTo>
                    <a:pt x="24003" y="138177"/>
                  </a:lnTo>
                  <a:lnTo>
                    <a:pt x="0" y="138177"/>
                  </a:lnTo>
                  <a:lnTo>
                    <a:pt x="0" y="283465"/>
                  </a:lnTo>
                  <a:lnTo>
                    <a:pt x="24003" y="283465"/>
                  </a:lnTo>
                  <a:lnTo>
                    <a:pt x="24003" y="263144"/>
                  </a:lnTo>
                  <a:lnTo>
                    <a:pt x="53087" y="263144"/>
                  </a:lnTo>
                  <a:lnTo>
                    <a:pt x="53087" y="36831"/>
                  </a:lnTo>
                  <a:lnTo>
                    <a:pt x="70104" y="36831"/>
                  </a:lnTo>
                  <a:lnTo>
                    <a:pt x="70104" y="263144"/>
                  </a:lnTo>
                  <a:lnTo>
                    <a:pt x="95250" y="263144"/>
                  </a:lnTo>
                  <a:lnTo>
                    <a:pt x="95250" y="283465"/>
                  </a:lnTo>
                  <a:lnTo>
                    <a:pt x="107316" y="283465"/>
                  </a:lnTo>
                  <a:lnTo>
                    <a:pt x="107316" y="263144"/>
                  </a:lnTo>
                  <a:lnTo>
                    <a:pt x="111888" y="263144"/>
                  </a:lnTo>
                  <a:lnTo>
                    <a:pt x="111888" y="283465"/>
                  </a:lnTo>
                  <a:lnTo>
                    <a:pt x="123825" y="283465"/>
                  </a:lnTo>
                  <a:lnTo>
                    <a:pt x="123825" y="263144"/>
                  </a:lnTo>
                  <a:lnTo>
                    <a:pt x="136906" y="263144"/>
                  </a:lnTo>
                  <a:lnTo>
                    <a:pt x="136906" y="283465"/>
                  </a:lnTo>
                  <a:lnTo>
                    <a:pt x="148844" y="283465"/>
                  </a:lnTo>
                  <a:lnTo>
                    <a:pt x="148844" y="263144"/>
                  </a:lnTo>
                  <a:lnTo>
                    <a:pt x="153925" y="263144"/>
                  </a:lnTo>
                  <a:lnTo>
                    <a:pt x="153925" y="283465"/>
                  </a:lnTo>
                  <a:lnTo>
                    <a:pt x="165990" y="283465"/>
                  </a:lnTo>
                  <a:lnTo>
                    <a:pt x="165990" y="263144"/>
                  </a:lnTo>
                  <a:lnTo>
                    <a:pt x="185928" y="263144"/>
                  </a:lnTo>
                  <a:lnTo>
                    <a:pt x="185928" y="0"/>
                  </a:lnTo>
                  <a:lnTo>
                    <a:pt x="70104" y="0"/>
                  </a:lnTo>
                  <a:close/>
                  <a:moveTo>
                    <a:pt x="987553" y="3041904"/>
                  </a:moveTo>
                  <a:moveTo>
                    <a:pt x="173991" y="200406"/>
                  </a:moveTo>
                  <a:lnTo>
                    <a:pt x="81916" y="144781"/>
                  </a:lnTo>
                  <a:lnTo>
                    <a:pt x="81916" y="10034"/>
                  </a:lnTo>
                  <a:lnTo>
                    <a:pt x="173991" y="10034"/>
                  </a:lnTo>
                  <a:lnTo>
                    <a:pt x="173991" y="200406"/>
                  </a:lnTo>
                  <a:close/>
                  <a:moveTo>
                    <a:pt x="787147" y="3041904"/>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04" name="Freeform 1304"/>
            <p:cNvSpPr/>
            <p:nvPr/>
          </p:nvSpPr>
          <p:spPr>
            <a:xfrm>
              <a:off x="1709847" y="4205978"/>
              <a:ext cx="563586" cy="9139"/>
            </a:xfrm>
            <a:custGeom>
              <a:avLst/>
              <a:gdLst/>
              <a:ahLst/>
              <a:cxnLst/>
              <a:rect l="0" t="0" r="0" b="0"/>
              <a:pathLst>
                <a:path w="563880" h="9144">
                  <a:moveTo>
                    <a:pt x="0" y="9144"/>
                  </a:moveTo>
                  <a:lnTo>
                    <a:pt x="563880" y="9144"/>
                  </a:lnTo>
                  <a:lnTo>
                    <a:pt x="563880" y="0"/>
                  </a:lnTo>
                  <a:lnTo>
                    <a:pt x="0" y="0"/>
                  </a:lnTo>
                  <a:lnTo>
                    <a:pt x="0" y="9144"/>
                  </a:lnTo>
                  <a:close/>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sp>
          <p:nvSpPr>
            <p:cNvPr id="1305" name="Freeform 1305"/>
            <p:cNvSpPr/>
            <p:nvPr/>
          </p:nvSpPr>
          <p:spPr>
            <a:xfrm>
              <a:off x="1877400" y="4020147"/>
              <a:ext cx="103578" cy="170599"/>
            </a:xfrm>
            <a:custGeom>
              <a:avLst/>
              <a:gdLst/>
              <a:ahLst/>
              <a:cxnLst/>
              <a:rect l="0" t="0" r="0" b="0"/>
              <a:pathLst>
                <a:path w="103632" h="170688">
                  <a:moveTo>
                    <a:pt x="57785" y="18541"/>
                  </a:moveTo>
                  <a:lnTo>
                    <a:pt x="57785" y="61594"/>
                  </a:lnTo>
                  <a:lnTo>
                    <a:pt x="73534" y="48768"/>
                  </a:lnTo>
                  <a:lnTo>
                    <a:pt x="73534" y="62738"/>
                  </a:lnTo>
                  <a:lnTo>
                    <a:pt x="57785" y="75438"/>
                  </a:lnTo>
                  <a:lnTo>
                    <a:pt x="57785" y="85471"/>
                  </a:lnTo>
                  <a:lnTo>
                    <a:pt x="78994" y="68706"/>
                  </a:lnTo>
                  <a:lnTo>
                    <a:pt x="79375" y="68706"/>
                  </a:lnTo>
                  <a:lnTo>
                    <a:pt x="79375" y="82169"/>
                  </a:lnTo>
                  <a:lnTo>
                    <a:pt x="57785" y="99313"/>
                  </a:lnTo>
                  <a:lnTo>
                    <a:pt x="57785" y="108076"/>
                  </a:lnTo>
                  <a:lnTo>
                    <a:pt x="83059" y="89026"/>
                  </a:lnTo>
                  <a:lnTo>
                    <a:pt x="83059" y="102488"/>
                  </a:lnTo>
                  <a:lnTo>
                    <a:pt x="57785" y="121666"/>
                  </a:lnTo>
                  <a:lnTo>
                    <a:pt x="57785" y="139826"/>
                  </a:lnTo>
                  <a:lnTo>
                    <a:pt x="57785" y="146684"/>
                  </a:lnTo>
                  <a:lnTo>
                    <a:pt x="57785" y="170688"/>
                  </a:lnTo>
                  <a:lnTo>
                    <a:pt x="45720" y="170688"/>
                  </a:lnTo>
                  <a:lnTo>
                    <a:pt x="45720" y="146684"/>
                  </a:lnTo>
                  <a:lnTo>
                    <a:pt x="43307" y="146431"/>
                  </a:lnTo>
                  <a:lnTo>
                    <a:pt x="40894" y="146176"/>
                  </a:lnTo>
                  <a:lnTo>
                    <a:pt x="38609" y="145669"/>
                  </a:lnTo>
                  <a:lnTo>
                    <a:pt x="36322" y="145160"/>
                  </a:lnTo>
                  <a:lnTo>
                    <a:pt x="34037" y="144653"/>
                  </a:lnTo>
                  <a:lnTo>
                    <a:pt x="32004" y="144018"/>
                  </a:lnTo>
                  <a:lnTo>
                    <a:pt x="29591" y="143256"/>
                  </a:lnTo>
                  <a:lnTo>
                    <a:pt x="27687" y="142366"/>
                  </a:lnTo>
                  <a:lnTo>
                    <a:pt x="25528" y="141350"/>
                  </a:lnTo>
                  <a:lnTo>
                    <a:pt x="23622" y="140462"/>
                  </a:lnTo>
                  <a:lnTo>
                    <a:pt x="21591" y="139319"/>
                  </a:lnTo>
                  <a:lnTo>
                    <a:pt x="19813" y="138048"/>
                  </a:lnTo>
                  <a:lnTo>
                    <a:pt x="18035" y="136906"/>
                  </a:lnTo>
                  <a:lnTo>
                    <a:pt x="16257" y="135509"/>
                  </a:lnTo>
                  <a:lnTo>
                    <a:pt x="14732" y="133984"/>
                  </a:lnTo>
                  <a:lnTo>
                    <a:pt x="13209" y="132588"/>
                  </a:lnTo>
                  <a:lnTo>
                    <a:pt x="11557" y="130937"/>
                  </a:lnTo>
                  <a:lnTo>
                    <a:pt x="10288" y="129159"/>
                  </a:lnTo>
                  <a:lnTo>
                    <a:pt x="8891" y="127507"/>
                  </a:lnTo>
                  <a:lnTo>
                    <a:pt x="7747" y="125603"/>
                  </a:lnTo>
                  <a:lnTo>
                    <a:pt x="6478" y="123571"/>
                  </a:lnTo>
                  <a:lnTo>
                    <a:pt x="5335" y="121538"/>
                  </a:lnTo>
                  <a:lnTo>
                    <a:pt x="4319" y="119506"/>
                  </a:lnTo>
                  <a:lnTo>
                    <a:pt x="3429" y="117221"/>
                  </a:lnTo>
                  <a:lnTo>
                    <a:pt x="2667" y="114807"/>
                  </a:lnTo>
                  <a:lnTo>
                    <a:pt x="2032" y="112522"/>
                  </a:lnTo>
                  <a:lnTo>
                    <a:pt x="1397" y="109854"/>
                  </a:lnTo>
                  <a:lnTo>
                    <a:pt x="890" y="107441"/>
                  </a:lnTo>
                  <a:lnTo>
                    <a:pt x="635" y="104775"/>
                  </a:lnTo>
                  <a:lnTo>
                    <a:pt x="254" y="102107"/>
                  </a:lnTo>
                  <a:lnTo>
                    <a:pt x="128" y="99187"/>
                  </a:lnTo>
                  <a:lnTo>
                    <a:pt x="0" y="96266"/>
                  </a:lnTo>
                  <a:lnTo>
                    <a:pt x="128" y="92201"/>
                  </a:lnTo>
                  <a:lnTo>
                    <a:pt x="635" y="88138"/>
                  </a:lnTo>
                  <a:lnTo>
                    <a:pt x="1144" y="84200"/>
                  </a:lnTo>
                  <a:lnTo>
                    <a:pt x="2032" y="80137"/>
                  </a:lnTo>
                  <a:lnTo>
                    <a:pt x="3303" y="76072"/>
                  </a:lnTo>
                  <a:lnTo>
                    <a:pt x="4572" y="72009"/>
                  </a:lnTo>
                  <a:lnTo>
                    <a:pt x="5969" y="67944"/>
                  </a:lnTo>
                  <a:lnTo>
                    <a:pt x="7747" y="63881"/>
                  </a:lnTo>
                  <a:lnTo>
                    <a:pt x="9525" y="59944"/>
                  </a:lnTo>
                  <a:lnTo>
                    <a:pt x="11304" y="56006"/>
                  </a:lnTo>
                  <a:lnTo>
                    <a:pt x="13463" y="52197"/>
                  </a:lnTo>
                  <a:lnTo>
                    <a:pt x="15367" y="48259"/>
                  </a:lnTo>
                  <a:lnTo>
                    <a:pt x="17654" y="44576"/>
                  </a:lnTo>
                  <a:lnTo>
                    <a:pt x="19813" y="41021"/>
                  </a:lnTo>
                  <a:lnTo>
                    <a:pt x="24385" y="34163"/>
                  </a:lnTo>
                  <a:lnTo>
                    <a:pt x="29084" y="27559"/>
                  </a:lnTo>
                  <a:lnTo>
                    <a:pt x="33782" y="21335"/>
                  </a:lnTo>
                  <a:lnTo>
                    <a:pt x="38228" y="15494"/>
                  </a:lnTo>
                  <a:lnTo>
                    <a:pt x="42545" y="10413"/>
                  </a:lnTo>
                  <a:lnTo>
                    <a:pt x="46356" y="6096"/>
                  </a:lnTo>
                  <a:lnTo>
                    <a:pt x="49150" y="2794"/>
                  </a:lnTo>
                  <a:lnTo>
                    <a:pt x="51816" y="0"/>
                  </a:lnTo>
                  <a:lnTo>
                    <a:pt x="54357" y="2794"/>
                  </a:lnTo>
                  <a:lnTo>
                    <a:pt x="57404" y="6096"/>
                  </a:lnTo>
                  <a:lnTo>
                    <a:pt x="60960" y="10413"/>
                  </a:lnTo>
                  <a:lnTo>
                    <a:pt x="65279" y="15494"/>
                  </a:lnTo>
                  <a:lnTo>
                    <a:pt x="69978" y="21335"/>
                  </a:lnTo>
                  <a:lnTo>
                    <a:pt x="74676" y="27559"/>
                  </a:lnTo>
                  <a:lnTo>
                    <a:pt x="79375" y="34163"/>
                  </a:lnTo>
                  <a:lnTo>
                    <a:pt x="83820" y="41021"/>
                  </a:lnTo>
                  <a:lnTo>
                    <a:pt x="85979" y="44576"/>
                  </a:lnTo>
                  <a:lnTo>
                    <a:pt x="88138" y="48259"/>
                  </a:lnTo>
                  <a:lnTo>
                    <a:pt x="90297" y="52197"/>
                  </a:lnTo>
                  <a:lnTo>
                    <a:pt x="92329" y="56006"/>
                  </a:lnTo>
                  <a:lnTo>
                    <a:pt x="94235" y="59944"/>
                  </a:lnTo>
                  <a:lnTo>
                    <a:pt x="95885" y="63881"/>
                  </a:lnTo>
                  <a:lnTo>
                    <a:pt x="97537" y="67944"/>
                  </a:lnTo>
                  <a:lnTo>
                    <a:pt x="99060" y="72009"/>
                  </a:lnTo>
                  <a:lnTo>
                    <a:pt x="100457" y="76072"/>
                  </a:lnTo>
                  <a:lnTo>
                    <a:pt x="101473" y="80137"/>
                  </a:lnTo>
                  <a:lnTo>
                    <a:pt x="102490" y="84200"/>
                  </a:lnTo>
                  <a:lnTo>
                    <a:pt x="102997" y="88138"/>
                  </a:lnTo>
                  <a:lnTo>
                    <a:pt x="103506" y="92201"/>
                  </a:lnTo>
                  <a:lnTo>
                    <a:pt x="103632" y="96266"/>
                  </a:lnTo>
                  <a:lnTo>
                    <a:pt x="103632" y="98806"/>
                  </a:lnTo>
                  <a:lnTo>
                    <a:pt x="103506" y="101346"/>
                  </a:lnTo>
                  <a:lnTo>
                    <a:pt x="103251" y="103631"/>
                  </a:lnTo>
                  <a:lnTo>
                    <a:pt x="102870" y="105918"/>
                  </a:lnTo>
                  <a:lnTo>
                    <a:pt x="102616" y="108331"/>
                  </a:lnTo>
                  <a:lnTo>
                    <a:pt x="102109" y="110490"/>
                  </a:lnTo>
                  <a:lnTo>
                    <a:pt x="101473" y="112648"/>
                  </a:lnTo>
                  <a:lnTo>
                    <a:pt x="100838" y="114681"/>
                  </a:lnTo>
                  <a:lnTo>
                    <a:pt x="100076" y="116840"/>
                  </a:lnTo>
                  <a:lnTo>
                    <a:pt x="99315" y="118872"/>
                  </a:lnTo>
                  <a:lnTo>
                    <a:pt x="98553" y="120650"/>
                  </a:lnTo>
                  <a:lnTo>
                    <a:pt x="97537" y="122554"/>
                  </a:lnTo>
                  <a:lnTo>
                    <a:pt x="96520" y="124206"/>
                  </a:lnTo>
                  <a:lnTo>
                    <a:pt x="95378" y="125984"/>
                  </a:lnTo>
                  <a:lnTo>
                    <a:pt x="94362" y="127634"/>
                  </a:lnTo>
                  <a:lnTo>
                    <a:pt x="93219" y="129159"/>
                  </a:lnTo>
                  <a:lnTo>
                    <a:pt x="91822" y="130682"/>
                  </a:lnTo>
                  <a:lnTo>
                    <a:pt x="90551" y="132079"/>
                  </a:lnTo>
                  <a:lnTo>
                    <a:pt x="89154" y="133476"/>
                  </a:lnTo>
                  <a:lnTo>
                    <a:pt x="87757" y="134873"/>
                  </a:lnTo>
                  <a:lnTo>
                    <a:pt x="86234" y="136144"/>
                  </a:lnTo>
                  <a:lnTo>
                    <a:pt x="84710" y="137287"/>
                  </a:lnTo>
                  <a:lnTo>
                    <a:pt x="83059" y="138429"/>
                  </a:lnTo>
                  <a:lnTo>
                    <a:pt x="81281" y="139446"/>
                  </a:lnTo>
                  <a:lnTo>
                    <a:pt x="79757" y="140462"/>
                  </a:lnTo>
                  <a:lnTo>
                    <a:pt x="77851" y="141350"/>
                  </a:lnTo>
                  <a:lnTo>
                    <a:pt x="76073" y="142113"/>
                  </a:lnTo>
                  <a:lnTo>
                    <a:pt x="74295" y="143001"/>
                  </a:lnTo>
                  <a:lnTo>
                    <a:pt x="72263" y="143637"/>
                  </a:lnTo>
                  <a:lnTo>
                    <a:pt x="70359" y="144398"/>
                  </a:lnTo>
                  <a:lnTo>
                    <a:pt x="68326" y="144906"/>
                  </a:lnTo>
                  <a:lnTo>
                    <a:pt x="66422" y="145288"/>
                  </a:lnTo>
                  <a:lnTo>
                    <a:pt x="66422" y="138175"/>
                  </a:lnTo>
                  <a:lnTo>
                    <a:pt x="69342" y="137159"/>
                  </a:lnTo>
                  <a:lnTo>
                    <a:pt x="72263" y="135890"/>
                  </a:lnTo>
                  <a:lnTo>
                    <a:pt x="75057" y="134619"/>
                  </a:lnTo>
                  <a:lnTo>
                    <a:pt x="77851" y="132969"/>
                  </a:lnTo>
                  <a:lnTo>
                    <a:pt x="80519" y="131191"/>
                  </a:lnTo>
                  <a:lnTo>
                    <a:pt x="82678" y="129031"/>
                  </a:lnTo>
                  <a:lnTo>
                    <a:pt x="84963" y="126872"/>
                  </a:lnTo>
                  <a:lnTo>
                    <a:pt x="86995" y="124206"/>
                  </a:lnTo>
                  <a:lnTo>
                    <a:pt x="88773" y="121666"/>
                  </a:lnTo>
                  <a:lnTo>
                    <a:pt x="90425" y="118744"/>
                  </a:lnTo>
                  <a:lnTo>
                    <a:pt x="91822" y="115443"/>
                  </a:lnTo>
                  <a:lnTo>
                    <a:pt x="93091" y="112141"/>
                  </a:lnTo>
                  <a:lnTo>
                    <a:pt x="93854" y="108457"/>
                  </a:lnTo>
                  <a:lnTo>
                    <a:pt x="94616" y="104647"/>
                  </a:lnTo>
                  <a:lnTo>
                    <a:pt x="94997" y="100456"/>
                  </a:lnTo>
                  <a:lnTo>
                    <a:pt x="95123" y="96266"/>
                  </a:lnTo>
                  <a:lnTo>
                    <a:pt x="95123" y="93853"/>
                  </a:lnTo>
                  <a:lnTo>
                    <a:pt x="94997" y="91566"/>
                  </a:lnTo>
                  <a:lnTo>
                    <a:pt x="94616" y="89153"/>
                  </a:lnTo>
                  <a:lnTo>
                    <a:pt x="94362" y="86741"/>
                  </a:lnTo>
                  <a:lnTo>
                    <a:pt x="93345" y="81788"/>
                  </a:lnTo>
                  <a:lnTo>
                    <a:pt x="91948" y="76707"/>
                  </a:lnTo>
                  <a:lnTo>
                    <a:pt x="90170" y="71628"/>
                  </a:lnTo>
                  <a:lnTo>
                    <a:pt x="88138" y="66675"/>
                  </a:lnTo>
                  <a:lnTo>
                    <a:pt x="85853" y="61594"/>
                  </a:lnTo>
                  <a:lnTo>
                    <a:pt x="83313" y="56515"/>
                  </a:lnTo>
                  <a:lnTo>
                    <a:pt x="80519" y="51434"/>
                  </a:lnTo>
                  <a:lnTo>
                    <a:pt x="77725" y="46354"/>
                  </a:lnTo>
                  <a:lnTo>
                    <a:pt x="74676" y="41401"/>
                  </a:lnTo>
                  <a:lnTo>
                    <a:pt x="71375" y="36575"/>
                  </a:lnTo>
                  <a:lnTo>
                    <a:pt x="68200" y="31876"/>
                  </a:lnTo>
                  <a:lnTo>
                    <a:pt x="64644" y="27304"/>
                  </a:lnTo>
                  <a:lnTo>
                    <a:pt x="61341" y="22859"/>
                  </a:lnTo>
                  <a:lnTo>
                    <a:pt x="57785" y="18541"/>
                  </a:lnTo>
                  <a:close/>
                  <a:moveTo>
                    <a:pt x="1066547" y="2935223"/>
                  </a:moveTo>
                </a:path>
              </a:pathLst>
            </a:custGeom>
            <a:solidFill>
              <a:srgbClr val="FFFFFF">
                <a:alpha val="50195"/>
              </a:srgbClr>
            </a:solidFill>
            <a:ln w="31750">
              <a:noFill/>
            </a:ln>
          </p:spPr>
          <p:style>
            <a:lnRef idx="2">
              <a:schemeClr val="accent1">
                <a:shade val="50000"/>
              </a:schemeClr>
            </a:lnRef>
            <a:fillRef idx="1">
              <a:schemeClr val="accent1"/>
            </a:fillRef>
            <a:effectRef idx="0">
              <a:schemeClr val="accent1"/>
            </a:effectRef>
            <a:fontRef idx="minor">
              <a:schemeClr val="lt1"/>
            </a:fontRef>
          </p:style>
        </p:sp>
        <p:pic>
          <p:nvPicPr>
            <p:cNvPr id="1335" name="Picture 1335"/>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a:xfrm>
              <a:off x="916932" y="4523932"/>
              <a:ext cx="457177" cy="338406"/>
            </a:xfrm>
            <a:prstGeom prst="rect">
              <a:avLst/>
            </a:prstGeom>
            <a:noFill/>
          </p:spPr>
        </p:pic>
        <p:pic>
          <p:nvPicPr>
            <p:cNvPr id="1351" name="Picture 1351"/>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a:xfrm>
              <a:off x="1483653" y="4060624"/>
              <a:ext cx="238127" cy="669195"/>
            </a:xfrm>
            <a:prstGeom prst="rect">
              <a:avLst/>
            </a:prstGeom>
            <a:noFill/>
          </p:spPr>
        </p:pic>
        <p:pic>
          <p:nvPicPr>
            <p:cNvPr id="1354" name="Picture 1354"/>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a:xfrm>
              <a:off x="1034560" y="3916955"/>
              <a:ext cx="101547" cy="608902"/>
            </a:xfrm>
            <a:prstGeom prst="rect">
              <a:avLst/>
            </a:prstGeom>
            <a:noFill/>
          </p:spPr>
        </p:pic>
        <p:sp>
          <p:nvSpPr>
            <p:cNvPr id="1532" name="Freeform 1532"/>
            <p:cNvSpPr/>
            <p:nvPr/>
          </p:nvSpPr>
          <p:spPr>
            <a:xfrm>
              <a:off x="2402942" y="5297976"/>
              <a:ext cx="286362" cy="396035"/>
            </a:xfrm>
            <a:custGeom>
              <a:avLst/>
              <a:gdLst/>
              <a:ahLst/>
              <a:cxnLst/>
              <a:rect l="0" t="0" r="0" b="0"/>
              <a:pathLst>
                <a:path w="286511" h="396241">
                  <a:moveTo>
                    <a:pt x="145542" y="125350"/>
                  </a:moveTo>
                  <a:lnTo>
                    <a:pt x="145288" y="125603"/>
                  </a:lnTo>
                  <a:lnTo>
                    <a:pt x="144779" y="126239"/>
                  </a:lnTo>
                  <a:lnTo>
                    <a:pt x="143891" y="127508"/>
                  </a:lnTo>
                  <a:lnTo>
                    <a:pt x="142748" y="129160"/>
                  </a:lnTo>
                  <a:lnTo>
                    <a:pt x="141351" y="131191"/>
                  </a:lnTo>
                  <a:lnTo>
                    <a:pt x="139573" y="133605"/>
                  </a:lnTo>
                  <a:lnTo>
                    <a:pt x="137667" y="136399"/>
                  </a:lnTo>
                  <a:lnTo>
                    <a:pt x="135635" y="139574"/>
                  </a:lnTo>
                  <a:lnTo>
                    <a:pt x="133350" y="143002"/>
                  </a:lnTo>
                  <a:lnTo>
                    <a:pt x="130810" y="146558"/>
                  </a:lnTo>
                  <a:lnTo>
                    <a:pt x="128142" y="150622"/>
                  </a:lnTo>
                  <a:lnTo>
                    <a:pt x="125476" y="154686"/>
                  </a:lnTo>
                  <a:lnTo>
                    <a:pt x="122682" y="159131"/>
                  </a:lnTo>
                  <a:lnTo>
                    <a:pt x="119760" y="163577"/>
                  </a:lnTo>
                  <a:lnTo>
                    <a:pt x="116839" y="168275"/>
                  </a:lnTo>
                  <a:lnTo>
                    <a:pt x="113919" y="173102"/>
                  </a:lnTo>
                  <a:lnTo>
                    <a:pt x="110998" y="177800"/>
                  </a:lnTo>
                  <a:lnTo>
                    <a:pt x="108076" y="182753"/>
                  </a:lnTo>
                  <a:lnTo>
                    <a:pt x="105282" y="187706"/>
                  </a:lnTo>
                  <a:lnTo>
                    <a:pt x="102616" y="192660"/>
                  </a:lnTo>
                  <a:lnTo>
                    <a:pt x="99948" y="197486"/>
                  </a:lnTo>
                  <a:lnTo>
                    <a:pt x="97027" y="203200"/>
                  </a:lnTo>
                  <a:lnTo>
                    <a:pt x="94360" y="208916"/>
                  </a:lnTo>
                  <a:lnTo>
                    <a:pt x="91948" y="213233"/>
                  </a:lnTo>
                  <a:lnTo>
                    <a:pt x="89916" y="217933"/>
                  </a:lnTo>
                  <a:lnTo>
                    <a:pt x="88138" y="222758"/>
                  </a:lnTo>
                  <a:lnTo>
                    <a:pt x="86741" y="227839"/>
                  </a:lnTo>
                  <a:lnTo>
                    <a:pt x="85851" y="231649"/>
                  </a:lnTo>
                  <a:lnTo>
                    <a:pt x="85217" y="234950"/>
                  </a:lnTo>
                  <a:lnTo>
                    <a:pt x="84835" y="238252"/>
                  </a:lnTo>
                  <a:lnTo>
                    <a:pt x="84835" y="241047"/>
                  </a:lnTo>
                  <a:lnTo>
                    <a:pt x="84963" y="243586"/>
                  </a:lnTo>
                  <a:lnTo>
                    <a:pt x="85344" y="250317"/>
                  </a:lnTo>
                  <a:lnTo>
                    <a:pt x="86232" y="256794"/>
                  </a:lnTo>
                  <a:lnTo>
                    <a:pt x="87757" y="263144"/>
                  </a:lnTo>
                  <a:lnTo>
                    <a:pt x="89789" y="269114"/>
                  </a:lnTo>
                  <a:lnTo>
                    <a:pt x="92329" y="274828"/>
                  </a:lnTo>
                  <a:lnTo>
                    <a:pt x="95376" y="280289"/>
                  </a:lnTo>
                  <a:lnTo>
                    <a:pt x="98805" y="285116"/>
                  </a:lnTo>
                  <a:lnTo>
                    <a:pt x="102742" y="289878"/>
                  </a:lnTo>
                  <a:lnTo>
                    <a:pt x="107060" y="294044"/>
                  </a:lnTo>
                  <a:lnTo>
                    <a:pt x="111632" y="297955"/>
                  </a:lnTo>
                  <a:lnTo>
                    <a:pt x="116713" y="301156"/>
                  </a:lnTo>
                  <a:lnTo>
                    <a:pt x="122047" y="303962"/>
                  </a:lnTo>
                  <a:lnTo>
                    <a:pt x="127507" y="306121"/>
                  </a:lnTo>
                  <a:lnTo>
                    <a:pt x="133350" y="307798"/>
                  </a:lnTo>
                  <a:lnTo>
                    <a:pt x="139319" y="308750"/>
                  </a:lnTo>
                  <a:lnTo>
                    <a:pt x="145542" y="309080"/>
                  </a:lnTo>
                  <a:lnTo>
                    <a:pt x="151764" y="308750"/>
                  </a:lnTo>
                  <a:lnTo>
                    <a:pt x="157733" y="307798"/>
                  </a:lnTo>
                  <a:lnTo>
                    <a:pt x="163448" y="306121"/>
                  </a:lnTo>
                  <a:lnTo>
                    <a:pt x="169036" y="303962"/>
                  </a:lnTo>
                  <a:lnTo>
                    <a:pt x="174370" y="301156"/>
                  </a:lnTo>
                  <a:lnTo>
                    <a:pt x="179323" y="297955"/>
                  </a:lnTo>
                  <a:lnTo>
                    <a:pt x="184023" y="294044"/>
                  </a:lnTo>
                  <a:lnTo>
                    <a:pt x="188214" y="289878"/>
                  </a:lnTo>
                  <a:lnTo>
                    <a:pt x="192151" y="285116"/>
                  </a:lnTo>
                  <a:lnTo>
                    <a:pt x="195579" y="280289"/>
                  </a:lnTo>
                  <a:lnTo>
                    <a:pt x="198627" y="274828"/>
                  </a:lnTo>
                  <a:lnTo>
                    <a:pt x="201295" y="269114"/>
                  </a:lnTo>
                  <a:lnTo>
                    <a:pt x="203200" y="263144"/>
                  </a:lnTo>
                  <a:lnTo>
                    <a:pt x="204723" y="256794"/>
                  </a:lnTo>
                  <a:lnTo>
                    <a:pt x="205739" y="250317"/>
                  </a:lnTo>
                  <a:lnTo>
                    <a:pt x="205994" y="243586"/>
                  </a:lnTo>
                  <a:lnTo>
                    <a:pt x="206375" y="241047"/>
                  </a:lnTo>
                  <a:lnTo>
                    <a:pt x="206120" y="238252"/>
                  </a:lnTo>
                  <a:lnTo>
                    <a:pt x="205867" y="234950"/>
                  </a:lnTo>
                  <a:lnTo>
                    <a:pt x="205104" y="231649"/>
                  </a:lnTo>
                  <a:lnTo>
                    <a:pt x="204216" y="227839"/>
                  </a:lnTo>
                  <a:lnTo>
                    <a:pt x="202819" y="222758"/>
                  </a:lnTo>
                  <a:lnTo>
                    <a:pt x="201167" y="217933"/>
                  </a:lnTo>
                  <a:lnTo>
                    <a:pt x="199008" y="213233"/>
                  </a:lnTo>
                  <a:lnTo>
                    <a:pt x="196723" y="208916"/>
                  </a:lnTo>
                  <a:lnTo>
                    <a:pt x="194436" y="204344"/>
                  </a:lnTo>
                  <a:lnTo>
                    <a:pt x="192151" y="199517"/>
                  </a:lnTo>
                  <a:lnTo>
                    <a:pt x="189610" y="194819"/>
                  </a:lnTo>
                  <a:lnTo>
                    <a:pt x="187070" y="189992"/>
                  </a:lnTo>
                  <a:lnTo>
                    <a:pt x="184276" y="185166"/>
                  </a:lnTo>
                  <a:lnTo>
                    <a:pt x="181482" y="180467"/>
                  </a:lnTo>
                  <a:lnTo>
                    <a:pt x="178689" y="175514"/>
                  </a:lnTo>
                  <a:lnTo>
                    <a:pt x="175767" y="170942"/>
                  </a:lnTo>
                  <a:lnTo>
                    <a:pt x="172973" y="166370"/>
                  </a:lnTo>
                  <a:lnTo>
                    <a:pt x="170179" y="161799"/>
                  </a:lnTo>
                  <a:lnTo>
                    <a:pt x="167385" y="157480"/>
                  </a:lnTo>
                  <a:lnTo>
                    <a:pt x="164719" y="153289"/>
                  </a:lnTo>
                  <a:lnTo>
                    <a:pt x="162051" y="149352"/>
                  </a:lnTo>
                  <a:lnTo>
                    <a:pt x="159511" y="145669"/>
                  </a:lnTo>
                  <a:lnTo>
                    <a:pt x="157226" y="142241"/>
                  </a:lnTo>
                  <a:lnTo>
                    <a:pt x="154939" y="138811"/>
                  </a:lnTo>
                  <a:lnTo>
                    <a:pt x="153035" y="135891"/>
                  </a:lnTo>
                  <a:lnTo>
                    <a:pt x="151129" y="133224"/>
                  </a:lnTo>
                  <a:lnTo>
                    <a:pt x="149479" y="130811"/>
                  </a:lnTo>
                  <a:lnTo>
                    <a:pt x="148082" y="128905"/>
                  </a:lnTo>
                  <a:lnTo>
                    <a:pt x="147066" y="127381"/>
                  </a:lnTo>
                  <a:lnTo>
                    <a:pt x="146176" y="126239"/>
                  </a:lnTo>
                  <a:lnTo>
                    <a:pt x="145669" y="125603"/>
                  </a:lnTo>
                  <a:lnTo>
                    <a:pt x="145542" y="125350"/>
                  </a:lnTo>
                  <a:close/>
                  <a:moveTo>
                    <a:pt x="-356998" y="1559052"/>
                  </a:moveTo>
                  <a:moveTo>
                    <a:pt x="143255" y="30989"/>
                  </a:moveTo>
                  <a:lnTo>
                    <a:pt x="131698" y="31116"/>
                  </a:lnTo>
                  <a:lnTo>
                    <a:pt x="120523" y="31369"/>
                  </a:lnTo>
                  <a:lnTo>
                    <a:pt x="109727" y="32131"/>
                  </a:lnTo>
                  <a:lnTo>
                    <a:pt x="99186" y="33020"/>
                  </a:lnTo>
                  <a:lnTo>
                    <a:pt x="89154" y="34036"/>
                  </a:lnTo>
                  <a:lnTo>
                    <a:pt x="79629" y="35306"/>
                  </a:lnTo>
                  <a:lnTo>
                    <a:pt x="70739" y="36703"/>
                  </a:lnTo>
                  <a:lnTo>
                    <a:pt x="62229" y="38355"/>
                  </a:lnTo>
                  <a:lnTo>
                    <a:pt x="54482" y="40260"/>
                  </a:lnTo>
                  <a:lnTo>
                    <a:pt x="49657" y="41402"/>
                  </a:lnTo>
                  <a:lnTo>
                    <a:pt x="45211" y="42672"/>
                  </a:lnTo>
                  <a:lnTo>
                    <a:pt x="41148" y="43689"/>
                  </a:lnTo>
                  <a:lnTo>
                    <a:pt x="37592" y="44705"/>
                  </a:lnTo>
                  <a:lnTo>
                    <a:pt x="34544" y="45720"/>
                  </a:lnTo>
                  <a:lnTo>
                    <a:pt x="31876" y="46355"/>
                  </a:lnTo>
                  <a:lnTo>
                    <a:pt x="29845" y="47117"/>
                  </a:lnTo>
                  <a:lnTo>
                    <a:pt x="28320" y="47625"/>
                  </a:lnTo>
                  <a:lnTo>
                    <a:pt x="27432" y="48006"/>
                  </a:lnTo>
                  <a:lnTo>
                    <a:pt x="27177" y="48388"/>
                  </a:lnTo>
                  <a:lnTo>
                    <a:pt x="27432" y="48641"/>
                  </a:lnTo>
                  <a:lnTo>
                    <a:pt x="28320" y="49150"/>
                  </a:lnTo>
                  <a:lnTo>
                    <a:pt x="29845" y="49530"/>
                  </a:lnTo>
                  <a:lnTo>
                    <a:pt x="31876" y="50292"/>
                  </a:lnTo>
                  <a:lnTo>
                    <a:pt x="34544" y="51181"/>
                  </a:lnTo>
                  <a:lnTo>
                    <a:pt x="37592" y="51944"/>
                  </a:lnTo>
                  <a:lnTo>
                    <a:pt x="41148" y="52960"/>
                  </a:lnTo>
                  <a:lnTo>
                    <a:pt x="45211" y="54102"/>
                  </a:lnTo>
                  <a:lnTo>
                    <a:pt x="49657" y="55245"/>
                  </a:lnTo>
                  <a:lnTo>
                    <a:pt x="54482" y="56516"/>
                  </a:lnTo>
                  <a:lnTo>
                    <a:pt x="62229" y="58166"/>
                  </a:lnTo>
                  <a:lnTo>
                    <a:pt x="70739" y="59944"/>
                  </a:lnTo>
                  <a:lnTo>
                    <a:pt x="79629" y="61469"/>
                  </a:lnTo>
                  <a:lnTo>
                    <a:pt x="89154" y="62739"/>
                  </a:lnTo>
                  <a:lnTo>
                    <a:pt x="99186" y="63755"/>
                  </a:lnTo>
                  <a:lnTo>
                    <a:pt x="109727" y="64644"/>
                  </a:lnTo>
                  <a:lnTo>
                    <a:pt x="120523" y="65278"/>
                  </a:lnTo>
                  <a:lnTo>
                    <a:pt x="131698" y="65533"/>
                  </a:lnTo>
                  <a:lnTo>
                    <a:pt x="143255" y="65786"/>
                  </a:lnTo>
                  <a:lnTo>
                    <a:pt x="154813" y="65533"/>
                  </a:lnTo>
                  <a:lnTo>
                    <a:pt x="165989" y="65278"/>
                  </a:lnTo>
                  <a:lnTo>
                    <a:pt x="176783" y="64644"/>
                  </a:lnTo>
                  <a:lnTo>
                    <a:pt x="187325" y="63755"/>
                  </a:lnTo>
                  <a:lnTo>
                    <a:pt x="197357" y="62739"/>
                  </a:lnTo>
                  <a:lnTo>
                    <a:pt x="206755" y="61469"/>
                  </a:lnTo>
                  <a:lnTo>
                    <a:pt x="215900" y="59944"/>
                  </a:lnTo>
                  <a:lnTo>
                    <a:pt x="224282" y="58166"/>
                  </a:lnTo>
                  <a:lnTo>
                    <a:pt x="232155" y="56516"/>
                  </a:lnTo>
                  <a:lnTo>
                    <a:pt x="236982" y="55245"/>
                  </a:lnTo>
                  <a:lnTo>
                    <a:pt x="241300" y="54102"/>
                  </a:lnTo>
                  <a:lnTo>
                    <a:pt x="245491" y="52960"/>
                  </a:lnTo>
                  <a:lnTo>
                    <a:pt x="249047" y="51944"/>
                  </a:lnTo>
                  <a:lnTo>
                    <a:pt x="252095" y="51181"/>
                  </a:lnTo>
                  <a:lnTo>
                    <a:pt x="254635" y="50292"/>
                  </a:lnTo>
                  <a:lnTo>
                    <a:pt x="256667" y="49530"/>
                  </a:lnTo>
                  <a:lnTo>
                    <a:pt x="258317" y="49150"/>
                  </a:lnTo>
                  <a:lnTo>
                    <a:pt x="259079" y="48641"/>
                  </a:lnTo>
                  <a:lnTo>
                    <a:pt x="259460" y="48388"/>
                  </a:lnTo>
                  <a:lnTo>
                    <a:pt x="259079" y="48006"/>
                  </a:lnTo>
                  <a:lnTo>
                    <a:pt x="258317" y="47625"/>
                  </a:lnTo>
                  <a:lnTo>
                    <a:pt x="256667" y="47117"/>
                  </a:lnTo>
                  <a:lnTo>
                    <a:pt x="254635" y="46355"/>
                  </a:lnTo>
                  <a:lnTo>
                    <a:pt x="252095" y="45720"/>
                  </a:lnTo>
                  <a:lnTo>
                    <a:pt x="249047" y="44705"/>
                  </a:lnTo>
                  <a:lnTo>
                    <a:pt x="245491" y="43689"/>
                  </a:lnTo>
                  <a:lnTo>
                    <a:pt x="241300" y="42672"/>
                  </a:lnTo>
                  <a:lnTo>
                    <a:pt x="236982" y="41402"/>
                  </a:lnTo>
                  <a:lnTo>
                    <a:pt x="232155" y="40260"/>
                  </a:lnTo>
                  <a:lnTo>
                    <a:pt x="224282" y="38355"/>
                  </a:lnTo>
                  <a:lnTo>
                    <a:pt x="215900" y="36703"/>
                  </a:lnTo>
                  <a:lnTo>
                    <a:pt x="206755" y="35306"/>
                  </a:lnTo>
                  <a:lnTo>
                    <a:pt x="197357" y="34036"/>
                  </a:lnTo>
                  <a:lnTo>
                    <a:pt x="187325" y="33020"/>
                  </a:lnTo>
                  <a:lnTo>
                    <a:pt x="176783" y="32131"/>
                  </a:lnTo>
                  <a:lnTo>
                    <a:pt x="165989" y="31369"/>
                  </a:lnTo>
                  <a:lnTo>
                    <a:pt x="154813" y="31116"/>
                  </a:lnTo>
                  <a:lnTo>
                    <a:pt x="143255" y="30989"/>
                  </a:lnTo>
                  <a:close/>
                  <a:moveTo>
                    <a:pt x="-262637" y="1559052"/>
                  </a:moveTo>
                  <a:moveTo>
                    <a:pt x="143255" y="0"/>
                  </a:moveTo>
                  <a:lnTo>
                    <a:pt x="155320" y="127"/>
                  </a:lnTo>
                  <a:lnTo>
                    <a:pt x="167258" y="508"/>
                  </a:lnTo>
                  <a:lnTo>
                    <a:pt x="178689" y="1144"/>
                  </a:lnTo>
                  <a:lnTo>
                    <a:pt x="189738" y="2160"/>
                  </a:lnTo>
                  <a:lnTo>
                    <a:pt x="200405" y="3175"/>
                  </a:lnTo>
                  <a:lnTo>
                    <a:pt x="210566" y="4700"/>
                  </a:lnTo>
                  <a:lnTo>
                    <a:pt x="220345" y="6224"/>
                  </a:lnTo>
                  <a:lnTo>
                    <a:pt x="229489" y="8002"/>
                  </a:lnTo>
                  <a:lnTo>
                    <a:pt x="237998" y="9906"/>
                  </a:lnTo>
                  <a:lnTo>
                    <a:pt x="244601" y="11811"/>
                  </a:lnTo>
                  <a:lnTo>
                    <a:pt x="250951" y="13970"/>
                  </a:lnTo>
                  <a:lnTo>
                    <a:pt x="256794" y="16130"/>
                  </a:lnTo>
                  <a:lnTo>
                    <a:pt x="262127" y="18542"/>
                  </a:lnTo>
                  <a:lnTo>
                    <a:pt x="267080" y="21210"/>
                  </a:lnTo>
                  <a:lnTo>
                    <a:pt x="271398" y="24003"/>
                  </a:lnTo>
                  <a:lnTo>
                    <a:pt x="275335" y="27052"/>
                  </a:lnTo>
                  <a:lnTo>
                    <a:pt x="278764" y="30100"/>
                  </a:lnTo>
                  <a:lnTo>
                    <a:pt x="281432" y="33528"/>
                  </a:lnTo>
                  <a:lnTo>
                    <a:pt x="283591" y="36958"/>
                  </a:lnTo>
                  <a:lnTo>
                    <a:pt x="285242" y="40641"/>
                  </a:lnTo>
                  <a:lnTo>
                    <a:pt x="286257" y="44450"/>
                  </a:lnTo>
                  <a:lnTo>
                    <a:pt x="286511" y="48388"/>
                  </a:lnTo>
                  <a:lnTo>
                    <a:pt x="286257" y="52197"/>
                  </a:lnTo>
                  <a:lnTo>
                    <a:pt x="285242" y="56008"/>
                  </a:lnTo>
                  <a:lnTo>
                    <a:pt x="283717" y="59564"/>
                  </a:lnTo>
                  <a:lnTo>
                    <a:pt x="281432" y="63119"/>
                  </a:lnTo>
                  <a:lnTo>
                    <a:pt x="278764" y="66422"/>
                  </a:lnTo>
                  <a:lnTo>
                    <a:pt x="275589" y="69597"/>
                  </a:lnTo>
                  <a:lnTo>
                    <a:pt x="271652" y="72391"/>
                  </a:lnTo>
                  <a:lnTo>
                    <a:pt x="267335" y="75311"/>
                  </a:lnTo>
                  <a:lnTo>
                    <a:pt x="262508" y="77852"/>
                  </a:lnTo>
                  <a:lnTo>
                    <a:pt x="262508" y="156591"/>
                  </a:lnTo>
                  <a:lnTo>
                    <a:pt x="267335" y="159131"/>
                  </a:lnTo>
                  <a:lnTo>
                    <a:pt x="271652" y="161799"/>
                  </a:lnTo>
                  <a:lnTo>
                    <a:pt x="275589" y="164592"/>
                  </a:lnTo>
                  <a:lnTo>
                    <a:pt x="278764" y="167641"/>
                  </a:lnTo>
                  <a:lnTo>
                    <a:pt x="281432" y="170942"/>
                  </a:lnTo>
                  <a:lnTo>
                    <a:pt x="283717" y="174244"/>
                  </a:lnTo>
                  <a:lnTo>
                    <a:pt x="285242" y="177674"/>
                  </a:lnTo>
                  <a:lnTo>
                    <a:pt x="286257" y="181483"/>
                  </a:lnTo>
                  <a:lnTo>
                    <a:pt x="286511" y="185166"/>
                  </a:lnTo>
                  <a:lnTo>
                    <a:pt x="286257" y="189103"/>
                  </a:lnTo>
                  <a:lnTo>
                    <a:pt x="285242" y="192660"/>
                  </a:lnTo>
                  <a:lnTo>
                    <a:pt x="283717" y="196089"/>
                  </a:lnTo>
                  <a:lnTo>
                    <a:pt x="281432" y="199517"/>
                  </a:lnTo>
                  <a:lnTo>
                    <a:pt x="278764" y="202692"/>
                  </a:lnTo>
                  <a:lnTo>
                    <a:pt x="275589" y="205741"/>
                  </a:lnTo>
                  <a:lnTo>
                    <a:pt x="271652" y="208661"/>
                  </a:lnTo>
                  <a:lnTo>
                    <a:pt x="267335" y="211328"/>
                  </a:lnTo>
                  <a:lnTo>
                    <a:pt x="262508" y="213741"/>
                  </a:lnTo>
                  <a:lnTo>
                    <a:pt x="262508" y="319786"/>
                  </a:lnTo>
                  <a:lnTo>
                    <a:pt x="267335" y="322352"/>
                  </a:lnTo>
                  <a:lnTo>
                    <a:pt x="271652" y="325070"/>
                  </a:lnTo>
                  <a:lnTo>
                    <a:pt x="275589" y="328105"/>
                  </a:lnTo>
                  <a:lnTo>
                    <a:pt x="278764" y="331064"/>
                  </a:lnTo>
                  <a:lnTo>
                    <a:pt x="281432" y="334341"/>
                  </a:lnTo>
                  <a:lnTo>
                    <a:pt x="283717" y="337859"/>
                  </a:lnTo>
                  <a:lnTo>
                    <a:pt x="285242" y="341300"/>
                  </a:lnTo>
                  <a:lnTo>
                    <a:pt x="286257" y="345060"/>
                  </a:lnTo>
                  <a:lnTo>
                    <a:pt x="286511" y="348895"/>
                  </a:lnTo>
                  <a:lnTo>
                    <a:pt x="286257" y="352743"/>
                  </a:lnTo>
                  <a:lnTo>
                    <a:pt x="285242" y="356413"/>
                  </a:lnTo>
                  <a:lnTo>
                    <a:pt x="283591" y="360096"/>
                  </a:lnTo>
                  <a:lnTo>
                    <a:pt x="281432" y="363538"/>
                  </a:lnTo>
                  <a:lnTo>
                    <a:pt x="278764" y="366815"/>
                  </a:lnTo>
                  <a:lnTo>
                    <a:pt x="275335" y="369926"/>
                  </a:lnTo>
                  <a:lnTo>
                    <a:pt x="271398" y="372809"/>
                  </a:lnTo>
                  <a:lnTo>
                    <a:pt x="267080" y="375527"/>
                  </a:lnTo>
                  <a:lnTo>
                    <a:pt x="262127" y="378092"/>
                  </a:lnTo>
                  <a:lnTo>
                    <a:pt x="256667" y="380492"/>
                  </a:lnTo>
                  <a:lnTo>
                    <a:pt x="250825" y="382804"/>
                  </a:lnTo>
                  <a:lnTo>
                    <a:pt x="244601" y="384722"/>
                  </a:lnTo>
                  <a:lnTo>
                    <a:pt x="237870" y="386487"/>
                  </a:lnTo>
                  <a:lnTo>
                    <a:pt x="229361" y="388405"/>
                  </a:lnTo>
                  <a:lnTo>
                    <a:pt x="220217" y="390246"/>
                  </a:lnTo>
                  <a:lnTo>
                    <a:pt x="210566" y="391681"/>
                  </a:lnTo>
                  <a:lnTo>
                    <a:pt x="200405" y="393116"/>
                  </a:lnTo>
                  <a:lnTo>
                    <a:pt x="189738" y="394158"/>
                  </a:lnTo>
                  <a:lnTo>
                    <a:pt x="178689" y="395047"/>
                  </a:lnTo>
                  <a:lnTo>
                    <a:pt x="167258" y="395758"/>
                  </a:lnTo>
                  <a:lnTo>
                    <a:pt x="155320" y="396075"/>
                  </a:lnTo>
                  <a:lnTo>
                    <a:pt x="143255" y="396241"/>
                  </a:lnTo>
                  <a:lnTo>
                    <a:pt x="131191" y="396075"/>
                  </a:lnTo>
                  <a:lnTo>
                    <a:pt x="119379" y="395758"/>
                  </a:lnTo>
                  <a:lnTo>
                    <a:pt x="107950" y="395047"/>
                  </a:lnTo>
                  <a:lnTo>
                    <a:pt x="96901" y="394158"/>
                  </a:lnTo>
                  <a:lnTo>
                    <a:pt x="86105" y="393116"/>
                  </a:lnTo>
                  <a:lnTo>
                    <a:pt x="76073" y="391681"/>
                  </a:lnTo>
                  <a:lnTo>
                    <a:pt x="66294" y="390246"/>
                  </a:lnTo>
                  <a:lnTo>
                    <a:pt x="57150" y="388405"/>
                  </a:lnTo>
                  <a:lnTo>
                    <a:pt x="48767" y="386487"/>
                  </a:lnTo>
                  <a:lnTo>
                    <a:pt x="42036" y="384722"/>
                  </a:lnTo>
                  <a:lnTo>
                    <a:pt x="35686" y="382804"/>
                  </a:lnTo>
                  <a:lnTo>
                    <a:pt x="29845" y="380492"/>
                  </a:lnTo>
                  <a:lnTo>
                    <a:pt x="24510" y="378092"/>
                  </a:lnTo>
                  <a:lnTo>
                    <a:pt x="19557" y="375527"/>
                  </a:lnTo>
                  <a:lnTo>
                    <a:pt x="15113" y="372809"/>
                  </a:lnTo>
                  <a:lnTo>
                    <a:pt x="11176" y="369926"/>
                  </a:lnTo>
                  <a:lnTo>
                    <a:pt x="7873" y="366815"/>
                  </a:lnTo>
                  <a:lnTo>
                    <a:pt x="5207" y="363538"/>
                  </a:lnTo>
                  <a:lnTo>
                    <a:pt x="3048" y="360096"/>
                  </a:lnTo>
                  <a:lnTo>
                    <a:pt x="1270" y="356413"/>
                  </a:lnTo>
                  <a:lnTo>
                    <a:pt x="380" y="352743"/>
                  </a:lnTo>
                  <a:lnTo>
                    <a:pt x="0" y="348895"/>
                  </a:lnTo>
                  <a:lnTo>
                    <a:pt x="380" y="344907"/>
                  </a:lnTo>
                  <a:lnTo>
                    <a:pt x="1397" y="341224"/>
                  </a:lnTo>
                  <a:lnTo>
                    <a:pt x="3048" y="337465"/>
                  </a:lnTo>
                  <a:lnTo>
                    <a:pt x="5333" y="333947"/>
                  </a:lnTo>
                  <a:lnTo>
                    <a:pt x="8127" y="330747"/>
                  </a:lnTo>
                  <a:lnTo>
                    <a:pt x="11557" y="327622"/>
                  </a:lnTo>
                  <a:lnTo>
                    <a:pt x="15620" y="324587"/>
                  </a:lnTo>
                  <a:lnTo>
                    <a:pt x="20192" y="321869"/>
                  </a:lnTo>
                  <a:lnTo>
                    <a:pt x="25145" y="319317"/>
                  </a:lnTo>
                  <a:lnTo>
                    <a:pt x="25145" y="214377"/>
                  </a:lnTo>
                  <a:lnTo>
                    <a:pt x="20192" y="211836"/>
                  </a:lnTo>
                  <a:lnTo>
                    <a:pt x="15620" y="209169"/>
                  </a:lnTo>
                  <a:lnTo>
                    <a:pt x="11557" y="206249"/>
                  </a:lnTo>
                  <a:lnTo>
                    <a:pt x="8127" y="203074"/>
                  </a:lnTo>
                  <a:lnTo>
                    <a:pt x="5333" y="199899"/>
                  </a:lnTo>
                  <a:lnTo>
                    <a:pt x="3048" y="196469"/>
                  </a:lnTo>
                  <a:lnTo>
                    <a:pt x="1397" y="192914"/>
                  </a:lnTo>
                  <a:lnTo>
                    <a:pt x="380" y="189103"/>
                  </a:lnTo>
                  <a:lnTo>
                    <a:pt x="0" y="185166"/>
                  </a:lnTo>
                  <a:lnTo>
                    <a:pt x="380" y="181356"/>
                  </a:lnTo>
                  <a:lnTo>
                    <a:pt x="1397" y="177547"/>
                  </a:lnTo>
                  <a:lnTo>
                    <a:pt x="3048" y="173991"/>
                  </a:lnTo>
                  <a:lnTo>
                    <a:pt x="5333" y="170435"/>
                  </a:lnTo>
                  <a:lnTo>
                    <a:pt x="8127" y="167260"/>
                  </a:lnTo>
                  <a:lnTo>
                    <a:pt x="11557" y="164211"/>
                  </a:lnTo>
                  <a:lnTo>
                    <a:pt x="15620" y="161291"/>
                  </a:lnTo>
                  <a:lnTo>
                    <a:pt x="20192" y="158624"/>
                  </a:lnTo>
                  <a:lnTo>
                    <a:pt x="25145" y="156083"/>
                  </a:lnTo>
                  <a:lnTo>
                    <a:pt x="25145" y="78486"/>
                  </a:lnTo>
                  <a:lnTo>
                    <a:pt x="20192" y="75819"/>
                  </a:lnTo>
                  <a:lnTo>
                    <a:pt x="15620" y="73025"/>
                  </a:lnTo>
                  <a:lnTo>
                    <a:pt x="11557" y="70105"/>
                  </a:lnTo>
                  <a:lnTo>
                    <a:pt x="8127" y="66802"/>
                  </a:lnTo>
                  <a:lnTo>
                    <a:pt x="5333" y="63374"/>
                  </a:lnTo>
                  <a:lnTo>
                    <a:pt x="3048" y="59944"/>
                  </a:lnTo>
                  <a:lnTo>
                    <a:pt x="1397" y="56261"/>
                  </a:lnTo>
                  <a:lnTo>
                    <a:pt x="380" y="52325"/>
                  </a:lnTo>
                  <a:lnTo>
                    <a:pt x="0" y="48388"/>
                  </a:lnTo>
                  <a:lnTo>
                    <a:pt x="380" y="44450"/>
                  </a:lnTo>
                  <a:lnTo>
                    <a:pt x="1270" y="40641"/>
                  </a:lnTo>
                  <a:lnTo>
                    <a:pt x="3048" y="36958"/>
                  </a:lnTo>
                  <a:lnTo>
                    <a:pt x="5207" y="33528"/>
                  </a:lnTo>
                  <a:lnTo>
                    <a:pt x="7873" y="30100"/>
                  </a:lnTo>
                  <a:lnTo>
                    <a:pt x="11176" y="27052"/>
                  </a:lnTo>
                  <a:lnTo>
                    <a:pt x="15113" y="24003"/>
                  </a:lnTo>
                  <a:lnTo>
                    <a:pt x="19557" y="21210"/>
                  </a:lnTo>
                  <a:lnTo>
                    <a:pt x="24510" y="18542"/>
                  </a:lnTo>
                  <a:lnTo>
                    <a:pt x="29717" y="16130"/>
                  </a:lnTo>
                  <a:lnTo>
                    <a:pt x="35686" y="13970"/>
                  </a:lnTo>
                  <a:lnTo>
                    <a:pt x="41910" y="11811"/>
                  </a:lnTo>
                  <a:lnTo>
                    <a:pt x="48641" y="9906"/>
                  </a:lnTo>
                  <a:lnTo>
                    <a:pt x="57150" y="8002"/>
                  </a:lnTo>
                  <a:lnTo>
                    <a:pt x="66294" y="6224"/>
                  </a:lnTo>
                  <a:lnTo>
                    <a:pt x="76073" y="4700"/>
                  </a:lnTo>
                  <a:lnTo>
                    <a:pt x="86105" y="3175"/>
                  </a:lnTo>
                  <a:lnTo>
                    <a:pt x="96901" y="2160"/>
                  </a:lnTo>
                  <a:lnTo>
                    <a:pt x="107950" y="1144"/>
                  </a:lnTo>
                  <a:lnTo>
                    <a:pt x="119379" y="508"/>
                  </a:lnTo>
                  <a:lnTo>
                    <a:pt x="131191" y="127"/>
                  </a:lnTo>
                  <a:lnTo>
                    <a:pt x="143255" y="0"/>
                  </a:lnTo>
                  <a:close/>
                  <a:moveTo>
                    <a:pt x="-231648" y="1559052"/>
                  </a:moveTo>
                </a:path>
              </a:pathLst>
            </a:custGeom>
            <a:noFill/>
            <a:ln w="9525" cap="flat" cmpd="sng">
              <a:solidFill>
                <a:srgbClr val="A5A5B5">
                  <a:alpha val="4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533" name="Freeform 1533"/>
            <p:cNvSpPr/>
            <p:nvPr/>
          </p:nvSpPr>
          <p:spPr>
            <a:xfrm>
              <a:off x="1910212" y="4994860"/>
              <a:ext cx="646727" cy="216132"/>
            </a:xfrm>
            <a:custGeom>
              <a:avLst/>
              <a:gdLst/>
              <a:ahLst/>
              <a:cxnLst/>
              <a:rect l="0" t="0" r="0" b="0"/>
              <a:pathLst>
                <a:path w="553719" h="166242">
                  <a:moveTo>
                    <a:pt x="0" y="0"/>
                  </a:moveTo>
                  <a:lnTo>
                    <a:pt x="553719" y="0"/>
                  </a:lnTo>
                  <a:lnTo>
                    <a:pt x="553719" y="166242"/>
                  </a:lnTo>
                  <a:lnTo>
                    <a:pt x="551688" y="166242"/>
                  </a:lnTo>
                </a:path>
              </a:pathLst>
            </a:custGeom>
            <a:noFill/>
            <a:ln w="12700" cap="flat" cmpd="sng">
              <a:solidFill>
                <a:srgbClr val="D2D2DA">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534" name="Freeform 1534"/>
            <p:cNvSpPr/>
            <p:nvPr/>
          </p:nvSpPr>
          <p:spPr>
            <a:xfrm>
              <a:off x="1240019" y="4994859"/>
              <a:ext cx="669177" cy="230893"/>
            </a:xfrm>
            <a:custGeom>
              <a:avLst/>
              <a:gdLst/>
              <a:ahLst/>
              <a:cxnLst/>
              <a:rect l="0" t="0" r="0" b="0"/>
              <a:pathLst>
                <a:path w="550164" h="231013">
                  <a:moveTo>
                    <a:pt x="5588" y="231013"/>
                  </a:moveTo>
                  <a:lnTo>
                    <a:pt x="0" y="231013"/>
                  </a:lnTo>
                  <a:lnTo>
                    <a:pt x="0" y="0"/>
                  </a:lnTo>
                  <a:lnTo>
                    <a:pt x="550164" y="0"/>
                  </a:lnTo>
                </a:path>
              </a:pathLst>
            </a:custGeom>
            <a:noFill/>
            <a:ln w="12700" cap="flat" cmpd="sng">
              <a:solidFill>
                <a:srgbClr val="D2D2DA">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1535" name="Freeform 1535"/>
            <p:cNvSpPr/>
            <p:nvPr/>
          </p:nvSpPr>
          <p:spPr>
            <a:xfrm>
              <a:off x="1100919" y="5564537"/>
              <a:ext cx="112717" cy="109671"/>
            </a:xfrm>
            <a:custGeom>
              <a:avLst/>
              <a:gdLst/>
              <a:ahLst/>
              <a:cxnLst/>
              <a:rect l="0" t="0" r="0" b="0"/>
              <a:pathLst>
                <a:path w="112776" h="109728">
                  <a:moveTo>
                    <a:pt x="56389" y="109728"/>
                  </a:moveTo>
                  <a:lnTo>
                    <a:pt x="56389" y="109728"/>
                  </a:lnTo>
                  <a:lnTo>
                    <a:pt x="44197" y="108649"/>
                  </a:lnTo>
                  <a:lnTo>
                    <a:pt x="34290" y="105423"/>
                  </a:lnTo>
                  <a:lnTo>
                    <a:pt x="24384" y="100051"/>
                  </a:lnTo>
                  <a:lnTo>
                    <a:pt x="16587" y="93587"/>
                  </a:lnTo>
                  <a:lnTo>
                    <a:pt x="8840" y="84989"/>
                  </a:lnTo>
                  <a:lnTo>
                    <a:pt x="4420" y="75299"/>
                  </a:lnTo>
                  <a:lnTo>
                    <a:pt x="1105" y="65621"/>
                  </a:lnTo>
                  <a:lnTo>
                    <a:pt x="0" y="54864"/>
                  </a:lnTo>
                  <a:lnTo>
                    <a:pt x="1105" y="43028"/>
                  </a:lnTo>
                  <a:lnTo>
                    <a:pt x="4420" y="33351"/>
                  </a:lnTo>
                  <a:lnTo>
                    <a:pt x="8840" y="23661"/>
                  </a:lnTo>
                  <a:lnTo>
                    <a:pt x="16587" y="15114"/>
                  </a:lnTo>
                  <a:lnTo>
                    <a:pt x="24384" y="8636"/>
                  </a:lnTo>
                  <a:lnTo>
                    <a:pt x="34290" y="4319"/>
                  </a:lnTo>
                  <a:lnTo>
                    <a:pt x="44197" y="1016"/>
                  </a:lnTo>
                  <a:lnTo>
                    <a:pt x="56389" y="0"/>
                  </a:lnTo>
                  <a:lnTo>
                    <a:pt x="67437" y="1016"/>
                  </a:lnTo>
                  <a:lnTo>
                    <a:pt x="78486" y="4319"/>
                  </a:lnTo>
                  <a:lnTo>
                    <a:pt x="87376" y="8636"/>
                  </a:lnTo>
                  <a:lnTo>
                    <a:pt x="96139" y="15114"/>
                  </a:lnTo>
                  <a:lnTo>
                    <a:pt x="102870" y="23661"/>
                  </a:lnTo>
                  <a:lnTo>
                    <a:pt x="108331" y="33351"/>
                  </a:lnTo>
                  <a:lnTo>
                    <a:pt x="111634" y="43028"/>
                  </a:lnTo>
                  <a:lnTo>
                    <a:pt x="112776" y="54864"/>
                  </a:lnTo>
                  <a:lnTo>
                    <a:pt x="111634" y="65621"/>
                  </a:lnTo>
                  <a:lnTo>
                    <a:pt x="108331" y="75299"/>
                  </a:lnTo>
                  <a:lnTo>
                    <a:pt x="102870" y="84989"/>
                  </a:lnTo>
                  <a:lnTo>
                    <a:pt x="96139" y="93587"/>
                  </a:lnTo>
                  <a:lnTo>
                    <a:pt x="87376" y="100051"/>
                  </a:lnTo>
                  <a:lnTo>
                    <a:pt x="78486" y="105423"/>
                  </a:lnTo>
                  <a:lnTo>
                    <a:pt x="67437" y="108649"/>
                  </a:lnTo>
                  <a:lnTo>
                    <a:pt x="56389" y="109728"/>
                  </a:lnTo>
                  <a:close/>
                  <a:moveTo>
                    <a:pt x="-70103" y="1292352"/>
                  </a:moveTo>
                  <a:moveTo>
                    <a:pt x="56389" y="9652"/>
                  </a:moveTo>
                  <a:lnTo>
                    <a:pt x="56389" y="9652"/>
                  </a:lnTo>
                  <a:lnTo>
                    <a:pt x="46483" y="9652"/>
                  </a:lnTo>
                  <a:lnTo>
                    <a:pt x="37592" y="12955"/>
                  </a:lnTo>
                  <a:lnTo>
                    <a:pt x="29845" y="17272"/>
                  </a:lnTo>
                  <a:lnTo>
                    <a:pt x="23242" y="22594"/>
                  </a:lnTo>
                  <a:lnTo>
                    <a:pt x="17653" y="29045"/>
                  </a:lnTo>
                  <a:lnTo>
                    <a:pt x="13272" y="36577"/>
                  </a:lnTo>
                  <a:lnTo>
                    <a:pt x="9957" y="45187"/>
                  </a:lnTo>
                  <a:lnTo>
                    <a:pt x="9957" y="54864"/>
                  </a:lnTo>
                  <a:lnTo>
                    <a:pt x="9957" y="63475"/>
                  </a:lnTo>
                  <a:lnTo>
                    <a:pt x="13272" y="72073"/>
                  </a:lnTo>
                  <a:lnTo>
                    <a:pt x="17653" y="79604"/>
                  </a:lnTo>
                  <a:lnTo>
                    <a:pt x="23242" y="86056"/>
                  </a:lnTo>
                  <a:lnTo>
                    <a:pt x="29845" y="91441"/>
                  </a:lnTo>
                  <a:lnTo>
                    <a:pt x="37592" y="95746"/>
                  </a:lnTo>
                  <a:lnTo>
                    <a:pt x="46483" y="98972"/>
                  </a:lnTo>
                  <a:lnTo>
                    <a:pt x="56389" y="100051"/>
                  </a:lnTo>
                  <a:lnTo>
                    <a:pt x="65278" y="98972"/>
                  </a:lnTo>
                  <a:lnTo>
                    <a:pt x="74042" y="95746"/>
                  </a:lnTo>
                  <a:lnTo>
                    <a:pt x="81789" y="91441"/>
                  </a:lnTo>
                  <a:lnTo>
                    <a:pt x="88392" y="86056"/>
                  </a:lnTo>
                  <a:lnTo>
                    <a:pt x="95123" y="79604"/>
                  </a:lnTo>
                  <a:lnTo>
                    <a:pt x="98425" y="72073"/>
                  </a:lnTo>
                  <a:lnTo>
                    <a:pt x="101728" y="63475"/>
                  </a:lnTo>
                  <a:lnTo>
                    <a:pt x="102870" y="54864"/>
                  </a:lnTo>
                  <a:lnTo>
                    <a:pt x="101728" y="45187"/>
                  </a:lnTo>
                  <a:lnTo>
                    <a:pt x="98425" y="36577"/>
                  </a:lnTo>
                  <a:lnTo>
                    <a:pt x="95123" y="29045"/>
                  </a:lnTo>
                  <a:lnTo>
                    <a:pt x="88392" y="22594"/>
                  </a:lnTo>
                  <a:lnTo>
                    <a:pt x="81789" y="17272"/>
                  </a:lnTo>
                  <a:lnTo>
                    <a:pt x="74042" y="12955"/>
                  </a:lnTo>
                  <a:lnTo>
                    <a:pt x="65278" y="9652"/>
                  </a:lnTo>
                  <a:lnTo>
                    <a:pt x="56389" y="9652"/>
                  </a:lnTo>
                  <a:close/>
                  <a:moveTo>
                    <a:pt x="29973" y="1292352"/>
                  </a:moveTo>
                </a:path>
              </a:pathLst>
            </a:custGeom>
            <a:solidFill>
              <a:srgbClr val="A5A5B5">
                <a:alpha val="4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1536" name="Freeform 1536"/>
            <p:cNvSpPr/>
            <p:nvPr/>
          </p:nvSpPr>
          <p:spPr>
            <a:xfrm>
              <a:off x="1259333" y="5567584"/>
              <a:ext cx="109671" cy="109671"/>
            </a:xfrm>
            <a:custGeom>
              <a:avLst/>
              <a:gdLst/>
              <a:ahLst/>
              <a:cxnLst/>
              <a:rect l="0" t="0" r="0" b="0"/>
              <a:pathLst>
                <a:path w="109728" h="109728">
                  <a:moveTo>
                    <a:pt x="54864" y="109728"/>
                  </a:moveTo>
                  <a:lnTo>
                    <a:pt x="54864" y="109728"/>
                  </a:lnTo>
                  <a:lnTo>
                    <a:pt x="44068" y="108648"/>
                  </a:lnTo>
                  <a:lnTo>
                    <a:pt x="34417" y="105422"/>
                  </a:lnTo>
                  <a:lnTo>
                    <a:pt x="24764" y="100050"/>
                  </a:lnTo>
                  <a:lnTo>
                    <a:pt x="16128" y="93586"/>
                  </a:lnTo>
                  <a:lnTo>
                    <a:pt x="9651" y="84988"/>
                  </a:lnTo>
                  <a:lnTo>
                    <a:pt x="4317" y="75298"/>
                  </a:lnTo>
                  <a:lnTo>
                    <a:pt x="1015" y="65620"/>
                  </a:lnTo>
                  <a:lnTo>
                    <a:pt x="0" y="54864"/>
                  </a:lnTo>
                  <a:lnTo>
                    <a:pt x="1015" y="43027"/>
                  </a:lnTo>
                  <a:lnTo>
                    <a:pt x="4317" y="33350"/>
                  </a:lnTo>
                  <a:lnTo>
                    <a:pt x="9651" y="23672"/>
                  </a:lnTo>
                  <a:lnTo>
                    <a:pt x="16128" y="15112"/>
                  </a:lnTo>
                  <a:lnTo>
                    <a:pt x="24764" y="8636"/>
                  </a:lnTo>
                  <a:lnTo>
                    <a:pt x="34417" y="4317"/>
                  </a:lnTo>
                  <a:lnTo>
                    <a:pt x="44068" y="1015"/>
                  </a:lnTo>
                  <a:lnTo>
                    <a:pt x="54864" y="0"/>
                  </a:lnTo>
                  <a:lnTo>
                    <a:pt x="66675" y="1015"/>
                  </a:lnTo>
                  <a:lnTo>
                    <a:pt x="76326" y="4317"/>
                  </a:lnTo>
                  <a:lnTo>
                    <a:pt x="86106" y="8636"/>
                  </a:lnTo>
                  <a:lnTo>
                    <a:pt x="93598" y="15112"/>
                  </a:lnTo>
                  <a:lnTo>
                    <a:pt x="101092" y="23672"/>
                  </a:lnTo>
                  <a:lnTo>
                    <a:pt x="105409" y="33350"/>
                  </a:lnTo>
                  <a:lnTo>
                    <a:pt x="108712" y="43027"/>
                  </a:lnTo>
                  <a:lnTo>
                    <a:pt x="109728" y="54864"/>
                  </a:lnTo>
                  <a:lnTo>
                    <a:pt x="108712" y="65620"/>
                  </a:lnTo>
                  <a:lnTo>
                    <a:pt x="105409" y="75298"/>
                  </a:lnTo>
                  <a:lnTo>
                    <a:pt x="101092" y="84988"/>
                  </a:lnTo>
                  <a:lnTo>
                    <a:pt x="93598" y="93586"/>
                  </a:lnTo>
                  <a:lnTo>
                    <a:pt x="86106" y="100050"/>
                  </a:lnTo>
                  <a:lnTo>
                    <a:pt x="76326" y="105422"/>
                  </a:lnTo>
                  <a:lnTo>
                    <a:pt x="66675" y="108648"/>
                  </a:lnTo>
                  <a:lnTo>
                    <a:pt x="54864" y="109728"/>
                  </a:lnTo>
                  <a:close/>
                  <a:moveTo>
                    <a:pt x="-231649" y="1289303"/>
                  </a:moveTo>
                  <a:moveTo>
                    <a:pt x="54864" y="9651"/>
                  </a:moveTo>
                  <a:lnTo>
                    <a:pt x="54864" y="9651"/>
                  </a:lnTo>
                  <a:lnTo>
                    <a:pt x="46228" y="9651"/>
                  </a:lnTo>
                  <a:lnTo>
                    <a:pt x="37592" y="12953"/>
                  </a:lnTo>
                  <a:lnTo>
                    <a:pt x="30098" y="17271"/>
                  </a:lnTo>
                  <a:lnTo>
                    <a:pt x="23622" y="22593"/>
                  </a:lnTo>
                  <a:lnTo>
                    <a:pt x="18287" y="29044"/>
                  </a:lnTo>
                  <a:lnTo>
                    <a:pt x="13970" y="36576"/>
                  </a:lnTo>
                  <a:lnTo>
                    <a:pt x="10795" y="45186"/>
                  </a:lnTo>
                  <a:lnTo>
                    <a:pt x="9651" y="54864"/>
                  </a:lnTo>
                  <a:lnTo>
                    <a:pt x="10795" y="63474"/>
                  </a:lnTo>
                  <a:lnTo>
                    <a:pt x="13970" y="72072"/>
                  </a:lnTo>
                  <a:lnTo>
                    <a:pt x="18287" y="79603"/>
                  </a:lnTo>
                  <a:lnTo>
                    <a:pt x="23622" y="86055"/>
                  </a:lnTo>
                  <a:lnTo>
                    <a:pt x="30098" y="91440"/>
                  </a:lnTo>
                  <a:lnTo>
                    <a:pt x="37592" y="95745"/>
                  </a:lnTo>
                  <a:lnTo>
                    <a:pt x="46228" y="98971"/>
                  </a:lnTo>
                  <a:lnTo>
                    <a:pt x="54864" y="100050"/>
                  </a:lnTo>
                  <a:lnTo>
                    <a:pt x="64515" y="98971"/>
                  </a:lnTo>
                  <a:lnTo>
                    <a:pt x="73151" y="95745"/>
                  </a:lnTo>
                  <a:lnTo>
                    <a:pt x="80645" y="91440"/>
                  </a:lnTo>
                  <a:lnTo>
                    <a:pt x="87122" y="86055"/>
                  </a:lnTo>
                  <a:lnTo>
                    <a:pt x="92456" y="79603"/>
                  </a:lnTo>
                  <a:lnTo>
                    <a:pt x="96773" y="72072"/>
                  </a:lnTo>
                  <a:lnTo>
                    <a:pt x="100076" y="63474"/>
                  </a:lnTo>
                  <a:lnTo>
                    <a:pt x="100076" y="54864"/>
                  </a:lnTo>
                  <a:lnTo>
                    <a:pt x="100076" y="45186"/>
                  </a:lnTo>
                  <a:lnTo>
                    <a:pt x="96773" y="36576"/>
                  </a:lnTo>
                  <a:lnTo>
                    <a:pt x="92456" y="29044"/>
                  </a:lnTo>
                  <a:lnTo>
                    <a:pt x="87122" y="22593"/>
                  </a:lnTo>
                  <a:lnTo>
                    <a:pt x="80645" y="17271"/>
                  </a:lnTo>
                  <a:lnTo>
                    <a:pt x="73151" y="12953"/>
                  </a:lnTo>
                  <a:lnTo>
                    <a:pt x="64515" y="9651"/>
                  </a:lnTo>
                  <a:lnTo>
                    <a:pt x="54864" y="9651"/>
                  </a:lnTo>
                  <a:close/>
                  <a:moveTo>
                    <a:pt x="-131572" y="1289303"/>
                  </a:moveTo>
                </a:path>
              </a:pathLst>
            </a:custGeom>
            <a:solidFill>
              <a:srgbClr val="A5A5B5">
                <a:alpha val="4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1537" name="Freeform 1537"/>
            <p:cNvSpPr/>
            <p:nvPr/>
          </p:nvSpPr>
          <p:spPr>
            <a:xfrm>
              <a:off x="1033899" y="5424401"/>
              <a:ext cx="435637" cy="191924"/>
            </a:xfrm>
            <a:custGeom>
              <a:avLst/>
              <a:gdLst/>
              <a:ahLst/>
              <a:cxnLst/>
              <a:rect l="0" t="0" r="0" b="0"/>
              <a:pathLst>
                <a:path w="435864" h="192024">
                  <a:moveTo>
                    <a:pt x="371094" y="192024"/>
                  </a:moveTo>
                  <a:lnTo>
                    <a:pt x="339852" y="192024"/>
                  </a:lnTo>
                  <a:lnTo>
                    <a:pt x="338708" y="187681"/>
                  </a:lnTo>
                  <a:lnTo>
                    <a:pt x="336550" y="177915"/>
                  </a:lnTo>
                  <a:lnTo>
                    <a:pt x="332231" y="169241"/>
                  </a:lnTo>
                  <a:lnTo>
                    <a:pt x="325881" y="160528"/>
                  </a:lnTo>
                  <a:lnTo>
                    <a:pt x="319405" y="152908"/>
                  </a:lnTo>
                  <a:lnTo>
                    <a:pt x="310769" y="147574"/>
                  </a:lnTo>
                  <a:lnTo>
                    <a:pt x="302133" y="143257"/>
                  </a:lnTo>
                  <a:lnTo>
                    <a:pt x="292353" y="141097"/>
                  </a:lnTo>
                  <a:lnTo>
                    <a:pt x="281558" y="139955"/>
                  </a:lnTo>
                  <a:lnTo>
                    <a:pt x="270764" y="141097"/>
                  </a:lnTo>
                  <a:lnTo>
                    <a:pt x="261111" y="143257"/>
                  </a:lnTo>
                  <a:lnTo>
                    <a:pt x="251333" y="147574"/>
                  </a:lnTo>
                  <a:lnTo>
                    <a:pt x="243839" y="152908"/>
                  </a:lnTo>
                  <a:lnTo>
                    <a:pt x="236219" y="160528"/>
                  </a:lnTo>
                  <a:lnTo>
                    <a:pt x="230886" y="169241"/>
                  </a:lnTo>
                  <a:lnTo>
                    <a:pt x="226567" y="177915"/>
                  </a:lnTo>
                  <a:lnTo>
                    <a:pt x="223266" y="187681"/>
                  </a:lnTo>
                  <a:lnTo>
                    <a:pt x="223266" y="192024"/>
                  </a:lnTo>
                  <a:lnTo>
                    <a:pt x="182372" y="192024"/>
                  </a:lnTo>
                  <a:lnTo>
                    <a:pt x="182372" y="187681"/>
                  </a:lnTo>
                  <a:lnTo>
                    <a:pt x="179069" y="177915"/>
                  </a:lnTo>
                  <a:lnTo>
                    <a:pt x="174752" y="168161"/>
                  </a:lnTo>
                  <a:lnTo>
                    <a:pt x="169417" y="159513"/>
                  </a:lnTo>
                  <a:lnTo>
                    <a:pt x="161797" y="151893"/>
                  </a:lnTo>
                  <a:lnTo>
                    <a:pt x="154305" y="146432"/>
                  </a:lnTo>
                  <a:lnTo>
                    <a:pt x="144525" y="141097"/>
                  </a:lnTo>
                  <a:lnTo>
                    <a:pt x="134874" y="138811"/>
                  </a:lnTo>
                  <a:lnTo>
                    <a:pt x="124078" y="137796"/>
                  </a:lnTo>
                  <a:lnTo>
                    <a:pt x="113283" y="138811"/>
                  </a:lnTo>
                  <a:lnTo>
                    <a:pt x="103631" y="141097"/>
                  </a:lnTo>
                  <a:lnTo>
                    <a:pt x="93853" y="145416"/>
                  </a:lnTo>
                  <a:lnTo>
                    <a:pt x="86360" y="151893"/>
                  </a:lnTo>
                  <a:lnTo>
                    <a:pt x="78752" y="159513"/>
                  </a:lnTo>
                  <a:lnTo>
                    <a:pt x="73367" y="168161"/>
                  </a:lnTo>
                  <a:lnTo>
                    <a:pt x="69049" y="177915"/>
                  </a:lnTo>
                  <a:lnTo>
                    <a:pt x="65811" y="187681"/>
                  </a:lnTo>
                  <a:lnTo>
                    <a:pt x="65811" y="192024"/>
                  </a:lnTo>
                  <a:lnTo>
                    <a:pt x="37757" y="192024"/>
                  </a:lnTo>
                  <a:lnTo>
                    <a:pt x="7556" y="40133"/>
                  </a:lnTo>
                  <a:lnTo>
                    <a:pt x="0" y="40133"/>
                  </a:lnTo>
                  <a:lnTo>
                    <a:pt x="0" y="0"/>
                  </a:lnTo>
                  <a:lnTo>
                    <a:pt x="408939" y="0"/>
                  </a:lnTo>
                  <a:lnTo>
                    <a:pt x="408939" y="40133"/>
                  </a:lnTo>
                  <a:lnTo>
                    <a:pt x="401319" y="40133"/>
                  </a:lnTo>
                  <a:lnTo>
                    <a:pt x="397002" y="60707"/>
                  </a:lnTo>
                  <a:lnTo>
                    <a:pt x="407797" y="60707"/>
                  </a:lnTo>
                  <a:lnTo>
                    <a:pt x="407797" y="43435"/>
                  </a:lnTo>
                  <a:lnTo>
                    <a:pt x="435864" y="43435"/>
                  </a:lnTo>
                  <a:lnTo>
                    <a:pt x="435864" y="105283"/>
                  </a:lnTo>
                  <a:lnTo>
                    <a:pt x="407797" y="105283"/>
                  </a:lnTo>
                  <a:lnTo>
                    <a:pt x="407797" y="87885"/>
                  </a:lnTo>
                  <a:lnTo>
                    <a:pt x="391667" y="87885"/>
                  </a:lnTo>
                  <a:lnTo>
                    <a:pt x="371094" y="192024"/>
                  </a:lnTo>
                  <a:close/>
                  <a:moveTo>
                    <a:pt x="54864" y="1432560"/>
                  </a:moveTo>
                  <a:moveTo>
                    <a:pt x="347344" y="182258"/>
                  </a:moveTo>
                  <a:lnTo>
                    <a:pt x="363600" y="182258"/>
                  </a:lnTo>
                  <a:lnTo>
                    <a:pt x="384047" y="78105"/>
                  </a:lnTo>
                  <a:lnTo>
                    <a:pt x="417575" y="78105"/>
                  </a:lnTo>
                  <a:lnTo>
                    <a:pt x="417575" y="95505"/>
                  </a:lnTo>
                  <a:lnTo>
                    <a:pt x="426211" y="95505"/>
                  </a:lnTo>
                  <a:lnTo>
                    <a:pt x="426211" y="53213"/>
                  </a:lnTo>
                  <a:lnTo>
                    <a:pt x="417575" y="53213"/>
                  </a:lnTo>
                  <a:lnTo>
                    <a:pt x="417575" y="70485"/>
                  </a:lnTo>
                  <a:lnTo>
                    <a:pt x="385191" y="70485"/>
                  </a:lnTo>
                  <a:lnTo>
                    <a:pt x="392683" y="30353"/>
                  </a:lnTo>
                  <a:lnTo>
                    <a:pt x="399161" y="30353"/>
                  </a:lnTo>
                  <a:lnTo>
                    <a:pt x="399161" y="9780"/>
                  </a:lnTo>
                  <a:lnTo>
                    <a:pt x="9715" y="9780"/>
                  </a:lnTo>
                  <a:lnTo>
                    <a:pt x="9715" y="30353"/>
                  </a:lnTo>
                  <a:lnTo>
                    <a:pt x="16179" y="30353"/>
                  </a:lnTo>
                  <a:lnTo>
                    <a:pt x="45313" y="182258"/>
                  </a:lnTo>
                  <a:lnTo>
                    <a:pt x="57175" y="182258"/>
                  </a:lnTo>
                  <a:lnTo>
                    <a:pt x="60413" y="170333"/>
                  </a:lnTo>
                  <a:lnTo>
                    <a:pt x="65811" y="160528"/>
                  </a:lnTo>
                  <a:lnTo>
                    <a:pt x="73367" y="150749"/>
                  </a:lnTo>
                  <a:lnTo>
                    <a:pt x="80911" y="143257"/>
                  </a:lnTo>
                  <a:lnTo>
                    <a:pt x="90678" y="136652"/>
                  </a:lnTo>
                  <a:lnTo>
                    <a:pt x="101472" y="132335"/>
                  </a:lnTo>
                  <a:lnTo>
                    <a:pt x="112141" y="129160"/>
                  </a:lnTo>
                  <a:lnTo>
                    <a:pt x="124078" y="128016"/>
                  </a:lnTo>
                  <a:lnTo>
                    <a:pt x="135889" y="129160"/>
                  </a:lnTo>
                  <a:lnTo>
                    <a:pt x="146685" y="132335"/>
                  </a:lnTo>
                  <a:lnTo>
                    <a:pt x="157480" y="136652"/>
                  </a:lnTo>
                  <a:lnTo>
                    <a:pt x="167258" y="143257"/>
                  </a:lnTo>
                  <a:lnTo>
                    <a:pt x="174752" y="150749"/>
                  </a:lnTo>
                  <a:lnTo>
                    <a:pt x="182372" y="160528"/>
                  </a:lnTo>
                  <a:lnTo>
                    <a:pt x="187705" y="171412"/>
                  </a:lnTo>
                  <a:lnTo>
                    <a:pt x="191008" y="182258"/>
                  </a:lnTo>
                  <a:lnTo>
                    <a:pt x="214756" y="182258"/>
                  </a:lnTo>
                  <a:lnTo>
                    <a:pt x="218947" y="171412"/>
                  </a:lnTo>
                  <a:lnTo>
                    <a:pt x="224408" y="161672"/>
                  </a:lnTo>
                  <a:lnTo>
                    <a:pt x="230886" y="151893"/>
                  </a:lnTo>
                  <a:lnTo>
                    <a:pt x="238378" y="144272"/>
                  </a:lnTo>
                  <a:lnTo>
                    <a:pt x="248158" y="138811"/>
                  </a:lnTo>
                  <a:lnTo>
                    <a:pt x="258953" y="133477"/>
                  </a:lnTo>
                  <a:lnTo>
                    <a:pt x="269747" y="131319"/>
                  </a:lnTo>
                  <a:lnTo>
                    <a:pt x="281558" y="130175"/>
                  </a:lnTo>
                  <a:lnTo>
                    <a:pt x="293497" y="131319"/>
                  </a:lnTo>
                  <a:lnTo>
                    <a:pt x="304291" y="133477"/>
                  </a:lnTo>
                  <a:lnTo>
                    <a:pt x="315086" y="138811"/>
                  </a:lnTo>
                  <a:lnTo>
                    <a:pt x="323722" y="144272"/>
                  </a:lnTo>
                  <a:lnTo>
                    <a:pt x="332231" y="151893"/>
                  </a:lnTo>
                  <a:lnTo>
                    <a:pt x="338708" y="161672"/>
                  </a:lnTo>
                  <a:lnTo>
                    <a:pt x="344169" y="171412"/>
                  </a:lnTo>
                  <a:lnTo>
                    <a:pt x="347344" y="182258"/>
                  </a:lnTo>
                  <a:close/>
                  <a:moveTo>
                    <a:pt x="64630" y="1432560"/>
                  </a:moveTo>
                </a:path>
              </a:pathLst>
            </a:custGeom>
            <a:solidFill>
              <a:srgbClr val="A5A5B5">
                <a:alpha val="4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1538" name="Freeform 1538"/>
            <p:cNvSpPr/>
            <p:nvPr/>
          </p:nvSpPr>
          <p:spPr>
            <a:xfrm>
              <a:off x="1036944" y="5284267"/>
              <a:ext cx="405173" cy="134042"/>
            </a:xfrm>
            <a:custGeom>
              <a:avLst/>
              <a:gdLst/>
              <a:ahLst/>
              <a:cxnLst/>
              <a:rect l="0" t="0" r="0" b="0"/>
              <a:pathLst>
                <a:path w="405384" h="134112">
                  <a:moveTo>
                    <a:pt x="405384" y="134112"/>
                  </a:moveTo>
                  <a:lnTo>
                    <a:pt x="0" y="134112"/>
                  </a:lnTo>
                  <a:lnTo>
                    <a:pt x="103759" y="7746"/>
                  </a:lnTo>
                  <a:lnTo>
                    <a:pt x="107061" y="4445"/>
                  </a:lnTo>
                  <a:lnTo>
                    <a:pt x="110236" y="2159"/>
                  </a:lnTo>
                  <a:lnTo>
                    <a:pt x="113539" y="1142"/>
                  </a:lnTo>
                  <a:lnTo>
                    <a:pt x="117856" y="0"/>
                  </a:lnTo>
                  <a:lnTo>
                    <a:pt x="122175" y="0"/>
                  </a:lnTo>
                  <a:lnTo>
                    <a:pt x="125350" y="1142"/>
                  </a:lnTo>
                  <a:lnTo>
                    <a:pt x="129667" y="2159"/>
                  </a:lnTo>
                  <a:lnTo>
                    <a:pt x="132969" y="4445"/>
                  </a:lnTo>
                  <a:lnTo>
                    <a:pt x="173991" y="40640"/>
                  </a:lnTo>
                  <a:lnTo>
                    <a:pt x="213995" y="12065"/>
                  </a:lnTo>
                  <a:lnTo>
                    <a:pt x="220472" y="8762"/>
                  </a:lnTo>
                  <a:lnTo>
                    <a:pt x="227077" y="7746"/>
                  </a:lnTo>
                  <a:lnTo>
                    <a:pt x="233553" y="8762"/>
                  </a:lnTo>
                  <a:lnTo>
                    <a:pt x="238888" y="13207"/>
                  </a:lnTo>
                  <a:lnTo>
                    <a:pt x="289688" y="58292"/>
                  </a:lnTo>
                  <a:lnTo>
                    <a:pt x="308103" y="48387"/>
                  </a:lnTo>
                  <a:lnTo>
                    <a:pt x="314580" y="46228"/>
                  </a:lnTo>
                  <a:lnTo>
                    <a:pt x="321056" y="47243"/>
                  </a:lnTo>
                  <a:lnTo>
                    <a:pt x="326517" y="49529"/>
                  </a:lnTo>
                  <a:lnTo>
                    <a:pt x="331852" y="52704"/>
                  </a:lnTo>
                  <a:lnTo>
                    <a:pt x="405384" y="134112"/>
                  </a:lnTo>
                  <a:close/>
                  <a:moveTo>
                    <a:pt x="249936" y="1572767"/>
                  </a:moveTo>
                  <a:moveTo>
                    <a:pt x="20536" y="124206"/>
                  </a:moveTo>
                  <a:lnTo>
                    <a:pt x="382652" y="124206"/>
                  </a:lnTo>
                  <a:lnTo>
                    <a:pt x="325375" y="59309"/>
                  </a:lnTo>
                  <a:lnTo>
                    <a:pt x="322200" y="57150"/>
                  </a:lnTo>
                  <a:lnTo>
                    <a:pt x="318897" y="56006"/>
                  </a:lnTo>
                  <a:lnTo>
                    <a:pt x="315722" y="56006"/>
                  </a:lnTo>
                  <a:lnTo>
                    <a:pt x="312420" y="57150"/>
                  </a:lnTo>
                  <a:lnTo>
                    <a:pt x="288672" y="69215"/>
                  </a:lnTo>
                  <a:lnTo>
                    <a:pt x="232411" y="19812"/>
                  </a:lnTo>
                  <a:lnTo>
                    <a:pt x="230252" y="18668"/>
                  </a:lnTo>
                  <a:lnTo>
                    <a:pt x="227077" y="17526"/>
                  </a:lnTo>
                  <a:lnTo>
                    <a:pt x="222631" y="17526"/>
                  </a:lnTo>
                  <a:lnTo>
                    <a:pt x="220472" y="19812"/>
                  </a:lnTo>
                  <a:lnTo>
                    <a:pt x="172975" y="53848"/>
                  </a:lnTo>
                  <a:lnTo>
                    <a:pt x="126492" y="12065"/>
                  </a:lnTo>
                  <a:lnTo>
                    <a:pt x="123191" y="9906"/>
                  </a:lnTo>
                  <a:lnTo>
                    <a:pt x="118872" y="9906"/>
                  </a:lnTo>
                  <a:lnTo>
                    <a:pt x="114555" y="11048"/>
                  </a:lnTo>
                  <a:lnTo>
                    <a:pt x="111380" y="13207"/>
                  </a:lnTo>
                  <a:lnTo>
                    <a:pt x="20536" y="124206"/>
                  </a:lnTo>
                  <a:close/>
                  <a:moveTo>
                    <a:pt x="259842" y="1572767"/>
                  </a:moveTo>
                </a:path>
              </a:pathLst>
            </a:custGeom>
            <a:solidFill>
              <a:srgbClr val="A5A5B5">
                <a:alpha val="4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1539" name="Freeform 1539"/>
            <p:cNvSpPr/>
            <p:nvPr/>
          </p:nvSpPr>
          <p:spPr>
            <a:xfrm>
              <a:off x="1923199" y="4991327"/>
              <a:ext cx="45719" cy="240374"/>
            </a:xfrm>
            <a:custGeom>
              <a:avLst/>
              <a:gdLst/>
              <a:ahLst/>
              <a:cxnLst/>
              <a:rect l="0" t="0" r="0" b="0"/>
              <a:pathLst>
                <a:path h="279274">
                  <a:moveTo>
                    <a:pt x="0" y="279274"/>
                  </a:moveTo>
                  <a:lnTo>
                    <a:pt x="0" y="0"/>
                  </a:lnTo>
                </a:path>
              </a:pathLst>
            </a:custGeom>
            <a:noFill/>
            <a:ln w="12700" cap="flat" cmpd="sng">
              <a:solidFill>
                <a:srgbClr val="D2D2DA">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pic>
          <p:nvPicPr>
            <p:cNvPr id="1540" name="Picture 1540"/>
            <p:cNvPicPr>
              <a:picLocks noChangeArrowheads="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1708289" y="5293933"/>
              <a:ext cx="384472" cy="384472"/>
            </a:xfrm>
            <a:prstGeom prst="rect">
              <a:avLst/>
            </a:prstGeom>
            <a:noFill/>
          </p:spPr>
        </p:pic>
        <p:sp>
          <p:nvSpPr>
            <p:cNvPr id="1548" name="Rectangle 1548"/>
            <p:cNvSpPr/>
            <p:nvPr/>
          </p:nvSpPr>
          <p:spPr>
            <a:xfrm>
              <a:off x="1774190" y="4230382"/>
              <a:ext cx="413575" cy="15478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Biogas</a:t>
              </a:r>
            </a:p>
          </p:txBody>
        </p:sp>
        <p:sp>
          <p:nvSpPr>
            <p:cNvPr id="1557" name="Rectangle 1557"/>
            <p:cNvSpPr/>
            <p:nvPr/>
          </p:nvSpPr>
          <p:spPr>
            <a:xfrm>
              <a:off x="833395" y="4827109"/>
              <a:ext cx="524182" cy="15478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Biomass</a:t>
              </a:r>
            </a:p>
          </p:txBody>
        </p:sp>
        <p:sp>
          <p:nvSpPr>
            <p:cNvPr id="1558" name="Rectangle 1558"/>
            <p:cNvSpPr/>
            <p:nvPr/>
          </p:nvSpPr>
          <p:spPr>
            <a:xfrm>
              <a:off x="1543449" y="5687112"/>
              <a:ext cx="726802" cy="15478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188CE5"/>
                  </a:solidFill>
                  <a:effectLst/>
                  <a:uLnTx/>
                  <a:uFillTx/>
                  <a:latin typeface="EYInterstate-LightBold"/>
                  <a:ea typeface="+mn-ea"/>
                  <a:cs typeface="+mn-cs"/>
                </a:rPr>
                <a:t>Natural</a:t>
              </a:r>
              <a:r>
                <a:rPr kumimoji="0" lang="en-US" sz="1005" b="1" i="0" u="none" strike="noStrike" kern="1200" cap="none" spc="-33" normalizeH="0" baseline="0" noProof="0" dirty="0">
                  <a:ln>
                    <a:noFill/>
                  </a:ln>
                  <a:solidFill>
                    <a:srgbClr val="188CE5"/>
                  </a:solidFill>
                  <a:effectLst/>
                  <a:uLnTx/>
                  <a:uFillTx/>
                  <a:latin typeface="EYInterstate-LightBold"/>
                  <a:ea typeface="+mn-ea"/>
                  <a:cs typeface="+mn-cs"/>
                </a:rPr>
                <a:t> </a:t>
              </a:r>
              <a:r>
                <a:rPr kumimoji="0" lang="en-US" sz="1005" b="1" i="0" u="none" strike="noStrike" kern="1200" cap="none" spc="-12" normalizeH="0" baseline="0" noProof="0" dirty="0">
                  <a:ln>
                    <a:noFill/>
                  </a:ln>
                  <a:solidFill>
                    <a:srgbClr val="188CE5"/>
                  </a:solidFill>
                  <a:effectLst/>
                  <a:uLnTx/>
                  <a:uFillTx/>
                  <a:latin typeface="EYInterstate-LightBold"/>
                  <a:ea typeface="+mn-ea"/>
                  <a:cs typeface="+mn-cs"/>
                </a:rPr>
                <a:t>G</a:t>
              </a:r>
              <a:r>
                <a:rPr kumimoji="0" lang="en-US" sz="1005" b="1" i="0" u="none" strike="noStrike" kern="1200" cap="none" spc="0" normalizeH="0" baseline="0" noProof="0" dirty="0">
                  <a:ln>
                    <a:noFill/>
                  </a:ln>
                  <a:solidFill>
                    <a:srgbClr val="188CE5"/>
                  </a:solidFill>
                  <a:effectLst/>
                  <a:uLnTx/>
                  <a:uFillTx/>
                  <a:latin typeface="EYInterstate-LightBold"/>
                  <a:ea typeface="+mn-ea"/>
                  <a:cs typeface="+mn-cs"/>
                </a:rPr>
                <a:t>as</a:t>
              </a:r>
            </a:p>
          </p:txBody>
        </p:sp>
        <p:sp>
          <p:nvSpPr>
            <p:cNvPr id="1594" name="Rectangle 1594"/>
            <p:cNvSpPr/>
            <p:nvPr/>
          </p:nvSpPr>
          <p:spPr>
            <a:xfrm>
              <a:off x="2462093" y="5688330"/>
              <a:ext cx="166712" cy="15478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Oil</a:t>
              </a:r>
            </a:p>
          </p:txBody>
        </p:sp>
        <p:sp>
          <p:nvSpPr>
            <p:cNvPr id="1597" name="Rectangle 1597"/>
            <p:cNvSpPr/>
            <p:nvPr/>
          </p:nvSpPr>
          <p:spPr>
            <a:xfrm>
              <a:off x="1107316" y="5688330"/>
              <a:ext cx="267702" cy="15478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Coal</a:t>
              </a:r>
            </a:p>
          </p:txBody>
        </p:sp>
        <p:grpSp>
          <p:nvGrpSpPr>
            <p:cNvPr id="15" name="Group 14">
              <a:extLst>
                <a:ext uri="{FF2B5EF4-FFF2-40B4-BE49-F238E27FC236}">
                  <a16:creationId xmlns:a16="http://schemas.microsoft.com/office/drawing/2014/main" id="{275BBAC7-57AC-4B7B-9D47-43B68EA91D94}"/>
                </a:ext>
              </a:extLst>
            </p:cNvPr>
            <p:cNvGrpSpPr/>
            <p:nvPr/>
          </p:nvGrpSpPr>
          <p:grpSpPr>
            <a:xfrm>
              <a:off x="925947" y="3322574"/>
              <a:ext cx="396034" cy="511287"/>
              <a:chOff x="862263" y="3176052"/>
              <a:chExt cx="396034" cy="511287"/>
            </a:xfrm>
          </p:grpSpPr>
          <p:sp>
            <p:nvSpPr>
              <p:cNvPr id="1328" name="Freeform 1328"/>
              <p:cNvSpPr/>
              <p:nvPr/>
            </p:nvSpPr>
            <p:spPr>
              <a:xfrm>
                <a:off x="862263" y="3511254"/>
                <a:ext cx="396034" cy="6093"/>
              </a:xfrm>
              <a:custGeom>
                <a:avLst/>
                <a:gdLst/>
                <a:ahLst/>
                <a:cxnLst/>
                <a:rect l="0" t="0" r="0" b="0"/>
                <a:pathLst>
                  <a:path w="396240" h="6096">
                    <a:moveTo>
                      <a:pt x="0" y="6096"/>
                    </a:moveTo>
                    <a:lnTo>
                      <a:pt x="396240" y="6096"/>
                    </a:lnTo>
                    <a:lnTo>
                      <a:pt x="396240" y="0"/>
                    </a:lnTo>
                    <a:lnTo>
                      <a:pt x="0" y="0"/>
                    </a:lnTo>
                    <a:lnTo>
                      <a:pt x="0" y="6096"/>
                    </a:lnTo>
                    <a:close/>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29" name="Freeform 1329"/>
              <p:cNvSpPr/>
              <p:nvPr/>
            </p:nvSpPr>
            <p:spPr>
              <a:xfrm>
                <a:off x="892729" y="3337609"/>
                <a:ext cx="24371" cy="164506"/>
              </a:xfrm>
              <a:custGeom>
                <a:avLst/>
                <a:gdLst/>
                <a:ahLst/>
                <a:cxnLst/>
                <a:rect l="0" t="0" r="0" b="0"/>
                <a:pathLst>
                  <a:path w="24384" h="164592">
                    <a:moveTo>
                      <a:pt x="0" y="164592"/>
                    </a:moveTo>
                    <a:lnTo>
                      <a:pt x="24384" y="164592"/>
                    </a:lnTo>
                    <a:lnTo>
                      <a:pt x="24384" y="0"/>
                    </a:lnTo>
                    <a:lnTo>
                      <a:pt x="0" y="0"/>
                    </a:lnTo>
                    <a:lnTo>
                      <a:pt x="0" y="164592"/>
                    </a:lnTo>
                    <a:close/>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30" name="Freeform 1330"/>
              <p:cNvSpPr/>
              <p:nvPr/>
            </p:nvSpPr>
            <p:spPr>
              <a:xfrm>
                <a:off x="1209556" y="3337609"/>
                <a:ext cx="21325" cy="164506"/>
              </a:xfrm>
              <a:custGeom>
                <a:avLst/>
                <a:gdLst/>
                <a:ahLst/>
                <a:cxnLst/>
                <a:rect l="0" t="0" r="0" b="0"/>
                <a:pathLst>
                  <a:path w="21336" h="164592">
                    <a:moveTo>
                      <a:pt x="0" y="164592"/>
                    </a:moveTo>
                    <a:lnTo>
                      <a:pt x="21336" y="164592"/>
                    </a:lnTo>
                    <a:lnTo>
                      <a:pt x="21336" y="0"/>
                    </a:lnTo>
                    <a:lnTo>
                      <a:pt x="0" y="0"/>
                    </a:lnTo>
                    <a:lnTo>
                      <a:pt x="0" y="164592"/>
                    </a:lnTo>
                    <a:close/>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31" name="Freeform 1331"/>
              <p:cNvSpPr/>
              <p:nvPr/>
            </p:nvSpPr>
            <p:spPr>
              <a:xfrm>
                <a:off x="892728" y="3288866"/>
                <a:ext cx="338152" cy="42651"/>
              </a:xfrm>
              <a:custGeom>
                <a:avLst/>
                <a:gdLst/>
                <a:ahLst/>
                <a:cxnLst/>
                <a:rect l="0" t="0" r="0" b="0"/>
                <a:pathLst>
                  <a:path w="338328" h="42673">
                    <a:moveTo>
                      <a:pt x="0" y="0"/>
                    </a:moveTo>
                    <a:lnTo>
                      <a:pt x="0" y="42673"/>
                    </a:lnTo>
                    <a:lnTo>
                      <a:pt x="22237" y="42673"/>
                    </a:lnTo>
                    <a:lnTo>
                      <a:pt x="315988" y="42673"/>
                    </a:lnTo>
                    <a:lnTo>
                      <a:pt x="338328" y="42673"/>
                    </a:lnTo>
                    <a:lnTo>
                      <a:pt x="338328" y="0"/>
                    </a:lnTo>
                    <a:lnTo>
                      <a:pt x="0" y="0"/>
                    </a:lnTo>
                    <a:close/>
                    <a:moveTo>
                      <a:pt x="2679192" y="3569208"/>
                    </a:moveTo>
                    <a:moveTo>
                      <a:pt x="315988" y="34544"/>
                    </a:moveTo>
                    <a:lnTo>
                      <a:pt x="22237" y="34544"/>
                    </a:lnTo>
                    <a:lnTo>
                      <a:pt x="22237" y="16130"/>
                    </a:lnTo>
                    <a:lnTo>
                      <a:pt x="315988" y="16130"/>
                    </a:lnTo>
                    <a:lnTo>
                      <a:pt x="315988" y="34544"/>
                    </a:lnTo>
                    <a:close/>
                    <a:moveTo>
                      <a:pt x="2644648" y="3569208"/>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32" name="Freeform 1332"/>
              <p:cNvSpPr/>
              <p:nvPr/>
            </p:nvSpPr>
            <p:spPr>
              <a:xfrm>
                <a:off x="1026770" y="3355886"/>
                <a:ext cx="21325" cy="45696"/>
              </a:xfrm>
              <a:custGeom>
                <a:avLst/>
                <a:gdLst/>
                <a:ahLst/>
                <a:cxnLst/>
                <a:rect l="0" t="0" r="0" b="0"/>
                <a:pathLst>
                  <a:path w="21336" h="45720">
                    <a:moveTo>
                      <a:pt x="3556" y="45720"/>
                    </a:moveTo>
                    <a:lnTo>
                      <a:pt x="3556" y="45720"/>
                    </a:lnTo>
                    <a:lnTo>
                      <a:pt x="4573" y="45086"/>
                    </a:lnTo>
                    <a:lnTo>
                      <a:pt x="7417" y="43688"/>
                    </a:lnTo>
                    <a:lnTo>
                      <a:pt x="9348" y="42545"/>
                    </a:lnTo>
                    <a:lnTo>
                      <a:pt x="11278" y="41402"/>
                    </a:lnTo>
                    <a:lnTo>
                      <a:pt x="13310" y="39879"/>
                    </a:lnTo>
                    <a:lnTo>
                      <a:pt x="15342" y="38355"/>
                    </a:lnTo>
                    <a:lnTo>
                      <a:pt x="17273" y="36704"/>
                    </a:lnTo>
                    <a:lnTo>
                      <a:pt x="18898" y="34925"/>
                    </a:lnTo>
                    <a:lnTo>
                      <a:pt x="19609" y="34037"/>
                    </a:lnTo>
                    <a:lnTo>
                      <a:pt x="20117" y="33148"/>
                    </a:lnTo>
                    <a:lnTo>
                      <a:pt x="20625" y="32005"/>
                    </a:lnTo>
                    <a:lnTo>
                      <a:pt x="21032" y="31116"/>
                    </a:lnTo>
                    <a:lnTo>
                      <a:pt x="21336" y="30099"/>
                    </a:lnTo>
                    <a:lnTo>
                      <a:pt x="21336" y="29083"/>
                    </a:lnTo>
                    <a:lnTo>
                      <a:pt x="21336" y="28068"/>
                    </a:lnTo>
                    <a:lnTo>
                      <a:pt x="21235" y="27051"/>
                    </a:lnTo>
                    <a:lnTo>
                      <a:pt x="20828" y="26036"/>
                    </a:lnTo>
                    <a:lnTo>
                      <a:pt x="20117" y="25019"/>
                    </a:lnTo>
                    <a:lnTo>
                      <a:pt x="19406" y="24004"/>
                    </a:lnTo>
                    <a:lnTo>
                      <a:pt x="18289" y="23114"/>
                    </a:lnTo>
                    <a:lnTo>
                      <a:pt x="14936" y="19686"/>
                    </a:lnTo>
                    <a:lnTo>
                      <a:pt x="13615" y="18162"/>
                    </a:lnTo>
                    <a:lnTo>
                      <a:pt x="12396" y="16764"/>
                    </a:lnTo>
                    <a:lnTo>
                      <a:pt x="11380" y="15494"/>
                    </a:lnTo>
                    <a:lnTo>
                      <a:pt x="10669" y="14351"/>
                    </a:lnTo>
                    <a:lnTo>
                      <a:pt x="10059" y="13081"/>
                    </a:lnTo>
                    <a:lnTo>
                      <a:pt x="9754" y="11938"/>
                    </a:lnTo>
                    <a:lnTo>
                      <a:pt x="9449" y="10795"/>
                    </a:lnTo>
                    <a:lnTo>
                      <a:pt x="9348" y="9525"/>
                    </a:lnTo>
                    <a:lnTo>
                      <a:pt x="9348" y="8256"/>
                    </a:lnTo>
                    <a:lnTo>
                      <a:pt x="9449" y="6858"/>
                    </a:lnTo>
                    <a:lnTo>
                      <a:pt x="10059" y="3811"/>
                    </a:lnTo>
                    <a:lnTo>
                      <a:pt x="10872" y="0"/>
                    </a:lnTo>
                    <a:lnTo>
                      <a:pt x="10059" y="255"/>
                    </a:lnTo>
                    <a:lnTo>
                      <a:pt x="8027" y="1398"/>
                    </a:lnTo>
                    <a:lnTo>
                      <a:pt x="6605" y="2160"/>
                    </a:lnTo>
                    <a:lnTo>
                      <a:pt x="5284" y="3175"/>
                    </a:lnTo>
                    <a:lnTo>
                      <a:pt x="3963" y="4318"/>
                    </a:lnTo>
                    <a:lnTo>
                      <a:pt x="2744" y="5588"/>
                    </a:lnTo>
                    <a:lnTo>
                      <a:pt x="1626" y="7112"/>
                    </a:lnTo>
                    <a:lnTo>
                      <a:pt x="1017" y="8001"/>
                    </a:lnTo>
                    <a:lnTo>
                      <a:pt x="610" y="8891"/>
                    </a:lnTo>
                    <a:lnTo>
                      <a:pt x="407" y="9780"/>
                    </a:lnTo>
                    <a:lnTo>
                      <a:pt x="102" y="10668"/>
                    </a:lnTo>
                    <a:lnTo>
                      <a:pt x="0" y="11685"/>
                    </a:lnTo>
                    <a:lnTo>
                      <a:pt x="0" y="12574"/>
                    </a:lnTo>
                    <a:lnTo>
                      <a:pt x="0" y="13717"/>
                    </a:lnTo>
                    <a:lnTo>
                      <a:pt x="204" y="14732"/>
                    </a:lnTo>
                    <a:lnTo>
                      <a:pt x="509" y="16002"/>
                    </a:lnTo>
                    <a:lnTo>
                      <a:pt x="915" y="17273"/>
                    </a:lnTo>
                    <a:lnTo>
                      <a:pt x="1626" y="18416"/>
                    </a:lnTo>
                    <a:lnTo>
                      <a:pt x="2439" y="19686"/>
                    </a:lnTo>
                    <a:lnTo>
                      <a:pt x="3353" y="20956"/>
                    </a:lnTo>
                    <a:lnTo>
                      <a:pt x="4471" y="22225"/>
                    </a:lnTo>
                    <a:lnTo>
                      <a:pt x="6401" y="24512"/>
                    </a:lnTo>
                    <a:lnTo>
                      <a:pt x="7824" y="26543"/>
                    </a:lnTo>
                    <a:lnTo>
                      <a:pt x="8941" y="28322"/>
                    </a:lnTo>
                    <a:lnTo>
                      <a:pt x="9754" y="29973"/>
                    </a:lnTo>
                    <a:lnTo>
                      <a:pt x="10161" y="31369"/>
                    </a:lnTo>
                    <a:lnTo>
                      <a:pt x="10262" y="32639"/>
                    </a:lnTo>
                    <a:lnTo>
                      <a:pt x="10161" y="34037"/>
                    </a:lnTo>
                    <a:lnTo>
                      <a:pt x="9856" y="35180"/>
                    </a:lnTo>
                    <a:lnTo>
                      <a:pt x="9348" y="36323"/>
                    </a:lnTo>
                    <a:lnTo>
                      <a:pt x="8636" y="37466"/>
                    </a:lnTo>
                    <a:lnTo>
                      <a:pt x="7011" y="39879"/>
                    </a:lnTo>
                    <a:lnTo>
                      <a:pt x="5284" y="42545"/>
                    </a:lnTo>
                    <a:lnTo>
                      <a:pt x="4369" y="44069"/>
                    </a:lnTo>
                    <a:lnTo>
                      <a:pt x="3556" y="45720"/>
                    </a:lnTo>
                    <a:close/>
                    <a:moveTo>
                      <a:pt x="2432305" y="3502152"/>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33" name="Freeform 1333"/>
              <p:cNvSpPr/>
              <p:nvPr/>
            </p:nvSpPr>
            <p:spPr>
              <a:xfrm>
                <a:off x="996306" y="3349795"/>
                <a:ext cx="143181" cy="152321"/>
              </a:xfrm>
              <a:custGeom>
                <a:avLst/>
                <a:gdLst/>
                <a:ahLst/>
                <a:cxnLst/>
                <a:rect l="0" t="0" r="0" b="0"/>
                <a:pathLst>
                  <a:path w="143256" h="152400">
                    <a:moveTo>
                      <a:pt x="143256" y="77088"/>
                    </a:moveTo>
                    <a:lnTo>
                      <a:pt x="143256" y="77088"/>
                    </a:lnTo>
                    <a:lnTo>
                      <a:pt x="142126" y="77215"/>
                    </a:lnTo>
                    <a:lnTo>
                      <a:pt x="139142" y="77596"/>
                    </a:lnTo>
                    <a:lnTo>
                      <a:pt x="137084" y="77851"/>
                    </a:lnTo>
                    <a:lnTo>
                      <a:pt x="134709" y="78105"/>
                    </a:lnTo>
                    <a:lnTo>
                      <a:pt x="132246" y="78486"/>
                    </a:lnTo>
                    <a:lnTo>
                      <a:pt x="129464" y="79120"/>
                    </a:lnTo>
                    <a:lnTo>
                      <a:pt x="126683" y="79882"/>
                    </a:lnTo>
                    <a:lnTo>
                      <a:pt x="123914" y="80771"/>
                    </a:lnTo>
                    <a:lnTo>
                      <a:pt x="121235" y="81788"/>
                    </a:lnTo>
                    <a:lnTo>
                      <a:pt x="118555" y="82931"/>
                    </a:lnTo>
                    <a:lnTo>
                      <a:pt x="117425" y="83693"/>
                    </a:lnTo>
                    <a:lnTo>
                      <a:pt x="116193" y="84327"/>
                    </a:lnTo>
                    <a:lnTo>
                      <a:pt x="115164" y="85217"/>
                    </a:lnTo>
                    <a:lnTo>
                      <a:pt x="114135" y="86106"/>
                    </a:lnTo>
                    <a:lnTo>
                      <a:pt x="113208" y="86994"/>
                    </a:lnTo>
                    <a:lnTo>
                      <a:pt x="112383" y="87883"/>
                    </a:lnTo>
                    <a:lnTo>
                      <a:pt x="111557" y="89026"/>
                    </a:lnTo>
                    <a:lnTo>
                      <a:pt x="111049" y="89915"/>
                    </a:lnTo>
                    <a:lnTo>
                      <a:pt x="111456" y="88264"/>
                    </a:lnTo>
                    <a:lnTo>
                      <a:pt x="111976" y="86613"/>
                    </a:lnTo>
                    <a:lnTo>
                      <a:pt x="112688" y="84963"/>
                    </a:lnTo>
                    <a:lnTo>
                      <a:pt x="113513" y="83312"/>
                    </a:lnTo>
                    <a:lnTo>
                      <a:pt x="114440" y="81661"/>
                    </a:lnTo>
                    <a:lnTo>
                      <a:pt x="115570" y="80009"/>
                    </a:lnTo>
                    <a:lnTo>
                      <a:pt x="116599" y="78486"/>
                    </a:lnTo>
                    <a:lnTo>
                      <a:pt x="118047" y="76707"/>
                    </a:lnTo>
                    <a:lnTo>
                      <a:pt x="120930" y="73532"/>
                    </a:lnTo>
                    <a:lnTo>
                      <a:pt x="124219" y="69976"/>
                    </a:lnTo>
                    <a:lnTo>
                      <a:pt x="131522" y="62611"/>
                    </a:lnTo>
                    <a:lnTo>
                      <a:pt x="123914" y="63245"/>
                    </a:lnTo>
                    <a:lnTo>
                      <a:pt x="116498" y="64007"/>
                    </a:lnTo>
                    <a:lnTo>
                      <a:pt x="112789" y="64515"/>
                    </a:lnTo>
                    <a:lnTo>
                      <a:pt x="109094" y="65024"/>
                    </a:lnTo>
                    <a:lnTo>
                      <a:pt x="105385" y="65532"/>
                    </a:lnTo>
                    <a:lnTo>
                      <a:pt x="101575" y="66420"/>
                    </a:lnTo>
                    <a:lnTo>
                      <a:pt x="102197" y="64769"/>
                    </a:lnTo>
                    <a:lnTo>
                      <a:pt x="102604" y="63245"/>
                    </a:lnTo>
                    <a:lnTo>
                      <a:pt x="103125" y="60197"/>
                    </a:lnTo>
                    <a:lnTo>
                      <a:pt x="103429" y="57276"/>
                    </a:lnTo>
                    <a:lnTo>
                      <a:pt x="103328" y="54356"/>
                    </a:lnTo>
                    <a:lnTo>
                      <a:pt x="103023" y="51562"/>
                    </a:lnTo>
                    <a:lnTo>
                      <a:pt x="102299" y="48640"/>
                    </a:lnTo>
                    <a:lnTo>
                      <a:pt x="101474" y="45974"/>
                    </a:lnTo>
                    <a:lnTo>
                      <a:pt x="100546" y="43307"/>
                    </a:lnTo>
                    <a:lnTo>
                      <a:pt x="99111" y="40767"/>
                    </a:lnTo>
                    <a:lnTo>
                      <a:pt x="97765" y="38100"/>
                    </a:lnTo>
                    <a:lnTo>
                      <a:pt x="96127" y="35687"/>
                    </a:lnTo>
                    <a:lnTo>
                      <a:pt x="94476" y="33274"/>
                    </a:lnTo>
                    <a:lnTo>
                      <a:pt x="92520" y="30988"/>
                    </a:lnTo>
                    <a:lnTo>
                      <a:pt x="90564" y="28828"/>
                    </a:lnTo>
                    <a:lnTo>
                      <a:pt x="88507" y="26669"/>
                    </a:lnTo>
                    <a:lnTo>
                      <a:pt x="86449" y="24638"/>
                    </a:lnTo>
                    <a:lnTo>
                      <a:pt x="84087" y="22606"/>
                    </a:lnTo>
                    <a:lnTo>
                      <a:pt x="81814" y="20574"/>
                    </a:lnTo>
                    <a:lnTo>
                      <a:pt x="79553" y="18669"/>
                    </a:lnTo>
                    <a:lnTo>
                      <a:pt x="77293" y="16890"/>
                    </a:lnTo>
                    <a:lnTo>
                      <a:pt x="75019" y="15367"/>
                    </a:lnTo>
                    <a:lnTo>
                      <a:pt x="72657" y="13715"/>
                    </a:lnTo>
                    <a:lnTo>
                      <a:pt x="70397" y="12319"/>
                    </a:lnTo>
                    <a:lnTo>
                      <a:pt x="68022" y="10794"/>
                    </a:lnTo>
                    <a:lnTo>
                      <a:pt x="63196" y="8001"/>
                    </a:lnTo>
                    <a:lnTo>
                      <a:pt x="58039" y="5461"/>
                    </a:lnTo>
                    <a:lnTo>
                      <a:pt x="52693" y="2794"/>
                    </a:lnTo>
                    <a:lnTo>
                      <a:pt x="46825" y="0"/>
                    </a:lnTo>
                    <a:lnTo>
                      <a:pt x="49403" y="4444"/>
                    </a:lnTo>
                    <a:lnTo>
                      <a:pt x="52172" y="9270"/>
                    </a:lnTo>
                    <a:lnTo>
                      <a:pt x="54750" y="14224"/>
                    </a:lnTo>
                    <a:lnTo>
                      <a:pt x="55982" y="16763"/>
                    </a:lnTo>
                    <a:lnTo>
                      <a:pt x="57112" y="19431"/>
                    </a:lnTo>
                    <a:lnTo>
                      <a:pt x="58039" y="21970"/>
                    </a:lnTo>
                    <a:lnTo>
                      <a:pt x="58763" y="24511"/>
                    </a:lnTo>
                    <a:lnTo>
                      <a:pt x="59386" y="27051"/>
                    </a:lnTo>
                    <a:lnTo>
                      <a:pt x="59792" y="29590"/>
                    </a:lnTo>
                    <a:lnTo>
                      <a:pt x="59792" y="32257"/>
                    </a:lnTo>
                    <a:lnTo>
                      <a:pt x="59589" y="33401"/>
                    </a:lnTo>
                    <a:lnTo>
                      <a:pt x="59386" y="34670"/>
                    </a:lnTo>
                    <a:lnTo>
                      <a:pt x="59068" y="35813"/>
                    </a:lnTo>
                    <a:lnTo>
                      <a:pt x="58662" y="36957"/>
                    </a:lnTo>
                    <a:lnTo>
                      <a:pt x="58255" y="38226"/>
                    </a:lnTo>
                    <a:lnTo>
                      <a:pt x="57633" y="39369"/>
                    </a:lnTo>
                    <a:lnTo>
                      <a:pt x="56185" y="41909"/>
                    </a:lnTo>
                    <a:lnTo>
                      <a:pt x="54128" y="44576"/>
                    </a:lnTo>
                    <a:lnTo>
                      <a:pt x="51867" y="47497"/>
                    </a:lnTo>
                    <a:lnTo>
                      <a:pt x="49302" y="50292"/>
                    </a:lnTo>
                    <a:lnTo>
                      <a:pt x="46521" y="53213"/>
                    </a:lnTo>
                    <a:lnTo>
                      <a:pt x="43536" y="56133"/>
                    </a:lnTo>
                    <a:lnTo>
                      <a:pt x="37250" y="62102"/>
                    </a:lnTo>
                    <a:lnTo>
                      <a:pt x="36742" y="61087"/>
                    </a:lnTo>
                    <a:lnTo>
                      <a:pt x="36221" y="60070"/>
                    </a:lnTo>
                    <a:lnTo>
                      <a:pt x="35408" y="59182"/>
                    </a:lnTo>
                    <a:lnTo>
                      <a:pt x="34379" y="58165"/>
                    </a:lnTo>
                    <a:lnTo>
                      <a:pt x="31497" y="55244"/>
                    </a:lnTo>
                    <a:lnTo>
                      <a:pt x="29020" y="52577"/>
                    </a:lnTo>
                    <a:lnTo>
                      <a:pt x="26963" y="50164"/>
                    </a:lnTo>
                    <a:lnTo>
                      <a:pt x="25426" y="48132"/>
                    </a:lnTo>
                    <a:lnTo>
                      <a:pt x="24181" y="46227"/>
                    </a:lnTo>
                    <a:lnTo>
                      <a:pt x="23356" y="44576"/>
                    </a:lnTo>
                    <a:lnTo>
                      <a:pt x="22848" y="42799"/>
                    </a:lnTo>
                    <a:lnTo>
                      <a:pt x="22543" y="41401"/>
                    </a:lnTo>
                    <a:lnTo>
                      <a:pt x="22543" y="39877"/>
                    </a:lnTo>
                    <a:lnTo>
                      <a:pt x="22848" y="38353"/>
                    </a:lnTo>
                    <a:lnTo>
                      <a:pt x="23254" y="36702"/>
                    </a:lnTo>
                    <a:lnTo>
                      <a:pt x="23775" y="34925"/>
                    </a:lnTo>
                    <a:lnTo>
                      <a:pt x="25210" y="31114"/>
                    </a:lnTo>
                    <a:lnTo>
                      <a:pt x="25832" y="28701"/>
                    </a:lnTo>
                    <a:lnTo>
                      <a:pt x="26658" y="26162"/>
                    </a:lnTo>
                    <a:lnTo>
                      <a:pt x="25426" y="26669"/>
                    </a:lnTo>
                    <a:lnTo>
                      <a:pt x="24080" y="27177"/>
                    </a:lnTo>
                    <a:lnTo>
                      <a:pt x="22225" y="28067"/>
                    </a:lnTo>
                    <a:lnTo>
                      <a:pt x="20371" y="29082"/>
                    </a:lnTo>
                    <a:lnTo>
                      <a:pt x="18111" y="30480"/>
                    </a:lnTo>
                    <a:lnTo>
                      <a:pt x="15952" y="31876"/>
                    </a:lnTo>
                    <a:lnTo>
                      <a:pt x="14821" y="32765"/>
                    </a:lnTo>
                    <a:lnTo>
                      <a:pt x="13894" y="33655"/>
                    </a:lnTo>
                    <a:lnTo>
                      <a:pt x="12764" y="34544"/>
                    </a:lnTo>
                    <a:lnTo>
                      <a:pt x="11939" y="35687"/>
                    </a:lnTo>
                    <a:lnTo>
                      <a:pt x="11011" y="36702"/>
                    </a:lnTo>
                    <a:lnTo>
                      <a:pt x="10288" y="37845"/>
                    </a:lnTo>
                    <a:lnTo>
                      <a:pt x="9576" y="39115"/>
                    </a:lnTo>
                    <a:lnTo>
                      <a:pt x="9056" y="40258"/>
                    </a:lnTo>
                    <a:lnTo>
                      <a:pt x="8649" y="41656"/>
                    </a:lnTo>
                    <a:lnTo>
                      <a:pt x="8332" y="43052"/>
                    </a:lnTo>
                    <a:lnTo>
                      <a:pt x="8332" y="44450"/>
                    </a:lnTo>
                    <a:lnTo>
                      <a:pt x="8332" y="45974"/>
                    </a:lnTo>
                    <a:lnTo>
                      <a:pt x="8649" y="47497"/>
                    </a:lnTo>
                    <a:lnTo>
                      <a:pt x="9056" y="49276"/>
                    </a:lnTo>
                    <a:lnTo>
                      <a:pt x="9780" y="50926"/>
                    </a:lnTo>
                    <a:lnTo>
                      <a:pt x="10707" y="52577"/>
                    </a:lnTo>
                    <a:lnTo>
                      <a:pt x="11837" y="54356"/>
                    </a:lnTo>
                    <a:lnTo>
                      <a:pt x="13272" y="56261"/>
                    </a:lnTo>
                    <a:lnTo>
                      <a:pt x="15545" y="59182"/>
                    </a:lnTo>
                    <a:lnTo>
                      <a:pt x="17285" y="61721"/>
                    </a:lnTo>
                    <a:lnTo>
                      <a:pt x="18835" y="64134"/>
                    </a:lnTo>
                    <a:lnTo>
                      <a:pt x="19762" y="66167"/>
                    </a:lnTo>
                    <a:lnTo>
                      <a:pt x="20486" y="68071"/>
                    </a:lnTo>
                    <a:lnTo>
                      <a:pt x="20892" y="69722"/>
                    </a:lnTo>
                    <a:lnTo>
                      <a:pt x="20994" y="71374"/>
                    </a:lnTo>
                    <a:lnTo>
                      <a:pt x="20892" y="72770"/>
                    </a:lnTo>
                    <a:lnTo>
                      <a:pt x="20486" y="74168"/>
                    </a:lnTo>
                    <a:lnTo>
                      <a:pt x="19762" y="75564"/>
                    </a:lnTo>
                    <a:lnTo>
                      <a:pt x="19139" y="76962"/>
                    </a:lnTo>
                    <a:lnTo>
                      <a:pt x="18111" y="78358"/>
                    </a:lnTo>
                    <a:lnTo>
                      <a:pt x="15952" y="81407"/>
                    </a:lnTo>
                    <a:lnTo>
                      <a:pt x="14821" y="82931"/>
                    </a:lnTo>
                    <a:lnTo>
                      <a:pt x="13589" y="84836"/>
                    </a:lnTo>
                    <a:lnTo>
                      <a:pt x="11939" y="86868"/>
                    </a:lnTo>
                    <a:lnTo>
                      <a:pt x="10389" y="88772"/>
                    </a:lnTo>
                    <a:lnTo>
                      <a:pt x="8954" y="90805"/>
                    </a:lnTo>
                    <a:lnTo>
                      <a:pt x="7519" y="92837"/>
                    </a:lnTo>
                    <a:lnTo>
                      <a:pt x="6376" y="94614"/>
                    </a:lnTo>
                    <a:lnTo>
                      <a:pt x="5347" y="96646"/>
                    </a:lnTo>
                    <a:lnTo>
                      <a:pt x="4319" y="98425"/>
                    </a:lnTo>
                    <a:lnTo>
                      <a:pt x="3391" y="100202"/>
                    </a:lnTo>
                    <a:lnTo>
                      <a:pt x="2579" y="101981"/>
                    </a:lnTo>
                    <a:lnTo>
                      <a:pt x="2058" y="103886"/>
                    </a:lnTo>
                    <a:lnTo>
                      <a:pt x="1334" y="105663"/>
                    </a:lnTo>
                    <a:lnTo>
                      <a:pt x="928" y="107188"/>
                    </a:lnTo>
                    <a:lnTo>
                      <a:pt x="521" y="108965"/>
                    </a:lnTo>
                    <a:lnTo>
                      <a:pt x="204" y="110617"/>
                    </a:lnTo>
                    <a:lnTo>
                      <a:pt x="102" y="112268"/>
                    </a:lnTo>
                    <a:lnTo>
                      <a:pt x="0" y="113792"/>
                    </a:lnTo>
                    <a:lnTo>
                      <a:pt x="0" y="115443"/>
                    </a:lnTo>
                    <a:lnTo>
                      <a:pt x="0" y="116839"/>
                    </a:lnTo>
                    <a:lnTo>
                      <a:pt x="102" y="118363"/>
                    </a:lnTo>
                    <a:lnTo>
                      <a:pt x="407" y="119888"/>
                    </a:lnTo>
                    <a:lnTo>
                      <a:pt x="1029" y="122682"/>
                    </a:lnTo>
                    <a:lnTo>
                      <a:pt x="2058" y="125349"/>
                    </a:lnTo>
                    <a:lnTo>
                      <a:pt x="3290" y="128015"/>
                    </a:lnTo>
                    <a:lnTo>
                      <a:pt x="4738" y="130428"/>
                    </a:lnTo>
                    <a:lnTo>
                      <a:pt x="6376" y="132714"/>
                    </a:lnTo>
                    <a:lnTo>
                      <a:pt x="8548" y="134874"/>
                    </a:lnTo>
                    <a:lnTo>
                      <a:pt x="10605" y="137032"/>
                    </a:lnTo>
                    <a:lnTo>
                      <a:pt x="12866" y="139064"/>
                    </a:lnTo>
                    <a:lnTo>
                      <a:pt x="15329" y="140715"/>
                    </a:lnTo>
                    <a:lnTo>
                      <a:pt x="18009" y="142494"/>
                    </a:lnTo>
                    <a:lnTo>
                      <a:pt x="20790" y="144018"/>
                    </a:lnTo>
                    <a:lnTo>
                      <a:pt x="23673" y="145542"/>
                    </a:lnTo>
                    <a:lnTo>
                      <a:pt x="26556" y="146812"/>
                    </a:lnTo>
                    <a:lnTo>
                      <a:pt x="29541" y="147827"/>
                    </a:lnTo>
                    <a:lnTo>
                      <a:pt x="32627" y="148970"/>
                    </a:lnTo>
                    <a:lnTo>
                      <a:pt x="35814" y="149859"/>
                    </a:lnTo>
                    <a:lnTo>
                      <a:pt x="38799" y="150494"/>
                    </a:lnTo>
                    <a:lnTo>
                      <a:pt x="41783" y="151257"/>
                    </a:lnTo>
                    <a:lnTo>
                      <a:pt x="44971" y="151764"/>
                    </a:lnTo>
                    <a:lnTo>
                      <a:pt x="48057" y="152145"/>
                    </a:lnTo>
                    <a:lnTo>
                      <a:pt x="50940" y="152272"/>
                    </a:lnTo>
                    <a:lnTo>
                      <a:pt x="53823" y="152400"/>
                    </a:lnTo>
                    <a:lnTo>
                      <a:pt x="60821" y="152400"/>
                    </a:lnTo>
                    <a:lnTo>
                      <a:pt x="57836" y="147827"/>
                    </a:lnTo>
                    <a:lnTo>
                      <a:pt x="55880" y="144652"/>
                    </a:lnTo>
                    <a:lnTo>
                      <a:pt x="54242" y="141986"/>
                    </a:lnTo>
                    <a:lnTo>
                      <a:pt x="52998" y="139572"/>
                    </a:lnTo>
                    <a:lnTo>
                      <a:pt x="52070" y="137032"/>
                    </a:lnTo>
                    <a:lnTo>
                      <a:pt x="51359" y="134874"/>
                    </a:lnTo>
                    <a:lnTo>
                      <a:pt x="50940" y="132969"/>
                    </a:lnTo>
                    <a:lnTo>
                      <a:pt x="50839" y="131063"/>
                    </a:lnTo>
                    <a:lnTo>
                      <a:pt x="50940" y="129413"/>
                    </a:lnTo>
                    <a:lnTo>
                      <a:pt x="51258" y="127888"/>
                    </a:lnTo>
                    <a:lnTo>
                      <a:pt x="51766" y="126364"/>
                    </a:lnTo>
                    <a:lnTo>
                      <a:pt x="52490" y="124968"/>
                    </a:lnTo>
                    <a:lnTo>
                      <a:pt x="53315" y="123825"/>
                    </a:lnTo>
                    <a:lnTo>
                      <a:pt x="54242" y="122682"/>
                    </a:lnTo>
                    <a:lnTo>
                      <a:pt x="55372" y="121538"/>
                    </a:lnTo>
                    <a:lnTo>
                      <a:pt x="56604" y="120395"/>
                    </a:lnTo>
                    <a:lnTo>
                      <a:pt x="57836" y="119380"/>
                    </a:lnTo>
                    <a:lnTo>
                      <a:pt x="60719" y="117347"/>
                    </a:lnTo>
                    <a:lnTo>
                      <a:pt x="63500" y="115188"/>
                    </a:lnTo>
                    <a:lnTo>
                      <a:pt x="64936" y="114172"/>
                    </a:lnTo>
                    <a:lnTo>
                      <a:pt x="66383" y="112902"/>
                    </a:lnTo>
                    <a:lnTo>
                      <a:pt x="67615" y="111759"/>
                    </a:lnTo>
                    <a:lnTo>
                      <a:pt x="68847" y="110489"/>
                    </a:lnTo>
                    <a:lnTo>
                      <a:pt x="70079" y="108965"/>
                    </a:lnTo>
                    <a:lnTo>
                      <a:pt x="71006" y="107442"/>
                    </a:lnTo>
                    <a:lnTo>
                      <a:pt x="72035" y="105790"/>
                    </a:lnTo>
                    <a:lnTo>
                      <a:pt x="72860" y="104013"/>
                    </a:lnTo>
                    <a:lnTo>
                      <a:pt x="73381" y="102107"/>
                    </a:lnTo>
                    <a:lnTo>
                      <a:pt x="73788" y="99949"/>
                    </a:lnTo>
                    <a:lnTo>
                      <a:pt x="74092" y="97663"/>
                    </a:lnTo>
                    <a:lnTo>
                      <a:pt x="74092" y="95122"/>
                    </a:lnTo>
                    <a:lnTo>
                      <a:pt x="76467" y="96774"/>
                    </a:lnTo>
                    <a:lnTo>
                      <a:pt x="78728" y="98425"/>
                    </a:lnTo>
                    <a:lnTo>
                      <a:pt x="80785" y="100202"/>
                    </a:lnTo>
                    <a:lnTo>
                      <a:pt x="82639" y="101853"/>
                    </a:lnTo>
                    <a:lnTo>
                      <a:pt x="84392" y="103505"/>
                    </a:lnTo>
                    <a:lnTo>
                      <a:pt x="85929" y="105282"/>
                    </a:lnTo>
                    <a:lnTo>
                      <a:pt x="87173" y="106933"/>
                    </a:lnTo>
                    <a:lnTo>
                      <a:pt x="88405" y="108838"/>
                    </a:lnTo>
                    <a:lnTo>
                      <a:pt x="89332" y="110617"/>
                    </a:lnTo>
                    <a:lnTo>
                      <a:pt x="90158" y="112394"/>
                    </a:lnTo>
                    <a:lnTo>
                      <a:pt x="90767" y="114172"/>
                    </a:lnTo>
                    <a:lnTo>
                      <a:pt x="91288" y="115951"/>
                    </a:lnTo>
                    <a:lnTo>
                      <a:pt x="91593" y="117728"/>
                    </a:lnTo>
                    <a:lnTo>
                      <a:pt x="91796" y="119507"/>
                    </a:lnTo>
                    <a:lnTo>
                      <a:pt x="91796" y="121412"/>
                    </a:lnTo>
                    <a:lnTo>
                      <a:pt x="91694" y="123189"/>
                    </a:lnTo>
                    <a:lnTo>
                      <a:pt x="91390" y="125094"/>
                    </a:lnTo>
                    <a:lnTo>
                      <a:pt x="91186" y="127000"/>
                    </a:lnTo>
                    <a:lnTo>
                      <a:pt x="90564" y="128777"/>
                    </a:lnTo>
                    <a:lnTo>
                      <a:pt x="89942" y="130682"/>
                    </a:lnTo>
                    <a:lnTo>
                      <a:pt x="89231" y="132461"/>
                    </a:lnTo>
                    <a:lnTo>
                      <a:pt x="88405" y="134365"/>
                    </a:lnTo>
                    <a:lnTo>
                      <a:pt x="87275" y="136144"/>
                    </a:lnTo>
                    <a:lnTo>
                      <a:pt x="86246" y="137921"/>
                    </a:lnTo>
                    <a:lnTo>
                      <a:pt x="85116" y="139826"/>
                    </a:lnTo>
                    <a:lnTo>
                      <a:pt x="83668" y="141605"/>
                    </a:lnTo>
                    <a:lnTo>
                      <a:pt x="82335" y="143382"/>
                    </a:lnTo>
                    <a:lnTo>
                      <a:pt x="80785" y="145161"/>
                    </a:lnTo>
                    <a:lnTo>
                      <a:pt x="77496" y="148717"/>
                    </a:lnTo>
                    <a:lnTo>
                      <a:pt x="73889" y="152400"/>
                    </a:lnTo>
                    <a:lnTo>
                      <a:pt x="82843" y="152400"/>
                    </a:lnTo>
                    <a:lnTo>
                      <a:pt x="85002" y="152400"/>
                    </a:lnTo>
                    <a:lnTo>
                      <a:pt x="87173" y="152145"/>
                    </a:lnTo>
                    <a:lnTo>
                      <a:pt x="89332" y="152145"/>
                    </a:lnTo>
                    <a:lnTo>
                      <a:pt x="91593" y="151764"/>
                    </a:lnTo>
                    <a:lnTo>
                      <a:pt x="93955" y="151383"/>
                    </a:lnTo>
                    <a:lnTo>
                      <a:pt x="96228" y="151002"/>
                    </a:lnTo>
                    <a:lnTo>
                      <a:pt x="98692" y="150494"/>
                    </a:lnTo>
                    <a:lnTo>
                      <a:pt x="101067" y="149987"/>
                    </a:lnTo>
                    <a:lnTo>
                      <a:pt x="103531" y="149351"/>
                    </a:lnTo>
                    <a:lnTo>
                      <a:pt x="105893" y="148463"/>
                    </a:lnTo>
                    <a:lnTo>
                      <a:pt x="108268" y="147701"/>
                    </a:lnTo>
                    <a:lnTo>
                      <a:pt x="110529" y="146684"/>
                    </a:lnTo>
                    <a:lnTo>
                      <a:pt x="112789" y="145795"/>
                    </a:lnTo>
                    <a:lnTo>
                      <a:pt x="114961" y="144652"/>
                    </a:lnTo>
                    <a:lnTo>
                      <a:pt x="117222" y="143382"/>
                    </a:lnTo>
                    <a:lnTo>
                      <a:pt x="119279" y="142239"/>
                    </a:lnTo>
                    <a:lnTo>
                      <a:pt x="121235" y="140715"/>
                    </a:lnTo>
                    <a:lnTo>
                      <a:pt x="122987" y="139192"/>
                    </a:lnTo>
                    <a:lnTo>
                      <a:pt x="124626" y="137540"/>
                    </a:lnTo>
                    <a:lnTo>
                      <a:pt x="126277" y="135889"/>
                    </a:lnTo>
                    <a:lnTo>
                      <a:pt x="127610" y="134112"/>
                    </a:lnTo>
                    <a:lnTo>
                      <a:pt x="128956" y="132207"/>
                    </a:lnTo>
                    <a:lnTo>
                      <a:pt x="129883" y="130175"/>
                    </a:lnTo>
                    <a:lnTo>
                      <a:pt x="130798" y="128143"/>
                    </a:lnTo>
                    <a:lnTo>
                      <a:pt x="131420" y="125857"/>
                    </a:lnTo>
                    <a:lnTo>
                      <a:pt x="131941" y="123444"/>
                    </a:lnTo>
                    <a:lnTo>
                      <a:pt x="132042" y="120903"/>
                    </a:lnTo>
                    <a:lnTo>
                      <a:pt x="132042" y="118363"/>
                    </a:lnTo>
                    <a:lnTo>
                      <a:pt x="131839" y="115696"/>
                    </a:lnTo>
                    <a:lnTo>
                      <a:pt x="131217" y="112902"/>
                    </a:lnTo>
                    <a:lnTo>
                      <a:pt x="130391" y="109982"/>
                    </a:lnTo>
                    <a:lnTo>
                      <a:pt x="129160" y="106933"/>
                    </a:lnTo>
                    <a:lnTo>
                      <a:pt x="127928" y="103505"/>
                    </a:lnTo>
                    <a:lnTo>
                      <a:pt x="127102" y="100457"/>
                    </a:lnTo>
                    <a:lnTo>
                      <a:pt x="126683" y="97789"/>
                    </a:lnTo>
                    <a:lnTo>
                      <a:pt x="126581" y="96646"/>
                    </a:lnTo>
                    <a:lnTo>
                      <a:pt x="126581" y="95503"/>
                    </a:lnTo>
                    <a:lnTo>
                      <a:pt x="126683" y="94614"/>
                    </a:lnTo>
                    <a:lnTo>
                      <a:pt x="126785" y="93599"/>
                    </a:lnTo>
                    <a:lnTo>
                      <a:pt x="127102" y="92709"/>
                    </a:lnTo>
                    <a:lnTo>
                      <a:pt x="127407" y="91820"/>
                    </a:lnTo>
                    <a:lnTo>
                      <a:pt x="127813" y="91058"/>
                    </a:lnTo>
                    <a:lnTo>
                      <a:pt x="128232" y="90169"/>
                    </a:lnTo>
                    <a:lnTo>
                      <a:pt x="129363" y="88772"/>
                    </a:lnTo>
                    <a:lnTo>
                      <a:pt x="130595" y="87502"/>
                    </a:lnTo>
                    <a:lnTo>
                      <a:pt x="132042" y="86106"/>
                    </a:lnTo>
                    <a:lnTo>
                      <a:pt x="133681" y="84963"/>
                    </a:lnTo>
                    <a:lnTo>
                      <a:pt x="135535" y="83565"/>
                    </a:lnTo>
                    <a:lnTo>
                      <a:pt x="137288" y="82169"/>
                    </a:lnTo>
                    <a:lnTo>
                      <a:pt x="139243" y="80771"/>
                    </a:lnTo>
                    <a:lnTo>
                      <a:pt x="141301" y="78994"/>
                    </a:lnTo>
                    <a:lnTo>
                      <a:pt x="143256" y="77088"/>
                    </a:lnTo>
                    <a:close/>
                    <a:moveTo>
                      <a:pt x="2437512" y="3508247"/>
                    </a:moveTo>
                    <a:moveTo>
                      <a:pt x="91796" y="145542"/>
                    </a:moveTo>
                    <a:lnTo>
                      <a:pt x="91796" y="145542"/>
                    </a:lnTo>
                    <a:lnTo>
                      <a:pt x="93752" y="142875"/>
                    </a:lnTo>
                    <a:lnTo>
                      <a:pt x="95606" y="140462"/>
                    </a:lnTo>
                    <a:lnTo>
                      <a:pt x="97054" y="137921"/>
                    </a:lnTo>
                    <a:lnTo>
                      <a:pt x="98286" y="135508"/>
                    </a:lnTo>
                    <a:lnTo>
                      <a:pt x="99416" y="132969"/>
                    </a:lnTo>
                    <a:lnTo>
                      <a:pt x="100242" y="130682"/>
                    </a:lnTo>
                    <a:lnTo>
                      <a:pt x="100750" y="128269"/>
                    </a:lnTo>
                    <a:lnTo>
                      <a:pt x="101169" y="125857"/>
                    </a:lnTo>
                    <a:lnTo>
                      <a:pt x="101372" y="123570"/>
                    </a:lnTo>
                    <a:lnTo>
                      <a:pt x="101372" y="121412"/>
                    </a:lnTo>
                    <a:lnTo>
                      <a:pt x="101067" y="119126"/>
                    </a:lnTo>
                    <a:lnTo>
                      <a:pt x="100648" y="116839"/>
                    </a:lnTo>
                    <a:lnTo>
                      <a:pt x="100140" y="114681"/>
                    </a:lnTo>
                    <a:lnTo>
                      <a:pt x="99314" y="112649"/>
                    </a:lnTo>
                    <a:lnTo>
                      <a:pt x="98489" y="110617"/>
                    </a:lnTo>
                    <a:lnTo>
                      <a:pt x="97359" y="108457"/>
                    </a:lnTo>
                    <a:lnTo>
                      <a:pt x="96025" y="106552"/>
                    </a:lnTo>
                    <a:lnTo>
                      <a:pt x="94577" y="104520"/>
                    </a:lnTo>
                    <a:lnTo>
                      <a:pt x="93041" y="102615"/>
                    </a:lnTo>
                    <a:lnTo>
                      <a:pt x="91288" y="100711"/>
                    </a:lnTo>
                    <a:lnTo>
                      <a:pt x="89536" y="98932"/>
                    </a:lnTo>
                    <a:lnTo>
                      <a:pt x="87580" y="97155"/>
                    </a:lnTo>
                    <a:lnTo>
                      <a:pt x="85421" y="95250"/>
                    </a:lnTo>
                    <a:lnTo>
                      <a:pt x="83160" y="93599"/>
                    </a:lnTo>
                    <a:lnTo>
                      <a:pt x="80988" y="91947"/>
                    </a:lnTo>
                    <a:lnTo>
                      <a:pt x="78525" y="90424"/>
                    </a:lnTo>
                    <a:lnTo>
                      <a:pt x="75947" y="88772"/>
                    </a:lnTo>
                    <a:lnTo>
                      <a:pt x="73381" y="87376"/>
                    </a:lnTo>
                    <a:lnTo>
                      <a:pt x="70600" y="85978"/>
                    </a:lnTo>
                    <a:lnTo>
                      <a:pt x="67920" y="84582"/>
                    </a:lnTo>
                    <a:lnTo>
                      <a:pt x="64936" y="83312"/>
                    </a:lnTo>
                    <a:lnTo>
                      <a:pt x="62053" y="82042"/>
                    </a:lnTo>
                    <a:lnTo>
                      <a:pt x="64008" y="89026"/>
                    </a:lnTo>
                    <a:lnTo>
                      <a:pt x="64732" y="91694"/>
                    </a:lnTo>
                    <a:lnTo>
                      <a:pt x="64936" y="93980"/>
                    </a:lnTo>
                    <a:lnTo>
                      <a:pt x="65139" y="96265"/>
                    </a:lnTo>
                    <a:lnTo>
                      <a:pt x="64936" y="98425"/>
                    </a:lnTo>
                    <a:lnTo>
                      <a:pt x="64529" y="100330"/>
                    </a:lnTo>
                    <a:lnTo>
                      <a:pt x="64008" y="102107"/>
                    </a:lnTo>
                    <a:lnTo>
                      <a:pt x="63297" y="103886"/>
                    </a:lnTo>
                    <a:lnTo>
                      <a:pt x="62370" y="105282"/>
                    </a:lnTo>
                    <a:lnTo>
                      <a:pt x="61443" y="106807"/>
                    </a:lnTo>
                    <a:lnTo>
                      <a:pt x="60211" y="108076"/>
                    </a:lnTo>
                    <a:lnTo>
                      <a:pt x="58865" y="109346"/>
                    </a:lnTo>
                    <a:lnTo>
                      <a:pt x="57633" y="110617"/>
                    </a:lnTo>
                    <a:lnTo>
                      <a:pt x="54750" y="112776"/>
                    </a:lnTo>
                    <a:lnTo>
                      <a:pt x="51867" y="115062"/>
                    </a:lnTo>
                    <a:lnTo>
                      <a:pt x="48984" y="117220"/>
                    </a:lnTo>
                    <a:lnTo>
                      <a:pt x="47753" y="118363"/>
                    </a:lnTo>
                    <a:lnTo>
                      <a:pt x="46419" y="119507"/>
                    </a:lnTo>
                    <a:lnTo>
                      <a:pt x="45289" y="120776"/>
                    </a:lnTo>
                    <a:lnTo>
                      <a:pt x="44362" y="122046"/>
                    </a:lnTo>
                    <a:lnTo>
                      <a:pt x="43333" y="123444"/>
                    </a:lnTo>
                    <a:lnTo>
                      <a:pt x="42711" y="124968"/>
                    </a:lnTo>
                    <a:lnTo>
                      <a:pt x="42088" y="126492"/>
                    </a:lnTo>
                    <a:lnTo>
                      <a:pt x="41682" y="128269"/>
                    </a:lnTo>
                    <a:lnTo>
                      <a:pt x="41580" y="130175"/>
                    </a:lnTo>
                    <a:lnTo>
                      <a:pt x="41682" y="132080"/>
                    </a:lnTo>
                    <a:lnTo>
                      <a:pt x="41987" y="134365"/>
                    </a:lnTo>
                    <a:lnTo>
                      <a:pt x="42711" y="136651"/>
                    </a:lnTo>
                    <a:lnTo>
                      <a:pt x="43638" y="139319"/>
                    </a:lnTo>
                    <a:lnTo>
                      <a:pt x="44870" y="141986"/>
                    </a:lnTo>
                    <a:lnTo>
                      <a:pt x="41987" y="139700"/>
                    </a:lnTo>
                    <a:lnTo>
                      <a:pt x="39523" y="137287"/>
                    </a:lnTo>
                    <a:lnTo>
                      <a:pt x="37148" y="135001"/>
                    </a:lnTo>
                    <a:lnTo>
                      <a:pt x="35192" y="132714"/>
                    </a:lnTo>
                    <a:lnTo>
                      <a:pt x="33452" y="130556"/>
                    </a:lnTo>
                    <a:lnTo>
                      <a:pt x="31903" y="128396"/>
                    </a:lnTo>
                    <a:lnTo>
                      <a:pt x="30569" y="126238"/>
                    </a:lnTo>
                    <a:lnTo>
                      <a:pt x="29439" y="124078"/>
                    </a:lnTo>
                    <a:lnTo>
                      <a:pt x="28614" y="122046"/>
                    </a:lnTo>
                    <a:lnTo>
                      <a:pt x="27890" y="120014"/>
                    </a:lnTo>
                    <a:lnTo>
                      <a:pt x="27382" y="118109"/>
                    </a:lnTo>
                    <a:lnTo>
                      <a:pt x="27064" y="116077"/>
                    </a:lnTo>
                    <a:lnTo>
                      <a:pt x="26963" y="114172"/>
                    </a:lnTo>
                    <a:lnTo>
                      <a:pt x="27064" y="112268"/>
                    </a:lnTo>
                    <a:lnTo>
                      <a:pt x="27267" y="110363"/>
                    </a:lnTo>
                    <a:lnTo>
                      <a:pt x="27686" y="108457"/>
                    </a:lnTo>
                    <a:lnTo>
                      <a:pt x="28194" y="106680"/>
                    </a:lnTo>
                    <a:lnTo>
                      <a:pt x="28918" y="104901"/>
                    </a:lnTo>
                    <a:lnTo>
                      <a:pt x="29744" y="103124"/>
                    </a:lnTo>
                    <a:lnTo>
                      <a:pt x="30569" y="101345"/>
                    </a:lnTo>
                    <a:lnTo>
                      <a:pt x="31598" y="99568"/>
                    </a:lnTo>
                    <a:lnTo>
                      <a:pt x="32728" y="97789"/>
                    </a:lnTo>
                    <a:lnTo>
                      <a:pt x="33960" y="96265"/>
                    </a:lnTo>
                    <a:lnTo>
                      <a:pt x="35408" y="94361"/>
                    </a:lnTo>
                    <a:lnTo>
                      <a:pt x="38278" y="91058"/>
                    </a:lnTo>
                    <a:lnTo>
                      <a:pt x="41377" y="87757"/>
                    </a:lnTo>
                    <a:lnTo>
                      <a:pt x="44768" y="84582"/>
                    </a:lnTo>
                    <a:lnTo>
                      <a:pt x="48273" y="81152"/>
                    </a:lnTo>
                    <a:lnTo>
                      <a:pt x="55474" y="74676"/>
                    </a:lnTo>
                    <a:lnTo>
                      <a:pt x="58865" y="71374"/>
                    </a:lnTo>
                    <a:lnTo>
                      <a:pt x="62370" y="67944"/>
                    </a:lnTo>
                    <a:lnTo>
                      <a:pt x="65558" y="64515"/>
                    </a:lnTo>
                    <a:lnTo>
                      <a:pt x="68542" y="61087"/>
                    </a:lnTo>
                    <a:lnTo>
                      <a:pt x="69978" y="59436"/>
                    </a:lnTo>
                    <a:lnTo>
                      <a:pt x="71222" y="57657"/>
                    </a:lnTo>
                    <a:lnTo>
                      <a:pt x="72454" y="55880"/>
                    </a:lnTo>
                    <a:lnTo>
                      <a:pt x="73483" y="53975"/>
                    </a:lnTo>
                    <a:lnTo>
                      <a:pt x="74511" y="52196"/>
                    </a:lnTo>
                    <a:lnTo>
                      <a:pt x="75337" y="50292"/>
                    </a:lnTo>
                    <a:lnTo>
                      <a:pt x="75947" y="48387"/>
                    </a:lnTo>
                    <a:lnTo>
                      <a:pt x="76569" y="46608"/>
                    </a:lnTo>
                    <a:lnTo>
                      <a:pt x="76975" y="44576"/>
                    </a:lnTo>
                    <a:lnTo>
                      <a:pt x="77293" y="42544"/>
                    </a:lnTo>
                    <a:lnTo>
                      <a:pt x="77394" y="40639"/>
                    </a:lnTo>
                    <a:lnTo>
                      <a:pt x="77394" y="38481"/>
                    </a:lnTo>
                    <a:lnTo>
                      <a:pt x="77293" y="36449"/>
                    </a:lnTo>
                    <a:lnTo>
                      <a:pt x="76874" y="34289"/>
                    </a:lnTo>
                    <a:lnTo>
                      <a:pt x="76162" y="32257"/>
                    </a:lnTo>
                    <a:lnTo>
                      <a:pt x="75337" y="29971"/>
                    </a:lnTo>
                    <a:lnTo>
                      <a:pt x="74308" y="27686"/>
                    </a:lnTo>
                    <a:lnTo>
                      <a:pt x="73064" y="25400"/>
                    </a:lnTo>
                    <a:lnTo>
                      <a:pt x="71730" y="23113"/>
                    </a:lnTo>
                    <a:lnTo>
                      <a:pt x="70079" y="20827"/>
                    </a:lnTo>
                    <a:lnTo>
                      <a:pt x="72454" y="22606"/>
                    </a:lnTo>
                    <a:lnTo>
                      <a:pt x="74715" y="24383"/>
                    </a:lnTo>
                    <a:lnTo>
                      <a:pt x="77077" y="26415"/>
                    </a:lnTo>
                    <a:lnTo>
                      <a:pt x="79452" y="28447"/>
                    </a:lnTo>
                    <a:lnTo>
                      <a:pt x="82639" y="31622"/>
                    </a:lnTo>
                    <a:lnTo>
                      <a:pt x="85421" y="34670"/>
                    </a:lnTo>
                    <a:lnTo>
                      <a:pt x="87681" y="37592"/>
                    </a:lnTo>
                    <a:lnTo>
                      <a:pt x="89739" y="40513"/>
                    </a:lnTo>
                    <a:lnTo>
                      <a:pt x="90564" y="41909"/>
                    </a:lnTo>
                    <a:lnTo>
                      <a:pt x="91288" y="43433"/>
                    </a:lnTo>
                    <a:lnTo>
                      <a:pt x="91999" y="44831"/>
                    </a:lnTo>
                    <a:lnTo>
                      <a:pt x="92520" y="46227"/>
                    </a:lnTo>
                    <a:lnTo>
                      <a:pt x="93041" y="47625"/>
                    </a:lnTo>
                    <a:lnTo>
                      <a:pt x="93345" y="49149"/>
                    </a:lnTo>
                    <a:lnTo>
                      <a:pt x="93752" y="50419"/>
                    </a:lnTo>
                    <a:lnTo>
                      <a:pt x="93955" y="51943"/>
                    </a:lnTo>
                    <a:lnTo>
                      <a:pt x="94069" y="53339"/>
                    </a:lnTo>
                    <a:lnTo>
                      <a:pt x="94171" y="54863"/>
                    </a:lnTo>
                    <a:lnTo>
                      <a:pt x="93955" y="57784"/>
                    </a:lnTo>
                    <a:lnTo>
                      <a:pt x="93447" y="60706"/>
                    </a:lnTo>
                    <a:lnTo>
                      <a:pt x="92622" y="63753"/>
                    </a:lnTo>
                    <a:lnTo>
                      <a:pt x="91593" y="66928"/>
                    </a:lnTo>
                    <a:lnTo>
                      <a:pt x="90158" y="70103"/>
                    </a:lnTo>
                    <a:lnTo>
                      <a:pt x="88507" y="73532"/>
                    </a:lnTo>
                    <a:lnTo>
                      <a:pt x="86653" y="76962"/>
                    </a:lnTo>
                    <a:lnTo>
                      <a:pt x="93041" y="75183"/>
                    </a:lnTo>
                    <a:lnTo>
                      <a:pt x="99518" y="73532"/>
                    </a:lnTo>
                    <a:lnTo>
                      <a:pt x="102705" y="72770"/>
                    </a:lnTo>
                    <a:lnTo>
                      <a:pt x="106007" y="72008"/>
                    </a:lnTo>
                    <a:lnTo>
                      <a:pt x="109500" y="71374"/>
                    </a:lnTo>
                    <a:lnTo>
                      <a:pt x="112789" y="70865"/>
                    </a:lnTo>
                    <a:lnTo>
                      <a:pt x="110529" y="73406"/>
                    </a:lnTo>
                    <a:lnTo>
                      <a:pt x="108471" y="75945"/>
                    </a:lnTo>
                    <a:lnTo>
                      <a:pt x="106719" y="78486"/>
                    </a:lnTo>
                    <a:lnTo>
                      <a:pt x="105182" y="81026"/>
                    </a:lnTo>
                    <a:lnTo>
                      <a:pt x="103937" y="83438"/>
                    </a:lnTo>
                    <a:lnTo>
                      <a:pt x="102909" y="86106"/>
                    </a:lnTo>
                    <a:lnTo>
                      <a:pt x="102197" y="88519"/>
                    </a:lnTo>
                    <a:lnTo>
                      <a:pt x="101575" y="91058"/>
                    </a:lnTo>
                    <a:lnTo>
                      <a:pt x="101474" y="93726"/>
                    </a:lnTo>
                    <a:lnTo>
                      <a:pt x="101575" y="96519"/>
                    </a:lnTo>
                    <a:lnTo>
                      <a:pt x="102197" y="99313"/>
                    </a:lnTo>
                    <a:lnTo>
                      <a:pt x="103023" y="102107"/>
                    </a:lnTo>
                    <a:lnTo>
                      <a:pt x="104153" y="105156"/>
                    </a:lnTo>
                    <a:lnTo>
                      <a:pt x="105588" y="108076"/>
                    </a:lnTo>
                    <a:lnTo>
                      <a:pt x="107544" y="111378"/>
                    </a:lnTo>
                    <a:lnTo>
                      <a:pt x="109703" y="114681"/>
                    </a:lnTo>
                    <a:lnTo>
                      <a:pt x="111049" y="116332"/>
                    </a:lnTo>
                    <a:lnTo>
                      <a:pt x="111976" y="117856"/>
                    </a:lnTo>
                    <a:lnTo>
                      <a:pt x="112789" y="119507"/>
                    </a:lnTo>
                    <a:lnTo>
                      <a:pt x="113513" y="120903"/>
                    </a:lnTo>
                    <a:lnTo>
                      <a:pt x="114034" y="122427"/>
                    </a:lnTo>
                    <a:lnTo>
                      <a:pt x="114440" y="123951"/>
                    </a:lnTo>
                    <a:lnTo>
                      <a:pt x="114745" y="125349"/>
                    </a:lnTo>
                    <a:lnTo>
                      <a:pt x="114961" y="126619"/>
                    </a:lnTo>
                    <a:lnTo>
                      <a:pt x="114961" y="128015"/>
                    </a:lnTo>
                    <a:lnTo>
                      <a:pt x="114961" y="129158"/>
                    </a:lnTo>
                    <a:lnTo>
                      <a:pt x="114847" y="130428"/>
                    </a:lnTo>
                    <a:lnTo>
                      <a:pt x="114542" y="131699"/>
                    </a:lnTo>
                    <a:lnTo>
                      <a:pt x="114135" y="132714"/>
                    </a:lnTo>
                    <a:lnTo>
                      <a:pt x="113615" y="133857"/>
                    </a:lnTo>
                    <a:lnTo>
                      <a:pt x="113107" y="134874"/>
                    </a:lnTo>
                    <a:lnTo>
                      <a:pt x="112383" y="135889"/>
                    </a:lnTo>
                    <a:lnTo>
                      <a:pt x="111557" y="136778"/>
                    </a:lnTo>
                    <a:lnTo>
                      <a:pt x="110732" y="137794"/>
                    </a:lnTo>
                    <a:lnTo>
                      <a:pt x="109703" y="138557"/>
                    </a:lnTo>
                    <a:lnTo>
                      <a:pt x="108776" y="139319"/>
                    </a:lnTo>
                    <a:lnTo>
                      <a:pt x="107646" y="140207"/>
                    </a:lnTo>
                    <a:lnTo>
                      <a:pt x="106617" y="140969"/>
                    </a:lnTo>
                    <a:lnTo>
                      <a:pt x="105385" y="141605"/>
                    </a:lnTo>
                    <a:lnTo>
                      <a:pt x="103937" y="142239"/>
                    </a:lnTo>
                    <a:lnTo>
                      <a:pt x="102604" y="142875"/>
                    </a:lnTo>
                    <a:lnTo>
                      <a:pt x="101169" y="143382"/>
                    </a:lnTo>
                    <a:lnTo>
                      <a:pt x="98286" y="144271"/>
                    </a:lnTo>
                    <a:lnTo>
                      <a:pt x="95200" y="144907"/>
                    </a:lnTo>
                    <a:lnTo>
                      <a:pt x="91796" y="145542"/>
                    </a:lnTo>
                    <a:close/>
                    <a:moveTo>
                      <a:pt x="2369058" y="3508247"/>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555" name="Rectangle 1555"/>
              <p:cNvSpPr/>
              <p:nvPr/>
            </p:nvSpPr>
            <p:spPr>
              <a:xfrm>
                <a:off x="875364" y="3532553"/>
                <a:ext cx="381515" cy="154786"/>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Waste</a:t>
                </a:r>
              </a:p>
            </p:txBody>
          </p:sp>
          <p:sp>
            <p:nvSpPr>
              <p:cNvPr id="1327" name="Freeform 1327"/>
              <p:cNvSpPr/>
              <p:nvPr/>
            </p:nvSpPr>
            <p:spPr>
              <a:xfrm>
                <a:off x="1130538" y="3176052"/>
                <a:ext cx="57881" cy="118809"/>
              </a:xfrm>
              <a:custGeom>
                <a:avLst/>
                <a:gdLst/>
                <a:ahLst/>
                <a:cxnLst/>
                <a:rect l="0" t="0" r="0" b="0"/>
                <a:pathLst>
                  <a:path w="57911" h="118871">
                    <a:moveTo>
                      <a:pt x="52247" y="0"/>
                    </a:moveTo>
                    <a:lnTo>
                      <a:pt x="5664" y="0"/>
                    </a:lnTo>
                    <a:lnTo>
                      <a:pt x="0" y="118871"/>
                    </a:lnTo>
                    <a:lnTo>
                      <a:pt x="57911" y="118871"/>
                    </a:lnTo>
                    <a:lnTo>
                      <a:pt x="52247" y="0"/>
                    </a:lnTo>
                    <a:close/>
                    <a:moveTo>
                      <a:pt x="2578607" y="3697223"/>
                    </a:moveTo>
                    <a:moveTo>
                      <a:pt x="12585" y="91566"/>
                    </a:moveTo>
                    <a:lnTo>
                      <a:pt x="16471" y="8001"/>
                    </a:lnTo>
                    <a:lnTo>
                      <a:pt x="41338" y="8001"/>
                    </a:lnTo>
                    <a:lnTo>
                      <a:pt x="46062" y="108839"/>
                    </a:lnTo>
                    <a:lnTo>
                      <a:pt x="12585" y="91566"/>
                    </a:lnTo>
                    <a:close/>
                    <a:moveTo>
                      <a:pt x="2487041" y="3697223"/>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grpSp>
      </p:grpSp>
      <p:cxnSp>
        <p:nvCxnSpPr>
          <p:cNvPr id="521" name="Connector: Elbow 459">
            <a:extLst>
              <a:ext uri="{FF2B5EF4-FFF2-40B4-BE49-F238E27FC236}">
                <a16:creationId xmlns:a16="http://schemas.microsoft.com/office/drawing/2014/main" id="{0CC14BC3-9911-44EF-8F4F-6EBFA2C67AF0}"/>
              </a:ext>
            </a:extLst>
          </p:cNvPr>
          <p:cNvCxnSpPr>
            <a:cxnSpLocks/>
          </p:cNvCxnSpPr>
          <p:nvPr/>
        </p:nvCxnSpPr>
        <p:spPr>
          <a:xfrm>
            <a:off x="2024860" y="4820046"/>
            <a:ext cx="314809" cy="0"/>
          </a:xfrm>
          <a:prstGeom prst="straightConnector1">
            <a:avLst/>
          </a:prstGeom>
          <a:ln w="38100">
            <a:solidFill>
              <a:srgbClr val="188CE5"/>
            </a:solidFill>
            <a:tailEnd type="triangle"/>
          </a:ln>
        </p:spPr>
        <p:style>
          <a:lnRef idx="1">
            <a:schemeClr val="accent1"/>
          </a:lnRef>
          <a:fillRef idx="0">
            <a:schemeClr val="accent1"/>
          </a:fillRef>
          <a:effectRef idx="0">
            <a:schemeClr val="accent1"/>
          </a:effectRef>
          <a:fontRef idx="minor">
            <a:schemeClr val="tx1"/>
          </a:fontRef>
        </p:style>
      </p:cxnSp>
      <p:cxnSp>
        <p:nvCxnSpPr>
          <p:cNvPr id="460" name="Connector: Elbow 459">
            <a:extLst>
              <a:ext uri="{FF2B5EF4-FFF2-40B4-BE49-F238E27FC236}">
                <a16:creationId xmlns:a16="http://schemas.microsoft.com/office/drawing/2014/main" id="{BADDAAC0-A65C-4BD4-9125-78963D8E4047}"/>
              </a:ext>
            </a:extLst>
          </p:cNvPr>
          <p:cNvCxnSpPr>
            <a:cxnSpLocks/>
          </p:cNvCxnSpPr>
          <p:nvPr/>
        </p:nvCxnSpPr>
        <p:spPr>
          <a:xfrm flipV="1">
            <a:off x="1931719" y="4798925"/>
            <a:ext cx="0" cy="444632"/>
          </a:xfrm>
          <a:prstGeom prst="straightConnector1">
            <a:avLst/>
          </a:prstGeom>
          <a:ln w="38100">
            <a:solidFill>
              <a:srgbClr val="188CE5"/>
            </a:solidFill>
            <a:tailEnd type="triangle"/>
          </a:ln>
        </p:spPr>
        <p:style>
          <a:lnRef idx="1">
            <a:schemeClr val="accent1"/>
          </a:lnRef>
          <a:fillRef idx="0">
            <a:schemeClr val="accent1"/>
          </a:fillRef>
          <a:effectRef idx="0">
            <a:schemeClr val="accent1"/>
          </a:effectRef>
          <a:fontRef idx="minor">
            <a:schemeClr val="tx1"/>
          </a:fontRef>
        </p:style>
      </p:cxnSp>
      <p:sp>
        <p:nvSpPr>
          <p:cNvPr id="33" name="Diamond 32">
            <a:extLst>
              <a:ext uri="{FF2B5EF4-FFF2-40B4-BE49-F238E27FC236}">
                <a16:creationId xmlns:a16="http://schemas.microsoft.com/office/drawing/2014/main" id="{8AF3E66A-6015-4AC9-877A-6BA483B38E5B}"/>
              </a:ext>
            </a:extLst>
          </p:cNvPr>
          <p:cNvSpPr/>
          <p:nvPr/>
        </p:nvSpPr>
        <p:spPr>
          <a:xfrm>
            <a:off x="5935298" y="3345162"/>
            <a:ext cx="252738" cy="252736"/>
          </a:xfrm>
          <a:prstGeom prst="diamond">
            <a:avLst/>
          </a:prstGeom>
          <a:noFill/>
          <a:ln w="38100">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grpSp>
        <p:nvGrpSpPr>
          <p:cNvPr id="42" name="Group 41">
            <a:extLst>
              <a:ext uri="{FF2B5EF4-FFF2-40B4-BE49-F238E27FC236}">
                <a16:creationId xmlns:a16="http://schemas.microsoft.com/office/drawing/2014/main" id="{EDA1A74F-0849-4E9F-8FED-3B7250AE1CBE}"/>
              </a:ext>
            </a:extLst>
          </p:cNvPr>
          <p:cNvGrpSpPr/>
          <p:nvPr/>
        </p:nvGrpSpPr>
        <p:grpSpPr>
          <a:xfrm>
            <a:off x="7527180" y="3346572"/>
            <a:ext cx="1501347" cy="1688602"/>
            <a:chOff x="7527180" y="3346572"/>
            <a:chExt cx="1501347" cy="1688602"/>
          </a:xfrm>
        </p:grpSpPr>
        <p:sp>
          <p:nvSpPr>
            <p:cNvPr id="1267" name="Freeform 1267"/>
            <p:cNvSpPr/>
            <p:nvPr/>
          </p:nvSpPr>
          <p:spPr>
            <a:xfrm>
              <a:off x="7527180" y="3473416"/>
              <a:ext cx="1501347" cy="1561758"/>
            </a:xfrm>
            <a:custGeom>
              <a:avLst/>
              <a:gdLst/>
              <a:ahLst/>
              <a:cxnLst/>
              <a:rect l="0" t="0" r="0" b="0"/>
              <a:pathLst>
                <a:path w="1487424" h="1319784">
                  <a:moveTo>
                    <a:pt x="0" y="1319784"/>
                  </a:moveTo>
                  <a:lnTo>
                    <a:pt x="1487424" y="1319784"/>
                  </a:lnTo>
                  <a:lnTo>
                    <a:pt x="1487424" y="0"/>
                  </a:lnTo>
                  <a:lnTo>
                    <a:pt x="0" y="0"/>
                  </a:lnTo>
                  <a:lnTo>
                    <a:pt x="0" y="1319784"/>
                  </a:lnTo>
                  <a:close/>
                </a:path>
              </a:pathLst>
            </a:custGeom>
            <a:noFill/>
            <a:ln w="9525" cap="flat" cmpd="sng">
              <a:solidFill>
                <a:srgbClr val="FFF599"/>
              </a:solidFill>
              <a:custDash>
                <a:ds d="400000" sp="300000"/>
              </a:custDash>
              <a:round/>
            </a:ln>
          </p:spPr>
          <p:style>
            <a:lnRef idx="2">
              <a:schemeClr val="accent1">
                <a:shade val="50000"/>
              </a:schemeClr>
            </a:lnRef>
            <a:fillRef idx="1">
              <a:schemeClr val="accent1"/>
            </a:fillRef>
            <a:effectRef idx="0">
              <a:schemeClr val="accent1"/>
            </a:effectRef>
            <a:fontRef idx="minor">
              <a:schemeClr val="lt1"/>
            </a:fontRef>
          </p:style>
        </p:sp>
        <p:sp>
          <p:nvSpPr>
            <p:cNvPr id="1377" name="Freeform 1377"/>
            <p:cNvSpPr/>
            <p:nvPr/>
          </p:nvSpPr>
          <p:spPr>
            <a:xfrm>
              <a:off x="7785086" y="3686526"/>
              <a:ext cx="304482" cy="316661"/>
            </a:xfrm>
            <a:custGeom>
              <a:avLst/>
              <a:gdLst/>
              <a:ahLst/>
              <a:cxnLst/>
              <a:rect l="0" t="0" r="0" b="0"/>
              <a:pathLst>
                <a:path w="304800" h="316991">
                  <a:moveTo>
                    <a:pt x="293750" y="64897"/>
                  </a:moveTo>
                  <a:lnTo>
                    <a:pt x="293750" y="64897"/>
                  </a:lnTo>
                  <a:lnTo>
                    <a:pt x="292100" y="63500"/>
                  </a:lnTo>
                  <a:lnTo>
                    <a:pt x="290449" y="62357"/>
                  </a:lnTo>
                  <a:lnTo>
                    <a:pt x="288671" y="61213"/>
                  </a:lnTo>
                  <a:lnTo>
                    <a:pt x="287020" y="60325"/>
                  </a:lnTo>
                  <a:lnTo>
                    <a:pt x="285114" y="59309"/>
                  </a:lnTo>
                  <a:lnTo>
                    <a:pt x="283337" y="58673"/>
                  </a:lnTo>
                  <a:lnTo>
                    <a:pt x="281304" y="57912"/>
                  </a:lnTo>
                  <a:lnTo>
                    <a:pt x="279400" y="57404"/>
                  </a:lnTo>
                  <a:lnTo>
                    <a:pt x="277495" y="56895"/>
                  </a:lnTo>
                  <a:lnTo>
                    <a:pt x="275462" y="56388"/>
                  </a:lnTo>
                  <a:lnTo>
                    <a:pt x="271399" y="55753"/>
                  </a:lnTo>
                  <a:lnTo>
                    <a:pt x="267462" y="55117"/>
                  </a:lnTo>
                  <a:lnTo>
                    <a:pt x="263398" y="54737"/>
                  </a:lnTo>
                  <a:lnTo>
                    <a:pt x="85344" y="38481"/>
                  </a:lnTo>
                  <a:lnTo>
                    <a:pt x="119761" y="16891"/>
                  </a:lnTo>
                  <a:lnTo>
                    <a:pt x="120903" y="16129"/>
                  </a:lnTo>
                  <a:lnTo>
                    <a:pt x="121920" y="15366"/>
                  </a:lnTo>
                  <a:lnTo>
                    <a:pt x="122936" y="14478"/>
                  </a:lnTo>
                  <a:lnTo>
                    <a:pt x="123571" y="13588"/>
                  </a:lnTo>
                  <a:lnTo>
                    <a:pt x="124205" y="12826"/>
                  </a:lnTo>
                  <a:lnTo>
                    <a:pt x="124587" y="11938"/>
                  </a:lnTo>
                  <a:lnTo>
                    <a:pt x="124967" y="11048"/>
                  </a:lnTo>
                  <a:lnTo>
                    <a:pt x="125222" y="10160"/>
                  </a:lnTo>
                  <a:lnTo>
                    <a:pt x="125222" y="9397"/>
                  </a:lnTo>
                  <a:lnTo>
                    <a:pt x="125222" y="8635"/>
                  </a:lnTo>
                  <a:lnTo>
                    <a:pt x="125095" y="7747"/>
                  </a:lnTo>
                  <a:lnTo>
                    <a:pt x="124840" y="6857"/>
                  </a:lnTo>
                  <a:lnTo>
                    <a:pt x="124587" y="6222"/>
                  </a:lnTo>
                  <a:lnTo>
                    <a:pt x="124205" y="5334"/>
                  </a:lnTo>
                  <a:lnTo>
                    <a:pt x="123571" y="4698"/>
                  </a:lnTo>
                  <a:lnTo>
                    <a:pt x="123062" y="4063"/>
                  </a:lnTo>
                  <a:lnTo>
                    <a:pt x="122427" y="3429"/>
                  </a:lnTo>
                  <a:lnTo>
                    <a:pt x="121665" y="2920"/>
                  </a:lnTo>
                  <a:lnTo>
                    <a:pt x="120776" y="2285"/>
                  </a:lnTo>
                  <a:lnTo>
                    <a:pt x="120014" y="1778"/>
                  </a:lnTo>
                  <a:lnTo>
                    <a:pt x="119252" y="1269"/>
                  </a:lnTo>
                  <a:lnTo>
                    <a:pt x="118363" y="888"/>
                  </a:lnTo>
                  <a:lnTo>
                    <a:pt x="117221" y="635"/>
                  </a:lnTo>
                  <a:lnTo>
                    <a:pt x="116332" y="381"/>
                  </a:lnTo>
                  <a:lnTo>
                    <a:pt x="115315" y="254"/>
                  </a:lnTo>
                  <a:lnTo>
                    <a:pt x="114300" y="0"/>
                  </a:lnTo>
                  <a:lnTo>
                    <a:pt x="113157" y="0"/>
                  </a:lnTo>
                  <a:lnTo>
                    <a:pt x="112267" y="0"/>
                  </a:lnTo>
                  <a:lnTo>
                    <a:pt x="111251" y="126"/>
                  </a:lnTo>
                  <a:lnTo>
                    <a:pt x="110109" y="381"/>
                  </a:lnTo>
                  <a:lnTo>
                    <a:pt x="109092" y="635"/>
                  </a:lnTo>
                  <a:lnTo>
                    <a:pt x="108076" y="888"/>
                  </a:lnTo>
                  <a:lnTo>
                    <a:pt x="22987" y="36575"/>
                  </a:lnTo>
                  <a:lnTo>
                    <a:pt x="21336" y="37084"/>
                  </a:lnTo>
                  <a:lnTo>
                    <a:pt x="19812" y="37719"/>
                  </a:lnTo>
                  <a:lnTo>
                    <a:pt x="18414" y="38354"/>
                  </a:lnTo>
                  <a:lnTo>
                    <a:pt x="17017" y="38988"/>
                  </a:lnTo>
                  <a:lnTo>
                    <a:pt x="15621" y="39623"/>
                  </a:lnTo>
                  <a:lnTo>
                    <a:pt x="14224" y="40513"/>
                  </a:lnTo>
                  <a:lnTo>
                    <a:pt x="13080" y="41147"/>
                  </a:lnTo>
                  <a:lnTo>
                    <a:pt x="11811" y="42037"/>
                  </a:lnTo>
                  <a:lnTo>
                    <a:pt x="9651" y="43814"/>
                  </a:lnTo>
                  <a:lnTo>
                    <a:pt x="7747" y="45719"/>
                  </a:lnTo>
                  <a:lnTo>
                    <a:pt x="5969" y="47751"/>
                  </a:lnTo>
                  <a:lnTo>
                    <a:pt x="4317" y="49910"/>
                  </a:lnTo>
                  <a:lnTo>
                    <a:pt x="3048" y="52069"/>
                  </a:lnTo>
                  <a:lnTo>
                    <a:pt x="2159" y="54356"/>
                  </a:lnTo>
                  <a:lnTo>
                    <a:pt x="1142" y="56895"/>
                  </a:lnTo>
                  <a:lnTo>
                    <a:pt x="635" y="59309"/>
                  </a:lnTo>
                  <a:lnTo>
                    <a:pt x="253" y="61722"/>
                  </a:lnTo>
                  <a:lnTo>
                    <a:pt x="0" y="64262"/>
                  </a:lnTo>
                  <a:lnTo>
                    <a:pt x="126" y="66801"/>
                  </a:lnTo>
                  <a:lnTo>
                    <a:pt x="508" y="69341"/>
                  </a:lnTo>
                  <a:lnTo>
                    <a:pt x="888" y="71754"/>
                  </a:lnTo>
                  <a:lnTo>
                    <a:pt x="1777" y="74422"/>
                  </a:lnTo>
                  <a:lnTo>
                    <a:pt x="2794" y="76835"/>
                  </a:lnTo>
                  <a:lnTo>
                    <a:pt x="3937" y="79247"/>
                  </a:lnTo>
                  <a:lnTo>
                    <a:pt x="5334" y="81534"/>
                  </a:lnTo>
                  <a:lnTo>
                    <a:pt x="7112" y="83819"/>
                  </a:lnTo>
                  <a:lnTo>
                    <a:pt x="9016" y="86106"/>
                  </a:lnTo>
                  <a:lnTo>
                    <a:pt x="11175" y="88138"/>
                  </a:lnTo>
                  <a:lnTo>
                    <a:pt x="13588" y="90169"/>
                  </a:lnTo>
                  <a:lnTo>
                    <a:pt x="16128" y="92075"/>
                  </a:lnTo>
                  <a:lnTo>
                    <a:pt x="19050" y="93598"/>
                  </a:lnTo>
                  <a:lnTo>
                    <a:pt x="20574" y="94488"/>
                  </a:lnTo>
                  <a:lnTo>
                    <a:pt x="21971" y="95122"/>
                  </a:lnTo>
                  <a:lnTo>
                    <a:pt x="23749" y="95885"/>
                  </a:lnTo>
                  <a:lnTo>
                    <a:pt x="25400" y="96647"/>
                  </a:lnTo>
                  <a:lnTo>
                    <a:pt x="27177" y="97282"/>
                  </a:lnTo>
                  <a:lnTo>
                    <a:pt x="28955" y="97789"/>
                  </a:lnTo>
                  <a:lnTo>
                    <a:pt x="30734" y="98425"/>
                  </a:lnTo>
                  <a:lnTo>
                    <a:pt x="32765" y="98806"/>
                  </a:lnTo>
                  <a:lnTo>
                    <a:pt x="34671" y="99187"/>
                  </a:lnTo>
                  <a:lnTo>
                    <a:pt x="36702" y="99567"/>
                  </a:lnTo>
                  <a:lnTo>
                    <a:pt x="170434" y="121285"/>
                  </a:lnTo>
                  <a:lnTo>
                    <a:pt x="38862" y="229107"/>
                  </a:lnTo>
                  <a:lnTo>
                    <a:pt x="36702" y="230885"/>
                  </a:lnTo>
                  <a:lnTo>
                    <a:pt x="34671" y="232917"/>
                  </a:lnTo>
                  <a:lnTo>
                    <a:pt x="32765" y="234950"/>
                  </a:lnTo>
                  <a:lnTo>
                    <a:pt x="31114" y="236982"/>
                  </a:lnTo>
                  <a:lnTo>
                    <a:pt x="29463" y="239141"/>
                  </a:lnTo>
                  <a:lnTo>
                    <a:pt x="28066" y="241426"/>
                  </a:lnTo>
                  <a:lnTo>
                    <a:pt x="26670" y="243713"/>
                  </a:lnTo>
                  <a:lnTo>
                    <a:pt x="25400" y="245872"/>
                  </a:lnTo>
                  <a:lnTo>
                    <a:pt x="24384" y="248285"/>
                  </a:lnTo>
                  <a:lnTo>
                    <a:pt x="23240" y="250697"/>
                  </a:lnTo>
                  <a:lnTo>
                    <a:pt x="22478" y="252984"/>
                  </a:lnTo>
                  <a:lnTo>
                    <a:pt x="21844" y="255523"/>
                  </a:lnTo>
                  <a:lnTo>
                    <a:pt x="21336" y="257937"/>
                  </a:lnTo>
                  <a:lnTo>
                    <a:pt x="20700" y="260350"/>
                  </a:lnTo>
                  <a:lnTo>
                    <a:pt x="20574" y="262763"/>
                  </a:lnTo>
                  <a:lnTo>
                    <a:pt x="20320" y="265303"/>
                  </a:lnTo>
                  <a:lnTo>
                    <a:pt x="20320" y="267842"/>
                  </a:lnTo>
                  <a:lnTo>
                    <a:pt x="20447" y="270256"/>
                  </a:lnTo>
                  <a:lnTo>
                    <a:pt x="20700" y="272795"/>
                  </a:lnTo>
                  <a:lnTo>
                    <a:pt x="21082" y="275209"/>
                  </a:lnTo>
                  <a:lnTo>
                    <a:pt x="21589" y="277748"/>
                  </a:lnTo>
                  <a:lnTo>
                    <a:pt x="22225" y="280035"/>
                  </a:lnTo>
                  <a:lnTo>
                    <a:pt x="23113" y="282575"/>
                  </a:lnTo>
                  <a:lnTo>
                    <a:pt x="24129" y="284860"/>
                  </a:lnTo>
                  <a:lnTo>
                    <a:pt x="25146" y="287147"/>
                  </a:lnTo>
                  <a:lnTo>
                    <a:pt x="26415" y="289560"/>
                  </a:lnTo>
                  <a:lnTo>
                    <a:pt x="27812" y="291719"/>
                  </a:lnTo>
                  <a:lnTo>
                    <a:pt x="29337" y="294004"/>
                  </a:lnTo>
                  <a:lnTo>
                    <a:pt x="30987" y="296163"/>
                  </a:lnTo>
                  <a:lnTo>
                    <a:pt x="32765" y="298322"/>
                  </a:lnTo>
                  <a:lnTo>
                    <a:pt x="34798" y="300354"/>
                  </a:lnTo>
                  <a:lnTo>
                    <a:pt x="36957" y="302387"/>
                  </a:lnTo>
                  <a:lnTo>
                    <a:pt x="39242" y="304164"/>
                  </a:lnTo>
                  <a:lnTo>
                    <a:pt x="41401" y="305816"/>
                  </a:lnTo>
                  <a:lnTo>
                    <a:pt x="43561" y="307466"/>
                  </a:lnTo>
                  <a:lnTo>
                    <a:pt x="45974" y="308863"/>
                  </a:lnTo>
                  <a:lnTo>
                    <a:pt x="48513" y="310134"/>
                  </a:lnTo>
                  <a:lnTo>
                    <a:pt x="50926" y="311404"/>
                  </a:lnTo>
                  <a:lnTo>
                    <a:pt x="53466" y="312547"/>
                  </a:lnTo>
                  <a:lnTo>
                    <a:pt x="56007" y="313435"/>
                  </a:lnTo>
                  <a:lnTo>
                    <a:pt x="58674" y="314325"/>
                  </a:lnTo>
                  <a:lnTo>
                    <a:pt x="61467" y="315087"/>
                  </a:lnTo>
                  <a:lnTo>
                    <a:pt x="64008" y="315722"/>
                  </a:lnTo>
                  <a:lnTo>
                    <a:pt x="66801" y="316229"/>
                  </a:lnTo>
                  <a:lnTo>
                    <a:pt x="69596" y="316610"/>
                  </a:lnTo>
                  <a:lnTo>
                    <a:pt x="72389" y="316738"/>
                  </a:lnTo>
                  <a:lnTo>
                    <a:pt x="75184" y="316991"/>
                  </a:lnTo>
                  <a:lnTo>
                    <a:pt x="77977" y="316991"/>
                  </a:lnTo>
                  <a:lnTo>
                    <a:pt x="80772" y="316864"/>
                  </a:lnTo>
                  <a:lnTo>
                    <a:pt x="83565" y="316610"/>
                  </a:lnTo>
                  <a:lnTo>
                    <a:pt x="86360" y="316357"/>
                  </a:lnTo>
                  <a:lnTo>
                    <a:pt x="89026" y="315975"/>
                  </a:lnTo>
                  <a:lnTo>
                    <a:pt x="91821" y="315467"/>
                  </a:lnTo>
                  <a:lnTo>
                    <a:pt x="94487" y="314706"/>
                  </a:lnTo>
                  <a:lnTo>
                    <a:pt x="97154" y="314070"/>
                  </a:lnTo>
                  <a:lnTo>
                    <a:pt x="99822" y="313182"/>
                  </a:lnTo>
                  <a:lnTo>
                    <a:pt x="102362" y="312038"/>
                  </a:lnTo>
                  <a:lnTo>
                    <a:pt x="105028" y="311022"/>
                  </a:lnTo>
                  <a:lnTo>
                    <a:pt x="107569" y="309753"/>
                  </a:lnTo>
                  <a:lnTo>
                    <a:pt x="109854" y="308356"/>
                  </a:lnTo>
                  <a:lnTo>
                    <a:pt x="112267" y="306959"/>
                  </a:lnTo>
                  <a:lnTo>
                    <a:pt x="114426" y="305307"/>
                  </a:lnTo>
                  <a:lnTo>
                    <a:pt x="116839" y="303784"/>
                  </a:lnTo>
                  <a:lnTo>
                    <a:pt x="118872" y="301879"/>
                  </a:lnTo>
                  <a:lnTo>
                    <a:pt x="271145" y="137667"/>
                  </a:lnTo>
                  <a:lnTo>
                    <a:pt x="271652" y="137794"/>
                  </a:lnTo>
                  <a:lnTo>
                    <a:pt x="271779" y="137160"/>
                  </a:lnTo>
                  <a:lnTo>
                    <a:pt x="294639" y="112394"/>
                  </a:lnTo>
                  <a:lnTo>
                    <a:pt x="295783" y="110997"/>
                  </a:lnTo>
                  <a:lnTo>
                    <a:pt x="297052" y="109728"/>
                  </a:lnTo>
                  <a:lnTo>
                    <a:pt x="298069" y="108331"/>
                  </a:lnTo>
                  <a:lnTo>
                    <a:pt x="298958" y="106807"/>
                  </a:lnTo>
                  <a:lnTo>
                    <a:pt x="299847" y="105410"/>
                  </a:lnTo>
                  <a:lnTo>
                    <a:pt x="300736" y="104013"/>
                  </a:lnTo>
                  <a:lnTo>
                    <a:pt x="301498" y="102362"/>
                  </a:lnTo>
                  <a:lnTo>
                    <a:pt x="302133" y="100964"/>
                  </a:lnTo>
                  <a:lnTo>
                    <a:pt x="302640" y="99441"/>
                  </a:lnTo>
                  <a:lnTo>
                    <a:pt x="303275" y="97916"/>
                  </a:lnTo>
                  <a:lnTo>
                    <a:pt x="303784" y="96266"/>
                  </a:lnTo>
                  <a:lnTo>
                    <a:pt x="304164" y="94741"/>
                  </a:lnTo>
                  <a:lnTo>
                    <a:pt x="304291" y="93217"/>
                  </a:lnTo>
                  <a:lnTo>
                    <a:pt x="304546" y="91694"/>
                  </a:lnTo>
                  <a:lnTo>
                    <a:pt x="304800" y="90169"/>
                  </a:lnTo>
                  <a:lnTo>
                    <a:pt x="304800" y="88391"/>
                  </a:lnTo>
                  <a:lnTo>
                    <a:pt x="304800" y="86867"/>
                  </a:lnTo>
                  <a:lnTo>
                    <a:pt x="304673" y="85344"/>
                  </a:lnTo>
                  <a:lnTo>
                    <a:pt x="304419" y="83819"/>
                  </a:lnTo>
                  <a:lnTo>
                    <a:pt x="304164" y="82295"/>
                  </a:lnTo>
                  <a:lnTo>
                    <a:pt x="303784" y="80772"/>
                  </a:lnTo>
                  <a:lnTo>
                    <a:pt x="303275" y="79120"/>
                  </a:lnTo>
                  <a:lnTo>
                    <a:pt x="302895" y="77723"/>
                  </a:lnTo>
                  <a:lnTo>
                    <a:pt x="302133" y="76200"/>
                  </a:lnTo>
                  <a:lnTo>
                    <a:pt x="301498" y="74548"/>
                  </a:lnTo>
                  <a:lnTo>
                    <a:pt x="300736" y="73151"/>
                  </a:lnTo>
                  <a:lnTo>
                    <a:pt x="299720" y="71754"/>
                  </a:lnTo>
                  <a:lnTo>
                    <a:pt x="298703" y="70231"/>
                  </a:lnTo>
                  <a:lnTo>
                    <a:pt x="297687" y="68834"/>
                  </a:lnTo>
                  <a:lnTo>
                    <a:pt x="296417" y="67563"/>
                  </a:lnTo>
                  <a:lnTo>
                    <a:pt x="295148" y="66166"/>
                  </a:lnTo>
                  <a:lnTo>
                    <a:pt x="293750" y="64897"/>
                  </a:lnTo>
                  <a:close/>
                  <a:moveTo>
                    <a:pt x="-4536314" y="3139439"/>
                  </a:moveTo>
                  <a:moveTo>
                    <a:pt x="39370" y="86741"/>
                  </a:moveTo>
                  <a:lnTo>
                    <a:pt x="39370" y="86741"/>
                  </a:lnTo>
                  <a:lnTo>
                    <a:pt x="35813" y="85979"/>
                  </a:lnTo>
                  <a:lnTo>
                    <a:pt x="32512" y="85216"/>
                  </a:lnTo>
                  <a:lnTo>
                    <a:pt x="29463" y="84200"/>
                  </a:lnTo>
                  <a:lnTo>
                    <a:pt x="26797" y="83057"/>
                  </a:lnTo>
                  <a:lnTo>
                    <a:pt x="24384" y="81788"/>
                  </a:lnTo>
                  <a:lnTo>
                    <a:pt x="22225" y="80517"/>
                  </a:lnTo>
                  <a:lnTo>
                    <a:pt x="20320" y="78994"/>
                  </a:lnTo>
                  <a:lnTo>
                    <a:pt x="18669" y="77469"/>
                  </a:lnTo>
                  <a:lnTo>
                    <a:pt x="17272" y="75945"/>
                  </a:lnTo>
                  <a:lnTo>
                    <a:pt x="16383" y="74294"/>
                  </a:lnTo>
                  <a:lnTo>
                    <a:pt x="15494" y="72516"/>
                  </a:lnTo>
                  <a:lnTo>
                    <a:pt x="14859" y="70866"/>
                  </a:lnTo>
                  <a:lnTo>
                    <a:pt x="14477" y="69088"/>
                  </a:lnTo>
                  <a:lnTo>
                    <a:pt x="14350" y="67182"/>
                  </a:lnTo>
                  <a:lnTo>
                    <a:pt x="14477" y="65532"/>
                  </a:lnTo>
                  <a:lnTo>
                    <a:pt x="14732" y="63754"/>
                  </a:lnTo>
                  <a:lnTo>
                    <a:pt x="15239" y="61975"/>
                  </a:lnTo>
                  <a:lnTo>
                    <a:pt x="16001" y="60451"/>
                  </a:lnTo>
                  <a:lnTo>
                    <a:pt x="16890" y="58800"/>
                  </a:lnTo>
                  <a:lnTo>
                    <a:pt x="18034" y="57150"/>
                  </a:lnTo>
                  <a:lnTo>
                    <a:pt x="19303" y="55753"/>
                  </a:lnTo>
                  <a:lnTo>
                    <a:pt x="20700" y="54356"/>
                  </a:lnTo>
                  <a:lnTo>
                    <a:pt x="22351" y="52959"/>
                  </a:lnTo>
                  <a:lnTo>
                    <a:pt x="24129" y="51816"/>
                  </a:lnTo>
                  <a:lnTo>
                    <a:pt x="26035" y="50672"/>
                  </a:lnTo>
                  <a:lnTo>
                    <a:pt x="28194" y="49784"/>
                  </a:lnTo>
                  <a:lnTo>
                    <a:pt x="30479" y="49022"/>
                  </a:lnTo>
                  <a:lnTo>
                    <a:pt x="32765" y="48387"/>
                  </a:lnTo>
                  <a:lnTo>
                    <a:pt x="35305" y="48006"/>
                  </a:lnTo>
                  <a:lnTo>
                    <a:pt x="37973" y="47751"/>
                  </a:lnTo>
                  <a:lnTo>
                    <a:pt x="40766" y="47751"/>
                  </a:lnTo>
                  <a:lnTo>
                    <a:pt x="43561" y="47879"/>
                  </a:lnTo>
                  <a:lnTo>
                    <a:pt x="76708" y="50926"/>
                  </a:lnTo>
                  <a:lnTo>
                    <a:pt x="75184" y="52069"/>
                  </a:lnTo>
                  <a:lnTo>
                    <a:pt x="73913" y="53213"/>
                  </a:lnTo>
                  <a:lnTo>
                    <a:pt x="72389" y="54356"/>
                  </a:lnTo>
                  <a:lnTo>
                    <a:pt x="71120" y="55625"/>
                  </a:lnTo>
                  <a:lnTo>
                    <a:pt x="70103" y="56895"/>
                  </a:lnTo>
                  <a:lnTo>
                    <a:pt x="68961" y="58292"/>
                  </a:lnTo>
                  <a:lnTo>
                    <a:pt x="67945" y="59689"/>
                  </a:lnTo>
                  <a:lnTo>
                    <a:pt x="66928" y="61087"/>
                  </a:lnTo>
                  <a:lnTo>
                    <a:pt x="66166" y="62610"/>
                  </a:lnTo>
                  <a:lnTo>
                    <a:pt x="65532" y="64135"/>
                  </a:lnTo>
                  <a:lnTo>
                    <a:pt x="64770" y="65659"/>
                  </a:lnTo>
                  <a:lnTo>
                    <a:pt x="64262" y="67310"/>
                  </a:lnTo>
                  <a:lnTo>
                    <a:pt x="63880" y="68960"/>
                  </a:lnTo>
                  <a:lnTo>
                    <a:pt x="63626" y="70738"/>
                  </a:lnTo>
                  <a:lnTo>
                    <a:pt x="63373" y="72389"/>
                  </a:lnTo>
                  <a:lnTo>
                    <a:pt x="63373" y="74167"/>
                  </a:lnTo>
                  <a:lnTo>
                    <a:pt x="63500" y="76581"/>
                  </a:lnTo>
                  <a:lnTo>
                    <a:pt x="63880" y="78994"/>
                  </a:lnTo>
                  <a:lnTo>
                    <a:pt x="64515" y="81279"/>
                  </a:lnTo>
                  <a:lnTo>
                    <a:pt x="65277" y="83566"/>
                  </a:lnTo>
                  <a:lnTo>
                    <a:pt x="66421" y="85725"/>
                  </a:lnTo>
                  <a:lnTo>
                    <a:pt x="67690" y="87884"/>
                  </a:lnTo>
                  <a:lnTo>
                    <a:pt x="69214" y="89916"/>
                  </a:lnTo>
                  <a:lnTo>
                    <a:pt x="70865" y="91820"/>
                  </a:lnTo>
                  <a:lnTo>
                    <a:pt x="39370" y="86741"/>
                  </a:lnTo>
                  <a:close/>
                  <a:moveTo>
                    <a:pt x="-4558158" y="3139439"/>
                  </a:moveTo>
                  <a:moveTo>
                    <a:pt x="89788" y="94869"/>
                  </a:moveTo>
                  <a:lnTo>
                    <a:pt x="89915" y="94741"/>
                  </a:lnTo>
                  <a:lnTo>
                    <a:pt x="88011" y="93853"/>
                  </a:lnTo>
                  <a:lnTo>
                    <a:pt x="86105" y="92963"/>
                  </a:lnTo>
                  <a:lnTo>
                    <a:pt x="84454" y="91947"/>
                  </a:lnTo>
                  <a:lnTo>
                    <a:pt x="82803" y="90932"/>
                  </a:lnTo>
                  <a:lnTo>
                    <a:pt x="81279" y="89662"/>
                  </a:lnTo>
                  <a:lnTo>
                    <a:pt x="79755" y="88519"/>
                  </a:lnTo>
                  <a:lnTo>
                    <a:pt x="78486" y="87248"/>
                  </a:lnTo>
                  <a:lnTo>
                    <a:pt x="77342" y="85979"/>
                  </a:lnTo>
                  <a:lnTo>
                    <a:pt x="76326" y="84582"/>
                  </a:lnTo>
                  <a:lnTo>
                    <a:pt x="75437" y="83185"/>
                  </a:lnTo>
                  <a:lnTo>
                    <a:pt x="74422" y="81788"/>
                  </a:lnTo>
                  <a:lnTo>
                    <a:pt x="73787" y="80263"/>
                  </a:lnTo>
                  <a:lnTo>
                    <a:pt x="73278" y="78739"/>
                  </a:lnTo>
                  <a:lnTo>
                    <a:pt x="72771" y="77216"/>
                  </a:lnTo>
                  <a:lnTo>
                    <a:pt x="72644" y="75691"/>
                  </a:lnTo>
                  <a:lnTo>
                    <a:pt x="72644" y="74167"/>
                  </a:lnTo>
                  <a:lnTo>
                    <a:pt x="72644" y="72389"/>
                  </a:lnTo>
                  <a:lnTo>
                    <a:pt x="72898" y="70612"/>
                  </a:lnTo>
                  <a:lnTo>
                    <a:pt x="73405" y="68960"/>
                  </a:lnTo>
                  <a:lnTo>
                    <a:pt x="73913" y="67182"/>
                  </a:lnTo>
                  <a:lnTo>
                    <a:pt x="74802" y="65659"/>
                  </a:lnTo>
                  <a:lnTo>
                    <a:pt x="75691" y="64135"/>
                  </a:lnTo>
                  <a:lnTo>
                    <a:pt x="76835" y="62610"/>
                  </a:lnTo>
                  <a:lnTo>
                    <a:pt x="78104" y="61087"/>
                  </a:lnTo>
                  <a:lnTo>
                    <a:pt x="79501" y="59689"/>
                  </a:lnTo>
                  <a:lnTo>
                    <a:pt x="81025" y="58419"/>
                  </a:lnTo>
                  <a:lnTo>
                    <a:pt x="82676" y="57150"/>
                  </a:lnTo>
                  <a:lnTo>
                    <a:pt x="84454" y="56007"/>
                  </a:lnTo>
                  <a:lnTo>
                    <a:pt x="86360" y="54991"/>
                  </a:lnTo>
                  <a:lnTo>
                    <a:pt x="88391" y="53975"/>
                  </a:lnTo>
                  <a:lnTo>
                    <a:pt x="90550" y="53213"/>
                  </a:lnTo>
                  <a:lnTo>
                    <a:pt x="92963" y="52450"/>
                  </a:lnTo>
                  <a:lnTo>
                    <a:pt x="161671" y="58928"/>
                  </a:lnTo>
                  <a:lnTo>
                    <a:pt x="160020" y="60070"/>
                  </a:lnTo>
                  <a:lnTo>
                    <a:pt x="158496" y="61341"/>
                  </a:lnTo>
                  <a:lnTo>
                    <a:pt x="156972" y="62738"/>
                  </a:lnTo>
                  <a:lnTo>
                    <a:pt x="155448" y="64135"/>
                  </a:lnTo>
                  <a:lnTo>
                    <a:pt x="154304" y="65659"/>
                  </a:lnTo>
                  <a:lnTo>
                    <a:pt x="153035" y="67182"/>
                  </a:lnTo>
                  <a:lnTo>
                    <a:pt x="151891" y="68707"/>
                  </a:lnTo>
                  <a:lnTo>
                    <a:pt x="150875" y="70231"/>
                  </a:lnTo>
                  <a:lnTo>
                    <a:pt x="149987" y="71882"/>
                  </a:lnTo>
                  <a:lnTo>
                    <a:pt x="149225" y="73660"/>
                  </a:lnTo>
                  <a:lnTo>
                    <a:pt x="148462" y="75438"/>
                  </a:lnTo>
                  <a:lnTo>
                    <a:pt x="147954" y="77216"/>
                  </a:lnTo>
                  <a:lnTo>
                    <a:pt x="147447" y="79120"/>
                  </a:lnTo>
                  <a:lnTo>
                    <a:pt x="147065" y="80898"/>
                  </a:lnTo>
                  <a:lnTo>
                    <a:pt x="146812" y="82804"/>
                  </a:lnTo>
                  <a:lnTo>
                    <a:pt x="146812" y="84835"/>
                  </a:lnTo>
                  <a:lnTo>
                    <a:pt x="146812" y="86232"/>
                  </a:lnTo>
                  <a:lnTo>
                    <a:pt x="147065" y="87629"/>
                  </a:lnTo>
                  <a:lnTo>
                    <a:pt x="147192" y="89154"/>
                  </a:lnTo>
                  <a:lnTo>
                    <a:pt x="147447" y="90550"/>
                  </a:lnTo>
                  <a:lnTo>
                    <a:pt x="147954" y="91947"/>
                  </a:lnTo>
                  <a:lnTo>
                    <a:pt x="148336" y="93344"/>
                  </a:lnTo>
                  <a:lnTo>
                    <a:pt x="148844" y="94741"/>
                  </a:lnTo>
                  <a:lnTo>
                    <a:pt x="149351" y="96012"/>
                  </a:lnTo>
                  <a:lnTo>
                    <a:pt x="150113" y="97282"/>
                  </a:lnTo>
                  <a:lnTo>
                    <a:pt x="150875" y="98679"/>
                  </a:lnTo>
                  <a:lnTo>
                    <a:pt x="151637" y="99948"/>
                  </a:lnTo>
                  <a:lnTo>
                    <a:pt x="152400" y="101091"/>
                  </a:lnTo>
                  <a:lnTo>
                    <a:pt x="154304" y="103378"/>
                  </a:lnTo>
                  <a:lnTo>
                    <a:pt x="156463" y="105663"/>
                  </a:lnTo>
                  <a:lnTo>
                    <a:pt x="89788" y="94869"/>
                  </a:lnTo>
                  <a:close/>
                  <a:moveTo>
                    <a:pt x="-4566286" y="3139439"/>
                  </a:moveTo>
                  <a:moveTo>
                    <a:pt x="167512" y="104013"/>
                  </a:moveTo>
                  <a:lnTo>
                    <a:pt x="167512" y="104013"/>
                  </a:lnTo>
                  <a:lnTo>
                    <a:pt x="166242" y="102997"/>
                  </a:lnTo>
                  <a:lnTo>
                    <a:pt x="165100" y="101854"/>
                  </a:lnTo>
                  <a:lnTo>
                    <a:pt x="163829" y="100838"/>
                  </a:lnTo>
                  <a:lnTo>
                    <a:pt x="162687" y="99822"/>
                  </a:lnTo>
                  <a:lnTo>
                    <a:pt x="161671" y="98679"/>
                  </a:lnTo>
                  <a:lnTo>
                    <a:pt x="160782" y="97535"/>
                  </a:lnTo>
                  <a:lnTo>
                    <a:pt x="159892" y="96266"/>
                  </a:lnTo>
                  <a:lnTo>
                    <a:pt x="159130" y="95122"/>
                  </a:lnTo>
                  <a:lnTo>
                    <a:pt x="158369" y="93853"/>
                  </a:lnTo>
                  <a:lnTo>
                    <a:pt x="157734" y="92582"/>
                  </a:lnTo>
                  <a:lnTo>
                    <a:pt x="157225" y="91313"/>
                  </a:lnTo>
                  <a:lnTo>
                    <a:pt x="156717" y="90169"/>
                  </a:lnTo>
                  <a:lnTo>
                    <a:pt x="156463" y="88772"/>
                  </a:lnTo>
                  <a:lnTo>
                    <a:pt x="156210" y="87503"/>
                  </a:lnTo>
                  <a:lnTo>
                    <a:pt x="156083" y="86106"/>
                  </a:lnTo>
                  <a:lnTo>
                    <a:pt x="155955" y="84835"/>
                  </a:lnTo>
                  <a:lnTo>
                    <a:pt x="156083" y="82804"/>
                  </a:lnTo>
                  <a:lnTo>
                    <a:pt x="156463" y="80898"/>
                  </a:lnTo>
                  <a:lnTo>
                    <a:pt x="156845" y="78994"/>
                  </a:lnTo>
                  <a:lnTo>
                    <a:pt x="157479" y="77088"/>
                  </a:lnTo>
                  <a:lnTo>
                    <a:pt x="158369" y="75438"/>
                  </a:lnTo>
                  <a:lnTo>
                    <a:pt x="159258" y="73660"/>
                  </a:lnTo>
                  <a:lnTo>
                    <a:pt x="160400" y="71882"/>
                  </a:lnTo>
                  <a:lnTo>
                    <a:pt x="161671" y="70231"/>
                  </a:lnTo>
                  <a:lnTo>
                    <a:pt x="163195" y="68707"/>
                  </a:lnTo>
                  <a:lnTo>
                    <a:pt x="164846" y="67182"/>
                  </a:lnTo>
                  <a:lnTo>
                    <a:pt x="166624" y="65913"/>
                  </a:lnTo>
                  <a:lnTo>
                    <a:pt x="168401" y="64516"/>
                  </a:lnTo>
                  <a:lnTo>
                    <a:pt x="170307" y="63372"/>
                  </a:lnTo>
                  <a:lnTo>
                    <a:pt x="172465" y="62229"/>
                  </a:lnTo>
                  <a:lnTo>
                    <a:pt x="174625" y="61213"/>
                  </a:lnTo>
                  <a:lnTo>
                    <a:pt x="177164" y="60325"/>
                  </a:lnTo>
                  <a:lnTo>
                    <a:pt x="239267" y="66039"/>
                  </a:lnTo>
                  <a:lnTo>
                    <a:pt x="167512" y="104013"/>
                  </a:lnTo>
                  <a:close/>
                  <a:moveTo>
                    <a:pt x="-4575430" y="3139439"/>
                  </a:moveTo>
                  <a:moveTo>
                    <a:pt x="107314" y="292862"/>
                  </a:moveTo>
                  <a:lnTo>
                    <a:pt x="107314" y="292862"/>
                  </a:lnTo>
                  <a:lnTo>
                    <a:pt x="105790" y="294004"/>
                  </a:lnTo>
                  <a:lnTo>
                    <a:pt x="104266" y="295147"/>
                  </a:lnTo>
                  <a:lnTo>
                    <a:pt x="102742" y="296291"/>
                  </a:lnTo>
                  <a:lnTo>
                    <a:pt x="101091" y="297307"/>
                  </a:lnTo>
                  <a:lnTo>
                    <a:pt x="99440" y="298195"/>
                  </a:lnTo>
                  <a:lnTo>
                    <a:pt x="97789" y="299212"/>
                  </a:lnTo>
                  <a:lnTo>
                    <a:pt x="96138" y="299973"/>
                  </a:lnTo>
                  <a:lnTo>
                    <a:pt x="94361" y="300735"/>
                  </a:lnTo>
                  <a:lnTo>
                    <a:pt x="92583" y="301244"/>
                  </a:lnTo>
                  <a:lnTo>
                    <a:pt x="90804" y="301879"/>
                  </a:lnTo>
                  <a:lnTo>
                    <a:pt x="89026" y="302260"/>
                  </a:lnTo>
                  <a:lnTo>
                    <a:pt x="87122" y="302641"/>
                  </a:lnTo>
                  <a:lnTo>
                    <a:pt x="85344" y="303148"/>
                  </a:lnTo>
                  <a:lnTo>
                    <a:pt x="83438" y="303403"/>
                  </a:lnTo>
                  <a:lnTo>
                    <a:pt x="81534" y="303529"/>
                  </a:lnTo>
                  <a:lnTo>
                    <a:pt x="79755" y="303657"/>
                  </a:lnTo>
                  <a:lnTo>
                    <a:pt x="77850" y="303784"/>
                  </a:lnTo>
                  <a:lnTo>
                    <a:pt x="75946" y="303784"/>
                  </a:lnTo>
                  <a:lnTo>
                    <a:pt x="74040" y="303657"/>
                  </a:lnTo>
                  <a:lnTo>
                    <a:pt x="72136" y="303403"/>
                  </a:lnTo>
                  <a:lnTo>
                    <a:pt x="70230" y="303148"/>
                  </a:lnTo>
                  <a:lnTo>
                    <a:pt x="68452" y="302767"/>
                  </a:lnTo>
                  <a:lnTo>
                    <a:pt x="66548" y="302387"/>
                  </a:lnTo>
                  <a:lnTo>
                    <a:pt x="64770" y="302006"/>
                  </a:lnTo>
                  <a:lnTo>
                    <a:pt x="62991" y="301370"/>
                  </a:lnTo>
                  <a:lnTo>
                    <a:pt x="61213" y="300735"/>
                  </a:lnTo>
                  <a:lnTo>
                    <a:pt x="59436" y="300100"/>
                  </a:lnTo>
                  <a:lnTo>
                    <a:pt x="57785" y="299338"/>
                  </a:lnTo>
                  <a:lnTo>
                    <a:pt x="56007" y="298450"/>
                  </a:lnTo>
                  <a:lnTo>
                    <a:pt x="54483" y="297434"/>
                  </a:lnTo>
                  <a:lnTo>
                    <a:pt x="52832" y="296544"/>
                  </a:lnTo>
                  <a:lnTo>
                    <a:pt x="51308" y="295529"/>
                  </a:lnTo>
                  <a:lnTo>
                    <a:pt x="49657" y="294132"/>
                  </a:lnTo>
                  <a:lnTo>
                    <a:pt x="48005" y="292862"/>
                  </a:lnTo>
                  <a:lnTo>
                    <a:pt x="45974" y="290957"/>
                  </a:lnTo>
                  <a:lnTo>
                    <a:pt x="44196" y="288925"/>
                  </a:lnTo>
                  <a:lnTo>
                    <a:pt x="42672" y="287019"/>
                  </a:lnTo>
                  <a:lnTo>
                    <a:pt x="41148" y="284860"/>
                  </a:lnTo>
                  <a:lnTo>
                    <a:pt x="39877" y="282701"/>
                  </a:lnTo>
                  <a:lnTo>
                    <a:pt x="38862" y="280542"/>
                  </a:lnTo>
                  <a:lnTo>
                    <a:pt x="37719" y="278384"/>
                  </a:lnTo>
                  <a:lnTo>
                    <a:pt x="37084" y="275970"/>
                  </a:lnTo>
                  <a:lnTo>
                    <a:pt x="36449" y="273685"/>
                  </a:lnTo>
                  <a:lnTo>
                    <a:pt x="96392" y="233172"/>
                  </a:lnTo>
                  <a:lnTo>
                    <a:pt x="99187" y="234569"/>
                  </a:lnTo>
                  <a:lnTo>
                    <a:pt x="101980" y="236219"/>
                  </a:lnTo>
                  <a:lnTo>
                    <a:pt x="103377" y="237109"/>
                  </a:lnTo>
                  <a:lnTo>
                    <a:pt x="104775" y="237997"/>
                  </a:lnTo>
                  <a:lnTo>
                    <a:pt x="106045" y="239013"/>
                  </a:lnTo>
                  <a:lnTo>
                    <a:pt x="107314" y="240029"/>
                  </a:lnTo>
                  <a:lnTo>
                    <a:pt x="108838" y="241554"/>
                  </a:lnTo>
                  <a:lnTo>
                    <a:pt x="110109" y="242950"/>
                  </a:lnTo>
                  <a:lnTo>
                    <a:pt x="111378" y="244475"/>
                  </a:lnTo>
                  <a:lnTo>
                    <a:pt x="112649" y="245998"/>
                  </a:lnTo>
                  <a:lnTo>
                    <a:pt x="113664" y="247522"/>
                  </a:lnTo>
                  <a:lnTo>
                    <a:pt x="114680" y="249173"/>
                  </a:lnTo>
                  <a:lnTo>
                    <a:pt x="115697" y="250825"/>
                  </a:lnTo>
                  <a:lnTo>
                    <a:pt x="116459" y="252475"/>
                  </a:lnTo>
                  <a:lnTo>
                    <a:pt x="117094" y="254126"/>
                  </a:lnTo>
                  <a:lnTo>
                    <a:pt x="117855" y="255904"/>
                  </a:lnTo>
                  <a:lnTo>
                    <a:pt x="118363" y="257682"/>
                  </a:lnTo>
                  <a:lnTo>
                    <a:pt x="118745" y="259334"/>
                  </a:lnTo>
                  <a:lnTo>
                    <a:pt x="118999" y="261112"/>
                  </a:lnTo>
                  <a:lnTo>
                    <a:pt x="119379" y="262889"/>
                  </a:lnTo>
                  <a:lnTo>
                    <a:pt x="119634" y="264667"/>
                  </a:lnTo>
                  <a:lnTo>
                    <a:pt x="119634" y="266445"/>
                  </a:lnTo>
                  <a:lnTo>
                    <a:pt x="119634" y="268223"/>
                  </a:lnTo>
                  <a:lnTo>
                    <a:pt x="119379" y="270129"/>
                  </a:lnTo>
                  <a:lnTo>
                    <a:pt x="118999" y="271779"/>
                  </a:lnTo>
                  <a:lnTo>
                    <a:pt x="118745" y="273557"/>
                  </a:lnTo>
                  <a:lnTo>
                    <a:pt x="118363" y="275335"/>
                  </a:lnTo>
                  <a:lnTo>
                    <a:pt x="117855" y="277113"/>
                  </a:lnTo>
                  <a:lnTo>
                    <a:pt x="117221" y="278891"/>
                  </a:lnTo>
                  <a:lnTo>
                    <a:pt x="116459" y="280416"/>
                  </a:lnTo>
                  <a:lnTo>
                    <a:pt x="115697" y="282066"/>
                  </a:lnTo>
                  <a:lnTo>
                    <a:pt x="114680" y="283844"/>
                  </a:lnTo>
                  <a:lnTo>
                    <a:pt x="113664" y="285369"/>
                  </a:lnTo>
                  <a:lnTo>
                    <a:pt x="112649" y="287019"/>
                  </a:lnTo>
                  <a:lnTo>
                    <a:pt x="111378" y="288544"/>
                  </a:lnTo>
                  <a:lnTo>
                    <a:pt x="110109" y="289941"/>
                  </a:lnTo>
                  <a:lnTo>
                    <a:pt x="108838" y="291338"/>
                  </a:lnTo>
                  <a:lnTo>
                    <a:pt x="107314" y="292862"/>
                  </a:lnTo>
                  <a:close/>
                  <a:moveTo>
                    <a:pt x="-4764279" y="3139439"/>
                  </a:moveTo>
                  <a:moveTo>
                    <a:pt x="283337" y="104139"/>
                  </a:moveTo>
                  <a:lnTo>
                    <a:pt x="248412" y="141732"/>
                  </a:lnTo>
                  <a:lnTo>
                    <a:pt x="247903" y="139445"/>
                  </a:lnTo>
                  <a:lnTo>
                    <a:pt x="247396" y="137287"/>
                  </a:lnTo>
                  <a:lnTo>
                    <a:pt x="246634" y="135254"/>
                  </a:lnTo>
                  <a:lnTo>
                    <a:pt x="245872" y="133222"/>
                  </a:lnTo>
                  <a:lnTo>
                    <a:pt x="244855" y="131191"/>
                  </a:lnTo>
                  <a:lnTo>
                    <a:pt x="243839" y="129285"/>
                  </a:lnTo>
                  <a:lnTo>
                    <a:pt x="242570" y="127254"/>
                  </a:lnTo>
                  <a:lnTo>
                    <a:pt x="241300" y="125475"/>
                  </a:lnTo>
                  <a:lnTo>
                    <a:pt x="234950" y="132079"/>
                  </a:lnTo>
                  <a:lnTo>
                    <a:pt x="236347" y="134112"/>
                  </a:lnTo>
                  <a:lnTo>
                    <a:pt x="237362" y="136397"/>
                  </a:lnTo>
                  <a:lnTo>
                    <a:pt x="238378" y="138810"/>
                  </a:lnTo>
                  <a:lnTo>
                    <a:pt x="239013" y="141223"/>
                  </a:lnTo>
                  <a:lnTo>
                    <a:pt x="239522" y="143637"/>
                  </a:lnTo>
                  <a:lnTo>
                    <a:pt x="239649" y="146176"/>
                  </a:lnTo>
                  <a:lnTo>
                    <a:pt x="239649" y="148716"/>
                  </a:lnTo>
                  <a:lnTo>
                    <a:pt x="239267" y="151384"/>
                  </a:lnTo>
                  <a:lnTo>
                    <a:pt x="196850" y="197357"/>
                  </a:lnTo>
                  <a:lnTo>
                    <a:pt x="196341" y="194944"/>
                  </a:lnTo>
                  <a:lnTo>
                    <a:pt x="195707" y="192659"/>
                  </a:lnTo>
                  <a:lnTo>
                    <a:pt x="195072" y="190245"/>
                  </a:lnTo>
                  <a:lnTo>
                    <a:pt x="194055" y="187960"/>
                  </a:lnTo>
                  <a:lnTo>
                    <a:pt x="193166" y="185673"/>
                  </a:lnTo>
                  <a:lnTo>
                    <a:pt x="192024" y="183514"/>
                  </a:lnTo>
                  <a:lnTo>
                    <a:pt x="190753" y="181482"/>
                  </a:lnTo>
                  <a:lnTo>
                    <a:pt x="189357" y="179323"/>
                  </a:lnTo>
                  <a:lnTo>
                    <a:pt x="183007" y="185928"/>
                  </a:lnTo>
                  <a:lnTo>
                    <a:pt x="184530" y="188341"/>
                  </a:lnTo>
                  <a:lnTo>
                    <a:pt x="185420" y="190754"/>
                  </a:lnTo>
                  <a:lnTo>
                    <a:pt x="186436" y="193294"/>
                  </a:lnTo>
                  <a:lnTo>
                    <a:pt x="187198" y="195960"/>
                  </a:lnTo>
                  <a:lnTo>
                    <a:pt x="187705" y="198628"/>
                  </a:lnTo>
                  <a:lnTo>
                    <a:pt x="187960" y="201422"/>
                  </a:lnTo>
                  <a:lnTo>
                    <a:pt x="188087" y="204216"/>
                  </a:lnTo>
                  <a:lnTo>
                    <a:pt x="187960" y="207010"/>
                  </a:lnTo>
                  <a:lnTo>
                    <a:pt x="128524" y="271017"/>
                  </a:lnTo>
                  <a:lnTo>
                    <a:pt x="128650" y="268604"/>
                  </a:lnTo>
                  <a:lnTo>
                    <a:pt x="128777" y="266064"/>
                  </a:lnTo>
                  <a:lnTo>
                    <a:pt x="128650" y="263651"/>
                  </a:lnTo>
                  <a:lnTo>
                    <a:pt x="128397" y="261112"/>
                  </a:lnTo>
                  <a:lnTo>
                    <a:pt x="128015" y="258698"/>
                  </a:lnTo>
                  <a:lnTo>
                    <a:pt x="127508" y="256285"/>
                  </a:lnTo>
                  <a:lnTo>
                    <a:pt x="126746" y="254000"/>
                  </a:lnTo>
                  <a:lnTo>
                    <a:pt x="125857" y="251587"/>
                  </a:lnTo>
                  <a:lnTo>
                    <a:pt x="124967" y="249300"/>
                  </a:lnTo>
                  <a:lnTo>
                    <a:pt x="123825" y="246888"/>
                  </a:lnTo>
                  <a:lnTo>
                    <a:pt x="122554" y="244601"/>
                  </a:lnTo>
                  <a:lnTo>
                    <a:pt x="121030" y="242569"/>
                  </a:lnTo>
                  <a:lnTo>
                    <a:pt x="119379" y="240410"/>
                  </a:lnTo>
                  <a:lnTo>
                    <a:pt x="117728" y="238251"/>
                  </a:lnTo>
                  <a:lnTo>
                    <a:pt x="115824" y="236219"/>
                  </a:lnTo>
                  <a:lnTo>
                    <a:pt x="113791" y="234314"/>
                  </a:lnTo>
                  <a:lnTo>
                    <a:pt x="111378" y="232410"/>
                  </a:lnTo>
                  <a:lnTo>
                    <a:pt x="108838" y="230632"/>
                  </a:lnTo>
                  <a:lnTo>
                    <a:pt x="106299" y="228981"/>
                  </a:lnTo>
                  <a:lnTo>
                    <a:pt x="103759" y="227457"/>
                  </a:lnTo>
                  <a:lnTo>
                    <a:pt x="100964" y="226060"/>
                  </a:lnTo>
                  <a:lnTo>
                    <a:pt x="98171" y="224916"/>
                  </a:lnTo>
                  <a:lnTo>
                    <a:pt x="95250" y="223773"/>
                  </a:lnTo>
                  <a:lnTo>
                    <a:pt x="92455" y="223012"/>
                  </a:lnTo>
                  <a:lnTo>
                    <a:pt x="89662" y="222250"/>
                  </a:lnTo>
                  <a:lnTo>
                    <a:pt x="86613" y="221741"/>
                  </a:lnTo>
                  <a:lnTo>
                    <a:pt x="83438" y="221234"/>
                  </a:lnTo>
                  <a:lnTo>
                    <a:pt x="80517" y="221107"/>
                  </a:lnTo>
                  <a:lnTo>
                    <a:pt x="77597" y="220979"/>
                  </a:lnTo>
                  <a:lnTo>
                    <a:pt x="74422" y="221107"/>
                  </a:lnTo>
                  <a:lnTo>
                    <a:pt x="71374" y="221360"/>
                  </a:lnTo>
                  <a:lnTo>
                    <a:pt x="68452" y="221869"/>
                  </a:lnTo>
                  <a:lnTo>
                    <a:pt x="99949" y="196214"/>
                  </a:lnTo>
                  <a:lnTo>
                    <a:pt x="137540" y="165735"/>
                  </a:lnTo>
                  <a:lnTo>
                    <a:pt x="139700" y="165481"/>
                  </a:lnTo>
                  <a:lnTo>
                    <a:pt x="142112" y="165226"/>
                  </a:lnTo>
                  <a:lnTo>
                    <a:pt x="144272" y="165226"/>
                  </a:lnTo>
                  <a:lnTo>
                    <a:pt x="146430" y="165226"/>
                  </a:lnTo>
                  <a:lnTo>
                    <a:pt x="148589" y="165226"/>
                  </a:lnTo>
                  <a:lnTo>
                    <a:pt x="150875" y="165481"/>
                  </a:lnTo>
                  <a:lnTo>
                    <a:pt x="152908" y="165862"/>
                  </a:lnTo>
                  <a:lnTo>
                    <a:pt x="154939" y="166242"/>
                  </a:lnTo>
                  <a:lnTo>
                    <a:pt x="156972" y="166750"/>
                  </a:lnTo>
                  <a:lnTo>
                    <a:pt x="158876" y="167259"/>
                  </a:lnTo>
                  <a:lnTo>
                    <a:pt x="160909" y="168020"/>
                  </a:lnTo>
                  <a:lnTo>
                    <a:pt x="162813" y="168782"/>
                  </a:lnTo>
                  <a:lnTo>
                    <a:pt x="164719" y="169544"/>
                  </a:lnTo>
                  <a:lnTo>
                    <a:pt x="166624" y="170560"/>
                  </a:lnTo>
                  <a:lnTo>
                    <a:pt x="168275" y="171322"/>
                  </a:lnTo>
                  <a:lnTo>
                    <a:pt x="170052" y="172466"/>
                  </a:lnTo>
                  <a:lnTo>
                    <a:pt x="176529" y="166750"/>
                  </a:lnTo>
                  <a:lnTo>
                    <a:pt x="173354" y="164591"/>
                  </a:lnTo>
                  <a:lnTo>
                    <a:pt x="170179" y="162941"/>
                  </a:lnTo>
                  <a:lnTo>
                    <a:pt x="168528" y="162179"/>
                  </a:lnTo>
                  <a:lnTo>
                    <a:pt x="166877" y="161416"/>
                  </a:lnTo>
                  <a:lnTo>
                    <a:pt x="165100" y="160654"/>
                  </a:lnTo>
                  <a:lnTo>
                    <a:pt x="163322" y="160019"/>
                  </a:lnTo>
                  <a:lnTo>
                    <a:pt x="161416" y="159512"/>
                  </a:lnTo>
                  <a:lnTo>
                    <a:pt x="159638" y="158876"/>
                  </a:lnTo>
                  <a:lnTo>
                    <a:pt x="157734" y="158495"/>
                  </a:lnTo>
                  <a:lnTo>
                    <a:pt x="155955" y="158114"/>
                  </a:lnTo>
                  <a:lnTo>
                    <a:pt x="153924" y="157734"/>
                  </a:lnTo>
                  <a:lnTo>
                    <a:pt x="152019" y="157353"/>
                  </a:lnTo>
                  <a:lnTo>
                    <a:pt x="150113" y="157225"/>
                  </a:lnTo>
                  <a:lnTo>
                    <a:pt x="148082" y="157098"/>
                  </a:lnTo>
                  <a:lnTo>
                    <a:pt x="198754" y="115823"/>
                  </a:lnTo>
                  <a:lnTo>
                    <a:pt x="200660" y="115697"/>
                  </a:lnTo>
                  <a:lnTo>
                    <a:pt x="202437" y="115697"/>
                  </a:lnTo>
                  <a:lnTo>
                    <a:pt x="204342" y="115697"/>
                  </a:lnTo>
                  <a:lnTo>
                    <a:pt x="206248" y="115823"/>
                  </a:lnTo>
                  <a:lnTo>
                    <a:pt x="208025" y="115950"/>
                  </a:lnTo>
                  <a:lnTo>
                    <a:pt x="209930" y="116204"/>
                  </a:lnTo>
                  <a:lnTo>
                    <a:pt x="211709" y="116585"/>
                  </a:lnTo>
                  <a:lnTo>
                    <a:pt x="213487" y="116966"/>
                  </a:lnTo>
                  <a:lnTo>
                    <a:pt x="215137" y="117475"/>
                  </a:lnTo>
                  <a:lnTo>
                    <a:pt x="216788" y="118110"/>
                  </a:lnTo>
                  <a:lnTo>
                    <a:pt x="218439" y="118617"/>
                  </a:lnTo>
                  <a:lnTo>
                    <a:pt x="220090" y="119379"/>
                  </a:lnTo>
                  <a:lnTo>
                    <a:pt x="221614" y="120141"/>
                  </a:lnTo>
                  <a:lnTo>
                    <a:pt x="223138" y="121031"/>
                  </a:lnTo>
                  <a:lnTo>
                    <a:pt x="224662" y="121792"/>
                  </a:lnTo>
                  <a:lnTo>
                    <a:pt x="226060" y="122809"/>
                  </a:lnTo>
                  <a:lnTo>
                    <a:pt x="232537" y="116966"/>
                  </a:lnTo>
                  <a:lnTo>
                    <a:pt x="229997" y="115316"/>
                  </a:lnTo>
                  <a:lnTo>
                    <a:pt x="227202" y="113664"/>
                  </a:lnTo>
                  <a:lnTo>
                    <a:pt x="224409" y="112267"/>
                  </a:lnTo>
                  <a:lnTo>
                    <a:pt x="221361" y="110870"/>
                  </a:lnTo>
                  <a:lnTo>
                    <a:pt x="218312" y="109854"/>
                  </a:lnTo>
                  <a:lnTo>
                    <a:pt x="215137" y="108966"/>
                  </a:lnTo>
                  <a:lnTo>
                    <a:pt x="211836" y="108331"/>
                  </a:lnTo>
                  <a:lnTo>
                    <a:pt x="208534" y="107695"/>
                  </a:lnTo>
                  <a:lnTo>
                    <a:pt x="249427" y="74294"/>
                  </a:lnTo>
                  <a:lnTo>
                    <a:pt x="251587" y="72770"/>
                  </a:lnTo>
                  <a:lnTo>
                    <a:pt x="253746" y="71373"/>
                  </a:lnTo>
                  <a:lnTo>
                    <a:pt x="256032" y="70231"/>
                  </a:lnTo>
                  <a:lnTo>
                    <a:pt x="258190" y="69341"/>
                  </a:lnTo>
                  <a:lnTo>
                    <a:pt x="260476" y="68707"/>
                  </a:lnTo>
                  <a:lnTo>
                    <a:pt x="262762" y="68325"/>
                  </a:lnTo>
                  <a:lnTo>
                    <a:pt x="264922" y="68072"/>
                  </a:lnTo>
                  <a:lnTo>
                    <a:pt x="267080" y="67944"/>
                  </a:lnTo>
                  <a:lnTo>
                    <a:pt x="269239" y="68198"/>
                  </a:lnTo>
                  <a:lnTo>
                    <a:pt x="271399" y="68453"/>
                  </a:lnTo>
                  <a:lnTo>
                    <a:pt x="273558" y="68960"/>
                  </a:lnTo>
                  <a:lnTo>
                    <a:pt x="275589" y="69595"/>
                  </a:lnTo>
                  <a:lnTo>
                    <a:pt x="277622" y="70357"/>
                  </a:lnTo>
                  <a:lnTo>
                    <a:pt x="279400" y="71373"/>
                  </a:lnTo>
                  <a:lnTo>
                    <a:pt x="281177" y="72389"/>
                  </a:lnTo>
                  <a:lnTo>
                    <a:pt x="282828" y="73660"/>
                  </a:lnTo>
                  <a:lnTo>
                    <a:pt x="284225" y="75057"/>
                  </a:lnTo>
                  <a:lnTo>
                    <a:pt x="285623" y="76581"/>
                  </a:lnTo>
                  <a:lnTo>
                    <a:pt x="286765" y="78104"/>
                  </a:lnTo>
                  <a:lnTo>
                    <a:pt x="287782" y="79629"/>
                  </a:lnTo>
                  <a:lnTo>
                    <a:pt x="288671" y="81534"/>
                  </a:lnTo>
                  <a:lnTo>
                    <a:pt x="289433" y="83312"/>
                  </a:lnTo>
                  <a:lnTo>
                    <a:pt x="289940" y="85216"/>
                  </a:lnTo>
                  <a:lnTo>
                    <a:pt x="290067" y="87122"/>
                  </a:lnTo>
                  <a:lnTo>
                    <a:pt x="290195" y="89154"/>
                  </a:lnTo>
                  <a:lnTo>
                    <a:pt x="289940" y="91185"/>
                  </a:lnTo>
                  <a:lnTo>
                    <a:pt x="289560" y="93344"/>
                  </a:lnTo>
                  <a:lnTo>
                    <a:pt x="288798" y="95376"/>
                  </a:lnTo>
                  <a:lnTo>
                    <a:pt x="287909" y="97535"/>
                  </a:lnTo>
                  <a:lnTo>
                    <a:pt x="286638" y="99694"/>
                  </a:lnTo>
                  <a:lnTo>
                    <a:pt x="285114" y="101854"/>
                  </a:lnTo>
                  <a:lnTo>
                    <a:pt x="283337" y="104139"/>
                  </a:lnTo>
                  <a:close/>
                  <a:moveTo>
                    <a:pt x="-4575556" y="3139439"/>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78" name="Freeform 1378"/>
            <p:cNvSpPr/>
            <p:nvPr/>
          </p:nvSpPr>
          <p:spPr>
            <a:xfrm>
              <a:off x="8387961" y="3653032"/>
              <a:ext cx="493262" cy="365380"/>
            </a:xfrm>
            <a:custGeom>
              <a:avLst/>
              <a:gdLst/>
              <a:ahLst/>
              <a:cxnLst/>
              <a:rect l="0" t="0" r="0" b="0"/>
              <a:pathLst>
                <a:path w="493776" h="365760">
                  <a:moveTo>
                    <a:pt x="440056" y="47497"/>
                  </a:moveTo>
                  <a:lnTo>
                    <a:pt x="143510" y="24638"/>
                  </a:lnTo>
                  <a:lnTo>
                    <a:pt x="152527" y="19557"/>
                  </a:lnTo>
                  <a:lnTo>
                    <a:pt x="153924" y="18541"/>
                  </a:lnTo>
                  <a:lnTo>
                    <a:pt x="155068" y="17653"/>
                  </a:lnTo>
                  <a:lnTo>
                    <a:pt x="156210" y="16763"/>
                  </a:lnTo>
                  <a:lnTo>
                    <a:pt x="157099" y="15747"/>
                  </a:lnTo>
                  <a:lnTo>
                    <a:pt x="157861" y="14859"/>
                  </a:lnTo>
                  <a:lnTo>
                    <a:pt x="158370" y="13842"/>
                  </a:lnTo>
                  <a:lnTo>
                    <a:pt x="158750" y="12826"/>
                  </a:lnTo>
                  <a:lnTo>
                    <a:pt x="158877" y="11938"/>
                  </a:lnTo>
                  <a:lnTo>
                    <a:pt x="159005" y="10922"/>
                  </a:lnTo>
                  <a:lnTo>
                    <a:pt x="159005" y="9906"/>
                  </a:lnTo>
                  <a:lnTo>
                    <a:pt x="158877" y="9016"/>
                  </a:lnTo>
                  <a:lnTo>
                    <a:pt x="158497" y="8254"/>
                  </a:lnTo>
                  <a:lnTo>
                    <a:pt x="158243" y="7238"/>
                  </a:lnTo>
                  <a:lnTo>
                    <a:pt x="157734" y="6476"/>
                  </a:lnTo>
                  <a:lnTo>
                    <a:pt x="156972" y="5588"/>
                  </a:lnTo>
                  <a:lnTo>
                    <a:pt x="156337" y="4698"/>
                  </a:lnTo>
                  <a:lnTo>
                    <a:pt x="155448" y="4063"/>
                  </a:lnTo>
                  <a:lnTo>
                    <a:pt x="154686" y="3428"/>
                  </a:lnTo>
                  <a:lnTo>
                    <a:pt x="153671" y="2666"/>
                  </a:lnTo>
                  <a:lnTo>
                    <a:pt x="152782" y="2032"/>
                  </a:lnTo>
                  <a:lnTo>
                    <a:pt x="151766" y="1650"/>
                  </a:lnTo>
                  <a:lnTo>
                    <a:pt x="150622" y="1142"/>
                  </a:lnTo>
                  <a:lnTo>
                    <a:pt x="149480" y="635"/>
                  </a:lnTo>
                  <a:lnTo>
                    <a:pt x="148336" y="507"/>
                  </a:lnTo>
                  <a:lnTo>
                    <a:pt x="147067" y="253"/>
                  </a:lnTo>
                  <a:lnTo>
                    <a:pt x="145797" y="126"/>
                  </a:lnTo>
                  <a:lnTo>
                    <a:pt x="144654" y="0"/>
                  </a:lnTo>
                  <a:lnTo>
                    <a:pt x="143384" y="0"/>
                  </a:lnTo>
                  <a:lnTo>
                    <a:pt x="142113" y="126"/>
                  </a:lnTo>
                  <a:lnTo>
                    <a:pt x="140971" y="381"/>
                  </a:lnTo>
                  <a:lnTo>
                    <a:pt x="139700" y="635"/>
                  </a:lnTo>
                  <a:lnTo>
                    <a:pt x="138558" y="1142"/>
                  </a:lnTo>
                  <a:lnTo>
                    <a:pt x="25909" y="49275"/>
                  </a:lnTo>
                  <a:lnTo>
                    <a:pt x="22480" y="50419"/>
                  </a:lnTo>
                  <a:lnTo>
                    <a:pt x="19177" y="51688"/>
                  </a:lnTo>
                  <a:lnTo>
                    <a:pt x="16257" y="53085"/>
                  </a:lnTo>
                  <a:lnTo>
                    <a:pt x="13462" y="54863"/>
                  </a:lnTo>
                  <a:lnTo>
                    <a:pt x="11049" y="56641"/>
                  </a:lnTo>
                  <a:lnTo>
                    <a:pt x="8763" y="58673"/>
                  </a:lnTo>
                  <a:lnTo>
                    <a:pt x="6732" y="60832"/>
                  </a:lnTo>
                  <a:lnTo>
                    <a:pt x="4954" y="63119"/>
                  </a:lnTo>
                  <a:lnTo>
                    <a:pt x="3430" y="65404"/>
                  </a:lnTo>
                  <a:lnTo>
                    <a:pt x="2286" y="67944"/>
                  </a:lnTo>
                  <a:lnTo>
                    <a:pt x="1397" y="70485"/>
                  </a:lnTo>
                  <a:lnTo>
                    <a:pt x="635" y="73025"/>
                  </a:lnTo>
                  <a:lnTo>
                    <a:pt x="127" y="75691"/>
                  </a:lnTo>
                  <a:lnTo>
                    <a:pt x="0" y="78359"/>
                  </a:lnTo>
                  <a:lnTo>
                    <a:pt x="0" y="81153"/>
                  </a:lnTo>
                  <a:lnTo>
                    <a:pt x="255" y="83819"/>
                  </a:lnTo>
                  <a:lnTo>
                    <a:pt x="762" y="86487"/>
                  </a:lnTo>
                  <a:lnTo>
                    <a:pt x="1651" y="89153"/>
                  </a:lnTo>
                  <a:lnTo>
                    <a:pt x="2668" y="91820"/>
                  </a:lnTo>
                  <a:lnTo>
                    <a:pt x="4064" y="94360"/>
                  </a:lnTo>
                  <a:lnTo>
                    <a:pt x="5588" y="96900"/>
                  </a:lnTo>
                  <a:lnTo>
                    <a:pt x="7367" y="99313"/>
                  </a:lnTo>
                  <a:lnTo>
                    <a:pt x="9652" y="101726"/>
                  </a:lnTo>
                  <a:lnTo>
                    <a:pt x="12066" y="103885"/>
                  </a:lnTo>
                  <a:lnTo>
                    <a:pt x="14606" y="105917"/>
                  </a:lnTo>
                  <a:lnTo>
                    <a:pt x="17654" y="107950"/>
                  </a:lnTo>
                  <a:lnTo>
                    <a:pt x="20701" y="109854"/>
                  </a:lnTo>
                  <a:lnTo>
                    <a:pt x="24131" y="111506"/>
                  </a:lnTo>
                  <a:lnTo>
                    <a:pt x="27941" y="113029"/>
                  </a:lnTo>
                  <a:lnTo>
                    <a:pt x="31877" y="114172"/>
                  </a:lnTo>
                  <a:lnTo>
                    <a:pt x="36069" y="115316"/>
                  </a:lnTo>
                  <a:lnTo>
                    <a:pt x="40768" y="116204"/>
                  </a:lnTo>
                  <a:lnTo>
                    <a:pt x="205486" y="141985"/>
                  </a:lnTo>
                  <a:lnTo>
                    <a:pt x="42799" y="270891"/>
                  </a:lnTo>
                  <a:lnTo>
                    <a:pt x="40513" y="272795"/>
                  </a:lnTo>
                  <a:lnTo>
                    <a:pt x="38482" y="274954"/>
                  </a:lnTo>
                  <a:lnTo>
                    <a:pt x="36322" y="277113"/>
                  </a:lnTo>
                  <a:lnTo>
                    <a:pt x="34672" y="279272"/>
                  </a:lnTo>
                  <a:lnTo>
                    <a:pt x="32894" y="281559"/>
                  </a:lnTo>
                  <a:lnTo>
                    <a:pt x="31370" y="283972"/>
                  </a:lnTo>
                  <a:lnTo>
                    <a:pt x="29972" y="286257"/>
                  </a:lnTo>
                  <a:lnTo>
                    <a:pt x="28830" y="288797"/>
                  </a:lnTo>
                  <a:lnTo>
                    <a:pt x="27559" y="291338"/>
                  </a:lnTo>
                  <a:lnTo>
                    <a:pt x="26671" y="293878"/>
                  </a:lnTo>
                  <a:lnTo>
                    <a:pt x="25782" y="296544"/>
                  </a:lnTo>
                  <a:lnTo>
                    <a:pt x="25147" y="299085"/>
                  </a:lnTo>
                  <a:lnTo>
                    <a:pt x="24638" y="301751"/>
                  </a:lnTo>
                  <a:lnTo>
                    <a:pt x="24258" y="304291"/>
                  </a:lnTo>
                  <a:lnTo>
                    <a:pt x="24004" y="306959"/>
                  </a:lnTo>
                  <a:lnTo>
                    <a:pt x="24004" y="309753"/>
                  </a:lnTo>
                  <a:lnTo>
                    <a:pt x="24004" y="312419"/>
                  </a:lnTo>
                  <a:lnTo>
                    <a:pt x="24258" y="315087"/>
                  </a:lnTo>
                  <a:lnTo>
                    <a:pt x="24511" y="317753"/>
                  </a:lnTo>
                  <a:lnTo>
                    <a:pt x="25147" y="320420"/>
                  </a:lnTo>
                  <a:lnTo>
                    <a:pt x="25782" y="322960"/>
                  </a:lnTo>
                  <a:lnTo>
                    <a:pt x="26671" y="325628"/>
                  </a:lnTo>
                  <a:lnTo>
                    <a:pt x="27433" y="328294"/>
                  </a:lnTo>
                  <a:lnTo>
                    <a:pt x="28702" y="330835"/>
                  </a:lnTo>
                  <a:lnTo>
                    <a:pt x="29846" y="333247"/>
                  </a:lnTo>
                  <a:lnTo>
                    <a:pt x="31243" y="335788"/>
                  </a:lnTo>
                  <a:lnTo>
                    <a:pt x="32767" y="338200"/>
                  </a:lnTo>
                  <a:lnTo>
                    <a:pt x="34545" y="340487"/>
                  </a:lnTo>
                  <a:lnTo>
                    <a:pt x="36322" y="342900"/>
                  </a:lnTo>
                  <a:lnTo>
                    <a:pt x="38355" y="345059"/>
                  </a:lnTo>
                  <a:lnTo>
                    <a:pt x="40259" y="347217"/>
                  </a:lnTo>
                  <a:lnTo>
                    <a:pt x="42672" y="349250"/>
                  </a:lnTo>
                  <a:lnTo>
                    <a:pt x="45085" y="351154"/>
                  </a:lnTo>
                  <a:lnTo>
                    <a:pt x="47498" y="353060"/>
                  </a:lnTo>
                  <a:lnTo>
                    <a:pt x="50166" y="354838"/>
                  </a:lnTo>
                  <a:lnTo>
                    <a:pt x="52833" y="356362"/>
                  </a:lnTo>
                  <a:lnTo>
                    <a:pt x="55626" y="357885"/>
                  </a:lnTo>
                  <a:lnTo>
                    <a:pt x="58421" y="359028"/>
                  </a:lnTo>
                  <a:lnTo>
                    <a:pt x="61342" y="360172"/>
                  </a:lnTo>
                  <a:lnTo>
                    <a:pt x="64135" y="361315"/>
                  </a:lnTo>
                  <a:lnTo>
                    <a:pt x="67057" y="362203"/>
                  </a:lnTo>
                  <a:lnTo>
                    <a:pt x="70105" y="363092"/>
                  </a:lnTo>
                  <a:lnTo>
                    <a:pt x="73280" y="363728"/>
                  </a:lnTo>
                  <a:lnTo>
                    <a:pt x="76455" y="364235"/>
                  </a:lnTo>
                  <a:lnTo>
                    <a:pt x="79375" y="364744"/>
                  </a:lnTo>
                  <a:lnTo>
                    <a:pt x="82423" y="365125"/>
                  </a:lnTo>
                  <a:lnTo>
                    <a:pt x="85725" y="365125"/>
                  </a:lnTo>
                  <a:lnTo>
                    <a:pt x="88900" y="365125"/>
                  </a:lnTo>
                  <a:lnTo>
                    <a:pt x="92075" y="365125"/>
                  </a:lnTo>
                  <a:lnTo>
                    <a:pt x="95123" y="364870"/>
                  </a:lnTo>
                  <a:lnTo>
                    <a:pt x="98298" y="364616"/>
                  </a:lnTo>
                  <a:lnTo>
                    <a:pt x="101473" y="364109"/>
                  </a:lnTo>
                  <a:lnTo>
                    <a:pt x="104395" y="363473"/>
                  </a:lnTo>
                  <a:lnTo>
                    <a:pt x="107443" y="362838"/>
                  </a:lnTo>
                  <a:lnTo>
                    <a:pt x="110491" y="361950"/>
                  </a:lnTo>
                  <a:lnTo>
                    <a:pt x="113538" y="361060"/>
                  </a:lnTo>
                  <a:lnTo>
                    <a:pt x="116333" y="359917"/>
                  </a:lnTo>
                  <a:lnTo>
                    <a:pt x="119254" y="358775"/>
                  </a:lnTo>
                  <a:lnTo>
                    <a:pt x="122047" y="357250"/>
                  </a:lnTo>
                  <a:lnTo>
                    <a:pt x="124714" y="355981"/>
                  </a:lnTo>
                  <a:lnTo>
                    <a:pt x="127509" y="354329"/>
                  </a:lnTo>
                  <a:lnTo>
                    <a:pt x="130048" y="352551"/>
                  </a:lnTo>
                  <a:lnTo>
                    <a:pt x="132461" y="350773"/>
                  </a:lnTo>
                  <a:lnTo>
                    <a:pt x="134874" y="348741"/>
                  </a:lnTo>
                  <a:lnTo>
                    <a:pt x="150242" y="332866"/>
                  </a:lnTo>
                  <a:lnTo>
                    <a:pt x="152020" y="336169"/>
                  </a:lnTo>
                  <a:lnTo>
                    <a:pt x="154179" y="339344"/>
                  </a:lnTo>
                  <a:lnTo>
                    <a:pt x="156464" y="342391"/>
                  </a:lnTo>
                  <a:lnTo>
                    <a:pt x="158877" y="345185"/>
                  </a:lnTo>
                  <a:lnTo>
                    <a:pt x="161672" y="347853"/>
                  </a:lnTo>
                  <a:lnTo>
                    <a:pt x="164466" y="350266"/>
                  </a:lnTo>
                  <a:lnTo>
                    <a:pt x="167513" y="352678"/>
                  </a:lnTo>
                  <a:lnTo>
                    <a:pt x="170816" y="354838"/>
                  </a:lnTo>
                  <a:lnTo>
                    <a:pt x="173991" y="356742"/>
                  </a:lnTo>
                  <a:lnTo>
                    <a:pt x="177420" y="358520"/>
                  </a:lnTo>
                  <a:lnTo>
                    <a:pt x="180975" y="360044"/>
                  </a:lnTo>
                  <a:lnTo>
                    <a:pt x="184659" y="361441"/>
                  </a:lnTo>
                  <a:lnTo>
                    <a:pt x="188214" y="362712"/>
                  </a:lnTo>
                  <a:lnTo>
                    <a:pt x="192151" y="363728"/>
                  </a:lnTo>
                  <a:lnTo>
                    <a:pt x="195834" y="364490"/>
                  </a:lnTo>
                  <a:lnTo>
                    <a:pt x="199772" y="365125"/>
                  </a:lnTo>
                  <a:lnTo>
                    <a:pt x="203709" y="365506"/>
                  </a:lnTo>
                  <a:lnTo>
                    <a:pt x="207772" y="365760"/>
                  </a:lnTo>
                  <a:lnTo>
                    <a:pt x="211709" y="365760"/>
                  </a:lnTo>
                  <a:lnTo>
                    <a:pt x="215647" y="365506"/>
                  </a:lnTo>
                  <a:lnTo>
                    <a:pt x="219584" y="365125"/>
                  </a:lnTo>
                  <a:lnTo>
                    <a:pt x="223774" y="364490"/>
                  </a:lnTo>
                  <a:lnTo>
                    <a:pt x="227711" y="363728"/>
                  </a:lnTo>
                  <a:lnTo>
                    <a:pt x="231522" y="362457"/>
                  </a:lnTo>
                  <a:lnTo>
                    <a:pt x="235332" y="361188"/>
                  </a:lnTo>
                  <a:lnTo>
                    <a:pt x="239142" y="359663"/>
                  </a:lnTo>
                  <a:lnTo>
                    <a:pt x="242824" y="357885"/>
                  </a:lnTo>
                  <a:lnTo>
                    <a:pt x="246381" y="355853"/>
                  </a:lnTo>
                  <a:lnTo>
                    <a:pt x="249809" y="353567"/>
                  </a:lnTo>
                  <a:lnTo>
                    <a:pt x="253238" y="351028"/>
                  </a:lnTo>
                  <a:lnTo>
                    <a:pt x="256413" y="348360"/>
                  </a:lnTo>
                  <a:lnTo>
                    <a:pt x="259461" y="345313"/>
                  </a:lnTo>
                  <a:lnTo>
                    <a:pt x="268224" y="332104"/>
                  </a:lnTo>
                  <a:lnTo>
                    <a:pt x="268733" y="332994"/>
                  </a:lnTo>
                  <a:lnTo>
                    <a:pt x="269622" y="334898"/>
                  </a:lnTo>
                  <a:lnTo>
                    <a:pt x="270637" y="336676"/>
                  </a:lnTo>
                  <a:lnTo>
                    <a:pt x="271781" y="338454"/>
                  </a:lnTo>
                  <a:lnTo>
                    <a:pt x="272797" y="340232"/>
                  </a:lnTo>
                  <a:lnTo>
                    <a:pt x="274067" y="341757"/>
                  </a:lnTo>
                  <a:lnTo>
                    <a:pt x="275336" y="343281"/>
                  </a:lnTo>
                  <a:lnTo>
                    <a:pt x="276607" y="344932"/>
                  </a:lnTo>
                  <a:lnTo>
                    <a:pt x="278131" y="346328"/>
                  </a:lnTo>
                  <a:lnTo>
                    <a:pt x="279527" y="347853"/>
                  </a:lnTo>
                  <a:lnTo>
                    <a:pt x="281051" y="348995"/>
                  </a:lnTo>
                  <a:lnTo>
                    <a:pt x="282575" y="350519"/>
                  </a:lnTo>
                  <a:lnTo>
                    <a:pt x="284226" y="351663"/>
                  </a:lnTo>
                  <a:lnTo>
                    <a:pt x="287656" y="353948"/>
                  </a:lnTo>
                  <a:lnTo>
                    <a:pt x="291338" y="356107"/>
                  </a:lnTo>
                  <a:lnTo>
                    <a:pt x="295022" y="357885"/>
                  </a:lnTo>
                  <a:lnTo>
                    <a:pt x="298959" y="359537"/>
                  </a:lnTo>
                  <a:lnTo>
                    <a:pt x="303022" y="361060"/>
                  </a:lnTo>
                  <a:lnTo>
                    <a:pt x="307086" y="362203"/>
                  </a:lnTo>
                  <a:lnTo>
                    <a:pt x="311277" y="363219"/>
                  </a:lnTo>
                  <a:lnTo>
                    <a:pt x="315722" y="363854"/>
                  </a:lnTo>
                  <a:lnTo>
                    <a:pt x="320041" y="364363"/>
                  </a:lnTo>
                  <a:lnTo>
                    <a:pt x="324359" y="364616"/>
                  </a:lnTo>
                  <a:lnTo>
                    <a:pt x="328804" y="364490"/>
                  </a:lnTo>
                  <a:lnTo>
                    <a:pt x="333248" y="364235"/>
                  </a:lnTo>
                  <a:lnTo>
                    <a:pt x="337567" y="363728"/>
                  </a:lnTo>
                  <a:lnTo>
                    <a:pt x="341884" y="362838"/>
                  </a:lnTo>
                  <a:lnTo>
                    <a:pt x="346202" y="361822"/>
                  </a:lnTo>
                  <a:lnTo>
                    <a:pt x="350394" y="360553"/>
                  </a:lnTo>
                  <a:lnTo>
                    <a:pt x="352425" y="359663"/>
                  </a:lnTo>
                  <a:lnTo>
                    <a:pt x="354331" y="358901"/>
                  </a:lnTo>
                  <a:lnTo>
                    <a:pt x="356362" y="358140"/>
                  </a:lnTo>
                  <a:lnTo>
                    <a:pt x="358268" y="356997"/>
                  </a:lnTo>
                  <a:lnTo>
                    <a:pt x="360299" y="356107"/>
                  </a:lnTo>
                  <a:lnTo>
                    <a:pt x="362077" y="354838"/>
                  </a:lnTo>
                  <a:lnTo>
                    <a:pt x="363983" y="353694"/>
                  </a:lnTo>
                  <a:lnTo>
                    <a:pt x="365760" y="352551"/>
                  </a:lnTo>
                  <a:lnTo>
                    <a:pt x="367411" y="351154"/>
                  </a:lnTo>
                  <a:lnTo>
                    <a:pt x="369189" y="349885"/>
                  </a:lnTo>
                  <a:lnTo>
                    <a:pt x="370841" y="348360"/>
                  </a:lnTo>
                  <a:lnTo>
                    <a:pt x="372492" y="346837"/>
                  </a:lnTo>
                  <a:lnTo>
                    <a:pt x="373888" y="345313"/>
                  </a:lnTo>
                  <a:lnTo>
                    <a:pt x="375412" y="343662"/>
                  </a:lnTo>
                  <a:lnTo>
                    <a:pt x="376809" y="342010"/>
                  </a:lnTo>
                  <a:lnTo>
                    <a:pt x="378334" y="340232"/>
                  </a:lnTo>
                  <a:lnTo>
                    <a:pt x="379604" y="338328"/>
                  </a:lnTo>
                  <a:lnTo>
                    <a:pt x="380873" y="336295"/>
                  </a:lnTo>
                  <a:lnTo>
                    <a:pt x="382017" y="334391"/>
                  </a:lnTo>
                  <a:lnTo>
                    <a:pt x="383033" y="332232"/>
                  </a:lnTo>
                  <a:lnTo>
                    <a:pt x="483617" y="130682"/>
                  </a:lnTo>
                  <a:lnTo>
                    <a:pt x="485522" y="127126"/>
                  </a:lnTo>
                  <a:lnTo>
                    <a:pt x="487046" y="123825"/>
                  </a:lnTo>
                  <a:lnTo>
                    <a:pt x="488316" y="120269"/>
                  </a:lnTo>
                  <a:lnTo>
                    <a:pt x="489585" y="116713"/>
                  </a:lnTo>
                  <a:lnTo>
                    <a:pt x="490601" y="113284"/>
                  </a:lnTo>
                  <a:lnTo>
                    <a:pt x="491618" y="109600"/>
                  </a:lnTo>
                  <a:lnTo>
                    <a:pt x="492380" y="106172"/>
                  </a:lnTo>
                  <a:lnTo>
                    <a:pt x="493014" y="102742"/>
                  </a:lnTo>
                  <a:lnTo>
                    <a:pt x="493522" y="99187"/>
                  </a:lnTo>
                  <a:lnTo>
                    <a:pt x="493776" y="95631"/>
                  </a:lnTo>
                  <a:lnTo>
                    <a:pt x="493776" y="92328"/>
                  </a:lnTo>
                  <a:lnTo>
                    <a:pt x="493776" y="89026"/>
                  </a:lnTo>
                  <a:lnTo>
                    <a:pt x="493269" y="85725"/>
                  </a:lnTo>
                  <a:lnTo>
                    <a:pt x="492760" y="82676"/>
                  </a:lnTo>
                  <a:lnTo>
                    <a:pt x="492125" y="79501"/>
                  </a:lnTo>
                  <a:lnTo>
                    <a:pt x="491236" y="76453"/>
                  </a:lnTo>
                  <a:lnTo>
                    <a:pt x="489967" y="73532"/>
                  </a:lnTo>
                  <a:lnTo>
                    <a:pt x="488570" y="70738"/>
                  </a:lnTo>
                  <a:lnTo>
                    <a:pt x="486792" y="68072"/>
                  </a:lnTo>
                  <a:lnTo>
                    <a:pt x="484886" y="65404"/>
                  </a:lnTo>
                  <a:lnTo>
                    <a:pt x="482727" y="62991"/>
                  </a:lnTo>
                  <a:lnTo>
                    <a:pt x="480314" y="60706"/>
                  </a:lnTo>
                  <a:lnTo>
                    <a:pt x="477647" y="58419"/>
                  </a:lnTo>
                  <a:lnTo>
                    <a:pt x="474726" y="56388"/>
                  </a:lnTo>
                  <a:lnTo>
                    <a:pt x="473075" y="55498"/>
                  </a:lnTo>
                  <a:lnTo>
                    <a:pt x="471424" y="54737"/>
                  </a:lnTo>
                  <a:lnTo>
                    <a:pt x="469773" y="53720"/>
                  </a:lnTo>
                  <a:lnTo>
                    <a:pt x="467742" y="53085"/>
                  </a:lnTo>
                  <a:lnTo>
                    <a:pt x="465836" y="52197"/>
                  </a:lnTo>
                  <a:lnTo>
                    <a:pt x="464059" y="51562"/>
                  </a:lnTo>
                  <a:lnTo>
                    <a:pt x="459868" y="50165"/>
                  </a:lnTo>
                  <a:lnTo>
                    <a:pt x="455422" y="49275"/>
                  </a:lnTo>
                  <a:lnTo>
                    <a:pt x="450470" y="48387"/>
                  </a:lnTo>
                  <a:lnTo>
                    <a:pt x="445517" y="47751"/>
                  </a:lnTo>
                  <a:lnTo>
                    <a:pt x="440056" y="47497"/>
                  </a:lnTo>
                  <a:close/>
                  <a:moveTo>
                    <a:pt x="-5088889" y="3172967"/>
                  </a:moveTo>
                  <a:moveTo>
                    <a:pt x="42672" y="106934"/>
                  </a:moveTo>
                  <a:lnTo>
                    <a:pt x="42672" y="106934"/>
                  </a:lnTo>
                  <a:lnTo>
                    <a:pt x="40259" y="106553"/>
                  </a:lnTo>
                  <a:lnTo>
                    <a:pt x="38100" y="106172"/>
                  </a:lnTo>
                  <a:lnTo>
                    <a:pt x="36069" y="105663"/>
                  </a:lnTo>
                  <a:lnTo>
                    <a:pt x="33909" y="105028"/>
                  </a:lnTo>
                  <a:lnTo>
                    <a:pt x="31877" y="104394"/>
                  </a:lnTo>
                  <a:lnTo>
                    <a:pt x="30099" y="103759"/>
                  </a:lnTo>
                  <a:lnTo>
                    <a:pt x="28448" y="102997"/>
                  </a:lnTo>
                  <a:lnTo>
                    <a:pt x="26671" y="102362"/>
                  </a:lnTo>
                  <a:lnTo>
                    <a:pt x="24893" y="101472"/>
                  </a:lnTo>
                  <a:lnTo>
                    <a:pt x="23496" y="100710"/>
                  </a:lnTo>
                  <a:lnTo>
                    <a:pt x="22098" y="99948"/>
                  </a:lnTo>
                  <a:lnTo>
                    <a:pt x="20701" y="99060"/>
                  </a:lnTo>
                  <a:lnTo>
                    <a:pt x="19559" y="98170"/>
                  </a:lnTo>
                  <a:lnTo>
                    <a:pt x="18288" y="97154"/>
                  </a:lnTo>
                  <a:lnTo>
                    <a:pt x="17272" y="96138"/>
                  </a:lnTo>
                  <a:lnTo>
                    <a:pt x="16257" y="95250"/>
                  </a:lnTo>
                  <a:lnTo>
                    <a:pt x="14479" y="93091"/>
                  </a:lnTo>
                  <a:lnTo>
                    <a:pt x="13082" y="91059"/>
                  </a:lnTo>
                  <a:lnTo>
                    <a:pt x="11938" y="88900"/>
                  </a:lnTo>
                  <a:lnTo>
                    <a:pt x="11049" y="86613"/>
                  </a:lnTo>
                  <a:lnTo>
                    <a:pt x="10669" y="84200"/>
                  </a:lnTo>
                  <a:lnTo>
                    <a:pt x="10414" y="82041"/>
                  </a:lnTo>
                  <a:lnTo>
                    <a:pt x="10542" y="79756"/>
                  </a:lnTo>
                  <a:lnTo>
                    <a:pt x="10796" y="77469"/>
                  </a:lnTo>
                  <a:lnTo>
                    <a:pt x="11558" y="75310"/>
                  </a:lnTo>
                  <a:lnTo>
                    <a:pt x="12320" y="73025"/>
                  </a:lnTo>
                  <a:lnTo>
                    <a:pt x="13462" y="70992"/>
                  </a:lnTo>
                  <a:lnTo>
                    <a:pt x="14859" y="68960"/>
                  </a:lnTo>
                  <a:lnTo>
                    <a:pt x="16510" y="66928"/>
                  </a:lnTo>
                  <a:lnTo>
                    <a:pt x="18288" y="65150"/>
                  </a:lnTo>
                  <a:lnTo>
                    <a:pt x="20447" y="63372"/>
                  </a:lnTo>
                  <a:lnTo>
                    <a:pt x="22734" y="61975"/>
                  </a:lnTo>
                  <a:lnTo>
                    <a:pt x="25273" y="60451"/>
                  </a:lnTo>
                  <a:lnTo>
                    <a:pt x="28068" y="59309"/>
                  </a:lnTo>
                  <a:lnTo>
                    <a:pt x="30861" y="58419"/>
                  </a:lnTo>
                  <a:lnTo>
                    <a:pt x="34163" y="57531"/>
                  </a:lnTo>
                  <a:lnTo>
                    <a:pt x="37466" y="57022"/>
                  </a:lnTo>
                  <a:lnTo>
                    <a:pt x="41022" y="56641"/>
                  </a:lnTo>
                  <a:lnTo>
                    <a:pt x="44705" y="56641"/>
                  </a:lnTo>
                  <a:lnTo>
                    <a:pt x="48514" y="56895"/>
                  </a:lnTo>
                  <a:lnTo>
                    <a:pt x="85725" y="60197"/>
                  </a:lnTo>
                  <a:lnTo>
                    <a:pt x="83567" y="61594"/>
                  </a:lnTo>
                  <a:lnTo>
                    <a:pt x="81534" y="62991"/>
                  </a:lnTo>
                  <a:lnTo>
                    <a:pt x="79502" y="64516"/>
                  </a:lnTo>
                  <a:lnTo>
                    <a:pt x="77724" y="66166"/>
                  </a:lnTo>
                  <a:lnTo>
                    <a:pt x="75947" y="67817"/>
                  </a:lnTo>
                  <a:lnTo>
                    <a:pt x="74296" y="69469"/>
                  </a:lnTo>
                  <a:lnTo>
                    <a:pt x="72772" y="71247"/>
                  </a:lnTo>
                  <a:lnTo>
                    <a:pt x="71501" y="73151"/>
                  </a:lnTo>
                  <a:lnTo>
                    <a:pt x="70232" y="75057"/>
                  </a:lnTo>
                  <a:lnTo>
                    <a:pt x="69216" y="76962"/>
                  </a:lnTo>
                  <a:lnTo>
                    <a:pt x="68326" y="78994"/>
                  </a:lnTo>
                  <a:lnTo>
                    <a:pt x="67564" y="81153"/>
                  </a:lnTo>
                  <a:lnTo>
                    <a:pt x="66802" y="83185"/>
                  </a:lnTo>
                  <a:lnTo>
                    <a:pt x="66422" y="85344"/>
                  </a:lnTo>
                  <a:lnTo>
                    <a:pt x="66168" y="87629"/>
                  </a:lnTo>
                  <a:lnTo>
                    <a:pt x="66168" y="89788"/>
                  </a:lnTo>
                  <a:lnTo>
                    <a:pt x="66168" y="91566"/>
                  </a:lnTo>
                  <a:lnTo>
                    <a:pt x="66295" y="92963"/>
                  </a:lnTo>
                  <a:lnTo>
                    <a:pt x="66548" y="94488"/>
                  </a:lnTo>
                  <a:lnTo>
                    <a:pt x="66802" y="96012"/>
                  </a:lnTo>
                  <a:lnTo>
                    <a:pt x="67310" y="97663"/>
                  </a:lnTo>
                  <a:lnTo>
                    <a:pt x="67819" y="99060"/>
                  </a:lnTo>
                  <a:lnTo>
                    <a:pt x="68326" y="100457"/>
                  </a:lnTo>
                  <a:lnTo>
                    <a:pt x="68961" y="101853"/>
                  </a:lnTo>
                  <a:lnTo>
                    <a:pt x="70739" y="104647"/>
                  </a:lnTo>
                  <a:lnTo>
                    <a:pt x="72518" y="107315"/>
                  </a:lnTo>
                  <a:lnTo>
                    <a:pt x="74549" y="109982"/>
                  </a:lnTo>
                  <a:lnTo>
                    <a:pt x="76962" y="112267"/>
                  </a:lnTo>
                  <a:lnTo>
                    <a:pt x="42672" y="106934"/>
                  </a:lnTo>
                  <a:close/>
                  <a:moveTo>
                    <a:pt x="-5148326" y="3172967"/>
                  </a:moveTo>
                  <a:moveTo>
                    <a:pt x="101220" y="116204"/>
                  </a:moveTo>
                  <a:lnTo>
                    <a:pt x="101473" y="116078"/>
                  </a:lnTo>
                  <a:lnTo>
                    <a:pt x="98680" y="114935"/>
                  </a:lnTo>
                  <a:lnTo>
                    <a:pt x="96267" y="113665"/>
                  </a:lnTo>
                  <a:lnTo>
                    <a:pt x="93726" y="112394"/>
                  </a:lnTo>
                  <a:lnTo>
                    <a:pt x="91441" y="111125"/>
                  </a:lnTo>
                  <a:lnTo>
                    <a:pt x="89282" y="109600"/>
                  </a:lnTo>
                  <a:lnTo>
                    <a:pt x="87249" y="108076"/>
                  </a:lnTo>
                  <a:lnTo>
                    <a:pt x="85345" y="106425"/>
                  </a:lnTo>
                  <a:lnTo>
                    <a:pt x="83694" y="104775"/>
                  </a:lnTo>
                  <a:lnTo>
                    <a:pt x="82170" y="102997"/>
                  </a:lnTo>
                  <a:lnTo>
                    <a:pt x="80899" y="101345"/>
                  </a:lnTo>
                  <a:lnTo>
                    <a:pt x="79757" y="99441"/>
                  </a:lnTo>
                  <a:lnTo>
                    <a:pt x="78868" y="97663"/>
                  </a:lnTo>
                  <a:lnTo>
                    <a:pt x="77979" y="95631"/>
                  </a:lnTo>
                  <a:lnTo>
                    <a:pt x="77471" y="93725"/>
                  </a:lnTo>
                  <a:lnTo>
                    <a:pt x="76962" y="91820"/>
                  </a:lnTo>
                  <a:lnTo>
                    <a:pt x="76962" y="89788"/>
                  </a:lnTo>
                  <a:lnTo>
                    <a:pt x="77217" y="87629"/>
                  </a:lnTo>
                  <a:lnTo>
                    <a:pt x="77471" y="85344"/>
                  </a:lnTo>
                  <a:lnTo>
                    <a:pt x="78106" y="83185"/>
                  </a:lnTo>
                  <a:lnTo>
                    <a:pt x="79122" y="81025"/>
                  </a:lnTo>
                  <a:lnTo>
                    <a:pt x="80137" y="78994"/>
                  </a:lnTo>
                  <a:lnTo>
                    <a:pt x="81534" y="76835"/>
                  </a:lnTo>
                  <a:lnTo>
                    <a:pt x="83185" y="74929"/>
                  </a:lnTo>
                  <a:lnTo>
                    <a:pt x="84963" y="73025"/>
                  </a:lnTo>
                  <a:lnTo>
                    <a:pt x="86996" y="71247"/>
                  </a:lnTo>
                  <a:lnTo>
                    <a:pt x="89282" y="69595"/>
                  </a:lnTo>
                  <a:lnTo>
                    <a:pt x="91568" y="68072"/>
                  </a:lnTo>
                  <a:lnTo>
                    <a:pt x="94361" y="66547"/>
                  </a:lnTo>
                  <a:lnTo>
                    <a:pt x="97029" y="65150"/>
                  </a:lnTo>
                  <a:lnTo>
                    <a:pt x="99949" y="64007"/>
                  </a:lnTo>
                  <a:lnTo>
                    <a:pt x="103124" y="62991"/>
                  </a:lnTo>
                  <a:lnTo>
                    <a:pt x="106426" y="62103"/>
                  </a:lnTo>
                  <a:lnTo>
                    <a:pt x="181737" y="68707"/>
                  </a:lnTo>
                  <a:lnTo>
                    <a:pt x="179451" y="70231"/>
                  </a:lnTo>
                  <a:lnTo>
                    <a:pt x="177293" y="71754"/>
                  </a:lnTo>
                  <a:lnTo>
                    <a:pt x="175260" y="73406"/>
                  </a:lnTo>
                  <a:lnTo>
                    <a:pt x="173356" y="75057"/>
                  </a:lnTo>
                  <a:lnTo>
                    <a:pt x="171323" y="76835"/>
                  </a:lnTo>
                  <a:lnTo>
                    <a:pt x="169799" y="78740"/>
                  </a:lnTo>
                  <a:lnTo>
                    <a:pt x="168148" y="80644"/>
                  </a:lnTo>
                  <a:lnTo>
                    <a:pt x="166879" y="82676"/>
                  </a:lnTo>
                  <a:lnTo>
                    <a:pt x="165355" y="84835"/>
                  </a:lnTo>
                  <a:lnTo>
                    <a:pt x="164338" y="86867"/>
                  </a:lnTo>
                  <a:lnTo>
                    <a:pt x="163322" y="89153"/>
                  </a:lnTo>
                  <a:lnTo>
                    <a:pt x="162560" y="91440"/>
                  </a:lnTo>
                  <a:lnTo>
                    <a:pt x="161925" y="93725"/>
                  </a:lnTo>
                  <a:lnTo>
                    <a:pt x="161418" y="96138"/>
                  </a:lnTo>
                  <a:lnTo>
                    <a:pt x="161163" y="98551"/>
                  </a:lnTo>
                  <a:lnTo>
                    <a:pt x="161163" y="101091"/>
                  </a:lnTo>
                  <a:lnTo>
                    <a:pt x="161163" y="102997"/>
                  </a:lnTo>
                  <a:lnTo>
                    <a:pt x="161418" y="104775"/>
                  </a:lnTo>
                  <a:lnTo>
                    <a:pt x="161672" y="106679"/>
                  </a:lnTo>
                  <a:lnTo>
                    <a:pt x="162052" y="108585"/>
                  </a:lnTo>
                  <a:lnTo>
                    <a:pt x="162560" y="110363"/>
                  </a:lnTo>
                  <a:lnTo>
                    <a:pt x="163196" y="112013"/>
                  </a:lnTo>
                  <a:lnTo>
                    <a:pt x="163958" y="113791"/>
                  </a:lnTo>
                  <a:lnTo>
                    <a:pt x="164847" y="115569"/>
                  </a:lnTo>
                  <a:lnTo>
                    <a:pt x="165609" y="117220"/>
                  </a:lnTo>
                  <a:lnTo>
                    <a:pt x="166879" y="118872"/>
                  </a:lnTo>
                  <a:lnTo>
                    <a:pt x="167895" y="120522"/>
                  </a:lnTo>
                  <a:lnTo>
                    <a:pt x="169037" y="122047"/>
                  </a:lnTo>
                  <a:lnTo>
                    <a:pt x="170434" y="123444"/>
                  </a:lnTo>
                  <a:lnTo>
                    <a:pt x="171832" y="124967"/>
                  </a:lnTo>
                  <a:lnTo>
                    <a:pt x="173229" y="126365"/>
                  </a:lnTo>
                  <a:lnTo>
                    <a:pt x="174625" y="127762"/>
                  </a:lnTo>
                  <a:lnTo>
                    <a:pt x="101220" y="116204"/>
                  </a:lnTo>
                  <a:close/>
                  <a:moveTo>
                    <a:pt x="-5157596" y="3172967"/>
                  </a:moveTo>
                  <a:moveTo>
                    <a:pt x="126238" y="341122"/>
                  </a:moveTo>
                  <a:lnTo>
                    <a:pt x="126238" y="341122"/>
                  </a:lnTo>
                  <a:lnTo>
                    <a:pt x="124334" y="342645"/>
                  </a:lnTo>
                  <a:lnTo>
                    <a:pt x="122429" y="344042"/>
                  </a:lnTo>
                  <a:lnTo>
                    <a:pt x="120397" y="345440"/>
                  </a:lnTo>
                  <a:lnTo>
                    <a:pt x="118237" y="346710"/>
                  </a:lnTo>
                  <a:lnTo>
                    <a:pt x="116206" y="347853"/>
                  </a:lnTo>
                  <a:lnTo>
                    <a:pt x="113920" y="348995"/>
                  </a:lnTo>
                  <a:lnTo>
                    <a:pt x="111634" y="349885"/>
                  </a:lnTo>
                  <a:lnTo>
                    <a:pt x="109347" y="350647"/>
                  </a:lnTo>
                  <a:lnTo>
                    <a:pt x="107188" y="351535"/>
                  </a:lnTo>
                  <a:lnTo>
                    <a:pt x="104775" y="352044"/>
                  </a:lnTo>
                  <a:lnTo>
                    <a:pt x="102362" y="352678"/>
                  </a:lnTo>
                  <a:lnTo>
                    <a:pt x="99949" y="353187"/>
                  </a:lnTo>
                  <a:lnTo>
                    <a:pt x="97536" y="353441"/>
                  </a:lnTo>
                  <a:lnTo>
                    <a:pt x="95123" y="353694"/>
                  </a:lnTo>
                  <a:lnTo>
                    <a:pt x="92710" y="353822"/>
                  </a:lnTo>
                  <a:lnTo>
                    <a:pt x="90297" y="353948"/>
                  </a:lnTo>
                  <a:lnTo>
                    <a:pt x="87758" y="353822"/>
                  </a:lnTo>
                  <a:lnTo>
                    <a:pt x="85345" y="353694"/>
                  </a:lnTo>
                  <a:lnTo>
                    <a:pt x="82932" y="353441"/>
                  </a:lnTo>
                  <a:lnTo>
                    <a:pt x="80646" y="353187"/>
                  </a:lnTo>
                  <a:lnTo>
                    <a:pt x="78106" y="352678"/>
                  </a:lnTo>
                  <a:lnTo>
                    <a:pt x="75693" y="352044"/>
                  </a:lnTo>
                  <a:lnTo>
                    <a:pt x="73407" y="351535"/>
                  </a:lnTo>
                  <a:lnTo>
                    <a:pt x="70994" y="350647"/>
                  </a:lnTo>
                  <a:lnTo>
                    <a:pt x="68708" y="349885"/>
                  </a:lnTo>
                  <a:lnTo>
                    <a:pt x="66548" y="348995"/>
                  </a:lnTo>
                  <a:lnTo>
                    <a:pt x="64389" y="347853"/>
                  </a:lnTo>
                  <a:lnTo>
                    <a:pt x="62231" y="346710"/>
                  </a:lnTo>
                  <a:lnTo>
                    <a:pt x="60198" y="345440"/>
                  </a:lnTo>
                  <a:lnTo>
                    <a:pt x="58167" y="344042"/>
                  </a:lnTo>
                  <a:lnTo>
                    <a:pt x="56134" y="342645"/>
                  </a:lnTo>
                  <a:lnTo>
                    <a:pt x="54230" y="341122"/>
                  </a:lnTo>
                  <a:lnTo>
                    <a:pt x="51435" y="338709"/>
                  </a:lnTo>
                  <a:lnTo>
                    <a:pt x="49022" y="335915"/>
                  </a:lnTo>
                  <a:lnTo>
                    <a:pt x="46863" y="333120"/>
                  </a:lnTo>
                  <a:lnTo>
                    <a:pt x="44959" y="330326"/>
                  </a:lnTo>
                  <a:lnTo>
                    <a:pt x="43434" y="327406"/>
                  </a:lnTo>
                  <a:lnTo>
                    <a:pt x="42037" y="324357"/>
                  </a:lnTo>
                  <a:lnTo>
                    <a:pt x="41022" y="321182"/>
                  </a:lnTo>
                  <a:lnTo>
                    <a:pt x="40259" y="318135"/>
                  </a:lnTo>
                  <a:lnTo>
                    <a:pt x="112396" y="270763"/>
                  </a:lnTo>
                  <a:lnTo>
                    <a:pt x="114300" y="271525"/>
                  </a:lnTo>
                  <a:lnTo>
                    <a:pt x="116079" y="272415"/>
                  </a:lnTo>
                  <a:lnTo>
                    <a:pt x="117857" y="273303"/>
                  </a:lnTo>
                  <a:lnTo>
                    <a:pt x="119634" y="274319"/>
                  </a:lnTo>
                  <a:lnTo>
                    <a:pt x="121285" y="275590"/>
                  </a:lnTo>
                  <a:lnTo>
                    <a:pt x="123063" y="276732"/>
                  </a:lnTo>
                  <a:lnTo>
                    <a:pt x="124587" y="277875"/>
                  </a:lnTo>
                  <a:lnTo>
                    <a:pt x="126238" y="279145"/>
                  </a:lnTo>
                  <a:lnTo>
                    <a:pt x="128017" y="280797"/>
                  </a:lnTo>
                  <a:lnTo>
                    <a:pt x="129795" y="282575"/>
                  </a:lnTo>
                  <a:lnTo>
                    <a:pt x="131319" y="284225"/>
                  </a:lnTo>
                  <a:lnTo>
                    <a:pt x="132843" y="286003"/>
                  </a:lnTo>
                  <a:lnTo>
                    <a:pt x="134112" y="287909"/>
                  </a:lnTo>
                  <a:lnTo>
                    <a:pt x="135383" y="289813"/>
                  </a:lnTo>
                  <a:lnTo>
                    <a:pt x="136398" y="291845"/>
                  </a:lnTo>
                  <a:lnTo>
                    <a:pt x="137414" y="293623"/>
                  </a:lnTo>
                  <a:lnTo>
                    <a:pt x="138431" y="295656"/>
                  </a:lnTo>
                  <a:lnTo>
                    <a:pt x="139066" y="297688"/>
                  </a:lnTo>
                  <a:lnTo>
                    <a:pt x="139700" y="299719"/>
                  </a:lnTo>
                  <a:lnTo>
                    <a:pt x="140335" y="301878"/>
                  </a:lnTo>
                  <a:lnTo>
                    <a:pt x="140589" y="303784"/>
                  </a:lnTo>
                  <a:lnTo>
                    <a:pt x="140971" y="305942"/>
                  </a:lnTo>
                  <a:lnTo>
                    <a:pt x="141097" y="307975"/>
                  </a:lnTo>
                  <a:lnTo>
                    <a:pt x="141224" y="310134"/>
                  </a:lnTo>
                  <a:lnTo>
                    <a:pt x="141097" y="312292"/>
                  </a:lnTo>
                  <a:lnTo>
                    <a:pt x="140971" y="314325"/>
                  </a:lnTo>
                  <a:lnTo>
                    <a:pt x="140589" y="316484"/>
                  </a:lnTo>
                  <a:lnTo>
                    <a:pt x="140335" y="318516"/>
                  </a:lnTo>
                  <a:lnTo>
                    <a:pt x="139700" y="320547"/>
                  </a:lnTo>
                  <a:lnTo>
                    <a:pt x="139066" y="322579"/>
                  </a:lnTo>
                  <a:lnTo>
                    <a:pt x="138431" y="324612"/>
                  </a:lnTo>
                  <a:lnTo>
                    <a:pt x="137414" y="326644"/>
                  </a:lnTo>
                  <a:lnTo>
                    <a:pt x="136398" y="328548"/>
                  </a:lnTo>
                  <a:lnTo>
                    <a:pt x="135383" y="330453"/>
                  </a:lnTo>
                  <a:lnTo>
                    <a:pt x="134112" y="332485"/>
                  </a:lnTo>
                  <a:lnTo>
                    <a:pt x="132843" y="334137"/>
                  </a:lnTo>
                  <a:lnTo>
                    <a:pt x="131319" y="336041"/>
                  </a:lnTo>
                  <a:lnTo>
                    <a:pt x="129795" y="337819"/>
                  </a:lnTo>
                  <a:lnTo>
                    <a:pt x="128017" y="339470"/>
                  </a:lnTo>
                  <a:lnTo>
                    <a:pt x="126238" y="341122"/>
                  </a:lnTo>
                  <a:close/>
                  <a:moveTo>
                    <a:pt x="-5382514" y="3172967"/>
                  </a:moveTo>
                  <a:moveTo>
                    <a:pt x="148845" y="293242"/>
                  </a:moveTo>
                  <a:lnTo>
                    <a:pt x="148845" y="293242"/>
                  </a:lnTo>
                  <a:lnTo>
                    <a:pt x="147574" y="290322"/>
                  </a:lnTo>
                  <a:lnTo>
                    <a:pt x="146305" y="287528"/>
                  </a:lnTo>
                  <a:lnTo>
                    <a:pt x="144654" y="284860"/>
                  </a:lnTo>
                  <a:lnTo>
                    <a:pt x="142875" y="282320"/>
                  </a:lnTo>
                  <a:lnTo>
                    <a:pt x="140971" y="279781"/>
                  </a:lnTo>
                  <a:lnTo>
                    <a:pt x="138811" y="277241"/>
                  </a:lnTo>
                  <a:lnTo>
                    <a:pt x="136398" y="274828"/>
                  </a:lnTo>
                  <a:lnTo>
                    <a:pt x="133985" y="272669"/>
                  </a:lnTo>
                  <a:lnTo>
                    <a:pt x="130937" y="270128"/>
                  </a:lnTo>
                  <a:lnTo>
                    <a:pt x="127635" y="267842"/>
                  </a:lnTo>
                  <a:lnTo>
                    <a:pt x="124207" y="265684"/>
                  </a:lnTo>
                  <a:lnTo>
                    <a:pt x="120777" y="263906"/>
                  </a:lnTo>
                  <a:lnTo>
                    <a:pt x="117095" y="262254"/>
                  </a:lnTo>
                  <a:lnTo>
                    <a:pt x="113411" y="260731"/>
                  </a:lnTo>
                  <a:lnTo>
                    <a:pt x="109601" y="259588"/>
                  </a:lnTo>
                  <a:lnTo>
                    <a:pt x="105664" y="258698"/>
                  </a:lnTo>
                  <a:lnTo>
                    <a:pt x="101727" y="257810"/>
                  </a:lnTo>
                  <a:lnTo>
                    <a:pt x="97791" y="257428"/>
                  </a:lnTo>
                  <a:lnTo>
                    <a:pt x="93726" y="257047"/>
                  </a:lnTo>
                  <a:lnTo>
                    <a:pt x="89789" y="257047"/>
                  </a:lnTo>
                  <a:lnTo>
                    <a:pt x="85725" y="257175"/>
                  </a:lnTo>
                  <a:lnTo>
                    <a:pt x="81788" y="257556"/>
                  </a:lnTo>
                  <a:lnTo>
                    <a:pt x="77851" y="258063"/>
                  </a:lnTo>
                  <a:lnTo>
                    <a:pt x="73914" y="258953"/>
                  </a:lnTo>
                  <a:lnTo>
                    <a:pt x="168910" y="183641"/>
                  </a:lnTo>
                  <a:lnTo>
                    <a:pt x="171959" y="183007"/>
                  </a:lnTo>
                  <a:lnTo>
                    <a:pt x="175007" y="182625"/>
                  </a:lnTo>
                  <a:lnTo>
                    <a:pt x="178182" y="182244"/>
                  </a:lnTo>
                  <a:lnTo>
                    <a:pt x="181357" y="182117"/>
                  </a:lnTo>
                  <a:lnTo>
                    <a:pt x="184405" y="182244"/>
                  </a:lnTo>
                  <a:lnTo>
                    <a:pt x="187580" y="182498"/>
                  </a:lnTo>
                  <a:lnTo>
                    <a:pt x="190627" y="182879"/>
                  </a:lnTo>
                  <a:lnTo>
                    <a:pt x="193802" y="183388"/>
                  </a:lnTo>
                  <a:lnTo>
                    <a:pt x="196850" y="184022"/>
                  </a:lnTo>
                  <a:lnTo>
                    <a:pt x="199772" y="184785"/>
                  </a:lnTo>
                  <a:lnTo>
                    <a:pt x="202820" y="185800"/>
                  </a:lnTo>
                  <a:lnTo>
                    <a:pt x="205741" y="186944"/>
                  </a:lnTo>
                  <a:lnTo>
                    <a:pt x="208408" y="188213"/>
                  </a:lnTo>
                  <a:lnTo>
                    <a:pt x="210947" y="189738"/>
                  </a:lnTo>
                  <a:lnTo>
                    <a:pt x="213614" y="191262"/>
                  </a:lnTo>
                  <a:lnTo>
                    <a:pt x="215900" y="192785"/>
                  </a:lnTo>
                  <a:lnTo>
                    <a:pt x="223394" y="185928"/>
                  </a:lnTo>
                  <a:lnTo>
                    <a:pt x="221108" y="184403"/>
                  </a:lnTo>
                  <a:lnTo>
                    <a:pt x="218948" y="183007"/>
                  </a:lnTo>
                  <a:lnTo>
                    <a:pt x="216789" y="181737"/>
                  </a:lnTo>
                  <a:lnTo>
                    <a:pt x="214376" y="180466"/>
                  </a:lnTo>
                  <a:lnTo>
                    <a:pt x="212091" y="179197"/>
                  </a:lnTo>
                  <a:lnTo>
                    <a:pt x="209423" y="178181"/>
                  </a:lnTo>
                  <a:lnTo>
                    <a:pt x="207010" y="177291"/>
                  </a:lnTo>
                  <a:lnTo>
                    <a:pt x="204471" y="176275"/>
                  </a:lnTo>
                  <a:lnTo>
                    <a:pt x="201804" y="175513"/>
                  </a:lnTo>
                  <a:lnTo>
                    <a:pt x="199136" y="174878"/>
                  </a:lnTo>
                  <a:lnTo>
                    <a:pt x="196343" y="174244"/>
                  </a:lnTo>
                  <a:lnTo>
                    <a:pt x="193675" y="173735"/>
                  </a:lnTo>
                  <a:lnTo>
                    <a:pt x="191009" y="173354"/>
                  </a:lnTo>
                  <a:lnTo>
                    <a:pt x="188087" y="173100"/>
                  </a:lnTo>
                  <a:lnTo>
                    <a:pt x="185421" y="172973"/>
                  </a:lnTo>
                  <a:lnTo>
                    <a:pt x="182499" y="172847"/>
                  </a:lnTo>
                  <a:lnTo>
                    <a:pt x="224791" y="139319"/>
                  </a:lnTo>
                  <a:lnTo>
                    <a:pt x="241300" y="127635"/>
                  </a:lnTo>
                  <a:lnTo>
                    <a:pt x="243586" y="127381"/>
                  </a:lnTo>
                  <a:lnTo>
                    <a:pt x="246126" y="127381"/>
                  </a:lnTo>
                  <a:lnTo>
                    <a:pt x="248285" y="127381"/>
                  </a:lnTo>
                  <a:lnTo>
                    <a:pt x="250698" y="127635"/>
                  </a:lnTo>
                  <a:lnTo>
                    <a:pt x="253111" y="127888"/>
                  </a:lnTo>
                  <a:lnTo>
                    <a:pt x="255524" y="128142"/>
                  </a:lnTo>
                  <a:lnTo>
                    <a:pt x="257557" y="128650"/>
                  </a:lnTo>
                  <a:lnTo>
                    <a:pt x="259970" y="129159"/>
                  </a:lnTo>
                  <a:lnTo>
                    <a:pt x="262129" y="129794"/>
                  </a:lnTo>
                  <a:lnTo>
                    <a:pt x="264160" y="130556"/>
                  </a:lnTo>
                  <a:lnTo>
                    <a:pt x="266320" y="131444"/>
                  </a:lnTo>
                  <a:lnTo>
                    <a:pt x="268351" y="132334"/>
                  </a:lnTo>
                  <a:lnTo>
                    <a:pt x="270257" y="133350"/>
                  </a:lnTo>
                  <a:lnTo>
                    <a:pt x="272161" y="134492"/>
                  </a:lnTo>
                  <a:lnTo>
                    <a:pt x="274067" y="135635"/>
                  </a:lnTo>
                  <a:lnTo>
                    <a:pt x="275718" y="136906"/>
                  </a:lnTo>
                  <a:lnTo>
                    <a:pt x="283210" y="130047"/>
                  </a:lnTo>
                  <a:lnTo>
                    <a:pt x="280035" y="127888"/>
                  </a:lnTo>
                  <a:lnTo>
                    <a:pt x="276607" y="125729"/>
                  </a:lnTo>
                  <a:lnTo>
                    <a:pt x="273050" y="124078"/>
                  </a:lnTo>
                  <a:lnTo>
                    <a:pt x="269622" y="122300"/>
                  </a:lnTo>
                  <a:lnTo>
                    <a:pt x="265684" y="121157"/>
                  </a:lnTo>
                  <a:lnTo>
                    <a:pt x="261747" y="119888"/>
                  </a:lnTo>
                  <a:lnTo>
                    <a:pt x="257937" y="119125"/>
                  </a:lnTo>
                  <a:lnTo>
                    <a:pt x="253747" y="118491"/>
                  </a:lnTo>
                  <a:lnTo>
                    <a:pt x="291084" y="91566"/>
                  </a:lnTo>
                  <a:lnTo>
                    <a:pt x="291720" y="91059"/>
                  </a:lnTo>
                  <a:lnTo>
                    <a:pt x="292100" y="90550"/>
                  </a:lnTo>
                  <a:lnTo>
                    <a:pt x="292609" y="90169"/>
                  </a:lnTo>
                  <a:lnTo>
                    <a:pt x="292735" y="89788"/>
                  </a:lnTo>
                  <a:lnTo>
                    <a:pt x="292735" y="89535"/>
                  </a:lnTo>
                  <a:lnTo>
                    <a:pt x="292609" y="89153"/>
                  </a:lnTo>
                  <a:lnTo>
                    <a:pt x="292355" y="88900"/>
                  </a:lnTo>
                  <a:lnTo>
                    <a:pt x="291973" y="88645"/>
                  </a:lnTo>
                  <a:lnTo>
                    <a:pt x="291084" y="88265"/>
                  </a:lnTo>
                  <a:lnTo>
                    <a:pt x="289687" y="88138"/>
                  </a:lnTo>
                  <a:lnTo>
                    <a:pt x="287909" y="88010"/>
                  </a:lnTo>
                  <a:lnTo>
                    <a:pt x="285877" y="88138"/>
                  </a:lnTo>
                  <a:lnTo>
                    <a:pt x="283592" y="88265"/>
                  </a:lnTo>
                  <a:lnTo>
                    <a:pt x="281051" y="88519"/>
                  </a:lnTo>
                  <a:lnTo>
                    <a:pt x="278638" y="88900"/>
                  </a:lnTo>
                  <a:lnTo>
                    <a:pt x="276098" y="89535"/>
                  </a:lnTo>
                  <a:lnTo>
                    <a:pt x="273559" y="90042"/>
                  </a:lnTo>
                  <a:lnTo>
                    <a:pt x="270892" y="90932"/>
                  </a:lnTo>
                  <a:lnTo>
                    <a:pt x="268479" y="91820"/>
                  </a:lnTo>
                  <a:lnTo>
                    <a:pt x="266193" y="92710"/>
                  </a:lnTo>
                  <a:lnTo>
                    <a:pt x="190882" y="127000"/>
                  </a:lnTo>
                  <a:lnTo>
                    <a:pt x="188849" y="125729"/>
                  </a:lnTo>
                  <a:lnTo>
                    <a:pt x="186691" y="124460"/>
                  </a:lnTo>
                  <a:lnTo>
                    <a:pt x="184912" y="123190"/>
                  </a:lnTo>
                  <a:lnTo>
                    <a:pt x="183134" y="121792"/>
                  </a:lnTo>
                  <a:lnTo>
                    <a:pt x="181484" y="120269"/>
                  </a:lnTo>
                  <a:lnTo>
                    <a:pt x="179833" y="118744"/>
                  </a:lnTo>
                  <a:lnTo>
                    <a:pt x="178435" y="117094"/>
                  </a:lnTo>
                  <a:lnTo>
                    <a:pt x="177038" y="115442"/>
                  </a:lnTo>
                  <a:lnTo>
                    <a:pt x="176022" y="113791"/>
                  </a:lnTo>
                  <a:lnTo>
                    <a:pt x="175007" y="112013"/>
                  </a:lnTo>
                  <a:lnTo>
                    <a:pt x="174118" y="110363"/>
                  </a:lnTo>
                  <a:lnTo>
                    <a:pt x="173356" y="108457"/>
                  </a:lnTo>
                  <a:lnTo>
                    <a:pt x="172721" y="106679"/>
                  </a:lnTo>
                  <a:lnTo>
                    <a:pt x="172339" y="104775"/>
                  </a:lnTo>
                  <a:lnTo>
                    <a:pt x="172085" y="102997"/>
                  </a:lnTo>
                  <a:lnTo>
                    <a:pt x="171959" y="101091"/>
                  </a:lnTo>
                  <a:lnTo>
                    <a:pt x="172085" y="98551"/>
                  </a:lnTo>
                  <a:lnTo>
                    <a:pt x="172467" y="95885"/>
                  </a:lnTo>
                  <a:lnTo>
                    <a:pt x="173229" y="93472"/>
                  </a:lnTo>
                  <a:lnTo>
                    <a:pt x="174118" y="91185"/>
                  </a:lnTo>
                  <a:lnTo>
                    <a:pt x="175260" y="88900"/>
                  </a:lnTo>
                  <a:lnTo>
                    <a:pt x="176784" y="86487"/>
                  </a:lnTo>
                  <a:lnTo>
                    <a:pt x="178435" y="84454"/>
                  </a:lnTo>
                  <a:lnTo>
                    <a:pt x="180468" y="82295"/>
                  </a:lnTo>
                  <a:lnTo>
                    <a:pt x="182499" y="80391"/>
                  </a:lnTo>
                  <a:lnTo>
                    <a:pt x="184659" y="78613"/>
                  </a:lnTo>
                  <a:lnTo>
                    <a:pt x="187198" y="76835"/>
                  </a:lnTo>
                  <a:lnTo>
                    <a:pt x="189866" y="75310"/>
                  </a:lnTo>
                  <a:lnTo>
                    <a:pt x="192786" y="73913"/>
                  </a:lnTo>
                  <a:lnTo>
                    <a:pt x="195834" y="72516"/>
                  </a:lnTo>
                  <a:lnTo>
                    <a:pt x="198883" y="71500"/>
                  </a:lnTo>
                  <a:lnTo>
                    <a:pt x="202058" y="70612"/>
                  </a:lnTo>
                  <a:lnTo>
                    <a:pt x="317247" y="80772"/>
                  </a:lnTo>
                  <a:lnTo>
                    <a:pt x="320041" y="81153"/>
                  </a:lnTo>
                  <a:lnTo>
                    <a:pt x="322581" y="81534"/>
                  </a:lnTo>
                  <a:lnTo>
                    <a:pt x="325121" y="82169"/>
                  </a:lnTo>
                  <a:lnTo>
                    <a:pt x="327280" y="82931"/>
                  </a:lnTo>
                  <a:lnTo>
                    <a:pt x="329311" y="83947"/>
                  </a:lnTo>
                  <a:lnTo>
                    <a:pt x="331089" y="84963"/>
                  </a:lnTo>
                  <a:lnTo>
                    <a:pt x="331724" y="85597"/>
                  </a:lnTo>
                  <a:lnTo>
                    <a:pt x="332359" y="86106"/>
                  </a:lnTo>
                  <a:lnTo>
                    <a:pt x="332995" y="86867"/>
                  </a:lnTo>
                  <a:lnTo>
                    <a:pt x="333502" y="87503"/>
                  </a:lnTo>
                  <a:lnTo>
                    <a:pt x="333884" y="88265"/>
                  </a:lnTo>
                  <a:lnTo>
                    <a:pt x="334264" y="89026"/>
                  </a:lnTo>
                  <a:lnTo>
                    <a:pt x="334519" y="89788"/>
                  </a:lnTo>
                  <a:lnTo>
                    <a:pt x="334772" y="90678"/>
                  </a:lnTo>
                  <a:lnTo>
                    <a:pt x="334772" y="91566"/>
                  </a:lnTo>
                  <a:lnTo>
                    <a:pt x="334772" y="92582"/>
                  </a:lnTo>
                  <a:lnTo>
                    <a:pt x="334519" y="93472"/>
                  </a:lnTo>
                  <a:lnTo>
                    <a:pt x="334264" y="94488"/>
                  </a:lnTo>
                  <a:lnTo>
                    <a:pt x="333884" y="95631"/>
                  </a:lnTo>
                  <a:lnTo>
                    <a:pt x="333502" y="96647"/>
                  </a:lnTo>
                  <a:lnTo>
                    <a:pt x="332741" y="97790"/>
                  </a:lnTo>
                  <a:lnTo>
                    <a:pt x="332106" y="98932"/>
                  </a:lnTo>
                  <a:lnTo>
                    <a:pt x="331344" y="100329"/>
                  </a:lnTo>
                  <a:lnTo>
                    <a:pt x="330200" y="101472"/>
                  </a:lnTo>
                  <a:lnTo>
                    <a:pt x="327914" y="104140"/>
                  </a:lnTo>
                  <a:lnTo>
                    <a:pt x="167386" y="269747"/>
                  </a:lnTo>
                  <a:lnTo>
                    <a:pt x="165355" y="271017"/>
                  </a:lnTo>
                  <a:lnTo>
                    <a:pt x="163704" y="272669"/>
                  </a:lnTo>
                  <a:lnTo>
                    <a:pt x="161163" y="274828"/>
                  </a:lnTo>
                  <a:lnTo>
                    <a:pt x="158877" y="277241"/>
                  </a:lnTo>
                  <a:lnTo>
                    <a:pt x="156719" y="279781"/>
                  </a:lnTo>
                  <a:lnTo>
                    <a:pt x="154813" y="282320"/>
                  </a:lnTo>
                  <a:lnTo>
                    <a:pt x="153035" y="284860"/>
                  </a:lnTo>
                  <a:lnTo>
                    <a:pt x="151511" y="287528"/>
                  </a:lnTo>
                  <a:lnTo>
                    <a:pt x="149987" y="290322"/>
                  </a:lnTo>
                  <a:lnTo>
                    <a:pt x="148845" y="293242"/>
                  </a:lnTo>
                  <a:close/>
                  <a:moveTo>
                    <a:pt x="-5334634" y="3172967"/>
                  </a:moveTo>
                  <a:moveTo>
                    <a:pt x="243459" y="341122"/>
                  </a:moveTo>
                  <a:lnTo>
                    <a:pt x="243459" y="341122"/>
                  </a:lnTo>
                  <a:lnTo>
                    <a:pt x="241555" y="342645"/>
                  </a:lnTo>
                  <a:lnTo>
                    <a:pt x="239522" y="344042"/>
                  </a:lnTo>
                  <a:lnTo>
                    <a:pt x="237491" y="345440"/>
                  </a:lnTo>
                  <a:lnTo>
                    <a:pt x="235459" y="346710"/>
                  </a:lnTo>
                  <a:lnTo>
                    <a:pt x="233299" y="347853"/>
                  </a:lnTo>
                  <a:lnTo>
                    <a:pt x="231013" y="348995"/>
                  </a:lnTo>
                  <a:lnTo>
                    <a:pt x="228982" y="349885"/>
                  </a:lnTo>
                  <a:lnTo>
                    <a:pt x="226569" y="350647"/>
                  </a:lnTo>
                  <a:lnTo>
                    <a:pt x="224283" y="351535"/>
                  </a:lnTo>
                  <a:lnTo>
                    <a:pt x="221997" y="352044"/>
                  </a:lnTo>
                  <a:lnTo>
                    <a:pt x="219584" y="352678"/>
                  </a:lnTo>
                  <a:lnTo>
                    <a:pt x="217171" y="353187"/>
                  </a:lnTo>
                  <a:lnTo>
                    <a:pt x="214758" y="353441"/>
                  </a:lnTo>
                  <a:lnTo>
                    <a:pt x="212345" y="353694"/>
                  </a:lnTo>
                  <a:lnTo>
                    <a:pt x="209932" y="353822"/>
                  </a:lnTo>
                  <a:lnTo>
                    <a:pt x="207392" y="353948"/>
                  </a:lnTo>
                  <a:lnTo>
                    <a:pt x="204979" y="353822"/>
                  </a:lnTo>
                  <a:lnTo>
                    <a:pt x="202566" y="353694"/>
                  </a:lnTo>
                  <a:lnTo>
                    <a:pt x="200025" y="353441"/>
                  </a:lnTo>
                  <a:lnTo>
                    <a:pt x="197612" y="353187"/>
                  </a:lnTo>
                  <a:lnTo>
                    <a:pt x="195326" y="352678"/>
                  </a:lnTo>
                  <a:lnTo>
                    <a:pt x="192913" y="352044"/>
                  </a:lnTo>
                  <a:lnTo>
                    <a:pt x="190627" y="351535"/>
                  </a:lnTo>
                  <a:lnTo>
                    <a:pt x="188214" y="350647"/>
                  </a:lnTo>
                  <a:lnTo>
                    <a:pt x="185929" y="349885"/>
                  </a:lnTo>
                  <a:lnTo>
                    <a:pt x="183770" y="348995"/>
                  </a:lnTo>
                  <a:lnTo>
                    <a:pt x="181484" y="347853"/>
                  </a:lnTo>
                  <a:lnTo>
                    <a:pt x="179451" y="346710"/>
                  </a:lnTo>
                  <a:lnTo>
                    <a:pt x="177293" y="345440"/>
                  </a:lnTo>
                  <a:lnTo>
                    <a:pt x="175260" y="344042"/>
                  </a:lnTo>
                  <a:lnTo>
                    <a:pt x="173356" y="342645"/>
                  </a:lnTo>
                  <a:lnTo>
                    <a:pt x="171323" y="341122"/>
                  </a:lnTo>
                  <a:lnTo>
                    <a:pt x="168910" y="338835"/>
                  </a:lnTo>
                  <a:lnTo>
                    <a:pt x="166879" y="336676"/>
                  </a:lnTo>
                  <a:lnTo>
                    <a:pt x="164847" y="334391"/>
                  </a:lnTo>
                  <a:lnTo>
                    <a:pt x="163069" y="331723"/>
                  </a:lnTo>
                  <a:lnTo>
                    <a:pt x="161672" y="329310"/>
                  </a:lnTo>
                  <a:lnTo>
                    <a:pt x="160274" y="326644"/>
                  </a:lnTo>
                  <a:lnTo>
                    <a:pt x="159005" y="324103"/>
                  </a:lnTo>
                  <a:lnTo>
                    <a:pt x="158116" y="321437"/>
                  </a:lnTo>
                  <a:lnTo>
                    <a:pt x="232919" y="272288"/>
                  </a:lnTo>
                  <a:lnTo>
                    <a:pt x="235712" y="273685"/>
                  </a:lnTo>
                  <a:lnTo>
                    <a:pt x="238252" y="275463"/>
                  </a:lnTo>
                  <a:lnTo>
                    <a:pt x="241047" y="277241"/>
                  </a:lnTo>
                  <a:lnTo>
                    <a:pt x="243459" y="279145"/>
                  </a:lnTo>
                  <a:lnTo>
                    <a:pt x="245237" y="280797"/>
                  </a:lnTo>
                  <a:lnTo>
                    <a:pt x="246888" y="282575"/>
                  </a:lnTo>
                  <a:lnTo>
                    <a:pt x="248539" y="284225"/>
                  </a:lnTo>
                  <a:lnTo>
                    <a:pt x="250063" y="286003"/>
                  </a:lnTo>
                  <a:lnTo>
                    <a:pt x="251334" y="287909"/>
                  </a:lnTo>
                  <a:lnTo>
                    <a:pt x="252604" y="289813"/>
                  </a:lnTo>
                  <a:lnTo>
                    <a:pt x="253620" y="291845"/>
                  </a:lnTo>
                  <a:lnTo>
                    <a:pt x="254635" y="293623"/>
                  </a:lnTo>
                  <a:lnTo>
                    <a:pt x="255524" y="295656"/>
                  </a:lnTo>
                  <a:lnTo>
                    <a:pt x="256286" y="297688"/>
                  </a:lnTo>
                  <a:lnTo>
                    <a:pt x="256922" y="299719"/>
                  </a:lnTo>
                  <a:lnTo>
                    <a:pt x="257430" y="301878"/>
                  </a:lnTo>
                  <a:lnTo>
                    <a:pt x="257937" y="303784"/>
                  </a:lnTo>
                  <a:lnTo>
                    <a:pt x="258192" y="305942"/>
                  </a:lnTo>
                  <a:lnTo>
                    <a:pt x="258319" y="307975"/>
                  </a:lnTo>
                  <a:lnTo>
                    <a:pt x="258446" y="310134"/>
                  </a:lnTo>
                  <a:lnTo>
                    <a:pt x="258319" y="312292"/>
                  </a:lnTo>
                  <a:lnTo>
                    <a:pt x="258192" y="314325"/>
                  </a:lnTo>
                  <a:lnTo>
                    <a:pt x="257937" y="316484"/>
                  </a:lnTo>
                  <a:lnTo>
                    <a:pt x="257430" y="318516"/>
                  </a:lnTo>
                  <a:lnTo>
                    <a:pt x="256922" y="320547"/>
                  </a:lnTo>
                  <a:lnTo>
                    <a:pt x="256286" y="322579"/>
                  </a:lnTo>
                  <a:lnTo>
                    <a:pt x="255524" y="324612"/>
                  </a:lnTo>
                  <a:lnTo>
                    <a:pt x="254635" y="326644"/>
                  </a:lnTo>
                  <a:lnTo>
                    <a:pt x="253620" y="328548"/>
                  </a:lnTo>
                  <a:lnTo>
                    <a:pt x="252604" y="330453"/>
                  </a:lnTo>
                  <a:lnTo>
                    <a:pt x="251334" y="332485"/>
                  </a:lnTo>
                  <a:lnTo>
                    <a:pt x="250063" y="334137"/>
                  </a:lnTo>
                  <a:lnTo>
                    <a:pt x="248539" y="336041"/>
                  </a:lnTo>
                  <a:lnTo>
                    <a:pt x="247016" y="337819"/>
                  </a:lnTo>
                  <a:lnTo>
                    <a:pt x="245237" y="339470"/>
                  </a:lnTo>
                  <a:lnTo>
                    <a:pt x="243459" y="341122"/>
                  </a:lnTo>
                  <a:close/>
                  <a:moveTo>
                    <a:pt x="-5382514" y="3172967"/>
                  </a:moveTo>
                  <a:moveTo>
                    <a:pt x="266066" y="293242"/>
                  </a:moveTo>
                  <a:lnTo>
                    <a:pt x="266066" y="293242"/>
                  </a:lnTo>
                  <a:lnTo>
                    <a:pt x="264796" y="290322"/>
                  </a:lnTo>
                  <a:lnTo>
                    <a:pt x="263398" y="287528"/>
                  </a:lnTo>
                  <a:lnTo>
                    <a:pt x="261747" y="284860"/>
                  </a:lnTo>
                  <a:lnTo>
                    <a:pt x="259970" y="282320"/>
                  </a:lnTo>
                  <a:lnTo>
                    <a:pt x="258192" y="279781"/>
                  </a:lnTo>
                  <a:lnTo>
                    <a:pt x="256033" y="277241"/>
                  </a:lnTo>
                  <a:lnTo>
                    <a:pt x="253620" y="274828"/>
                  </a:lnTo>
                  <a:lnTo>
                    <a:pt x="251080" y="272669"/>
                  </a:lnTo>
                  <a:lnTo>
                    <a:pt x="248032" y="270128"/>
                  </a:lnTo>
                  <a:lnTo>
                    <a:pt x="244857" y="267842"/>
                  </a:lnTo>
                  <a:lnTo>
                    <a:pt x="241555" y="265810"/>
                  </a:lnTo>
                  <a:lnTo>
                    <a:pt x="237998" y="264032"/>
                  </a:lnTo>
                  <a:lnTo>
                    <a:pt x="234443" y="262382"/>
                  </a:lnTo>
                  <a:lnTo>
                    <a:pt x="230759" y="260985"/>
                  </a:lnTo>
                  <a:lnTo>
                    <a:pt x="227204" y="259841"/>
                  </a:lnTo>
                  <a:lnTo>
                    <a:pt x="223394" y="258825"/>
                  </a:lnTo>
                  <a:lnTo>
                    <a:pt x="219584" y="258063"/>
                  </a:lnTo>
                  <a:lnTo>
                    <a:pt x="215647" y="257556"/>
                  </a:lnTo>
                  <a:lnTo>
                    <a:pt x="211709" y="257175"/>
                  </a:lnTo>
                  <a:lnTo>
                    <a:pt x="207772" y="257047"/>
                  </a:lnTo>
                  <a:lnTo>
                    <a:pt x="203962" y="257047"/>
                  </a:lnTo>
                  <a:lnTo>
                    <a:pt x="200025" y="257428"/>
                  </a:lnTo>
                  <a:lnTo>
                    <a:pt x="196088" y="257810"/>
                  </a:lnTo>
                  <a:lnTo>
                    <a:pt x="192151" y="258698"/>
                  </a:lnTo>
                  <a:lnTo>
                    <a:pt x="266827" y="181737"/>
                  </a:lnTo>
                  <a:lnTo>
                    <a:pt x="270002" y="181101"/>
                  </a:lnTo>
                  <a:lnTo>
                    <a:pt x="273050" y="180720"/>
                  </a:lnTo>
                  <a:lnTo>
                    <a:pt x="276225" y="180466"/>
                  </a:lnTo>
                  <a:lnTo>
                    <a:pt x="279273" y="180466"/>
                  </a:lnTo>
                  <a:lnTo>
                    <a:pt x="282448" y="180594"/>
                  </a:lnTo>
                  <a:lnTo>
                    <a:pt x="285623" y="180720"/>
                  </a:lnTo>
                  <a:lnTo>
                    <a:pt x="288672" y="181101"/>
                  </a:lnTo>
                  <a:lnTo>
                    <a:pt x="291593" y="181737"/>
                  </a:lnTo>
                  <a:lnTo>
                    <a:pt x="294386" y="182372"/>
                  </a:lnTo>
                  <a:lnTo>
                    <a:pt x="297434" y="183388"/>
                  </a:lnTo>
                  <a:lnTo>
                    <a:pt x="300101" y="184276"/>
                  </a:lnTo>
                  <a:lnTo>
                    <a:pt x="302896" y="185419"/>
                  </a:lnTo>
                  <a:lnTo>
                    <a:pt x="305562" y="186816"/>
                  </a:lnTo>
                  <a:lnTo>
                    <a:pt x="307975" y="188087"/>
                  </a:lnTo>
                  <a:lnTo>
                    <a:pt x="310516" y="189738"/>
                  </a:lnTo>
                  <a:lnTo>
                    <a:pt x="312801" y="191262"/>
                  </a:lnTo>
                  <a:lnTo>
                    <a:pt x="319406" y="183895"/>
                  </a:lnTo>
                  <a:lnTo>
                    <a:pt x="317120" y="182244"/>
                  </a:lnTo>
                  <a:lnTo>
                    <a:pt x="314834" y="180720"/>
                  </a:lnTo>
                  <a:lnTo>
                    <a:pt x="312547" y="179450"/>
                  </a:lnTo>
                  <a:lnTo>
                    <a:pt x="310008" y="178181"/>
                  </a:lnTo>
                  <a:lnTo>
                    <a:pt x="307595" y="177038"/>
                  </a:lnTo>
                  <a:lnTo>
                    <a:pt x="305055" y="176022"/>
                  </a:lnTo>
                  <a:lnTo>
                    <a:pt x="302514" y="174878"/>
                  </a:lnTo>
                  <a:lnTo>
                    <a:pt x="299847" y="174116"/>
                  </a:lnTo>
                  <a:lnTo>
                    <a:pt x="297054" y="173354"/>
                  </a:lnTo>
                  <a:lnTo>
                    <a:pt x="294386" y="172719"/>
                  </a:lnTo>
                  <a:lnTo>
                    <a:pt x="291466" y="172212"/>
                  </a:lnTo>
                  <a:lnTo>
                    <a:pt x="288672" y="171576"/>
                  </a:lnTo>
                  <a:lnTo>
                    <a:pt x="285877" y="171322"/>
                  </a:lnTo>
                  <a:lnTo>
                    <a:pt x="282957" y="171195"/>
                  </a:lnTo>
                  <a:lnTo>
                    <a:pt x="280035" y="171069"/>
                  </a:lnTo>
                  <a:lnTo>
                    <a:pt x="277242" y="171069"/>
                  </a:lnTo>
                  <a:lnTo>
                    <a:pt x="320295" y="126491"/>
                  </a:lnTo>
                  <a:lnTo>
                    <a:pt x="322961" y="126110"/>
                  </a:lnTo>
                  <a:lnTo>
                    <a:pt x="325629" y="125729"/>
                  </a:lnTo>
                  <a:lnTo>
                    <a:pt x="328296" y="125475"/>
                  </a:lnTo>
                  <a:lnTo>
                    <a:pt x="331089" y="125475"/>
                  </a:lnTo>
                  <a:lnTo>
                    <a:pt x="333884" y="125475"/>
                  </a:lnTo>
                  <a:lnTo>
                    <a:pt x="336550" y="125729"/>
                  </a:lnTo>
                  <a:lnTo>
                    <a:pt x="339218" y="125984"/>
                  </a:lnTo>
                  <a:lnTo>
                    <a:pt x="342011" y="126491"/>
                  </a:lnTo>
                  <a:lnTo>
                    <a:pt x="344679" y="127000"/>
                  </a:lnTo>
                  <a:lnTo>
                    <a:pt x="347219" y="127888"/>
                  </a:lnTo>
                  <a:lnTo>
                    <a:pt x="349885" y="128650"/>
                  </a:lnTo>
                  <a:lnTo>
                    <a:pt x="352298" y="129666"/>
                  </a:lnTo>
                  <a:lnTo>
                    <a:pt x="354711" y="130810"/>
                  </a:lnTo>
                  <a:lnTo>
                    <a:pt x="356997" y="132079"/>
                  </a:lnTo>
                  <a:lnTo>
                    <a:pt x="359284" y="133603"/>
                  </a:lnTo>
                  <a:lnTo>
                    <a:pt x="361316" y="135128"/>
                  </a:lnTo>
                  <a:lnTo>
                    <a:pt x="367920" y="127507"/>
                  </a:lnTo>
                  <a:lnTo>
                    <a:pt x="365760" y="126110"/>
                  </a:lnTo>
                  <a:lnTo>
                    <a:pt x="363729" y="124841"/>
                  </a:lnTo>
                  <a:lnTo>
                    <a:pt x="361570" y="123444"/>
                  </a:lnTo>
                  <a:lnTo>
                    <a:pt x="359537" y="122300"/>
                  </a:lnTo>
                  <a:lnTo>
                    <a:pt x="357124" y="121285"/>
                  </a:lnTo>
                  <a:lnTo>
                    <a:pt x="354966" y="120395"/>
                  </a:lnTo>
                  <a:lnTo>
                    <a:pt x="352552" y="119507"/>
                  </a:lnTo>
                  <a:lnTo>
                    <a:pt x="350139" y="118744"/>
                  </a:lnTo>
                  <a:lnTo>
                    <a:pt x="347726" y="118110"/>
                  </a:lnTo>
                  <a:lnTo>
                    <a:pt x="345313" y="117601"/>
                  </a:lnTo>
                  <a:lnTo>
                    <a:pt x="342900" y="117094"/>
                  </a:lnTo>
                  <a:lnTo>
                    <a:pt x="340487" y="116713"/>
                  </a:lnTo>
                  <a:lnTo>
                    <a:pt x="337947" y="116459"/>
                  </a:lnTo>
                  <a:lnTo>
                    <a:pt x="335408" y="116204"/>
                  </a:lnTo>
                  <a:lnTo>
                    <a:pt x="332995" y="116204"/>
                  </a:lnTo>
                  <a:lnTo>
                    <a:pt x="330582" y="116204"/>
                  </a:lnTo>
                  <a:lnTo>
                    <a:pt x="336297" y="109982"/>
                  </a:lnTo>
                  <a:lnTo>
                    <a:pt x="338201" y="107950"/>
                  </a:lnTo>
                  <a:lnTo>
                    <a:pt x="339980" y="105791"/>
                  </a:lnTo>
                  <a:lnTo>
                    <a:pt x="341504" y="103759"/>
                  </a:lnTo>
                  <a:lnTo>
                    <a:pt x="342900" y="101726"/>
                  </a:lnTo>
                  <a:lnTo>
                    <a:pt x="343789" y="99822"/>
                  </a:lnTo>
                  <a:lnTo>
                    <a:pt x="344679" y="97916"/>
                  </a:lnTo>
                  <a:lnTo>
                    <a:pt x="345313" y="96012"/>
                  </a:lnTo>
                  <a:lnTo>
                    <a:pt x="345695" y="94360"/>
                  </a:lnTo>
                  <a:lnTo>
                    <a:pt x="345822" y="92710"/>
                  </a:lnTo>
                  <a:lnTo>
                    <a:pt x="345822" y="91059"/>
                  </a:lnTo>
                  <a:lnTo>
                    <a:pt x="345695" y="89535"/>
                  </a:lnTo>
                  <a:lnTo>
                    <a:pt x="345441" y="88010"/>
                  </a:lnTo>
                  <a:lnTo>
                    <a:pt x="345059" y="86487"/>
                  </a:lnTo>
                  <a:lnTo>
                    <a:pt x="344424" y="85216"/>
                  </a:lnTo>
                  <a:lnTo>
                    <a:pt x="343662" y="83819"/>
                  </a:lnTo>
                  <a:lnTo>
                    <a:pt x="342647" y="82676"/>
                  </a:lnTo>
                  <a:lnTo>
                    <a:pt x="341758" y="81279"/>
                  </a:lnTo>
                  <a:lnTo>
                    <a:pt x="340742" y="80263"/>
                  </a:lnTo>
                  <a:lnTo>
                    <a:pt x="339472" y="79247"/>
                  </a:lnTo>
                  <a:lnTo>
                    <a:pt x="338074" y="78232"/>
                  </a:lnTo>
                  <a:lnTo>
                    <a:pt x="336805" y="77216"/>
                  </a:lnTo>
                  <a:lnTo>
                    <a:pt x="335281" y="76453"/>
                  </a:lnTo>
                  <a:lnTo>
                    <a:pt x="333757" y="75691"/>
                  </a:lnTo>
                  <a:lnTo>
                    <a:pt x="332106" y="74929"/>
                  </a:lnTo>
                  <a:lnTo>
                    <a:pt x="330582" y="74167"/>
                  </a:lnTo>
                  <a:lnTo>
                    <a:pt x="328676" y="73660"/>
                  </a:lnTo>
                  <a:lnTo>
                    <a:pt x="327152" y="73025"/>
                  </a:lnTo>
                  <a:lnTo>
                    <a:pt x="325374" y="72516"/>
                  </a:lnTo>
                  <a:lnTo>
                    <a:pt x="321819" y="71882"/>
                  </a:lnTo>
                  <a:lnTo>
                    <a:pt x="318389" y="71373"/>
                  </a:lnTo>
                  <a:lnTo>
                    <a:pt x="96267" y="51816"/>
                  </a:lnTo>
                  <a:lnTo>
                    <a:pt x="107443" y="45338"/>
                  </a:lnTo>
                  <a:lnTo>
                    <a:pt x="383795" y="68453"/>
                  </a:lnTo>
                  <a:lnTo>
                    <a:pt x="386970" y="68834"/>
                  </a:lnTo>
                  <a:lnTo>
                    <a:pt x="389891" y="69215"/>
                  </a:lnTo>
                  <a:lnTo>
                    <a:pt x="392684" y="69595"/>
                  </a:lnTo>
                  <a:lnTo>
                    <a:pt x="395224" y="70231"/>
                  </a:lnTo>
                  <a:lnTo>
                    <a:pt x="397510" y="70992"/>
                  </a:lnTo>
                  <a:lnTo>
                    <a:pt x="399670" y="71628"/>
                  </a:lnTo>
                  <a:lnTo>
                    <a:pt x="401574" y="72390"/>
                  </a:lnTo>
                  <a:lnTo>
                    <a:pt x="403352" y="73278"/>
                  </a:lnTo>
                  <a:lnTo>
                    <a:pt x="405004" y="74167"/>
                  </a:lnTo>
                  <a:lnTo>
                    <a:pt x="406400" y="75310"/>
                  </a:lnTo>
                  <a:lnTo>
                    <a:pt x="407671" y="76326"/>
                  </a:lnTo>
                  <a:lnTo>
                    <a:pt x="408813" y="77469"/>
                  </a:lnTo>
                  <a:lnTo>
                    <a:pt x="409830" y="78613"/>
                  </a:lnTo>
                  <a:lnTo>
                    <a:pt x="410464" y="79756"/>
                  </a:lnTo>
                  <a:lnTo>
                    <a:pt x="411099" y="81153"/>
                  </a:lnTo>
                  <a:lnTo>
                    <a:pt x="411608" y="82422"/>
                  </a:lnTo>
                  <a:lnTo>
                    <a:pt x="411988" y="83819"/>
                  </a:lnTo>
                  <a:lnTo>
                    <a:pt x="412243" y="85216"/>
                  </a:lnTo>
                  <a:lnTo>
                    <a:pt x="412370" y="86613"/>
                  </a:lnTo>
                  <a:lnTo>
                    <a:pt x="412370" y="88010"/>
                  </a:lnTo>
                  <a:lnTo>
                    <a:pt x="412116" y="89535"/>
                  </a:lnTo>
                  <a:lnTo>
                    <a:pt x="411988" y="91059"/>
                  </a:lnTo>
                  <a:lnTo>
                    <a:pt x="411481" y="92582"/>
                  </a:lnTo>
                  <a:lnTo>
                    <a:pt x="410972" y="94107"/>
                  </a:lnTo>
                  <a:lnTo>
                    <a:pt x="410464" y="95631"/>
                  </a:lnTo>
                  <a:lnTo>
                    <a:pt x="409830" y="97154"/>
                  </a:lnTo>
                  <a:lnTo>
                    <a:pt x="408051" y="100329"/>
                  </a:lnTo>
                  <a:lnTo>
                    <a:pt x="406147" y="103504"/>
                  </a:lnTo>
                  <a:lnTo>
                    <a:pt x="404114" y="106679"/>
                  </a:lnTo>
                  <a:lnTo>
                    <a:pt x="274067" y="279272"/>
                  </a:lnTo>
                  <a:lnTo>
                    <a:pt x="274194" y="279272"/>
                  </a:lnTo>
                  <a:lnTo>
                    <a:pt x="272923" y="280923"/>
                  </a:lnTo>
                  <a:lnTo>
                    <a:pt x="271781" y="282575"/>
                  </a:lnTo>
                  <a:lnTo>
                    <a:pt x="270510" y="284225"/>
                  </a:lnTo>
                  <a:lnTo>
                    <a:pt x="269368" y="286003"/>
                  </a:lnTo>
                  <a:lnTo>
                    <a:pt x="268479" y="287782"/>
                  </a:lnTo>
                  <a:lnTo>
                    <a:pt x="267589" y="289560"/>
                  </a:lnTo>
                  <a:lnTo>
                    <a:pt x="266700" y="291338"/>
                  </a:lnTo>
                  <a:lnTo>
                    <a:pt x="266066" y="293242"/>
                  </a:lnTo>
                  <a:close/>
                  <a:moveTo>
                    <a:pt x="-5334634" y="3172967"/>
                  </a:moveTo>
                  <a:moveTo>
                    <a:pt x="360554" y="341122"/>
                  </a:moveTo>
                  <a:lnTo>
                    <a:pt x="360554" y="341122"/>
                  </a:lnTo>
                  <a:lnTo>
                    <a:pt x="358775" y="342645"/>
                  </a:lnTo>
                  <a:lnTo>
                    <a:pt x="356744" y="344042"/>
                  </a:lnTo>
                  <a:lnTo>
                    <a:pt x="354711" y="345440"/>
                  </a:lnTo>
                  <a:lnTo>
                    <a:pt x="352680" y="346710"/>
                  </a:lnTo>
                  <a:lnTo>
                    <a:pt x="350394" y="347853"/>
                  </a:lnTo>
                  <a:lnTo>
                    <a:pt x="348361" y="348995"/>
                  </a:lnTo>
                  <a:lnTo>
                    <a:pt x="345948" y="349885"/>
                  </a:lnTo>
                  <a:lnTo>
                    <a:pt x="343789" y="350647"/>
                  </a:lnTo>
                  <a:lnTo>
                    <a:pt x="341504" y="351535"/>
                  </a:lnTo>
                  <a:lnTo>
                    <a:pt x="338963" y="352044"/>
                  </a:lnTo>
                  <a:lnTo>
                    <a:pt x="336805" y="352678"/>
                  </a:lnTo>
                  <a:lnTo>
                    <a:pt x="334264" y="353187"/>
                  </a:lnTo>
                  <a:lnTo>
                    <a:pt x="331851" y="353441"/>
                  </a:lnTo>
                  <a:lnTo>
                    <a:pt x="329311" y="353694"/>
                  </a:lnTo>
                  <a:lnTo>
                    <a:pt x="327152" y="353822"/>
                  </a:lnTo>
                  <a:lnTo>
                    <a:pt x="324612" y="353948"/>
                  </a:lnTo>
                  <a:lnTo>
                    <a:pt x="322199" y="353822"/>
                  </a:lnTo>
                  <a:lnTo>
                    <a:pt x="319659" y="353694"/>
                  </a:lnTo>
                  <a:lnTo>
                    <a:pt x="317247" y="353441"/>
                  </a:lnTo>
                  <a:lnTo>
                    <a:pt x="314834" y="353187"/>
                  </a:lnTo>
                  <a:lnTo>
                    <a:pt x="312421" y="352678"/>
                  </a:lnTo>
                  <a:lnTo>
                    <a:pt x="310008" y="352044"/>
                  </a:lnTo>
                  <a:lnTo>
                    <a:pt x="307722" y="351535"/>
                  </a:lnTo>
                  <a:lnTo>
                    <a:pt x="305562" y="350647"/>
                  </a:lnTo>
                  <a:lnTo>
                    <a:pt x="303149" y="349885"/>
                  </a:lnTo>
                  <a:lnTo>
                    <a:pt x="300863" y="348995"/>
                  </a:lnTo>
                  <a:lnTo>
                    <a:pt x="298577" y="347853"/>
                  </a:lnTo>
                  <a:lnTo>
                    <a:pt x="296419" y="346710"/>
                  </a:lnTo>
                  <a:lnTo>
                    <a:pt x="294386" y="345440"/>
                  </a:lnTo>
                  <a:lnTo>
                    <a:pt x="292355" y="344042"/>
                  </a:lnTo>
                  <a:lnTo>
                    <a:pt x="290449" y="342645"/>
                  </a:lnTo>
                  <a:lnTo>
                    <a:pt x="288672" y="341122"/>
                  </a:lnTo>
                  <a:lnTo>
                    <a:pt x="287147" y="339851"/>
                  </a:lnTo>
                  <a:lnTo>
                    <a:pt x="285750" y="338454"/>
                  </a:lnTo>
                  <a:lnTo>
                    <a:pt x="284354" y="337057"/>
                  </a:lnTo>
                  <a:lnTo>
                    <a:pt x="283210" y="335788"/>
                  </a:lnTo>
                  <a:lnTo>
                    <a:pt x="281051" y="332866"/>
                  </a:lnTo>
                  <a:lnTo>
                    <a:pt x="279020" y="329945"/>
                  </a:lnTo>
                  <a:lnTo>
                    <a:pt x="278258" y="327913"/>
                  </a:lnTo>
                  <a:lnTo>
                    <a:pt x="277622" y="325882"/>
                  </a:lnTo>
                  <a:lnTo>
                    <a:pt x="276860" y="323850"/>
                  </a:lnTo>
                  <a:lnTo>
                    <a:pt x="276352" y="321944"/>
                  </a:lnTo>
                  <a:lnTo>
                    <a:pt x="351156" y="272795"/>
                  </a:lnTo>
                  <a:lnTo>
                    <a:pt x="353569" y="274192"/>
                  </a:lnTo>
                  <a:lnTo>
                    <a:pt x="356109" y="275716"/>
                  </a:lnTo>
                  <a:lnTo>
                    <a:pt x="358268" y="277494"/>
                  </a:lnTo>
                  <a:lnTo>
                    <a:pt x="360554" y="279145"/>
                  </a:lnTo>
                  <a:lnTo>
                    <a:pt x="362459" y="280797"/>
                  </a:lnTo>
                  <a:lnTo>
                    <a:pt x="363983" y="282575"/>
                  </a:lnTo>
                  <a:lnTo>
                    <a:pt x="365760" y="284225"/>
                  </a:lnTo>
                  <a:lnTo>
                    <a:pt x="367031" y="286003"/>
                  </a:lnTo>
                  <a:lnTo>
                    <a:pt x="368427" y="287909"/>
                  </a:lnTo>
                  <a:lnTo>
                    <a:pt x="369697" y="289813"/>
                  </a:lnTo>
                  <a:lnTo>
                    <a:pt x="370713" y="291845"/>
                  </a:lnTo>
                  <a:lnTo>
                    <a:pt x="371857" y="293623"/>
                  </a:lnTo>
                  <a:lnTo>
                    <a:pt x="372619" y="295656"/>
                  </a:lnTo>
                  <a:lnTo>
                    <a:pt x="373381" y="297688"/>
                  </a:lnTo>
                  <a:lnTo>
                    <a:pt x="373888" y="299719"/>
                  </a:lnTo>
                  <a:lnTo>
                    <a:pt x="374523" y="301878"/>
                  </a:lnTo>
                  <a:lnTo>
                    <a:pt x="374905" y="303784"/>
                  </a:lnTo>
                  <a:lnTo>
                    <a:pt x="375159" y="305942"/>
                  </a:lnTo>
                  <a:lnTo>
                    <a:pt x="375412" y="307975"/>
                  </a:lnTo>
                  <a:lnTo>
                    <a:pt x="375412" y="310134"/>
                  </a:lnTo>
                  <a:lnTo>
                    <a:pt x="375412" y="312292"/>
                  </a:lnTo>
                  <a:lnTo>
                    <a:pt x="375159" y="314325"/>
                  </a:lnTo>
                  <a:lnTo>
                    <a:pt x="374905" y="316484"/>
                  </a:lnTo>
                  <a:lnTo>
                    <a:pt x="374523" y="318516"/>
                  </a:lnTo>
                  <a:lnTo>
                    <a:pt x="373888" y="320547"/>
                  </a:lnTo>
                  <a:lnTo>
                    <a:pt x="373381" y="322579"/>
                  </a:lnTo>
                  <a:lnTo>
                    <a:pt x="372619" y="324612"/>
                  </a:lnTo>
                  <a:lnTo>
                    <a:pt x="371857" y="326644"/>
                  </a:lnTo>
                  <a:lnTo>
                    <a:pt x="370713" y="328548"/>
                  </a:lnTo>
                  <a:lnTo>
                    <a:pt x="369697" y="330453"/>
                  </a:lnTo>
                  <a:lnTo>
                    <a:pt x="368427" y="332485"/>
                  </a:lnTo>
                  <a:lnTo>
                    <a:pt x="367031" y="334137"/>
                  </a:lnTo>
                  <a:lnTo>
                    <a:pt x="365760" y="336041"/>
                  </a:lnTo>
                  <a:lnTo>
                    <a:pt x="363983" y="337819"/>
                  </a:lnTo>
                  <a:lnTo>
                    <a:pt x="362459" y="339470"/>
                  </a:lnTo>
                  <a:lnTo>
                    <a:pt x="360554" y="341122"/>
                  </a:lnTo>
                  <a:close/>
                  <a:moveTo>
                    <a:pt x="-5382514" y="3172967"/>
                  </a:moveTo>
                  <a:moveTo>
                    <a:pt x="473710" y="127000"/>
                  </a:moveTo>
                  <a:lnTo>
                    <a:pt x="462026" y="150622"/>
                  </a:lnTo>
                  <a:lnTo>
                    <a:pt x="461264" y="148716"/>
                  </a:lnTo>
                  <a:lnTo>
                    <a:pt x="460630" y="146938"/>
                  </a:lnTo>
                  <a:lnTo>
                    <a:pt x="459868" y="145034"/>
                  </a:lnTo>
                  <a:lnTo>
                    <a:pt x="458979" y="143128"/>
                  </a:lnTo>
                  <a:lnTo>
                    <a:pt x="458089" y="141350"/>
                  </a:lnTo>
                  <a:lnTo>
                    <a:pt x="456947" y="139572"/>
                  </a:lnTo>
                  <a:lnTo>
                    <a:pt x="455676" y="138048"/>
                  </a:lnTo>
                  <a:lnTo>
                    <a:pt x="454407" y="136270"/>
                  </a:lnTo>
                  <a:lnTo>
                    <a:pt x="448692" y="146557"/>
                  </a:lnTo>
                  <a:lnTo>
                    <a:pt x="449708" y="148463"/>
                  </a:lnTo>
                  <a:lnTo>
                    <a:pt x="450470" y="150113"/>
                  </a:lnTo>
                  <a:lnTo>
                    <a:pt x="451105" y="152019"/>
                  </a:lnTo>
                  <a:lnTo>
                    <a:pt x="451612" y="153923"/>
                  </a:lnTo>
                  <a:lnTo>
                    <a:pt x="452121" y="155701"/>
                  </a:lnTo>
                  <a:lnTo>
                    <a:pt x="452374" y="157734"/>
                  </a:lnTo>
                  <a:lnTo>
                    <a:pt x="452629" y="159638"/>
                  </a:lnTo>
                  <a:lnTo>
                    <a:pt x="452629" y="161670"/>
                  </a:lnTo>
                  <a:lnTo>
                    <a:pt x="452629" y="163448"/>
                  </a:lnTo>
                  <a:lnTo>
                    <a:pt x="452374" y="165481"/>
                  </a:lnTo>
                  <a:lnTo>
                    <a:pt x="452121" y="167513"/>
                  </a:lnTo>
                  <a:lnTo>
                    <a:pt x="451612" y="169417"/>
                  </a:lnTo>
                  <a:lnTo>
                    <a:pt x="451105" y="171322"/>
                  </a:lnTo>
                  <a:lnTo>
                    <a:pt x="450470" y="173354"/>
                  </a:lnTo>
                  <a:lnTo>
                    <a:pt x="449454" y="175132"/>
                  </a:lnTo>
                  <a:lnTo>
                    <a:pt x="448437" y="177038"/>
                  </a:lnTo>
                  <a:lnTo>
                    <a:pt x="448692" y="177165"/>
                  </a:lnTo>
                  <a:lnTo>
                    <a:pt x="431927" y="210692"/>
                  </a:lnTo>
                  <a:lnTo>
                    <a:pt x="431166" y="208279"/>
                  </a:lnTo>
                  <a:lnTo>
                    <a:pt x="430404" y="205994"/>
                  </a:lnTo>
                  <a:lnTo>
                    <a:pt x="429387" y="203707"/>
                  </a:lnTo>
                  <a:lnTo>
                    <a:pt x="428372" y="201422"/>
                  </a:lnTo>
                  <a:lnTo>
                    <a:pt x="427356" y="199263"/>
                  </a:lnTo>
                  <a:lnTo>
                    <a:pt x="425959" y="197103"/>
                  </a:lnTo>
                  <a:lnTo>
                    <a:pt x="424561" y="195072"/>
                  </a:lnTo>
                  <a:lnTo>
                    <a:pt x="423037" y="193040"/>
                  </a:lnTo>
                  <a:lnTo>
                    <a:pt x="417322" y="203200"/>
                  </a:lnTo>
                  <a:lnTo>
                    <a:pt x="418466" y="205359"/>
                  </a:lnTo>
                  <a:lnTo>
                    <a:pt x="419482" y="207391"/>
                  </a:lnTo>
                  <a:lnTo>
                    <a:pt x="420371" y="209550"/>
                  </a:lnTo>
                  <a:lnTo>
                    <a:pt x="421006" y="211709"/>
                  </a:lnTo>
                  <a:lnTo>
                    <a:pt x="421641" y="214122"/>
                  </a:lnTo>
                  <a:lnTo>
                    <a:pt x="422022" y="216281"/>
                  </a:lnTo>
                  <a:lnTo>
                    <a:pt x="422275" y="218566"/>
                  </a:lnTo>
                  <a:lnTo>
                    <a:pt x="422402" y="220979"/>
                  </a:lnTo>
                  <a:lnTo>
                    <a:pt x="422275" y="223266"/>
                  </a:lnTo>
                  <a:lnTo>
                    <a:pt x="422148" y="225806"/>
                  </a:lnTo>
                  <a:lnTo>
                    <a:pt x="421768" y="228091"/>
                  </a:lnTo>
                  <a:lnTo>
                    <a:pt x="421133" y="230504"/>
                  </a:lnTo>
                  <a:lnTo>
                    <a:pt x="420371" y="232917"/>
                  </a:lnTo>
                  <a:lnTo>
                    <a:pt x="419482" y="235331"/>
                  </a:lnTo>
                  <a:lnTo>
                    <a:pt x="418338" y="237870"/>
                  </a:lnTo>
                  <a:lnTo>
                    <a:pt x="417069" y="240157"/>
                  </a:lnTo>
                  <a:lnTo>
                    <a:pt x="417196" y="240284"/>
                  </a:lnTo>
                  <a:lnTo>
                    <a:pt x="385826" y="303022"/>
                  </a:lnTo>
                  <a:lnTo>
                    <a:pt x="385446" y="300863"/>
                  </a:lnTo>
                  <a:lnTo>
                    <a:pt x="385064" y="298957"/>
                  </a:lnTo>
                  <a:lnTo>
                    <a:pt x="384557" y="296798"/>
                  </a:lnTo>
                  <a:lnTo>
                    <a:pt x="383795" y="294766"/>
                  </a:lnTo>
                  <a:lnTo>
                    <a:pt x="383033" y="292735"/>
                  </a:lnTo>
                  <a:lnTo>
                    <a:pt x="382144" y="290703"/>
                  </a:lnTo>
                  <a:lnTo>
                    <a:pt x="381127" y="288797"/>
                  </a:lnTo>
                  <a:lnTo>
                    <a:pt x="380111" y="286892"/>
                  </a:lnTo>
                  <a:lnTo>
                    <a:pt x="379096" y="284860"/>
                  </a:lnTo>
                  <a:lnTo>
                    <a:pt x="377825" y="283082"/>
                  </a:lnTo>
                  <a:lnTo>
                    <a:pt x="376429" y="281178"/>
                  </a:lnTo>
                  <a:lnTo>
                    <a:pt x="374905" y="279400"/>
                  </a:lnTo>
                  <a:lnTo>
                    <a:pt x="373381" y="277622"/>
                  </a:lnTo>
                  <a:lnTo>
                    <a:pt x="371857" y="275970"/>
                  </a:lnTo>
                  <a:lnTo>
                    <a:pt x="370079" y="274192"/>
                  </a:lnTo>
                  <a:lnTo>
                    <a:pt x="368300" y="272669"/>
                  </a:lnTo>
                  <a:lnTo>
                    <a:pt x="366522" y="271017"/>
                  </a:lnTo>
                  <a:lnTo>
                    <a:pt x="364745" y="269875"/>
                  </a:lnTo>
                  <a:lnTo>
                    <a:pt x="362967" y="268478"/>
                  </a:lnTo>
                  <a:lnTo>
                    <a:pt x="361061" y="267207"/>
                  </a:lnTo>
                  <a:lnTo>
                    <a:pt x="359157" y="266065"/>
                  </a:lnTo>
                  <a:lnTo>
                    <a:pt x="357124" y="265048"/>
                  </a:lnTo>
                  <a:lnTo>
                    <a:pt x="355220" y="264032"/>
                  </a:lnTo>
                  <a:lnTo>
                    <a:pt x="353187" y="263016"/>
                  </a:lnTo>
                  <a:lnTo>
                    <a:pt x="351156" y="262128"/>
                  </a:lnTo>
                  <a:lnTo>
                    <a:pt x="348870" y="261366"/>
                  </a:lnTo>
                  <a:lnTo>
                    <a:pt x="346964" y="260603"/>
                  </a:lnTo>
                  <a:lnTo>
                    <a:pt x="344679" y="259841"/>
                  </a:lnTo>
                  <a:lnTo>
                    <a:pt x="342647" y="259334"/>
                  </a:lnTo>
                  <a:lnTo>
                    <a:pt x="340487" y="258825"/>
                  </a:lnTo>
                  <a:lnTo>
                    <a:pt x="338201" y="258444"/>
                  </a:lnTo>
                  <a:lnTo>
                    <a:pt x="336043" y="257810"/>
                  </a:lnTo>
                  <a:lnTo>
                    <a:pt x="333757" y="257682"/>
                  </a:lnTo>
                  <a:lnTo>
                    <a:pt x="331597" y="257428"/>
                  </a:lnTo>
                  <a:lnTo>
                    <a:pt x="327152" y="257047"/>
                  </a:lnTo>
                  <a:lnTo>
                    <a:pt x="322581" y="257047"/>
                  </a:lnTo>
                  <a:lnTo>
                    <a:pt x="318135" y="257301"/>
                  </a:lnTo>
                  <a:lnTo>
                    <a:pt x="315976" y="257556"/>
                  </a:lnTo>
                  <a:lnTo>
                    <a:pt x="313691" y="257810"/>
                  </a:lnTo>
                  <a:lnTo>
                    <a:pt x="311532" y="258191"/>
                  </a:lnTo>
                  <a:lnTo>
                    <a:pt x="309246" y="258698"/>
                  </a:lnTo>
                  <a:lnTo>
                    <a:pt x="307086" y="259207"/>
                  </a:lnTo>
                  <a:lnTo>
                    <a:pt x="304927" y="259841"/>
                  </a:lnTo>
                  <a:lnTo>
                    <a:pt x="302769" y="260476"/>
                  </a:lnTo>
                  <a:lnTo>
                    <a:pt x="300609" y="261112"/>
                  </a:lnTo>
                  <a:lnTo>
                    <a:pt x="360934" y="181101"/>
                  </a:lnTo>
                  <a:lnTo>
                    <a:pt x="363474" y="180594"/>
                  </a:lnTo>
                  <a:lnTo>
                    <a:pt x="366142" y="180085"/>
                  </a:lnTo>
                  <a:lnTo>
                    <a:pt x="368682" y="179832"/>
                  </a:lnTo>
                  <a:lnTo>
                    <a:pt x="371222" y="179578"/>
                  </a:lnTo>
                  <a:lnTo>
                    <a:pt x="373634" y="179578"/>
                  </a:lnTo>
                  <a:lnTo>
                    <a:pt x="376174" y="179578"/>
                  </a:lnTo>
                  <a:lnTo>
                    <a:pt x="378587" y="179704"/>
                  </a:lnTo>
                  <a:lnTo>
                    <a:pt x="381127" y="180085"/>
                  </a:lnTo>
                  <a:lnTo>
                    <a:pt x="383286" y="180466"/>
                  </a:lnTo>
                  <a:lnTo>
                    <a:pt x="385699" y="180975"/>
                  </a:lnTo>
                  <a:lnTo>
                    <a:pt x="387985" y="181482"/>
                  </a:lnTo>
                  <a:lnTo>
                    <a:pt x="390272" y="182117"/>
                  </a:lnTo>
                  <a:lnTo>
                    <a:pt x="392431" y="182879"/>
                  </a:lnTo>
                  <a:lnTo>
                    <a:pt x="394462" y="183641"/>
                  </a:lnTo>
                  <a:lnTo>
                    <a:pt x="396748" y="184657"/>
                  </a:lnTo>
                  <a:lnTo>
                    <a:pt x="398654" y="185673"/>
                  </a:lnTo>
                  <a:lnTo>
                    <a:pt x="404114" y="177545"/>
                  </a:lnTo>
                  <a:lnTo>
                    <a:pt x="402083" y="176529"/>
                  </a:lnTo>
                  <a:lnTo>
                    <a:pt x="400177" y="175641"/>
                  </a:lnTo>
                  <a:lnTo>
                    <a:pt x="398146" y="174878"/>
                  </a:lnTo>
                  <a:lnTo>
                    <a:pt x="396113" y="174116"/>
                  </a:lnTo>
                  <a:lnTo>
                    <a:pt x="394082" y="173354"/>
                  </a:lnTo>
                  <a:lnTo>
                    <a:pt x="391922" y="172719"/>
                  </a:lnTo>
                  <a:lnTo>
                    <a:pt x="389763" y="172212"/>
                  </a:lnTo>
                  <a:lnTo>
                    <a:pt x="387605" y="171576"/>
                  </a:lnTo>
                  <a:lnTo>
                    <a:pt x="385319" y="171195"/>
                  </a:lnTo>
                  <a:lnTo>
                    <a:pt x="383033" y="170815"/>
                  </a:lnTo>
                  <a:lnTo>
                    <a:pt x="380873" y="170688"/>
                  </a:lnTo>
                  <a:lnTo>
                    <a:pt x="378460" y="170434"/>
                  </a:lnTo>
                  <a:lnTo>
                    <a:pt x="376174" y="170307"/>
                  </a:lnTo>
                  <a:lnTo>
                    <a:pt x="373634" y="170307"/>
                  </a:lnTo>
                  <a:lnTo>
                    <a:pt x="371475" y="170307"/>
                  </a:lnTo>
                  <a:lnTo>
                    <a:pt x="368935" y="170434"/>
                  </a:lnTo>
                  <a:lnTo>
                    <a:pt x="401574" y="127000"/>
                  </a:lnTo>
                  <a:lnTo>
                    <a:pt x="404114" y="126491"/>
                  </a:lnTo>
                  <a:lnTo>
                    <a:pt x="406400" y="126110"/>
                  </a:lnTo>
                  <a:lnTo>
                    <a:pt x="408559" y="125984"/>
                  </a:lnTo>
                  <a:lnTo>
                    <a:pt x="410972" y="125857"/>
                  </a:lnTo>
                  <a:lnTo>
                    <a:pt x="413132" y="125857"/>
                  </a:lnTo>
                  <a:lnTo>
                    <a:pt x="415291" y="125984"/>
                  </a:lnTo>
                  <a:lnTo>
                    <a:pt x="417449" y="126110"/>
                  </a:lnTo>
                  <a:lnTo>
                    <a:pt x="419735" y="126491"/>
                  </a:lnTo>
                  <a:lnTo>
                    <a:pt x="421768" y="126745"/>
                  </a:lnTo>
                  <a:lnTo>
                    <a:pt x="423672" y="127381"/>
                  </a:lnTo>
                  <a:lnTo>
                    <a:pt x="425832" y="127888"/>
                  </a:lnTo>
                  <a:lnTo>
                    <a:pt x="427609" y="128523"/>
                  </a:lnTo>
                  <a:lnTo>
                    <a:pt x="429642" y="129413"/>
                  </a:lnTo>
                  <a:lnTo>
                    <a:pt x="431420" y="130175"/>
                  </a:lnTo>
                  <a:lnTo>
                    <a:pt x="433071" y="131063"/>
                  </a:lnTo>
                  <a:lnTo>
                    <a:pt x="434848" y="132079"/>
                  </a:lnTo>
                  <a:lnTo>
                    <a:pt x="440309" y="123825"/>
                  </a:lnTo>
                  <a:lnTo>
                    <a:pt x="437008" y="122047"/>
                  </a:lnTo>
                  <a:lnTo>
                    <a:pt x="433324" y="120522"/>
                  </a:lnTo>
                  <a:lnTo>
                    <a:pt x="429896" y="119125"/>
                  </a:lnTo>
                  <a:lnTo>
                    <a:pt x="427991" y="118617"/>
                  </a:lnTo>
                  <a:lnTo>
                    <a:pt x="426085" y="118110"/>
                  </a:lnTo>
                  <a:lnTo>
                    <a:pt x="423926" y="117601"/>
                  </a:lnTo>
                  <a:lnTo>
                    <a:pt x="422148" y="117347"/>
                  </a:lnTo>
                  <a:lnTo>
                    <a:pt x="420117" y="116966"/>
                  </a:lnTo>
                  <a:lnTo>
                    <a:pt x="417958" y="116713"/>
                  </a:lnTo>
                  <a:lnTo>
                    <a:pt x="415798" y="116585"/>
                  </a:lnTo>
                  <a:lnTo>
                    <a:pt x="413767" y="116459"/>
                  </a:lnTo>
                  <a:lnTo>
                    <a:pt x="411608" y="116459"/>
                  </a:lnTo>
                  <a:lnTo>
                    <a:pt x="409575" y="116459"/>
                  </a:lnTo>
                  <a:lnTo>
                    <a:pt x="413132" y="111760"/>
                  </a:lnTo>
                  <a:lnTo>
                    <a:pt x="414401" y="109982"/>
                  </a:lnTo>
                  <a:lnTo>
                    <a:pt x="415545" y="108203"/>
                  </a:lnTo>
                  <a:lnTo>
                    <a:pt x="416687" y="106298"/>
                  </a:lnTo>
                  <a:lnTo>
                    <a:pt x="417704" y="104394"/>
                  </a:lnTo>
                  <a:lnTo>
                    <a:pt x="418847" y="102488"/>
                  </a:lnTo>
                  <a:lnTo>
                    <a:pt x="419735" y="100457"/>
                  </a:lnTo>
                  <a:lnTo>
                    <a:pt x="420497" y="98551"/>
                  </a:lnTo>
                  <a:lnTo>
                    <a:pt x="421259" y="96392"/>
                  </a:lnTo>
                  <a:lnTo>
                    <a:pt x="421895" y="94488"/>
                  </a:lnTo>
                  <a:lnTo>
                    <a:pt x="422275" y="92328"/>
                  </a:lnTo>
                  <a:lnTo>
                    <a:pt x="422657" y="90169"/>
                  </a:lnTo>
                  <a:lnTo>
                    <a:pt x="422910" y="88265"/>
                  </a:lnTo>
                  <a:lnTo>
                    <a:pt x="422910" y="86106"/>
                  </a:lnTo>
                  <a:lnTo>
                    <a:pt x="422784" y="84200"/>
                  </a:lnTo>
                  <a:lnTo>
                    <a:pt x="422657" y="82169"/>
                  </a:lnTo>
                  <a:lnTo>
                    <a:pt x="422148" y="80137"/>
                  </a:lnTo>
                  <a:lnTo>
                    <a:pt x="421641" y="78232"/>
                  </a:lnTo>
                  <a:lnTo>
                    <a:pt x="420751" y="76326"/>
                  </a:lnTo>
                  <a:lnTo>
                    <a:pt x="419735" y="74548"/>
                  </a:lnTo>
                  <a:lnTo>
                    <a:pt x="418593" y="72770"/>
                  </a:lnTo>
                  <a:lnTo>
                    <a:pt x="417069" y="70992"/>
                  </a:lnTo>
                  <a:lnTo>
                    <a:pt x="415545" y="69469"/>
                  </a:lnTo>
                  <a:lnTo>
                    <a:pt x="413767" y="68072"/>
                  </a:lnTo>
                  <a:lnTo>
                    <a:pt x="411481" y="66547"/>
                  </a:lnTo>
                  <a:lnTo>
                    <a:pt x="409195" y="65150"/>
                  </a:lnTo>
                  <a:lnTo>
                    <a:pt x="406527" y="63881"/>
                  </a:lnTo>
                  <a:lnTo>
                    <a:pt x="403607" y="62865"/>
                  </a:lnTo>
                  <a:lnTo>
                    <a:pt x="400432" y="61848"/>
                  </a:lnTo>
                  <a:lnTo>
                    <a:pt x="397002" y="60960"/>
                  </a:lnTo>
                  <a:lnTo>
                    <a:pt x="393320" y="60197"/>
                  </a:lnTo>
                  <a:lnTo>
                    <a:pt x="389256" y="59563"/>
                  </a:lnTo>
                  <a:lnTo>
                    <a:pt x="384810" y="59182"/>
                  </a:lnTo>
                  <a:lnTo>
                    <a:pt x="121794" y="37210"/>
                  </a:lnTo>
                  <a:lnTo>
                    <a:pt x="129159" y="32892"/>
                  </a:lnTo>
                  <a:lnTo>
                    <a:pt x="439294" y="56641"/>
                  </a:lnTo>
                  <a:lnTo>
                    <a:pt x="443866" y="57022"/>
                  </a:lnTo>
                  <a:lnTo>
                    <a:pt x="448184" y="57531"/>
                  </a:lnTo>
                  <a:lnTo>
                    <a:pt x="452374" y="58292"/>
                  </a:lnTo>
                  <a:lnTo>
                    <a:pt x="456184" y="59182"/>
                  </a:lnTo>
                  <a:lnTo>
                    <a:pt x="459613" y="60197"/>
                  </a:lnTo>
                  <a:lnTo>
                    <a:pt x="462916" y="61467"/>
                  </a:lnTo>
                  <a:lnTo>
                    <a:pt x="465836" y="62865"/>
                  </a:lnTo>
                  <a:lnTo>
                    <a:pt x="468504" y="64388"/>
                  </a:lnTo>
                  <a:lnTo>
                    <a:pt x="470917" y="66166"/>
                  </a:lnTo>
                  <a:lnTo>
                    <a:pt x="473075" y="67944"/>
                  </a:lnTo>
                  <a:lnTo>
                    <a:pt x="475234" y="69850"/>
                  </a:lnTo>
                  <a:lnTo>
                    <a:pt x="476759" y="72009"/>
                  </a:lnTo>
                  <a:lnTo>
                    <a:pt x="478283" y="74041"/>
                  </a:lnTo>
                  <a:lnTo>
                    <a:pt x="479680" y="76453"/>
                  </a:lnTo>
                  <a:lnTo>
                    <a:pt x="480696" y="78740"/>
                  </a:lnTo>
                  <a:lnTo>
                    <a:pt x="481584" y="81279"/>
                  </a:lnTo>
                  <a:lnTo>
                    <a:pt x="482220" y="83819"/>
                  </a:lnTo>
                  <a:lnTo>
                    <a:pt x="482727" y="86487"/>
                  </a:lnTo>
                  <a:lnTo>
                    <a:pt x="483109" y="89153"/>
                  </a:lnTo>
                  <a:lnTo>
                    <a:pt x="483109" y="91947"/>
                  </a:lnTo>
                  <a:lnTo>
                    <a:pt x="483109" y="94741"/>
                  </a:lnTo>
                  <a:lnTo>
                    <a:pt x="482855" y="97663"/>
                  </a:lnTo>
                  <a:lnTo>
                    <a:pt x="482600" y="100457"/>
                  </a:lnTo>
                  <a:lnTo>
                    <a:pt x="482093" y="103378"/>
                  </a:lnTo>
                  <a:lnTo>
                    <a:pt x="481458" y="106298"/>
                  </a:lnTo>
                  <a:lnTo>
                    <a:pt x="480696" y="109347"/>
                  </a:lnTo>
                  <a:lnTo>
                    <a:pt x="479807" y="112267"/>
                  </a:lnTo>
                  <a:lnTo>
                    <a:pt x="478791" y="115188"/>
                  </a:lnTo>
                  <a:lnTo>
                    <a:pt x="477647" y="118237"/>
                  </a:lnTo>
                  <a:lnTo>
                    <a:pt x="476505" y="121157"/>
                  </a:lnTo>
                  <a:lnTo>
                    <a:pt x="475234" y="124078"/>
                  </a:lnTo>
                  <a:lnTo>
                    <a:pt x="473710" y="127000"/>
                  </a:lnTo>
                  <a:close/>
                  <a:moveTo>
                    <a:pt x="-5168392" y="3172967"/>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79" name="Freeform 1379"/>
            <p:cNvSpPr/>
            <p:nvPr/>
          </p:nvSpPr>
          <p:spPr>
            <a:xfrm>
              <a:off x="8570650" y="4612152"/>
              <a:ext cx="207048" cy="57853"/>
            </a:xfrm>
            <a:custGeom>
              <a:avLst/>
              <a:gdLst/>
              <a:ahLst/>
              <a:cxnLst/>
              <a:rect l="0" t="0" r="0" b="0"/>
              <a:pathLst>
                <a:path w="207264" h="57913">
                  <a:moveTo>
                    <a:pt x="175132" y="57913"/>
                  </a:moveTo>
                  <a:lnTo>
                    <a:pt x="0" y="57913"/>
                  </a:lnTo>
                  <a:lnTo>
                    <a:pt x="0" y="55753"/>
                  </a:lnTo>
                  <a:lnTo>
                    <a:pt x="175132" y="55753"/>
                  </a:lnTo>
                  <a:lnTo>
                    <a:pt x="183133" y="55500"/>
                  </a:lnTo>
                  <a:lnTo>
                    <a:pt x="188594" y="54610"/>
                  </a:lnTo>
                  <a:lnTo>
                    <a:pt x="192531" y="53594"/>
                  </a:lnTo>
                  <a:lnTo>
                    <a:pt x="195199" y="52197"/>
                  </a:lnTo>
                  <a:lnTo>
                    <a:pt x="195199" y="5716"/>
                  </a:lnTo>
                  <a:lnTo>
                    <a:pt x="192531" y="4319"/>
                  </a:lnTo>
                  <a:lnTo>
                    <a:pt x="188594" y="3303"/>
                  </a:lnTo>
                  <a:lnTo>
                    <a:pt x="183133" y="2668"/>
                  </a:lnTo>
                  <a:lnTo>
                    <a:pt x="175132" y="2159"/>
                  </a:lnTo>
                  <a:lnTo>
                    <a:pt x="108330" y="2159"/>
                  </a:lnTo>
                  <a:lnTo>
                    <a:pt x="108330" y="0"/>
                  </a:lnTo>
                  <a:lnTo>
                    <a:pt x="175132" y="0"/>
                  </a:lnTo>
                  <a:lnTo>
                    <a:pt x="181864" y="254"/>
                  </a:lnTo>
                  <a:lnTo>
                    <a:pt x="187198" y="509"/>
                  </a:lnTo>
                  <a:lnTo>
                    <a:pt x="192531" y="1016"/>
                  </a:lnTo>
                  <a:lnTo>
                    <a:pt x="197866" y="1651"/>
                  </a:lnTo>
                  <a:lnTo>
                    <a:pt x="201929" y="2668"/>
                  </a:lnTo>
                  <a:lnTo>
                    <a:pt x="204596" y="3556"/>
                  </a:lnTo>
                  <a:lnTo>
                    <a:pt x="205866" y="4572"/>
                  </a:lnTo>
                  <a:lnTo>
                    <a:pt x="207264" y="5716"/>
                  </a:lnTo>
                  <a:lnTo>
                    <a:pt x="207264" y="52197"/>
                  </a:lnTo>
                  <a:lnTo>
                    <a:pt x="205866" y="53341"/>
                  </a:lnTo>
                  <a:lnTo>
                    <a:pt x="204596" y="54356"/>
                  </a:lnTo>
                  <a:lnTo>
                    <a:pt x="201929" y="55246"/>
                  </a:lnTo>
                  <a:lnTo>
                    <a:pt x="197866" y="56262"/>
                  </a:lnTo>
                  <a:lnTo>
                    <a:pt x="192531" y="56897"/>
                  </a:lnTo>
                  <a:lnTo>
                    <a:pt x="187198" y="57404"/>
                  </a:lnTo>
                  <a:lnTo>
                    <a:pt x="181864" y="57659"/>
                  </a:lnTo>
                  <a:lnTo>
                    <a:pt x="175132" y="57913"/>
                  </a:lnTo>
                  <a:close/>
                  <a:moveTo>
                    <a:pt x="-6242305" y="2212848"/>
                  </a:moveTo>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80" name="Freeform 1380"/>
            <p:cNvSpPr/>
            <p:nvPr/>
          </p:nvSpPr>
          <p:spPr>
            <a:xfrm>
              <a:off x="8381873" y="4612152"/>
              <a:ext cx="310571" cy="57853"/>
            </a:xfrm>
            <a:custGeom>
              <a:avLst/>
              <a:gdLst/>
              <a:ahLst/>
              <a:cxnLst/>
              <a:rect l="0" t="0" r="0" b="0"/>
              <a:pathLst>
                <a:path w="310895" h="57913">
                  <a:moveTo>
                    <a:pt x="127889" y="57913"/>
                  </a:moveTo>
                  <a:lnTo>
                    <a:pt x="30988" y="57913"/>
                  </a:lnTo>
                  <a:lnTo>
                    <a:pt x="24256" y="57659"/>
                  </a:lnTo>
                  <a:lnTo>
                    <a:pt x="18795" y="57404"/>
                  </a:lnTo>
                  <a:lnTo>
                    <a:pt x="13462" y="56897"/>
                  </a:lnTo>
                  <a:lnTo>
                    <a:pt x="9397" y="56262"/>
                  </a:lnTo>
                  <a:lnTo>
                    <a:pt x="5333" y="55246"/>
                  </a:lnTo>
                  <a:lnTo>
                    <a:pt x="2667" y="54356"/>
                  </a:lnTo>
                  <a:lnTo>
                    <a:pt x="0" y="53341"/>
                  </a:lnTo>
                  <a:lnTo>
                    <a:pt x="0" y="52197"/>
                  </a:lnTo>
                  <a:lnTo>
                    <a:pt x="0" y="5716"/>
                  </a:lnTo>
                  <a:lnTo>
                    <a:pt x="0" y="4572"/>
                  </a:lnTo>
                  <a:lnTo>
                    <a:pt x="2667" y="3556"/>
                  </a:lnTo>
                  <a:lnTo>
                    <a:pt x="5333" y="2668"/>
                  </a:lnTo>
                  <a:lnTo>
                    <a:pt x="9397" y="1651"/>
                  </a:lnTo>
                  <a:lnTo>
                    <a:pt x="13462" y="1016"/>
                  </a:lnTo>
                  <a:lnTo>
                    <a:pt x="18795" y="509"/>
                  </a:lnTo>
                  <a:lnTo>
                    <a:pt x="24256" y="254"/>
                  </a:lnTo>
                  <a:lnTo>
                    <a:pt x="30988" y="0"/>
                  </a:lnTo>
                  <a:lnTo>
                    <a:pt x="310895" y="0"/>
                  </a:lnTo>
                  <a:lnTo>
                    <a:pt x="310895" y="2159"/>
                  </a:lnTo>
                  <a:lnTo>
                    <a:pt x="30988" y="2159"/>
                  </a:lnTo>
                  <a:lnTo>
                    <a:pt x="24256" y="2668"/>
                  </a:lnTo>
                  <a:lnTo>
                    <a:pt x="17526" y="3303"/>
                  </a:lnTo>
                  <a:lnTo>
                    <a:pt x="13462" y="4319"/>
                  </a:lnTo>
                  <a:lnTo>
                    <a:pt x="12065" y="5716"/>
                  </a:lnTo>
                  <a:lnTo>
                    <a:pt x="12065" y="52197"/>
                  </a:lnTo>
                  <a:lnTo>
                    <a:pt x="13462" y="53594"/>
                  </a:lnTo>
                  <a:lnTo>
                    <a:pt x="17526" y="54610"/>
                  </a:lnTo>
                  <a:lnTo>
                    <a:pt x="24256" y="55500"/>
                  </a:lnTo>
                  <a:lnTo>
                    <a:pt x="30988" y="55753"/>
                  </a:lnTo>
                  <a:lnTo>
                    <a:pt x="127889" y="55753"/>
                  </a:lnTo>
                  <a:lnTo>
                    <a:pt x="127889" y="57913"/>
                  </a:lnTo>
                  <a:close/>
                  <a:moveTo>
                    <a:pt x="-6053329" y="2212848"/>
                  </a:moveTo>
                </a:path>
              </a:pathLst>
            </a:custGeom>
            <a:solidFill>
              <a:srgbClr val="188CE5"/>
            </a:solidFill>
            <a:ln w="12700">
              <a:solidFill>
                <a:srgbClr val="188CE5"/>
              </a:solidFill>
            </a:ln>
          </p:spPr>
          <p:style>
            <a:lnRef idx="2">
              <a:schemeClr val="accent1">
                <a:shade val="50000"/>
              </a:schemeClr>
            </a:lnRef>
            <a:fillRef idx="1">
              <a:schemeClr val="accent1"/>
            </a:fillRef>
            <a:effectRef idx="0">
              <a:schemeClr val="accent1"/>
            </a:effectRef>
            <a:fontRef idx="minor">
              <a:schemeClr val="lt1"/>
            </a:fontRef>
          </p:style>
        </p:sp>
        <p:sp>
          <p:nvSpPr>
            <p:cNvPr id="1381" name="Freeform 1381"/>
            <p:cNvSpPr/>
            <p:nvPr/>
          </p:nvSpPr>
          <p:spPr>
            <a:xfrm>
              <a:off x="8765519" y="4478180"/>
              <a:ext cx="185735" cy="188781"/>
            </a:xfrm>
            <a:custGeom>
              <a:avLst/>
              <a:gdLst/>
              <a:ahLst/>
              <a:cxnLst/>
              <a:rect l="0" t="0" r="0" b="0"/>
              <a:pathLst>
                <a:path w="185929" h="188977">
                  <a:moveTo>
                    <a:pt x="168530" y="188977"/>
                  </a:moveTo>
                  <a:lnTo>
                    <a:pt x="163195" y="188977"/>
                  </a:lnTo>
                  <a:lnTo>
                    <a:pt x="163195" y="177038"/>
                  </a:lnTo>
                  <a:lnTo>
                    <a:pt x="168530" y="177038"/>
                  </a:lnTo>
                  <a:lnTo>
                    <a:pt x="171196" y="177038"/>
                  </a:lnTo>
                  <a:lnTo>
                    <a:pt x="172594" y="175641"/>
                  </a:lnTo>
                  <a:lnTo>
                    <a:pt x="173864" y="174371"/>
                  </a:lnTo>
                  <a:lnTo>
                    <a:pt x="173864" y="171705"/>
                  </a:lnTo>
                  <a:lnTo>
                    <a:pt x="173864" y="118491"/>
                  </a:lnTo>
                  <a:lnTo>
                    <a:pt x="173864" y="115825"/>
                  </a:lnTo>
                  <a:lnTo>
                    <a:pt x="123064" y="14606"/>
                  </a:lnTo>
                  <a:lnTo>
                    <a:pt x="121667" y="11938"/>
                  </a:lnTo>
                  <a:lnTo>
                    <a:pt x="118999" y="11938"/>
                  </a:lnTo>
                  <a:lnTo>
                    <a:pt x="16003" y="11938"/>
                  </a:lnTo>
                  <a:lnTo>
                    <a:pt x="14732" y="11938"/>
                  </a:lnTo>
                  <a:lnTo>
                    <a:pt x="13335" y="13335"/>
                  </a:lnTo>
                  <a:lnTo>
                    <a:pt x="12066" y="14606"/>
                  </a:lnTo>
                  <a:lnTo>
                    <a:pt x="12066" y="17272"/>
                  </a:lnTo>
                  <a:lnTo>
                    <a:pt x="12066" y="155703"/>
                  </a:lnTo>
                  <a:lnTo>
                    <a:pt x="0" y="155703"/>
                  </a:lnTo>
                  <a:lnTo>
                    <a:pt x="0" y="17272"/>
                  </a:lnTo>
                  <a:lnTo>
                    <a:pt x="1397" y="10668"/>
                  </a:lnTo>
                  <a:lnTo>
                    <a:pt x="4065" y="5334"/>
                  </a:lnTo>
                  <a:lnTo>
                    <a:pt x="9398" y="1271"/>
                  </a:lnTo>
                  <a:lnTo>
                    <a:pt x="16003" y="0"/>
                  </a:lnTo>
                  <a:lnTo>
                    <a:pt x="118999" y="0"/>
                  </a:lnTo>
                  <a:lnTo>
                    <a:pt x="123064" y="0"/>
                  </a:lnTo>
                  <a:lnTo>
                    <a:pt x="128397" y="2668"/>
                  </a:lnTo>
                  <a:lnTo>
                    <a:pt x="131065" y="5334"/>
                  </a:lnTo>
                  <a:lnTo>
                    <a:pt x="133732" y="9271"/>
                  </a:lnTo>
                  <a:lnTo>
                    <a:pt x="184532" y="110490"/>
                  </a:lnTo>
                  <a:lnTo>
                    <a:pt x="185929" y="114428"/>
                  </a:lnTo>
                  <a:lnTo>
                    <a:pt x="185929" y="118491"/>
                  </a:lnTo>
                  <a:lnTo>
                    <a:pt x="185929" y="171705"/>
                  </a:lnTo>
                  <a:lnTo>
                    <a:pt x="184532" y="178309"/>
                  </a:lnTo>
                  <a:lnTo>
                    <a:pt x="180595" y="185040"/>
                  </a:lnTo>
                  <a:lnTo>
                    <a:pt x="175260" y="187706"/>
                  </a:lnTo>
                  <a:lnTo>
                    <a:pt x="168530" y="188977"/>
                  </a:lnTo>
                  <a:close/>
                  <a:moveTo>
                    <a:pt x="-6434328" y="2346960"/>
                  </a:moveTo>
                </a:path>
              </a:pathLst>
            </a:custGeom>
            <a:noFill/>
            <a:ln w="6350">
              <a:solidFill>
                <a:srgbClr val="188CE5"/>
              </a:solidFill>
            </a:ln>
          </p:spPr>
          <p:style>
            <a:lnRef idx="2">
              <a:schemeClr val="accent1">
                <a:shade val="50000"/>
              </a:schemeClr>
            </a:lnRef>
            <a:fillRef idx="1">
              <a:schemeClr val="accent1"/>
            </a:fillRef>
            <a:effectRef idx="0">
              <a:schemeClr val="accent1"/>
            </a:effectRef>
            <a:fontRef idx="minor">
              <a:schemeClr val="lt1"/>
            </a:fontRef>
          </p:style>
        </p:sp>
        <p:sp>
          <p:nvSpPr>
            <p:cNvPr id="1382" name="Freeform 1382"/>
            <p:cNvSpPr/>
            <p:nvPr/>
          </p:nvSpPr>
          <p:spPr>
            <a:xfrm>
              <a:off x="8811192" y="4499494"/>
              <a:ext cx="103525" cy="79165"/>
            </a:xfrm>
            <a:custGeom>
              <a:avLst/>
              <a:gdLst/>
              <a:ahLst/>
              <a:cxnLst/>
              <a:rect l="0" t="0" r="0" b="0"/>
              <a:pathLst>
                <a:path w="103633" h="79247">
                  <a:moveTo>
                    <a:pt x="91695" y="79247"/>
                  </a:moveTo>
                  <a:lnTo>
                    <a:pt x="13336" y="79247"/>
                  </a:lnTo>
                  <a:lnTo>
                    <a:pt x="8001" y="79247"/>
                  </a:lnTo>
                  <a:lnTo>
                    <a:pt x="3937" y="76453"/>
                  </a:lnTo>
                  <a:lnTo>
                    <a:pt x="1271" y="72390"/>
                  </a:lnTo>
                  <a:lnTo>
                    <a:pt x="0" y="66928"/>
                  </a:lnTo>
                  <a:lnTo>
                    <a:pt x="0" y="12319"/>
                  </a:lnTo>
                  <a:lnTo>
                    <a:pt x="1271" y="6857"/>
                  </a:lnTo>
                  <a:lnTo>
                    <a:pt x="3937" y="2794"/>
                  </a:lnTo>
                  <a:lnTo>
                    <a:pt x="8001" y="0"/>
                  </a:lnTo>
                  <a:lnTo>
                    <a:pt x="13336" y="0"/>
                  </a:lnTo>
                  <a:lnTo>
                    <a:pt x="65151" y="0"/>
                  </a:lnTo>
                  <a:lnTo>
                    <a:pt x="67819" y="0"/>
                  </a:lnTo>
                  <a:lnTo>
                    <a:pt x="71755" y="1397"/>
                  </a:lnTo>
                  <a:lnTo>
                    <a:pt x="74423" y="4063"/>
                  </a:lnTo>
                  <a:lnTo>
                    <a:pt x="75692" y="6857"/>
                  </a:lnTo>
                  <a:lnTo>
                    <a:pt x="102362" y="61468"/>
                  </a:lnTo>
                  <a:lnTo>
                    <a:pt x="103633" y="64262"/>
                  </a:lnTo>
                  <a:lnTo>
                    <a:pt x="103633" y="66928"/>
                  </a:lnTo>
                  <a:lnTo>
                    <a:pt x="103633" y="70993"/>
                  </a:lnTo>
                  <a:lnTo>
                    <a:pt x="102362" y="73787"/>
                  </a:lnTo>
                  <a:lnTo>
                    <a:pt x="99696" y="76453"/>
                  </a:lnTo>
                  <a:lnTo>
                    <a:pt x="98299" y="77850"/>
                  </a:lnTo>
                  <a:lnTo>
                    <a:pt x="94362" y="79247"/>
                  </a:lnTo>
                  <a:lnTo>
                    <a:pt x="91695" y="79247"/>
                  </a:lnTo>
                  <a:close/>
                  <a:moveTo>
                    <a:pt x="-6391655" y="2325623"/>
                  </a:moveTo>
                  <a:moveTo>
                    <a:pt x="13336" y="12319"/>
                  </a:moveTo>
                  <a:lnTo>
                    <a:pt x="11938" y="66928"/>
                  </a:lnTo>
                  <a:lnTo>
                    <a:pt x="91695" y="66928"/>
                  </a:lnTo>
                  <a:lnTo>
                    <a:pt x="65151" y="12319"/>
                  </a:lnTo>
                  <a:lnTo>
                    <a:pt x="13336" y="12319"/>
                  </a:lnTo>
                  <a:close/>
                  <a:moveTo>
                    <a:pt x="-6324727" y="2325623"/>
                  </a:moveTo>
                </a:path>
              </a:pathLst>
            </a:custGeom>
            <a:noFill/>
            <a:ln w="6350">
              <a:solidFill>
                <a:srgbClr val="188CE5"/>
              </a:solidFill>
            </a:ln>
          </p:spPr>
          <p:style>
            <a:lnRef idx="2">
              <a:schemeClr val="accent1">
                <a:shade val="50000"/>
              </a:schemeClr>
            </a:lnRef>
            <a:fillRef idx="1">
              <a:schemeClr val="accent1"/>
            </a:fillRef>
            <a:effectRef idx="0">
              <a:schemeClr val="accent1"/>
            </a:effectRef>
            <a:fontRef idx="minor">
              <a:schemeClr val="lt1"/>
            </a:fontRef>
          </p:style>
        </p:sp>
        <p:sp>
          <p:nvSpPr>
            <p:cNvPr id="1383" name="Freeform 1383"/>
            <p:cNvSpPr/>
            <p:nvPr/>
          </p:nvSpPr>
          <p:spPr>
            <a:xfrm>
              <a:off x="8872089" y="4654779"/>
              <a:ext cx="94390" cy="48719"/>
            </a:xfrm>
            <a:custGeom>
              <a:avLst/>
              <a:gdLst/>
              <a:ahLst/>
              <a:cxnLst/>
              <a:rect l="0" t="0" r="0" b="0"/>
              <a:pathLst>
                <a:path w="94488" h="48769">
                  <a:moveTo>
                    <a:pt x="78231" y="48769"/>
                  </a:moveTo>
                  <a:lnTo>
                    <a:pt x="0" y="48769"/>
                  </a:lnTo>
                  <a:lnTo>
                    <a:pt x="0" y="36957"/>
                  </a:lnTo>
                  <a:lnTo>
                    <a:pt x="78231" y="36957"/>
                  </a:lnTo>
                  <a:lnTo>
                    <a:pt x="81026" y="35560"/>
                  </a:lnTo>
                  <a:lnTo>
                    <a:pt x="82296" y="32894"/>
                  </a:lnTo>
                  <a:lnTo>
                    <a:pt x="82296" y="15875"/>
                  </a:lnTo>
                  <a:lnTo>
                    <a:pt x="81026" y="13209"/>
                  </a:lnTo>
                  <a:lnTo>
                    <a:pt x="78231" y="11812"/>
                  </a:lnTo>
                  <a:lnTo>
                    <a:pt x="8127" y="11812"/>
                  </a:lnTo>
                  <a:lnTo>
                    <a:pt x="8127" y="0"/>
                  </a:lnTo>
                  <a:lnTo>
                    <a:pt x="78231" y="0"/>
                  </a:lnTo>
                  <a:lnTo>
                    <a:pt x="85089" y="1271"/>
                  </a:lnTo>
                  <a:lnTo>
                    <a:pt x="89026" y="5334"/>
                  </a:lnTo>
                  <a:lnTo>
                    <a:pt x="93090" y="9272"/>
                  </a:lnTo>
                  <a:lnTo>
                    <a:pt x="94488" y="15875"/>
                  </a:lnTo>
                  <a:lnTo>
                    <a:pt x="94488" y="32894"/>
                  </a:lnTo>
                  <a:lnTo>
                    <a:pt x="93090" y="39497"/>
                  </a:lnTo>
                  <a:lnTo>
                    <a:pt x="89026" y="43434"/>
                  </a:lnTo>
                  <a:lnTo>
                    <a:pt x="85089" y="47499"/>
                  </a:lnTo>
                  <a:lnTo>
                    <a:pt x="78231" y="48769"/>
                  </a:lnTo>
                  <a:close/>
                  <a:moveTo>
                    <a:pt x="-6577585" y="2170176"/>
                  </a:moveTo>
                </a:path>
              </a:pathLst>
            </a:custGeom>
            <a:noFill/>
            <a:ln w="12700">
              <a:solidFill>
                <a:srgbClr val="188CE5"/>
              </a:solidFill>
            </a:ln>
          </p:spPr>
          <p:style>
            <a:lnRef idx="2">
              <a:schemeClr val="accent1">
                <a:shade val="50000"/>
              </a:schemeClr>
            </a:lnRef>
            <a:fillRef idx="1">
              <a:schemeClr val="accent1"/>
            </a:fillRef>
            <a:effectRef idx="0">
              <a:schemeClr val="accent1"/>
            </a:effectRef>
            <a:fontRef idx="minor">
              <a:schemeClr val="lt1"/>
            </a:fontRef>
          </p:style>
        </p:sp>
        <p:sp>
          <p:nvSpPr>
            <p:cNvPr id="1384" name="Freeform 1384"/>
            <p:cNvSpPr/>
            <p:nvPr/>
          </p:nvSpPr>
          <p:spPr>
            <a:xfrm>
              <a:off x="8442767" y="4660871"/>
              <a:ext cx="54807" cy="45671"/>
            </a:xfrm>
            <a:custGeom>
              <a:avLst/>
              <a:gdLst/>
              <a:ahLst/>
              <a:cxnLst/>
              <a:rect l="0" t="0" r="0" b="0"/>
              <a:pathLst>
                <a:path w="54865" h="45719">
                  <a:moveTo>
                    <a:pt x="54865" y="45719"/>
                  </a:moveTo>
                  <a:lnTo>
                    <a:pt x="14733" y="45719"/>
                  </a:lnTo>
                  <a:lnTo>
                    <a:pt x="9398" y="44450"/>
                  </a:lnTo>
                  <a:lnTo>
                    <a:pt x="4065" y="41909"/>
                  </a:lnTo>
                  <a:lnTo>
                    <a:pt x="1397" y="36829"/>
                  </a:lnTo>
                  <a:lnTo>
                    <a:pt x="0" y="30479"/>
                  </a:lnTo>
                  <a:lnTo>
                    <a:pt x="0" y="0"/>
                  </a:lnTo>
                  <a:lnTo>
                    <a:pt x="12066" y="0"/>
                  </a:lnTo>
                  <a:lnTo>
                    <a:pt x="12066" y="30479"/>
                  </a:lnTo>
                  <a:lnTo>
                    <a:pt x="13335" y="33019"/>
                  </a:lnTo>
                  <a:lnTo>
                    <a:pt x="14733" y="34290"/>
                  </a:lnTo>
                  <a:lnTo>
                    <a:pt x="54865" y="34290"/>
                  </a:lnTo>
                  <a:lnTo>
                    <a:pt x="54865" y="45719"/>
                  </a:lnTo>
                  <a:close/>
                  <a:moveTo>
                    <a:pt x="-6150863" y="2164079"/>
                  </a:moveTo>
                </a:path>
              </a:pathLst>
            </a:custGeom>
            <a:noFill/>
            <a:ln w="12700">
              <a:solidFill>
                <a:srgbClr val="188CE5"/>
              </a:solidFill>
            </a:ln>
          </p:spPr>
          <p:style>
            <a:lnRef idx="2">
              <a:schemeClr val="accent1">
                <a:shade val="50000"/>
              </a:schemeClr>
            </a:lnRef>
            <a:fillRef idx="1">
              <a:schemeClr val="accent1"/>
            </a:fillRef>
            <a:effectRef idx="0">
              <a:schemeClr val="accent1"/>
            </a:effectRef>
            <a:fontRef idx="minor">
              <a:schemeClr val="lt1"/>
            </a:fontRef>
          </p:style>
        </p:sp>
        <p:sp>
          <p:nvSpPr>
            <p:cNvPr id="1385" name="Freeform 1385"/>
            <p:cNvSpPr/>
            <p:nvPr/>
          </p:nvSpPr>
          <p:spPr>
            <a:xfrm>
              <a:off x="8488440" y="4645644"/>
              <a:ext cx="103525" cy="103524"/>
            </a:xfrm>
            <a:custGeom>
              <a:avLst/>
              <a:gdLst/>
              <a:ahLst/>
              <a:cxnLst/>
              <a:rect l="0" t="0" r="0" b="0"/>
              <a:pathLst>
                <a:path w="103633" h="103632">
                  <a:moveTo>
                    <a:pt x="51182" y="103632"/>
                  </a:moveTo>
                  <a:lnTo>
                    <a:pt x="51182" y="103632"/>
                  </a:lnTo>
                  <a:lnTo>
                    <a:pt x="41784" y="102363"/>
                  </a:lnTo>
                  <a:lnTo>
                    <a:pt x="30988" y="99695"/>
                  </a:lnTo>
                  <a:lnTo>
                    <a:pt x="22861" y="95631"/>
                  </a:lnTo>
                  <a:lnTo>
                    <a:pt x="14860" y="89028"/>
                  </a:lnTo>
                  <a:lnTo>
                    <a:pt x="8128" y="81026"/>
                  </a:lnTo>
                  <a:lnTo>
                    <a:pt x="4064" y="71756"/>
                  </a:lnTo>
                  <a:lnTo>
                    <a:pt x="0" y="62485"/>
                  </a:lnTo>
                  <a:lnTo>
                    <a:pt x="0" y="51816"/>
                  </a:lnTo>
                  <a:lnTo>
                    <a:pt x="0" y="42545"/>
                  </a:lnTo>
                  <a:lnTo>
                    <a:pt x="4064" y="31878"/>
                  </a:lnTo>
                  <a:lnTo>
                    <a:pt x="8128" y="23876"/>
                  </a:lnTo>
                  <a:lnTo>
                    <a:pt x="14860" y="16003"/>
                  </a:lnTo>
                  <a:lnTo>
                    <a:pt x="22861" y="9272"/>
                  </a:lnTo>
                  <a:lnTo>
                    <a:pt x="30988" y="5335"/>
                  </a:lnTo>
                  <a:lnTo>
                    <a:pt x="41784" y="1270"/>
                  </a:lnTo>
                  <a:lnTo>
                    <a:pt x="51182" y="0"/>
                  </a:lnTo>
                  <a:lnTo>
                    <a:pt x="61850" y="1270"/>
                  </a:lnTo>
                  <a:lnTo>
                    <a:pt x="72645" y="5335"/>
                  </a:lnTo>
                  <a:lnTo>
                    <a:pt x="80773" y="9272"/>
                  </a:lnTo>
                  <a:lnTo>
                    <a:pt x="88774" y="16003"/>
                  </a:lnTo>
                  <a:lnTo>
                    <a:pt x="95504" y="23876"/>
                  </a:lnTo>
                  <a:lnTo>
                    <a:pt x="99568" y="31878"/>
                  </a:lnTo>
                  <a:lnTo>
                    <a:pt x="103633" y="42545"/>
                  </a:lnTo>
                  <a:lnTo>
                    <a:pt x="103633" y="51816"/>
                  </a:lnTo>
                  <a:lnTo>
                    <a:pt x="103633" y="62485"/>
                  </a:lnTo>
                  <a:lnTo>
                    <a:pt x="99568" y="71756"/>
                  </a:lnTo>
                  <a:lnTo>
                    <a:pt x="95504" y="81026"/>
                  </a:lnTo>
                  <a:lnTo>
                    <a:pt x="88774" y="89028"/>
                  </a:lnTo>
                  <a:lnTo>
                    <a:pt x="80773" y="95631"/>
                  </a:lnTo>
                  <a:lnTo>
                    <a:pt x="72645" y="99695"/>
                  </a:lnTo>
                  <a:lnTo>
                    <a:pt x="61850" y="102363"/>
                  </a:lnTo>
                  <a:lnTo>
                    <a:pt x="51182" y="103632"/>
                  </a:lnTo>
                  <a:close/>
                  <a:moveTo>
                    <a:pt x="-6239255" y="2179320"/>
                  </a:moveTo>
                  <a:moveTo>
                    <a:pt x="51182" y="11938"/>
                  </a:moveTo>
                  <a:lnTo>
                    <a:pt x="51182" y="11938"/>
                  </a:lnTo>
                  <a:lnTo>
                    <a:pt x="43053" y="13335"/>
                  </a:lnTo>
                  <a:lnTo>
                    <a:pt x="36323" y="16003"/>
                  </a:lnTo>
                  <a:lnTo>
                    <a:pt x="29591" y="19940"/>
                  </a:lnTo>
                  <a:lnTo>
                    <a:pt x="22861" y="23876"/>
                  </a:lnTo>
                  <a:lnTo>
                    <a:pt x="18797" y="30607"/>
                  </a:lnTo>
                  <a:lnTo>
                    <a:pt x="14860" y="37212"/>
                  </a:lnTo>
                  <a:lnTo>
                    <a:pt x="12065" y="43816"/>
                  </a:lnTo>
                  <a:lnTo>
                    <a:pt x="12065" y="51816"/>
                  </a:lnTo>
                  <a:lnTo>
                    <a:pt x="12065" y="59818"/>
                  </a:lnTo>
                  <a:lnTo>
                    <a:pt x="14860" y="67819"/>
                  </a:lnTo>
                  <a:lnTo>
                    <a:pt x="18797" y="74422"/>
                  </a:lnTo>
                  <a:lnTo>
                    <a:pt x="22861" y="79756"/>
                  </a:lnTo>
                  <a:lnTo>
                    <a:pt x="29591" y="85091"/>
                  </a:lnTo>
                  <a:lnTo>
                    <a:pt x="36323" y="89028"/>
                  </a:lnTo>
                  <a:lnTo>
                    <a:pt x="43053" y="91694"/>
                  </a:lnTo>
                  <a:lnTo>
                    <a:pt x="51182" y="91694"/>
                  </a:lnTo>
                  <a:lnTo>
                    <a:pt x="59183" y="91694"/>
                  </a:lnTo>
                  <a:lnTo>
                    <a:pt x="67311" y="89028"/>
                  </a:lnTo>
                  <a:lnTo>
                    <a:pt x="74041" y="85091"/>
                  </a:lnTo>
                  <a:lnTo>
                    <a:pt x="80773" y="79756"/>
                  </a:lnTo>
                  <a:lnTo>
                    <a:pt x="84837" y="74422"/>
                  </a:lnTo>
                  <a:lnTo>
                    <a:pt x="88774" y="67819"/>
                  </a:lnTo>
                  <a:lnTo>
                    <a:pt x="91567" y="59818"/>
                  </a:lnTo>
                  <a:lnTo>
                    <a:pt x="91567" y="51816"/>
                  </a:lnTo>
                  <a:lnTo>
                    <a:pt x="91567" y="43816"/>
                  </a:lnTo>
                  <a:lnTo>
                    <a:pt x="88774" y="37212"/>
                  </a:lnTo>
                  <a:lnTo>
                    <a:pt x="84837" y="30607"/>
                  </a:lnTo>
                  <a:lnTo>
                    <a:pt x="80773" y="23876"/>
                  </a:lnTo>
                  <a:lnTo>
                    <a:pt x="74041" y="19940"/>
                  </a:lnTo>
                  <a:lnTo>
                    <a:pt x="67311" y="16003"/>
                  </a:lnTo>
                  <a:lnTo>
                    <a:pt x="59183" y="13335"/>
                  </a:lnTo>
                  <a:lnTo>
                    <a:pt x="51182" y="11938"/>
                  </a:lnTo>
                  <a:close/>
                  <a:moveTo>
                    <a:pt x="-6147561" y="2179320"/>
                  </a:moveTo>
                </a:path>
              </a:pathLst>
            </a:custGeom>
            <a:noFill/>
            <a:ln w="12700">
              <a:solidFill>
                <a:srgbClr val="188CE5"/>
              </a:solidFill>
            </a:ln>
          </p:spPr>
          <p:style>
            <a:lnRef idx="2">
              <a:schemeClr val="accent1">
                <a:shade val="50000"/>
              </a:schemeClr>
            </a:lnRef>
            <a:fillRef idx="1">
              <a:schemeClr val="accent1"/>
            </a:fillRef>
            <a:effectRef idx="0">
              <a:schemeClr val="accent1"/>
            </a:effectRef>
            <a:fontRef idx="minor">
              <a:schemeClr val="lt1"/>
            </a:fontRef>
          </p:style>
        </p:sp>
        <p:sp>
          <p:nvSpPr>
            <p:cNvPr id="1386" name="Freeform 1386"/>
            <p:cNvSpPr/>
            <p:nvPr/>
          </p:nvSpPr>
          <p:spPr>
            <a:xfrm>
              <a:off x="8780745" y="4645644"/>
              <a:ext cx="103523" cy="103524"/>
            </a:xfrm>
            <a:custGeom>
              <a:avLst/>
              <a:gdLst/>
              <a:ahLst/>
              <a:cxnLst/>
              <a:rect l="0" t="0" r="0" b="0"/>
              <a:pathLst>
                <a:path w="103631" h="103632">
                  <a:moveTo>
                    <a:pt x="52451" y="103632"/>
                  </a:moveTo>
                  <a:lnTo>
                    <a:pt x="52451" y="103632"/>
                  </a:lnTo>
                  <a:lnTo>
                    <a:pt x="41782" y="102363"/>
                  </a:lnTo>
                  <a:lnTo>
                    <a:pt x="30988" y="99695"/>
                  </a:lnTo>
                  <a:lnTo>
                    <a:pt x="22859" y="95631"/>
                  </a:lnTo>
                  <a:lnTo>
                    <a:pt x="14858" y="89028"/>
                  </a:lnTo>
                  <a:lnTo>
                    <a:pt x="8128" y="81026"/>
                  </a:lnTo>
                  <a:lnTo>
                    <a:pt x="4064" y="71756"/>
                  </a:lnTo>
                  <a:lnTo>
                    <a:pt x="1396" y="62485"/>
                  </a:lnTo>
                  <a:lnTo>
                    <a:pt x="0" y="51816"/>
                  </a:lnTo>
                  <a:lnTo>
                    <a:pt x="1396" y="42545"/>
                  </a:lnTo>
                  <a:lnTo>
                    <a:pt x="4064" y="31878"/>
                  </a:lnTo>
                  <a:lnTo>
                    <a:pt x="8128" y="23876"/>
                  </a:lnTo>
                  <a:lnTo>
                    <a:pt x="14858" y="16003"/>
                  </a:lnTo>
                  <a:lnTo>
                    <a:pt x="22859" y="9272"/>
                  </a:lnTo>
                  <a:lnTo>
                    <a:pt x="30988" y="5335"/>
                  </a:lnTo>
                  <a:lnTo>
                    <a:pt x="41782" y="1270"/>
                  </a:lnTo>
                  <a:lnTo>
                    <a:pt x="52451" y="0"/>
                  </a:lnTo>
                  <a:lnTo>
                    <a:pt x="61849" y="1270"/>
                  </a:lnTo>
                  <a:lnTo>
                    <a:pt x="72643" y="5335"/>
                  </a:lnTo>
                  <a:lnTo>
                    <a:pt x="80771" y="9272"/>
                  </a:lnTo>
                  <a:lnTo>
                    <a:pt x="88773" y="16003"/>
                  </a:lnTo>
                  <a:lnTo>
                    <a:pt x="95504" y="23876"/>
                  </a:lnTo>
                  <a:lnTo>
                    <a:pt x="99567" y="31878"/>
                  </a:lnTo>
                  <a:lnTo>
                    <a:pt x="103631" y="42545"/>
                  </a:lnTo>
                  <a:lnTo>
                    <a:pt x="103631" y="51816"/>
                  </a:lnTo>
                  <a:lnTo>
                    <a:pt x="103631" y="62485"/>
                  </a:lnTo>
                  <a:lnTo>
                    <a:pt x="99567" y="71756"/>
                  </a:lnTo>
                  <a:lnTo>
                    <a:pt x="95504" y="81026"/>
                  </a:lnTo>
                  <a:lnTo>
                    <a:pt x="88773" y="89028"/>
                  </a:lnTo>
                  <a:lnTo>
                    <a:pt x="80771" y="95631"/>
                  </a:lnTo>
                  <a:lnTo>
                    <a:pt x="72643" y="99695"/>
                  </a:lnTo>
                  <a:lnTo>
                    <a:pt x="61849" y="102363"/>
                  </a:lnTo>
                  <a:lnTo>
                    <a:pt x="52451" y="103632"/>
                  </a:lnTo>
                  <a:close/>
                  <a:moveTo>
                    <a:pt x="-6531864" y="2179320"/>
                  </a:moveTo>
                  <a:moveTo>
                    <a:pt x="52451" y="11938"/>
                  </a:moveTo>
                  <a:lnTo>
                    <a:pt x="52451" y="11938"/>
                  </a:lnTo>
                  <a:lnTo>
                    <a:pt x="44450" y="13335"/>
                  </a:lnTo>
                  <a:lnTo>
                    <a:pt x="36321" y="16003"/>
                  </a:lnTo>
                  <a:lnTo>
                    <a:pt x="29591" y="19940"/>
                  </a:lnTo>
                  <a:lnTo>
                    <a:pt x="22859" y="23876"/>
                  </a:lnTo>
                  <a:lnTo>
                    <a:pt x="18795" y="30607"/>
                  </a:lnTo>
                  <a:lnTo>
                    <a:pt x="14858" y="37212"/>
                  </a:lnTo>
                  <a:lnTo>
                    <a:pt x="12065" y="43816"/>
                  </a:lnTo>
                  <a:lnTo>
                    <a:pt x="12065" y="51816"/>
                  </a:lnTo>
                  <a:lnTo>
                    <a:pt x="12065" y="59818"/>
                  </a:lnTo>
                  <a:lnTo>
                    <a:pt x="14858" y="67819"/>
                  </a:lnTo>
                  <a:lnTo>
                    <a:pt x="18795" y="74422"/>
                  </a:lnTo>
                  <a:lnTo>
                    <a:pt x="22859" y="79756"/>
                  </a:lnTo>
                  <a:lnTo>
                    <a:pt x="29591" y="85091"/>
                  </a:lnTo>
                  <a:lnTo>
                    <a:pt x="36321" y="89028"/>
                  </a:lnTo>
                  <a:lnTo>
                    <a:pt x="44450" y="91694"/>
                  </a:lnTo>
                  <a:lnTo>
                    <a:pt x="52451" y="91694"/>
                  </a:lnTo>
                  <a:lnTo>
                    <a:pt x="60579" y="91694"/>
                  </a:lnTo>
                  <a:lnTo>
                    <a:pt x="67309" y="89028"/>
                  </a:lnTo>
                  <a:lnTo>
                    <a:pt x="74041" y="85091"/>
                  </a:lnTo>
                  <a:lnTo>
                    <a:pt x="80771" y="79756"/>
                  </a:lnTo>
                  <a:lnTo>
                    <a:pt x="84836" y="74422"/>
                  </a:lnTo>
                  <a:lnTo>
                    <a:pt x="88773" y="67819"/>
                  </a:lnTo>
                  <a:lnTo>
                    <a:pt x="91566" y="59818"/>
                  </a:lnTo>
                  <a:lnTo>
                    <a:pt x="91566" y="51816"/>
                  </a:lnTo>
                  <a:lnTo>
                    <a:pt x="91566" y="43816"/>
                  </a:lnTo>
                  <a:lnTo>
                    <a:pt x="88773" y="37212"/>
                  </a:lnTo>
                  <a:lnTo>
                    <a:pt x="84836" y="30607"/>
                  </a:lnTo>
                  <a:lnTo>
                    <a:pt x="80771" y="23876"/>
                  </a:lnTo>
                  <a:lnTo>
                    <a:pt x="74041" y="19940"/>
                  </a:lnTo>
                  <a:lnTo>
                    <a:pt x="67309" y="16003"/>
                  </a:lnTo>
                  <a:lnTo>
                    <a:pt x="60579" y="13335"/>
                  </a:lnTo>
                  <a:lnTo>
                    <a:pt x="52451" y="11938"/>
                  </a:lnTo>
                  <a:close/>
                  <a:moveTo>
                    <a:pt x="-6440170" y="2179320"/>
                  </a:moveTo>
                </a:path>
              </a:pathLst>
            </a:custGeom>
            <a:noFill/>
            <a:ln w="12700">
              <a:solidFill>
                <a:srgbClr val="188CE5"/>
              </a:solidFill>
            </a:ln>
          </p:spPr>
          <p:style>
            <a:lnRef idx="2">
              <a:schemeClr val="accent1">
                <a:shade val="50000"/>
              </a:schemeClr>
            </a:lnRef>
            <a:fillRef idx="1">
              <a:schemeClr val="accent1"/>
            </a:fillRef>
            <a:effectRef idx="0">
              <a:schemeClr val="accent1"/>
            </a:effectRef>
            <a:fontRef idx="minor">
              <a:schemeClr val="lt1"/>
            </a:fontRef>
          </p:style>
        </p:sp>
        <p:sp>
          <p:nvSpPr>
            <p:cNvPr id="1387" name="Freeform 1387"/>
            <p:cNvSpPr/>
            <p:nvPr/>
          </p:nvSpPr>
          <p:spPr>
            <a:xfrm>
              <a:off x="8579785" y="4691317"/>
              <a:ext cx="213138" cy="12180"/>
            </a:xfrm>
            <a:custGeom>
              <a:avLst/>
              <a:gdLst/>
              <a:ahLst/>
              <a:cxnLst/>
              <a:rect l="0" t="0" r="0" b="0"/>
              <a:pathLst>
                <a:path w="213360" h="12192">
                  <a:moveTo>
                    <a:pt x="0" y="12192"/>
                  </a:moveTo>
                  <a:lnTo>
                    <a:pt x="213360" y="12192"/>
                  </a:lnTo>
                  <a:lnTo>
                    <a:pt x="213360" y="0"/>
                  </a:lnTo>
                  <a:lnTo>
                    <a:pt x="0" y="0"/>
                  </a:lnTo>
                  <a:lnTo>
                    <a:pt x="0" y="12192"/>
                  </a:lnTo>
                  <a:close/>
                </a:path>
              </a:pathLst>
            </a:custGeom>
            <a:noFill/>
            <a:ln w="12700">
              <a:solidFill>
                <a:srgbClr val="188CE5"/>
              </a:solidFill>
            </a:ln>
          </p:spPr>
          <p:style>
            <a:lnRef idx="2">
              <a:schemeClr val="accent1">
                <a:shade val="50000"/>
              </a:schemeClr>
            </a:lnRef>
            <a:fillRef idx="1">
              <a:schemeClr val="accent1"/>
            </a:fillRef>
            <a:effectRef idx="0">
              <a:schemeClr val="accent1"/>
            </a:effectRef>
            <a:fontRef idx="minor">
              <a:schemeClr val="lt1"/>
            </a:fontRef>
          </p:style>
        </p:sp>
        <p:sp>
          <p:nvSpPr>
            <p:cNvPr id="1388" name="Freeform 1388"/>
            <p:cNvSpPr/>
            <p:nvPr/>
          </p:nvSpPr>
          <p:spPr>
            <a:xfrm>
              <a:off x="8515844" y="4673049"/>
              <a:ext cx="48717" cy="48718"/>
            </a:xfrm>
            <a:custGeom>
              <a:avLst/>
              <a:gdLst/>
              <a:ahLst/>
              <a:cxnLst/>
              <a:rect l="0" t="0" r="0" b="0"/>
              <a:pathLst>
                <a:path w="48767" h="48768">
                  <a:moveTo>
                    <a:pt x="23749" y="48768"/>
                  </a:moveTo>
                  <a:lnTo>
                    <a:pt x="23749" y="48768"/>
                  </a:lnTo>
                  <a:lnTo>
                    <a:pt x="19812" y="47499"/>
                  </a:lnTo>
                  <a:lnTo>
                    <a:pt x="14478" y="46102"/>
                  </a:lnTo>
                  <a:lnTo>
                    <a:pt x="10541" y="44831"/>
                  </a:lnTo>
                  <a:lnTo>
                    <a:pt x="6604" y="40894"/>
                  </a:lnTo>
                  <a:lnTo>
                    <a:pt x="3937" y="38228"/>
                  </a:lnTo>
                  <a:lnTo>
                    <a:pt x="2667" y="34290"/>
                  </a:lnTo>
                  <a:lnTo>
                    <a:pt x="0" y="28956"/>
                  </a:lnTo>
                  <a:lnTo>
                    <a:pt x="0" y="23749"/>
                  </a:lnTo>
                  <a:lnTo>
                    <a:pt x="0" y="19812"/>
                  </a:lnTo>
                  <a:lnTo>
                    <a:pt x="2667" y="14478"/>
                  </a:lnTo>
                  <a:lnTo>
                    <a:pt x="3937" y="10541"/>
                  </a:lnTo>
                  <a:lnTo>
                    <a:pt x="6604" y="6605"/>
                  </a:lnTo>
                  <a:lnTo>
                    <a:pt x="10541" y="3937"/>
                  </a:lnTo>
                  <a:lnTo>
                    <a:pt x="14478" y="1271"/>
                  </a:lnTo>
                  <a:lnTo>
                    <a:pt x="19812" y="0"/>
                  </a:lnTo>
                  <a:lnTo>
                    <a:pt x="23749" y="0"/>
                  </a:lnTo>
                  <a:lnTo>
                    <a:pt x="28955" y="0"/>
                  </a:lnTo>
                  <a:lnTo>
                    <a:pt x="34290" y="1271"/>
                  </a:lnTo>
                  <a:lnTo>
                    <a:pt x="38227" y="3937"/>
                  </a:lnTo>
                  <a:lnTo>
                    <a:pt x="40893" y="6605"/>
                  </a:lnTo>
                  <a:lnTo>
                    <a:pt x="44830" y="10541"/>
                  </a:lnTo>
                  <a:lnTo>
                    <a:pt x="46101" y="14478"/>
                  </a:lnTo>
                  <a:lnTo>
                    <a:pt x="48767" y="19812"/>
                  </a:lnTo>
                  <a:lnTo>
                    <a:pt x="48767" y="23749"/>
                  </a:lnTo>
                  <a:lnTo>
                    <a:pt x="48767" y="28956"/>
                  </a:lnTo>
                  <a:lnTo>
                    <a:pt x="46101" y="34290"/>
                  </a:lnTo>
                  <a:lnTo>
                    <a:pt x="44830" y="38228"/>
                  </a:lnTo>
                  <a:lnTo>
                    <a:pt x="40893" y="40894"/>
                  </a:lnTo>
                  <a:lnTo>
                    <a:pt x="38227" y="44831"/>
                  </a:lnTo>
                  <a:lnTo>
                    <a:pt x="34290" y="46102"/>
                  </a:lnTo>
                  <a:lnTo>
                    <a:pt x="28955" y="47499"/>
                  </a:lnTo>
                  <a:lnTo>
                    <a:pt x="23749" y="48768"/>
                  </a:lnTo>
                  <a:close/>
                  <a:moveTo>
                    <a:pt x="-6239256" y="2151888"/>
                  </a:moveTo>
                  <a:moveTo>
                    <a:pt x="23749" y="11812"/>
                  </a:moveTo>
                  <a:lnTo>
                    <a:pt x="23749" y="11812"/>
                  </a:lnTo>
                  <a:lnTo>
                    <a:pt x="19812" y="13209"/>
                  </a:lnTo>
                  <a:lnTo>
                    <a:pt x="15875" y="15875"/>
                  </a:lnTo>
                  <a:lnTo>
                    <a:pt x="13207" y="19812"/>
                  </a:lnTo>
                  <a:lnTo>
                    <a:pt x="11810" y="23749"/>
                  </a:lnTo>
                  <a:lnTo>
                    <a:pt x="13207" y="28956"/>
                  </a:lnTo>
                  <a:lnTo>
                    <a:pt x="15875" y="32893"/>
                  </a:lnTo>
                  <a:lnTo>
                    <a:pt x="19812" y="35561"/>
                  </a:lnTo>
                  <a:lnTo>
                    <a:pt x="23749" y="36958"/>
                  </a:lnTo>
                  <a:lnTo>
                    <a:pt x="28955" y="35561"/>
                  </a:lnTo>
                  <a:lnTo>
                    <a:pt x="32892" y="32893"/>
                  </a:lnTo>
                  <a:lnTo>
                    <a:pt x="35559" y="28956"/>
                  </a:lnTo>
                  <a:lnTo>
                    <a:pt x="36956" y="23749"/>
                  </a:lnTo>
                  <a:lnTo>
                    <a:pt x="35559" y="19812"/>
                  </a:lnTo>
                  <a:lnTo>
                    <a:pt x="32892" y="15875"/>
                  </a:lnTo>
                  <a:lnTo>
                    <a:pt x="28955" y="13209"/>
                  </a:lnTo>
                  <a:lnTo>
                    <a:pt x="23749" y="11812"/>
                  </a:lnTo>
                  <a:close/>
                  <a:moveTo>
                    <a:pt x="-6202300" y="2151888"/>
                  </a:move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sp>
        <p:sp>
          <p:nvSpPr>
            <p:cNvPr id="1389" name="Freeform 1389"/>
            <p:cNvSpPr/>
            <p:nvPr/>
          </p:nvSpPr>
          <p:spPr>
            <a:xfrm>
              <a:off x="8808146" y="4673049"/>
              <a:ext cx="48719" cy="48718"/>
            </a:xfrm>
            <a:custGeom>
              <a:avLst/>
              <a:gdLst/>
              <a:ahLst/>
              <a:cxnLst/>
              <a:rect l="0" t="0" r="0" b="0"/>
              <a:pathLst>
                <a:path w="48769" h="48768">
                  <a:moveTo>
                    <a:pt x="25020" y="48768"/>
                  </a:moveTo>
                  <a:lnTo>
                    <a:pt x="25020" y="48768"/>
                  </a:lnTo>
                  <a:lnTo>
                    <a:pt x="19812" y="47499"/>
                  </a:lnTo>
                  <a:lnTo>
                    <a:pt x="14478" y="46102"/>
                  </a:lnTo>
                  <a:lnTo>
                    <a:pt x="10542" y="44831"/>
                  </a:lnTo>
                  <a:lnTo>
                    <a:pt x="7874" y="40894"/>
                  </a:lnTo>
                  <a:lnTo>
                    <a:pt x="3937" y="38228"/>
                  </a:lnTo>
                  <a:lnTo>
                    <a:pt x="2668" y="34290"/>
                  </a:lnTo>
                  <a:lnTo>
                    <a:pt x="1271" y="28956"/>
                  </a:lnTo>
                  <a:lnTo>
                    <a:pt x="0" y="23749"/>
                  </a:lnTo>
                  <a:lnTo>
                    <a:pt x="1271" y="19812"/>
                  </a:lnTo>
                  <a:lnTo>
                    <a:pt x="2668" y="14478"/>
                  </a:lnTo>
                  <a:lnTo>
                    <a:pt x="3937" y="10541"/>
                  </a:lnTo>
                  <a:lnTo>
                    <a:pt x="7874" y="6605"/>
                  </a:lnTo>
                  <a:lnTo>
                    <a:pt x="10542" y="3937"/>
                  </a:lnTo>
                  <a:lnTo>
                    <a:pt x="14478" y="1271"/>
                  </a:lnTo>
                  <a:lnTo>
                    <a:pt x="19812" y="0"/>
                  </a:lnTo>
                  <a:lnTo>
                    <a:pt x="25020" y="0"/>
                  </a:lnTo>
                  <a:lnTo>
                    <a:pt x="28957" y="0"/>
                  </a:lnTo>
                  <a:lnTo>
                    <a:pt x="34290" y="1271"/>
                  </a:lnTo>
                  <a:lnTo>
                    <a:pt x="38227" y="3937"/>
                  </a:lnTo>
                  <a:lnTo>
                    <a:pt x="42164" y="6605"/>
                  </a:lnTo>
                  <a:lnTo>
                    <a:pt x="44832" y="10541"/>
                  </a:lnTo>
                  <a:lnTo>
                    <a:pt x="47498" y="14478"/>
                  </a:lnTo>
                  <a:lnTo>
                    <a:pt x="48769" y="19812"/>
                  </a:lnTo>
                  <a:lnTo>
                    <a:pt x="48769" y="23749"/>
                  </a:lnTo>
                  <a:lnTo>
                    <a:pt x="48769" y="28956"/>
                  </a:lnTo>
                  <a:lnTo>
                    <a:pt x="47498" y="34290"/>
                  </a:lnTo>
                  <a:lnTo>
                    <a:pt x="44832" y="38228"/>
                  </a:lnTo>
                  <a:lnTo>
                    <a:pt x="42164" y="40894"/>
                  </a:lnTo>
                  <a:lnTo>
                    <a:pt x="38227" y="44831"/>
                  </a:lnTo>
                  <a:lnTo>
                    <a:pt x="34290" y="46102"/>
                  </a:lnTo>
                  <a:lnTo>
                    <a:pt x="28957" y="47499"/>
                  </a:lnTo>
                  <a:lnTo>
                    <a:pt x="25020" y="48768"/>
                  </a:lnTo>
                  <a:close/>
                  <a:moveTo>
                    <a:pt x="-6531863" y="2151888"/>
                  </a:moveTo>
                  <a:moveTo>
                    <a:pt x="25020" y="11812"/>
                  </a:moveTo>
                  <a:lnTo>
                    <a:pt x="25020" y="11812"/>
                  </a:lnTo>
                  <a:lnTo>
                    <a:pt x="19812" y="13209"/>
                  </a:lnTo>
                  <a:lnTo>
                    <a:pt x="15875" y="15875"/>
                  </a:lnTo>
                  <a:lnTo>
                    <a:pt x="13209" y="19812"/>
                  </a:lnTo>
                  <a:lnTo>
                    <a:pt x="11811" y="23749"/>
                  </a:lnTo>
                  <a:lnTo>
                    <a:pt x="13209" y="28956"/>
                  </a:lnTo>
                  <a:lnTo>
                    <a:pt x="15875" y="32893"/>
                  </a:lnTo>
                  <a:lnTo>
                    <a:pt x="19812" y="35561"/>
                  </a:lnTo>
                  <a:lnTo>
                    <a:pt x="25020" y="36958"/>
                  </a:lnTo>
                  <a:lnTo>
                    <a:pt x="28957" y="35561"/>
                  </a:lnTo>
                  <a:lnTo>
                    <a:pt x="32894" y="32893"/>
                  </a:lnTo>
                  <a:lnTo>
                    <a:pt x="35560" y="28956"/>
                  </a:lnTo>
                  <a:lnTo>
                    <a:pt x="36958" y="23749"/>
                  </a:lnTo>
                  <a:lnTo>
                    <a:pt x="35560" y="19812"/>
                  </a:lnTo>
                  <a:lnTo>
                    <a:pt x="32894" y="15875"/>
                  </a:lnTo>
                  <a:lnTo>
                    <a:pt x="28957" y="13209"/>
                  </a:lnTo>
                  <a:lnTo>
                    <a:pt x="25020" y="11812"/>
                  </a:lnTo>
                  <a:close/>
                  <a:moveTo>
                    <a:pt x="-6494907" y="2151888"/>
                  </a:moveTo>
                </a:path>
              </a:pathLst>
            </a:custGeom>
            <a:no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90" name="Freeform 1390"/>
            <p:cNvSpPr/>
            <p:nvPr/>
          </p:nvSpPr>
          <p:spPr>
            <a:xfrm>
              <a:off x="8817282" y="4587793"/>
              <a:ext cx="36538" cy="12180"/>
            </a:xfrm>
            <a:custGeom>
              <a:avLst/>
              <a:gdLst/>
              <a:ahLst/>
              <a:cxnLst/>
              <a:rect l="0" t="0" r="0" b="0"/>
              <a:pathLst>
                <a:path w="36576" h="12192">
                  <a:moveTo>
                    <a:pt x="0" y="12192"/>
                  </a:moveTo>
                  <a:lnTo>
                    <a:pt x="36576" y="12192"/>
                  </a:lnTo>
                  <a:lnTo>
                    <a:pt x="36576" y="0"/>
                  </a:lnTo>
                  <a:lnTo>
                    <a:pt x="0" y="0"/>
                  </a:lnTo>
                  <a:lnTo>
                    <a:pt x="0" y="12192"/>
                  </a:lnTo>
                  <a:close/>
                </a:path>
              </a:pathLst>
            </a:custGeom>
            <a:solidFill>
              <a:srgbClr val="FFFFFF">
                <a:alpha val="50195"/>
              </a:srgbClr>
            </a:solidFill>
            <a:ln w="28575">
              <a:noFill/>
            </a:ln>
          </p:spPr>
          <p:style>
            <a:lnRef idx="2">
              <a:schemeClr val="accent1">
                <a:shade val="50000"/>
              </a:schemeClr>
            </a:lnRef>
            <a:fillRef idx="1">
              <a:schemeClr val="accent1"/>
            </a:fillRef>
            <a:effectRef idx="0">
              <a:schemeClr val="accent1"/>
            </a:effectRef>
            <a:fontRef idx="minor">
              <a:schemeClr val="lt1"/>
            </a:fontRef>
          </p:style>
        </p:sp>
        <p:sp>
          <p:nvSpPr>
            <p:cNvPr id="1391" name="Freeform 1391"/>
            <p:cNvSpPr/>
            <p:nvPr/>
          </p:nvSpPr>
          <p:spPr>
            <a:xfrm>
              <a:off x="8362080" y="4561913"/>
              <a:ext cx="404961" cy="60896"/>
            </a:xfrm>
            <a:custGeom>
              <a:avLst/>
              <a:gdLst/>
              <a:ahLst/>
              <a:cxnLst/>
              <a:rect l="0" t="0" r="0" b="0"/>
              <a:pathLst>
                <a:path w="405383" h="60960">
                  <a:moveTo>
                    <a:pt x="379094" y="60960"/>
                  </a:moveTo>
                  <a:lnTo>
                    <a:pt x="26289" y="60960"/>
                  </a:lnTo>
                  <a:lnTo>
                    <a:pt x="15748" y="54229"/>
                  </a:lnTo>
                  <a:lnTo>
                    <a:pt x="10541" y="47370"/>
                  </a:lnTo>
                  <a:lnTo>
                    <a:pt x="5206" y="40639"/>
                  </a:lnTo>
                  <a:lnTo>
                    <a:pt x="0" y="27050"/>
                  </a:lnTo>
                  <a:lnTo>
                    <a:pt x="5206" y="13588"/>
                  </a:lnTo>
                  <a:lnTo>
                    <a:pt x="10541" y="6731"/>
                  </a:lnTo>
                  <a:lnTo>
                    <a:pt x="15748" y="0"/>
                  </a:lnTo>
                  <a:lnTo>
                    <a:pt x="26289" y="0"/>
                  </a:lnTo>
                  <a:lnTo>
                    <a:pt x="379094" y="0"/>
                  </a:lnTo>
                  <a:lnTo>
                    <a:pt x="389636" y="0"/>
                  </a:lnTo>
                  <a:lnTo>
                    <a:pt x="394842" y="6731"/>
                  </a:lnTo>
                  <a:lnTo>
                    <a:pt x="400177" y="13588"/>
                  </a:lnTo>
                  <a:lnTo>
                    <a:pt x="405383" y="27050"/>
                  </a:lnTo>
                  <a:lnTo>
                    <a:pt x="400177" y="40639"/>
                  </a:lnTo>
                  <a:lnTo>
                    <a:pt x="394842" y="47370"/>
                  </a:lnTo>
                  <a:lnTo>
                    <a:pt x="389636" y="54229"/>
                  </a:lnTo>
                  <a:lnTo>
                    <a:pt x="379094" y="60960"/>
                  </a:lnTo>
                  <a:close/>
                  <a:moveTo>
                    <a:pt x="-5986273" y="2263139"/>
                  </a:moveTo>
                </a:path>
              </a:pathLst>
            </a:custGeom>
            <a:noFill/>
            <a:ln w="9525" cap="flat" cmpd="sng">
              <a:solidFill>
                <a:srgbClr val="188CE5"/>
              </a:solidFill>
              <a:round/>
            </a:ln>
          </p:spPr>
          <p:style>
            <a:lnRef idx="2">
              <a:schemeClr val="accent1">
                <a:shade val="50000"/>
              </a:schemeClr>
            </a:lnRef>
            <a:fillRef idx="1">
              <a:schemeClr val="accent1"/>
            </a:fillRef>
            <a:effectRef idx="0">
              <a:schemeClr val="accent1"/>
            </a:effectRef>
            <a:fontRef idx="minor">
              <a:schemeClr val="lt1"/>
            </a:fontRef>
          </p:style>
        </p:sp>
        <p:sp>
          <p:nvSpPr>
            <p:cNvPr id="1392" name="Freeform 1392"/>
            <p:cNvSpPr/>
            <p:nvPr/>
          </p:nvSpPr>
          <p:spPr>
            <a:xfrm>
              <a:off x="8362080" y="4513197"/>
              <a:ext cx="404961" cy="60895"/>
            </a:xfrm>
            <a:custGeom>
              <a:avLst/>
              <a:gdLst/>
              <a:ahLst/>
              <a:cxnLst/>
              <a:rect l="0" t="0" r="0" b="0"/>
              <a:pathLst>
                <a:path w="405383" h="60959">
                  <a:moveTo>
                    <a:pt x="379094" y="60959"/>
                  </a:moveTo>
                  <a:lnTo>
                    <a:pt x="26289" y="60959"/>
                  </a:lnTo>
                  <a:lnTo>
                    <a:pt x="15748" y="54228"/>
                  </a:lnTo>
                  <a:lnTo>
                    <a:pt x="10541" y="47371"/>
                  </a:lnTo>
                  <a:lnTo>
                    <a:pt x="5206" y="40640"/>
                  </a:lnTo>
                  <a:lnTo>
                    <a:pt x="0" y="27050"/>
                  </a:lnTo>
                  <a:lnTo>
                    <a:pt x="5206" y="13588"/>
                  </a:lnTo>
                  <a:lnTo>
                    <a:pt x="10541" y="6731"/>
                  </a:lnTo>
                  <a:lnTo>
                    <a:pt x="15748" y="0"/>
                  </a:lnTo>
                  <a:lnTo>
                    <a:pt x="26289" y="0"/>
                  </a:lnTo>
                  <a:lnTo>
                    <a:pt x="379094" y="0"/>
                  </a:lnTo>
                  <a:lnTo>
                    <a:pt x="389636" y="0"/>
                  </a:lnTo>
                  <a:lnTo>
                    <a:pt x="394842" y="6731"/>
                  </a:lnTo>
                  <a:lnTo>
                    <a:pt x="400177" y="13588"/>
                  </a:lnTo>
                  <a:lnTo>
                    <a:pt x="405383" y="27050"/>
                  </a:lnTo>
                  <a:lnTo>
                    <a:pt x="400177" y="40640"/>
                  </a:lnTo>
                  <a:lnTo>
                    <a:pt x="394842" y="47371"/>
                  </a:lnTo>
                  <a:lnTo>
                    <a:pt x="389636" y="54228"/>
                  </a:lnTo>
                  <a:lnTo>
                    <a:pt x="379094" y="60959"/>
                  </a:lnTo>
                  <a:close/>
                  <a:moveTo>
                    <a:pt x="-5937504" y="2311907"/>
                  </a:moveTo>
                </a:path>
              </a:pathLst>
            </a:custGeom>
            <a:noFill/>
            <a:ln w="9525" cap="flat" cmpd="sng">
              <a:solidFill>
                <a:srgbClr val="188CE5"/>
              </a:solidFill>
              <a:round/>
            </a:ln>
          </p:spPr>
          <p:style>
            <a:lnRef idx="2">
              <a:schemeClr val="accent1">
                <a:shade val="50000"/>
              </a:schemeClr>
            </a:lnRef>
            <a:fillRef idx="1">
              <a:schemeClr val="accent1"/>
            </a:fillRef>
            <a:effectRef idx="0">
              <a:schemeClr val="accent1"/>
            </a:effectRef>
            <a:fontRef idx="minor">
              <a:schemeClr val="lt1"/>
            </a:fontRef>
          </p:style>
        </p:sp>
        <p:sp>
          <p:nvSpPr>
            <p:cNvPr id="1393" name="Freeform 1393"/>
            <p:cNvSpPr/>
            <p:nvPr/>
          </p:nvSpPr>
          <p:spPr>
            <a:xfrm>
              <a:off x="8362080" y="4467525"/>
              <a:ext cx="404961" cy="57851"/>
            </a:xfrm>
            <a:custGeom>
              <a:avLst/>
              <a:gdLst/>
              <a:ahLst/>
              <a:cxnLst/>
              <a:rect l="0" t="0" r="0" b="0"/>
              <a:pathLst>
                <a:path w="405383" h="57911">
                  <a:moveTo>
                    <a:pt x="379094" y="57911"/>
                  </a:moveTo>
                  <a:lnTo>
                    <a:pt x="26289" y="57911"/>
                  </a:lnTo>
                  <a:lnTo>
                    <a:pt x="15748" y="51435"/>
                  </a:lnTo>
                  <a:lnTo>
                    <a:pt x="10541" y="45085"/>
                  </a:lnTo>
                  <a:lnTo>
                    <a:pt x="5206" y="38607"/>
                  </a:lnTo>
                  <a:lnTo>
                    <a:pt x="0" y="25780"/>
                  </a:lnTo>
                  <a:lnTo>
                    <a:pt x="5206" y="12826"/>
                  </a:lnTo>
                  <a:lnTo>
                    <a:pt x="10541" y="6476"/>
                  </a:lnTo>
                  <a:lnTo>
                    <a:pt x="15748" y="0"/>
                  </a:lnTo>
                  <a:lnTo>
                    <a:pt x="26289" y="0"/>
                  </a:lnTo>
                  <a:lnTo>
                    <a:pt x="379094" y="0"/>
                  </a:lnTo>
                  <a:lnTo>
                    <a:pt x="389636" y="0"/>
                  </a:lnTo>
                  <a:lnTo>
                    <a:pt x="394842" y="6476"/>
                  </a:lnTo>
                  <a:lnTo>
                    <a:pt x="400177" y="12826"/>
                  </a:lnTo>
                  <a:lnTo>
                    <a:pt x="405383" y="25780"/>
                  </a:lnTo>
                  <a:lnTo>
                    <a:pt x="400177" y="38607"/>
                  </a:lnTo>
                  <a:lnTo>
                    <a:pt x="394842" y="45085"/>
                  </a:lnTo>
                  <a:lnTo>
                    <a:pt x="389636" y="51435"/>
                  </a:lnTo>
                  <a:lnTo>
                    <a:pt x="379094" y="57911"/>
                  </a:lnTo>
                  <a:close/>
                  <a:moveTo>
                    <a:pt x="-5888736" y="2357627"/>
                  </a:moveTo>
                </a:path>
              </a:pathLst>
            </a:custGeom>
            <a:noFill/>
            <a:ln w="9525" cap="flat" cmpd="sng">
              <a:solidFill>
                <a:srgbClr val="188CE5"/>
              </a:solidFill>
              <a:round/>
            </a:ln>
          </p:spPr>
          <p:style>
            <a:lnRef idx="2">
              <a:schemeClr val="accent1">
                <a:shade val="50000"/>
              </a:schemeClr>
            </a:lnRef>
            <a:fillRef idx="1">
              <a:schemeClr val="accent1"/>
            </a:fillRef>
            <a:effectRef idx="0">
              <a:schemeClr val="accent1"/>
            </a:effectRef>
            <a:fontRef idx="minor">
              <a:schemeClr val="lt1"/>
            </a:fontRef>
          </p:style>
        </p:sp>
        <p:sp>
          <p:nvSpPr>
            <p:cNvPr id="1424" name="Freeform 1424"/>
            <p:cNvSpPr/>
            <p:nvPr/>
          </p:nvSpPr>
          <p:spPr>
            <a:xfrm>
              <a:off x="7708964" y="4673049"/>
              <a:ext cx="392781" cy="39582"/>
            </a:xfrm>
            <a:custGeom>
              <a:avLst/>
              <a:gdLst/>
              <a:ahLst/>
              <a:cxnLst/>
              <a:rect l="0" t="0" r="0" b="0"/>
              <a:pathLst>
                <a:path w="393191" h="39624">
                  <a:moveTo>
                    <a:pt x="348361" y="39624"/>
                  </a:moveTo>
                  <a:lnTo>
                    <a:pt x="348361" y="39624"/>
                  </a:lnTo>
                  <a:lnTo>
                    <a:pt x="336803" y="38481"/>
                  </a:lnTo>
                  <a:lnTo>
                    <a:pt x="326644" y="35053"/>
                  </a:lnTo>
                  <a:lnTo>
                    <a:pt x="318008" y="29465"/>
                  </a:lnTo>
                  <a:lnTo>
                    <a:pt x="310769" y="22606"/>
                  </a:lnTo>
                  <a:lnTo>
                    <a:pt x="303529" y="29465"/>
                  </a:lnTo>
                  <a:lnTo>
                    <a:pt x="294894" y="35053"/>
                  </a:lnTo>
                  <a:lnTo>
                    <a:pt x="284734" y="38481"/>
                  </a:lnTo>
                  <a:lnTo>
                    <a:pt x="273176" y="39624"/>
                  </a:lnTo>
                  <a:lnTo>
                    <a:pt x="261620" y="38481"/>
                  </a:lnTo>
                  <a:lnTo>
                    <a:pt x="251587" y="35053"/>
                  </a:lnTo>
                  <a:lnTo>
                    <a:pt x="241426" y="29465"/>
                  </a:lnTo>
                  <a:lnTo>
                    <a:pt x="235585" y="22606"/>
                  </a:lnTo>
                  <a:lnTo>
                    <a:pt x="228346" y="29465"/>
                  </a:lnTo>
                  <a:lnTo>
                    <a:pt x="219710" y="35053"/>
                  </a:lnTo>
                  <a:lnTo>
                    <a:pt x="208152" y="38481"/>
                  </a:lnTo>
                  <a:lnTo>
                    <a:pt x="196596" y="39624"/>
                  </a:lnTo>
                  <a:lnTo>
                    <a:pt x="185038" y="38481"/>
                  </a:lnTo>
                  <a:lnTo>
                    <a:pt x="174878" y="35053"/>
                  </a:lnTo>
                  <a:lnTo>
                    <a:pt x="166242" y="29465"/>
                  </a:lnTo>
                  <a:lnTo>
                    <a:pt x="159003" y="22606"/>
                  </a:lnTo>
                  <a:lnTo>
                    <a:pt x="151764" y="29465"/>
                  </a:lnTo>
                  <a:lnTo>
                    <a:pt x="143128" y="35053"/>
                  </a:lnTo>
                  <a:lnTo>
                    <a:pt x="132969" y="38481"/>
                  </a:lnTo>
                  <a:lnTo>
                    <a:pt x="121412" y="39624"/>
                  </a:lnTo>
                  <a:lnTo>
                    <a:pt x="109854" y="38481"/>
                  </a:lnTo>
                  <a:lnTo>
                    <a:pt x="98298" y="35053"/>
                  </a:lnTo>
                  <a:lnTo>
                    <a:pt x="89662" y="29465"/>
                  </a:lnTo>
                  <a:lnTo>
                    <a:pt x="82423" y="22606"/>
                  </a:lnTo>
                  <a:lnTo>
                    <a:pt x="75184" y="29465"/>
                  </a:lnTo>
                  <a:lnTo>
                    <a:pt x="66548" y="35053"/>
                  </a:lnTo>
                  <a:lnTo>
                    <a:pt x="56387" y="38481"/>
                  </a:lnTo>
                  <a:lnTo>
                    <a:pt x="44830" y="39624"/>
                  </a:lnTo>
                  <a:lnTo>
                    <a:pt x="36195" y="38481"/>
                  </a:lnTo>
                  <a:lnTo>
                    <a:pt x="27432" y="37338"/>
                  </a:lnTo>
                  <a:lnTo>
                    <a:pt x="20192" y="33909"/>
                  </a:lnTo>
                  <a:lnTo>
                    <a:pt x="12953" y="29465"/>
                  </a:lnTo>
                  <a:lnTo>
                    <a:pt x="7238" y="23749"/>
                  </a:lnTo>
                  <a:lnTo>
                    <a:pt x="4317" y="18162"/>
                  </a:lnTo>
                  <a:lnTo>
                    <a:pt x="1397" y="11303"/>
                  </a:lnTo>
                  <a:lnTo>
                    <a:pt x="0" y="4572"/>
                  </a:lnTo>
                  <a:lnTo>
                    <a:pt x="0" y="0"/>
                  </a:lnTo>
                  <a:lnTo>
                    <a:pt x="12953" y="0"/>
                  </a:lnTo>
                  <a:lnTo>
                    <a:pt x="12953" y="4572"/>
                  </a:lnTo>
                  <a:lnTo>
                    <a:pt x="14477" y="10161"/>
                  </a:lnTo>
                  <a:lnTo>
                    <a:pt x="15875" y="14733"/>
                  </a:lnTo>
                  <a:lnTo>
                    <a:pt x="18796" y="18162"/>
                  </a:lnTo>
                  <a:lnTo>
                    <a:pt x="23113" y="22606"/>
                  </a:lnTo>
                  <a:lnTo>
                    <a:pt x="27432" y="24893"/>
                  </a:lnTo>
                  <a:lnTo>
                    <a:pt x="33274" y="27178"/>
                  </a:lnTo>
                  <a:lnTo>
                    <a:pt x="38988" y="28321"/>
                  </a:lnTo>
                  <a:lnTo>
                    <a:pt x="44830" y="29465"/>
                  </a:lnTo>
                  <a:lnTo>
                    <a:pt x="50546" y="28321"/>
                  </a:lnTo>
                  <a:lnTo>
                    <a:pt x="57785" y="27178"/>
                  </a:lnTo>
                  <a:lnTo>
                    <a:pt x="62102" y="24893"/>
                  </a:lnTo>
                  <a:lnTo>
                    <a:pt x="66548" y="22606"/>
                  </a:lnTo>
                  <a:lnTo>
                    <a:pt x="70865" y="18162"/>
                  </a:lnTo>
                  <a:lnTo>
                    <a:pt x="73660" y="14733"/>
                  </a:lnTo>
                  <a:lnTo>
                    <a:pt x="75184" y="10161"/>
                  </a:lnTo>
                  <a:lnTo>
                    <a:pt x="76580" y="4572"/>
                  </a:lnTo>
                  <a:lnTo>
                    <a:pt x="89662" y="4572"/>
                  </a:lnTo>
                  <a:lnTo>
                    <a:pt x="89662" y="10161"/>
                  </a:lnTo>
                  <a:lnTo>
                    <a:pt x="92455" y="14733"/>
                  </a:lnTo>
                  <a:lnTo>
                    <a:pt x="95376" y="18162"/>
                  </a:lnTo>
                  <a:lnTo>
                    <a:pt x="98298" y="22606"/>
                  </a:lnTo>
                  <a:lnTo>
                    <a:pt x="102615" y="24893"/>
                  </a:lnTo>
                  <a:lnTo>
                    <a:pt x="108458" y="27178"/>
                  </a:lnTo>
                  <a:lnTo>
                    <a:pt x="114173" y="28321"/>
                  </a:lnTo>
                  <a:lnTo>
                    <a:pt x="121412" y="29465"/>
                  </a:lnTo>
                  <a:lnTo>
                    <a:pt x="127253" y="28321"/>
                  </a:lnTo>
                  <a:lnTo>
                    <a:pt x="132969" y="27178"/>
                  </a:lnTo>
                  <a:lnTo>
                    <a:pt x="138811" y="24893"/>
                  </a:lnTo>
                  <a:lnTo>
                    <a:pt x="143128" y="22606"/>
                  </a:lnTo>
                  <a:lnTo>
                    <a:pt x="147447" y="18162"/>
                  </a:lnTo>
                  <a:lnTo>
                    <a:pt x="150367" y="14733"/>
                  </a:lnTo>
                  <a:lnTo>
                    <a:pt x="151764" y="10161"/>
                  </a:lnTo>
                  <a:lnTo>
                    <a:pt x="151764" y="4572"/>
                  </a:lnTo>
                  <a:lnTo>
                    <a:pt x="164846" y="4572"/>
                  </a:lnTo>
                  <a:lnTo>
                    <a:pt x="166242" y="10161"/>
                  </a:lnTo>
                  <a:lnTo>
                    <a:pt x="167639" y="14733"/>
                  </a:lnTo>
                  <a:lnTo>
                    <a:pt x="170561" y="18162"/>
                  </a:lnTo>
                  <a:lnTo>
                    <a:pt x="174878" y="22606"/>
                  </a:lnTo>
                  <a:lnTo>
                    <a:pt x="179197" y="24893"/>
                  </a:lnTo>
                  <a:lnTo>
                    <a:pt x="185038" y="27178"/>
                  </a:lnTo>
                  <a:lnTo>
                    <a:pt x="190753" y="28321"/>
                  </a:lnTo>
                  <a:lnTo>
                    <a:pt x="196596" y="29465"/>
                  </a:lnTo>
                  <a:lnTo>
                    <a:pt x="203835" y="28321"/>
                  </a:lnTo>
                  <a:lnTo>
                    <a:pt x="209550" y="27178"/>
                  </a:lnTo>
                  <a:lnTo>
                    <a:pt x="213995" y="24893"/>
                  </a:lnTo>
                  <a:lnTo>
                    <a:pt x="219710" y="22606"/>
                  </a:lnTo>
                  <a:lnTo>
                    <a:pt x="222630" y="18162"/>
                  </a:lnTo>
                  <a:lnTo>
                    <a:pt x="225551" y="14733"/>
                  </a:lnTo>
                  <a:lnTo>
                    <a:pt x="228346" y="10161"/>
                  </a:lnTo>
                  <a:lnTo>
                    <a:pt x="228346" y="4572"/>
                  </a:lnTo>
                  <a:lnTo>
                    <a:pt x="241426" y="4572"/>
                  </a:lnTo>
                  <a:lnTo>
                    <a:pt x="241426" y="10161"/>
                  </a:lnTo>
                  <a:lnTo>
                    <a:pt x="244348" y="14733"/>
                  </a:lnTo>
                  <a:lnTo>
                    <a:pt x="247141" y="18162"/>
                  </a:lnTo>
                  <a:lnTo>
                    <a:pt x="250062" y="22606"/>
                  </a:lnTo>
                  <a:lnTo>
                    <a:pt x="255904" y="24893"/>
                  </a:lnTo>
                  <a:lnTo>
                    <a:pt x="260223" y="27178"/>
                  </a:lnTo>
                  <a:lnTo>
                    <a:pt x="265937" y="28321"/>
                  </a:lnTo>
                  <a:lnTo>
                    <a:pt x="273176" y="29465"/>
                  </a:lnTo>
                  <a:lnTo>
                    <a:pt x="279019" y="28321"/>
                  </a:lnTo>
                  <a:lnTo>
                    <a:pt x="284734" y="27178"/>
                  </a:lnTo>
                  <a:lnTo>
                    <a:pt x="290575" y="24893"/>
                  </a:lnTo>
                  <a:lnTo>
                    <a:pt x="294894" y="22606"/>
                  </a:lnTo>
                  <a:lnTo>
                    <a:pt x="299212" y="18162"/>
                  </a:lnTo>
                  <a:lnTo>
                    <a:pt x="302133" y="14733"/>
                  </a:lnTo>
                  <a:lnTo>
                    <a:pt x="303529" y="10161"/>
                  </a:lnTo>
                  <a:lnTo>
                    <a:pt x="305053" y="4572"/>
                  </a:lnTo>
                  <a:lnTo>
                    <a:pt x="318008" y="4572"/>
                  </a:lnTo>
                  <a:lnTo>
                    <a:pt x="318008" y="10161"/>
                  </a:lnTo>
                  <a:lnTo>
                    <a:pt x="319404" y="14733"/>
                  </a:lnTo>
                  <a:lnTo>
                    <a:pt x="322325" y="18162"/>
                  </a:lnTo>
                  <a:lnTo>
                    <a:pt x="326644" y="22606"/>
                  </a:lnTo>
                  <a:lnTo>
                    <a:pt x="331088" y="24893"/>
                  </a:lnTo>
                  <a:lnTo>
                    <a:pt x="336803" y="27178"/>
                  </a:lnTo>
                  <a:lnTo>
                    <a:pt x="342646" y="28321"/>
                  </a:lnTo>
                  <a:lnTo>
                    <a:pt x="348361" y="29465"/>
                  </a:lnTo>
                  <a:lnTo>
                    <a:pt x="355600" y="28321"/>
                  </a:lnTo>
                  <a:lnTo>
                    <a:pt x="361441" y="27178"/>
                  </a:lnTo>
                  <a:lnTo>
                    <a:pt x="367157" y="24893"/>
                  </a:lnTo>
                  <a:lnTo>
                    <a:pt x="371475" y="22606"/>
                  </a:lnTo>
                  <a:lnTo>
                    <a:pt x="374396" y="18162"/>
                  </a:lnTo>
                  <a:lnTo>
                    <a:pt x="377316" y="14733"/>
                  </a:lnTo>
                  <a:lnTo>
                    <a:pt x="380237" y="10161"/>
                  </a:lnTo>
                  <a:lnTo>
                    <a:pt x="380237" y="4572"/>
                  </a:lnTo>
                  <a:lnTo>
                    <a:pt x="380237" y="0"/>
                  </a:lnTo>
                  <a:lnTo>
                    <a:pt x="393191" y="0"/>
                  </a:lnTo>
                  <a:lnTo>
                    <a:pt x="393191" y="4572"/>
                  </a:lnTo>
                  <a:lnTo>
                    <a:pt x="393191" y="11303"/>
                  </a:lnTo>
                  <a:lnTo>
                    <a:pt x="390271" y="18162"/>
                  </a:lnTo>
                  <a:lnTo>
                    <a:pt x="385952" y="23749"/>
                  </a:lnTo>
                  <a:lnTo>
                    <a:pt x="380237" y="29465"/>
                  </a:lnTo>
                  <a:lnTo>
                    <a:pt x="374396" y="33909"/>
                  </a:lnTo>
                  <a:lnTo>
                    <a:pt x="365760" y="37338"/>
                  </a:lnTo>
                  <a:lnTo>
                    <a:pt x="358521" y="38481"/>
                  </a:lnTo>
                  <a:lnTo>
                    <a:pt x="348361" y="39624"/>
                  </a:lnTo>
                  <a:close/>
                  <a:moveTo>
                    <a:pt x="-5422392" y="215188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25" name="Freeform 1425"/>
            <p:cNvSpPr/>
            <p:nvPr/>
          </p:nvSpPr>
          <p:spPr>
            <a:xfrm>
              <a:off x="7675472" y="4411193"/>
              <a:ext cx="462813" cy="246631"/>
            </a:xfrm>
            <a:custGeom>
              <a:avLst/>
              <a:gdLst/>
              <a:ahLst/>
              <a:cxnLst/>
              <a:rect l="0" t="0" r="0" b="0"/>
              <a:pathLst>
                <a:path w="463295" h="246889">
                  <a:moveTo>
                    <a:pt x="367411" y="246889"/>
                  </a:moveTo>
                  <a:lnTo>
                    <a:pt x="355853" y="242316"/>
                  </a:lnTo>
                  <a:lnTo>
                    <a:pt x="445897" y="88393"/>
                  </a:lnTo>
                  <a:lnTo>
                    <a:pt x="232410" y="11431"/>
                  </a:lnTo>
                  <a:lnTo>
                    <a:pt x="17399" y="88393"/>
                  </a:lnTo>
                  <a:lnTo>
                    <a:pt x="106044" y="242316"/>
                  </a:lnTo>
                  <a:lnTo>
                    <a:pt x="94361" y="246889"/>
                  </a:lnTo>
                  <a:lnTo>
                    <a:pt x="0" y="83821"/>
                  </a:lnTo>
                  <a:lnTo>
                    <a:pt x="232410" y="0"/>
                  </a:lnTo>
                  <a:lnTo>
                    <a:pt x="463295" y="83821"/>
                  </a:lnTo>
                  <a:lnTo>
                    <a:pt x="367411" y="246889"/>
                  </a:lnTo>
                  <a:close/>
                  <a:moveTo>
                    <a:pt x="-5334001" y="2414016"/>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26" name="Freeform 1426"/>
            <p:cNvSpPr/>
            <p:nvPr/>
          </p:nvSpPr>
          <p:spPr>
            <a:xfrm>
              <a:off x="7900788" y="4417284"/>
              <a:ext cx="12180" cy="240542"/>
            </a:xfrm>
            <a:custGeom>
              <a:avLst/>
              <a:gdLst/>
              <a:ahLst/>
              <a:cxnLst/>
              <a:rect l="0" t="0" r="0" b="0"/>
              <a:pathLst>
                <a:path w="12192" h="240792">
                  <a:moveTo>
                    <a:pt x="0" y="240792"/>
                  </a:moveTo>
                  <a:lnTo>
                    <a:pt x="12192" y="240792"/>
                  </a:lnTo>
                  <a:lnTo>
                    <a:pt x="12192" y="0"/>
                  </a:lnTo>
                  <a:lnTo>
                    <a:pt x="0" y="0"/>
                  </a:lnTo>
                  <a:lnTo>
                    <a:pt x="0" y="240792"/>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27" name="Freeform 1427"/>
            <p:cNvSpPr/>
            <p:nvPr/>
          </p:nvSpPr>
          <p:spPr>
            <a:xfrm>
              <a:off x="7748547" y="4368566"/>
              <a:ext cx="313617" cy="103525"/>
            </a:xfrm>
            <a:custGeom>
              <a:avLst/>
              <a:gdLst/>
              <a:ahLst/>
              <a:cxnLst/>
              <a:rect l="0" t="0" r="0" b="0"/>
              <a:pathLst>
                <a:path w="313943" h="103633">
                  <a:moveTo>
                    <a:pt x="313943" y="103633"/>
                  </a:moveTo>
                  <a:lnTo>
                    <a:pt x="300863" y="103633"/>
                  </a:lnTo>
                  <a:lnTo>
                    <a:pt x="300863" y="16130"/>
                  </a:lnTo>
                  <a:lnTo>
                    <a:pt x="299465" y="13843"/>
                  </a:lnTo>
                  <a:lnTo>
                    <a:pt x="298068" y="11558"/>
                  </a:lnTo>
                  <a:lnTo>
                    <a:pt x="296545" y="10415"/>
                  </a:lnTo>
                  <a:lnTo>
                    <a:pt x="293751" y="10415"/>
                  </a:lnTo>
                  <a:lnTo>
                    <a:pt x="20192" y="10415"/>
                  </a:lnTo>
                  <a:lnTo>
                    <a:pt x="17399" y="10415"/>
                  </a:lnTo>
                  <a:lnTo>
                    <a:pt x="14477" y="11558"/>
                  </a:lnTo>
                  <a:lnTo>
                    <a:pt x="13080" y="13843"/>
                  </a:lnTo>
                  <a:lnTo>
                    <a:pt x="13080" y="16130"/>
                  </a:lnTo>
                  <a:lnTo>
                    <a:pt x="13080" y="103633"/>
                  </a:lnTo>
                  <a:lnTo>
                    <a:pt x="0" y="103633"/>
                  </a:lnTo>
                  <a:lnTo>
                    <a:pt x="0" y="16130"/>
                  </a:lnTo>
                  <a:lnTo>
                    <a:pt x="1397" y="10415"/>
                  </a:lnTo>
                  <a:lnTo>
                    <a:pt x="5841" y="4572"/>
                  </a:lnTo>
                  <a:lnTo>
                    <a:pt x="11556" y="1143"/>
                  </a:lnTo>
                  <a:lnTo>
                    <a:pt x="20192" y="0"/>
                  </a:lnTo>
                  <a:lnTo>
                    <a:pt x="293751" y="0"/>
                  </a:lnTo>
                  <a:lnTo>
                    <a:pt x="300863" y="1143"/>
                  </a:lnTo>
                  <a:lnTo>
                    <a:pt x="308101" y="4572"/>
                  </a:lnTo>
                  <a:lnTo>
                    <a:pt x="312547" y="10415"/>
                  </a:lnTo>
                  <a:lnTo>
                    <a:pt x="313943" y="16130"/>
                  </a:lnTo>
                  <a:lnTo>
                    <a:pt x="313943" y="103633"/>
                  </a:lnTo>
                  <a:close/>
                  <a:moveTo>
                    <a:pt x="-5221225" y="2456688"/>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28" name="Freeform 1428"/>
            <p:cNvSpPr/>
            <p:nvPr/>
          </p:nvSpPr>
          <p:spPr>
            <a:xfrm>
              <a:off x="7809443" y="4335072"/>
              <a:ext cx="191824" cy="42628"/>
            </a:xfrm>
            <a:custGeom>
              <a:avLst/>
              <a:gdLst/>
              <a:ahLst/>
              <a:cxnLst/>
              <a:rect l="0" t="0" r="0" b="0"/>
              <a:pathLst>
                <a:path w="192024" h="42672">
                  <a:moveTo>
                    <a:pt x="192024" y="42672"/>
                  </a:moveTo>
                  <a:lnTo>
                    <a:pt x="0" y="42672"/>
                  </a:lnTo>
                  <a:lnTo>
                    <a:pt x="0" y="14224"/>
                  </a:lnTo>
                  <a:lnTo>
                    <a:pt x="1396" y="8764"/>
                  </a:lnTo>
                  <a:lnTo>
                    <a:pt x="5841" y="4318"/>
                  </a:lnTo>
                  <a:lnTo>
                    <a:pt x="11683" y="1143"/>
                  </a:lnTo>
                  <a:lnTo>
                    <a:pt x="18923" y="0"/>
                  </a:lnTo>
                  <a:lnTo>
                    <a:pt x="174625" y="0"/>
                  </a:lnTo>
                  <a:lnTo>
                    <a:pt x="180340" y="1143"/>
                  </a:lnTo>
                  <a:lnTo>
                    <a:pt x="186181" y="4318"/>
                  </a:lnTo>
                  <a:lnTo>
                    <a:pt x="190627" y="8764"/>
                  </a:lnTo>
                  <a:lnTo>
                    <a:pt x="192024" y="14224"/>
                  </a:lnTo>
                  <a:lnTo>
                    <a:pt x="192024" y="42672"/>
                  </a:lnTo>
                  <a:close/>
                  <a:moveTo>
                    <a:pt x="-5187696" y="2490216"/>
                  </a:moveTo>
                  <a:moveTo>
                    <a:pt x="13080" y="32766"/>
                  </a:moveTo>
                  <a:lnTo>
                    <a:pt x="178942" y="32766"/>
                  </a:lnTo>
                  <a:lnTo>
                    <a:pt x="178942" y="14224"/>
                  </a:lnTo>
                  <a:lnTo>
                    <a:pt x="177418" y="10922"/>
                  </a:lnTo>
                  <a:lnTo>
                    <a:pt x="174625" y="9906"/>
                  </a:lnTo>
                  <a:lnTo>
                    <a:pt x="18923" y="9906"/>
                  </a:lnTo>
                  <a:lnTo>
                    <a:pt x="14604" y="10922"/>
                  </a:lnTo>
                  <a:lnTo>
                    <a:pt x="13080" y="14224"/>
                  </a:lnTo>
                  <a:lnTo>
                    <a:pt x="13080" y="32766"/>
                  </a:lnTo>
                  <a:close/>
                  <a:moveTo>
                    <a:pt x="-5177790" y="2490216"/>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29" name="Freeform 1429"/>
            <p:cNvSpPr/>
            <p:nvPr/>
          </p:nvSpPr>
          <p:spPr>
            <a:xfrm>
              <a:off x="7900788" y="4277221"/>
              <a:ext cx="12180" cy="66986"/>
            </a:xfrm>
            <a:custGeom>
              <a:avLst/>
              <a:gdLst/>
              <a:ahLst/>
              <a:cxnLst/>
              <a:rect l="0" t="0" r="0" b="0"/>
              <a:pathLst>
                <a:path w="12192" h="67056">
                  <a:moveTo>
                    <a:pt x="0" y="67056"/>
                  </a:moveTo>
                  <a:lnTo>
                    <a:pt x="12192" y="67056"/>
                  </a:lnTo>
                  <a:lnTo>
                    <a:pt x="12192" y="0"/>
                  </a:lnTo>
                  <a:lnTo>
                    <a:pt x="0" y="0"/>
                  </a:lnTo>
                  <a:lnTo>
                    <a:pt x="0" y="67056"/>
                  </a:lnTo>
                  <a:close/>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431" name="Freeform 1431"/>
            <p:cNvSpPr/>
            <p:nvPr/>
          </p:nvSpPr>
          <p:spPr>
            <a:xfrm>
              <a:off x="8019538" y="4493403"/>
              <a:ext cx="54806" cy="42628"/>
            </a:xfrm>
            <a:custGeom>
              <a:avLst/>
              <a:gdLst/>
              <a:ahLst/>
              <a:cxnLst/>
              <a:rect l="0" t="0" r="0" b="0"/>
              <a:pathLst>
                <a:path w="54864" h="42672">
                  <a:moveTo>
                    <a:pt x="26669" y="42672"/>
                  </a:moveTo>
                  <a:lnTo>
                    <a:pt x="26669" y="42672"/>
                  </a:lnTo>
                  <a:lnTo>
                    <a:pt x="22225" y="41529"/>
                  </a:lnTo>
                  <a:lnTo>
                    <a:pt x="16255" y="40387"/>
                  </a:lnTo>
                  <a:lnTo>
                    <a:pt x="11811" y="39244"/>
                  </a:lnTo>
                  <a:lnTo>
                    <a:pt x="7366" y="35815"/>
                  </a:lnTo>
                  <a:lnTo>
                    <a:pt x="4444" y="33401"/>
                  </a:lnTo>
                  <a:lnTo>
                    <a:pt x="2920" y="29972"/>
                  </a:lnTo>
                  <a:lnTo>
                    <a:pt x="0" y="25400"/>
                  </a:lnTo>
                  <a:lnTo>
                    <a:pt x="0" y="20701"/>
                  </a:lnTo>
                  <a:lnTo>
                    <a:pt x="0" y="17272"/>
                  </a:lnTo>
                  <a:lnTo>
                    <a:pt x="2920" y="12700"/>
                  </a:lnTo>
                  <a:lnTo>
                    <a:pt x="4444" y="9272"/>
                  </a:lnTo>
                  <a:lnTo>
                    <a:pt x="7366" y="5716"/>
                  </a:lnTo>
                  <a:lnTo>
                    <a:pt x="11811" y="3429"/>
                  </a:lnTo>
                  <a:lnTo>
                    <a:pt x="16255" y="1144"/>
                  </a:lnTo>
                  <a:lnTo>
                    <a:pt x="22225" y="0"/>
                  </a:lnTo>
                  <a:lnTo>
                    <a:pt x="26669" y="0"/>
                  </a:lnTo>
                  <a:lnTo>
                    <a:pt x="32639" y="0"/>
                  </a:lnTo>
                  <a:lnTo>
                    <a:pt x="38607" y="1144"/>
                  </a:lnTo>
                  <a:lnTo>
                    <a:pt x="43053" y="3429"/>
                  </a:lnTo>
                  <a:lnTo>
                    <a:pt x="45974" y="5716"/>
                  </a:lnTo>
                  <a:lnTo>
                    <a:pt x="50418" y="9272"/>
                  </a:lnTo>
                  <a:lnTo>
                    <a:pt x="51942" y="12700"/>
                  </a:lnTo>
                  <a:lnTo>
                    <a:pt x="53340" y="17272"/>
                  </a:lnTo>
                  <a:lnTo>
                    <a:pt x="54864" y="20701"/>
                  </a:lnTo>
                  <a:lnTo>
                    <a:pt x="53340" y="25400"/>
                  </a:lnTo>
                  <a:lnTo>
                    <a:pt x="51942" y="29972"/>
                  </a:lnTo>
                  <a:lnTo>
                    <a:pt x="50418" y="33401"/>
                  </a:lnTo>
                  <a:lnTo>
                    <a:pt x="45974" y="35815"/>
                  </a:lnTo>
                  <a:lnTo>
                    <a:pt x="43053" y="39244"/>
                  </a:lnTo>
                  <a:lnTo>
                    <a:pt x="38607" y="40387"/>
                  </a:lnTo>
                  <a:lnTo>
                    <a:pt x="32639" y="41529"/>
                  </a:lnTo>
                  <a:lnTo>
                    <a:pt x="26669" y="42672"/>
                  </a:lnTo>
                  <a:close/>
                  <a:moveTo>
                    <a:pt x="-5556504" y="2331720"/>
                  </a:moveTo>
                  <a:moveTo>
                    <a:pt x="26669" y="10415"/>
                  </a:moveTo>
                  <a:lnTo>
                    <a:pt x="26669" y="10415"/>
                  </a:lnTo>
                  <a:lnTo>
                    <a:pt x="22225" y="11557"/>
                  </a:lnTo>
                  <a:lnTo>
                    <a:pt x="17779" y="13844"/>
                  </a:lnTo>
                  <a:lnTo>
                    <a:pt x="14858" y="17272"/>
                  </a:lnTo>
                  <a:lnTo>
                    <a:pt x="13334" y="20701"/>
                  </a:lnTo>
                  <a:lnTo>
                    <a:pt x="14858" y="25400"/>
                  </a:lnTo>
                  <a:lnTo>
                    <a:pt x="17779" y="28829"/>
                  </a:lnTo>
                  <a:lnTo>
                    <a:pt x="22225" y="31116"/>
                  </a:lnTo>
                  <a:lnTo>
                    <a:pt x="26669" y="32259"/>
                  </a:lnTo>
                  <a:lnTo>
                    <a:pt x="32639" y="31116"/>
                  </a:lnTo>
                  <a:lnTo>
                    <a:pt x="37083" y="28829"/>
                  </a:lnTo>
                  <a:lnTo>
                    <a:pt x="40004" y="25400"/>
                  </a:lnTo>
                  <a:lnTo>
                    <a:pt x="41529" y="20701"/>
                  </a:lnTo>
                  <a:lnTo>
                    <a:pt x="40004" y="17272"/>
                  </a:lnTo>
                  <a:lnTo>
                    <a:pt x="37083" y="13844"/>
                  </a:lnTo>
                  <a:lnTo>
                    <a:pt x="32639" y="11557"/>
                  </a:lnTo>
                  <a:lnTo>
                    <a:pt x="26669" y="10415"/>
                  </a:lnTo>
                  <a:close/>
                  <a:moveTo>
                    <a:pt x="-5524247" y="233172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sp>
          <p:nvSpPr>
            <p:cNvPr id="1563" name="Rectangle 1563"/>
            <p:cNvSpPr/>
            <p:nvPr/>
          </p:nvSpPr>
          <p:spPr>
            <a:xfrm>
              <a:off x="7704397" y="4037753"/>
              <a:ext cx="1203998" cy="15465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tab pos="679913" algn="l"/>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H</a:t>
              </a:r>
              <a:r>
                <a:rPr kumimoji="0" lang="en-US" sz="1014" b="1" i="0" u="none" strike="noStrike" kern="1200" cap="none" spc="255" normalizeH="0" baseline="-32142" noProof="0" dirty="0">
                  <a:ln>
                    <a:noFill/>
                  </a:ln>
                  <a:solidFill>
                    <a:srgbClr val="8B8B90"/>
                  </a:solidFill>
                  <a:effectLst/>
                  <a:uLnTx/>
                  <a:uFillTx/>
                  <a:latin typeface="EYInterstate-LightBold"/>
                  <a:ea typeface="+mn-ea"/>
                  <a:cs typeface="+mn-cs"/>
                </a:rPr>
                <a:t>2</a:t>
              </a:r>
              <a:r>
                <a:rPr kumimoji="0" lang="en-US" sz="1005" b="1" i="0" u="none" strike="noStrike" kern="1200" cap="none" spc="-12" normalizeH="0" baseline="0" noProof="0" dirty="0">
                  <a:ln>
                    <a:noFill/>
                  </a:ln>
                  <a:solidFill>
                    <a:srgbClr val="8B8B90"/>
                  </a:solidFill>
                  <a:effectLst/>
                  <a:uLnTx/>
                  <a:uFillTx/>
                  <a:latin typeface="EYInterstate-LightBold"/>
                  <a:ea typeface="+mn-ea"/>
                  <a:cs typeface="+mn-cs"/>
                </a:rPr>
                <a:t>G</a:t>
              </a: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rid	</a:t>
              </a:r>
              <a:r>
                <a:rPr kumimoji="0" lang="en-US" sz="1005" b="1" i="0" u="none" strike="noStrike" kern="1200" cap="none" spc="-12" normalizeH="0" baseline="0" noProof="0" dirty="0">
                  <a:ln>
                    <a:noFill/>
                  </a:ln>
                  <a:solidFill>
                    <a:srgbClr val="8B8B90"/>
                  </a:solidFill>
                  <a:effectLst/>
                  <a:uLnTx/>
                  <a:uFillTx/>
                  <a:latin typeface="EYInterstate-LightBold"/>
                  <a:ea typeface="+mn-ea"/>
                  <a:cs typeface="+mn-cs"/>
                </a:rPr>
                <a:t>G</a:t>
              </a: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as </a:t>
              </a:r>
              <a:r>
                <a:rPr kumimoji="0" lang="en-US" sz="1005" b="1" i="0" u="none" strike="noStrike" kern="1200" cap="none" spc="-12" normalizeH="0" baseline="0" noProof="0" dirty="0">
                  <a:ln>
                    <a:noFill/>
                  </a:ln>
                  <a:solidFill>
                    <a:srgbClr val="8B8B90"/>
                  </a:solidFill>
                  <a:effectLst/>
                  <a:uLnTx/>
                  <a:uFillTx/>
                  <a:latin typeface="EYInterstate-LightBold"/>
                  <a:ea typeface="+mn-ea"/>
                  <a:cs typeface="+mn-cs"/>
                </a:rPr>
                <a:t>G</a:t>
              </a: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rid</a:t>
              </a:r>
            </a:p>
          </p:txBody>
        </p:sp>
        <p:sp>
          <p:nvSpPr>
            <p:cNvPr id="1564" name="Rectangle 1564"/>
            <p:cNvSpPr/>
            <p:nvPr/>
          </p:nvSpPr>
          <p:spPr>
            <a:xfrm>
              <a:off x="8468649" y="4776334"/>
              <a:ext cx="403683" cy="15465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13" normalizeH="0" baseline="0" noProof="0" dirty="0">
                  <a:ln>
                    <a:noFill/>
                  </a:ln>
                  <a:solidFill>
                    <a:srgbClr val="188CE5"/>
                  </a:solidFill>
                  <a:effectLst/>
                  <a:uLnTx/>
                  <a:uFillTx/>
                  <a:latin typeface="EYInterstate-LightBold"/>
                  <a:ea typeface="+mn-ea"/>
                  <a:cs typeface="+mn-cs"/>
                </a:rPr>
                <a:t>T</a:t>
              </a:r>
              <a:r>
                <a:rPr kumimoji="0" lang="en-US" sz="1005" b="1" i="0" u="none" strike="noStrike" kern="1200" cap="none" spc="0" normalizeH="0" baseline="0" noProof="0" dirty="0">
                  <a:ln>
                    <a:noFill/>
                  </a:ln>
                  <a:solidFill>
                    <a:srgbClr val="188CE5"/>
                  </a:solidFill>
                  <a:effectLst/>
                  <a:uLnTx/>
                  <a:uFillTx/>
                  <a:latin typeface="EYInterstate-LightBold"/>
                  <a:ea typeface="+mn-ea"/>
                  <a:cs typeface="+mn-cs"/>
                </a:rPr>
                <a:t>railer</a:t>
              </a:r>
            </a:p>
          </p:txBody>
        </p:sp>
        <p:sp>
          <p:nvSpPr>
            <p:cNvPr id="1572" name="Rectangle 1572"/>
            <p:cNvSpPr/>
            <p:nvPr/>
          </p:nvSpPr>
          <p:spPr>
            <a:xfrm>
              <a:off x="7779629" y="4776334"/>
              <a:ext cx="269164" cy="15465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5" b="1" i="0" u="none" strike="noStrike" kern="1200" cap="none" spc="0" normalizeH="0" baseline="0" noProof="0" dirty="0">
                  <a:ln>
                    <a:noFill/>
                  </a:ln>
                  <a:solidFill>
                    <a:srgbClr val="8B8B90"/>
                  </a:solidFill>
                  <a:effectLst/>
                  <a:uLnTx/>
                  <a:uFillTx/>
                  <a:latin typeface="EYInterstate-LightBold"/>
                  <a:ea typeface="+mn-ea"/>
                  <a:cs typeface="+mn-cs"/>
                </a:rPr>
                <a:t>Ship</a:t>
              </a:r>
            </a:p>
          </p:txBody>
        </p:sp>
        <p:sp>
          <p:nvSpPr>
            <p:cNvPr id="1593" name="Rectangle 1593"/>
            <p:cNvSpPr/>
            <p:nvPr/>
          </p:nvSpPr>
          <p:spPr>
            <a:xfrm>
              <a:off x="7571573" y="3346572"/>
              <a:ext cx="1407454" cy="247374"/>
            </a:xfrm>
            <a:prstGeom prst="rect">
              <a:avLst/>
            </a:prstGeom>
            <a:solidFill>
              <a:srgbClr val="2E2E38"/>
            </a:solid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8" b="1" i="0" u="none" strike="noStrike" kern="1200" cap="none" spc="0" normalizeH="0" baseline="0" noProof="0" dirty="0">
                  <a:ln>
                    <a:noFill/>
                  </a:ln>
                  <a:solidFill>
                    <a:srgbClr val="FFE600"/>
                  </a:solidFill>
                  <a:effectLst/>
                  <a:uLnTx/>
                  <a:uFillTx/>
                  <a:latin typeface="EYInterstate-LightBold"/>
                  <a:ea typeface="+mn-ea"/>
                  <a:cs typeface="+mn-cs"/>
                </a:rPr>
                <a:t>Tran</a:t>
              </a:r>
              <a:r>
                <a:rPr kumimoji="0" lang="en-US" sz="1608" b="1" i="0" u="none" strike="noStrike" kern="1200" cap="none" spc="-17" normalizeH="0" baseline="0" noProof="0" dirty="0">
                  <a:ln>
                    <a:noFill/>
                  </a:ln>
                  <a:solidFill>
                    <a:srgbClr val="FFE600"/>
                  </a:solidFill>
                  <a:effectLst/>
                  <a:uLnTx/>
                  <a:uFillTx/>
                  <a:latin typeface="EYInterstate-LightBold"/>
                  <a:ea typeface="+mn-ea"/>
                  <a:cs typeface="+mn-cs"/>
                </a:rPr>
                <a:t>s</a:t>
              </a:r>
              <a:r>
                <a:rPr kumimoji="0" lang="en-US" sz="1608" b="1" i="0" u="none" strike="noStrike" kern="1200" cap="none" spc="0" normalizeH="0" baseline="0" noProof="0" dirty="0">
                  <a:ln>
                    <a:noFill/>
                  </a:ln>
                  <a:solidFill>
                    <a:srgbClr val="FFE600"/>
                  </a:solidFill>
                  <a:effectLst/>
                  <a:uLnTx/>
                  <a:uFillTx/>
                  <a:latin typeface="EYInterstate-LightBold"/>
                  <a:ea typeface="+mn-ea"/>
                  <a:cs typeface="+mn-cs"/>
                </a:rPr>
                <a:t>port</a:t>
              </a:r>
            </a:p>
          </p:txBody>
        </p:sp>
        <p:sp>
          <p:nvSpPr>
            <p:cNvPr id="498" name="Freeform 1430">
              <a:extLst>
                <a:ext uri="{FF2B5EF4-FFF2-40B4-BE49-F238E27FC236}">
                  <a16:creationId xmlns:a16="http://schemas.microsoft.com/office/drawing/2014/main" id="{A5D774D0-7990-44A7-A993-352A3E0F8258}"/>
                </a:ext>
              </a:extLst>
            </p:cNvPr>
            <p:cNvSpPr/>
            <p:nvPr/>
          </p:nvSpPr>
          <p:spPr>
            <a:xfrm>
              <a:off x="7754506" y="4488049"/>
              <a:ext cx="51763" cy="42628"/>
            </a:xfrm>
            <a:custGeom>
              <a:avLst/>
              <a:gdLst/>
              <a:ahLst/>
              <a:cxnLst/>
              <a:rect l="0" t="0" r="0" b="0"/>
              <a:pathLst>
                <a:path w="51817" h="42672">
                  <a:moveTo>
                    <a:pt x="25908" y="42672"/>
                  </a:moveTo>
                  <a:lnTo>
                    <a:pt x="25908" y="42672"/>
                  </a:lnTo>
                  <a:lnTo>
                    <a:pt x="20194" y="41529"/>
                  </a:lnTo>
                  <a:lnTo>
                    <a:pt x="15875" y="40387"/>
                  </a:lnTo>
                  <a:lnTo>
                    <a:pt x="11558" y="39244"/>
                  </a:lnTo>
                  <a:lnTo>
                    <a:pt x="7240" y="35815"/>
                  </a:lnTo>
                  <a:lnTo>
                    <a:pt x="4319" y="33401"/>
                  </a:lnTo>
                  <a:lnTo>
                    <a:pt x="1397" y="29972"/>
                  </a:lnTo>
                  <a:lnTo>
                    <a:pt x="0" y="25400"/>
                  </a:lnTo>
                  <a:lnTo>
                    <a:pt x="0" y="20701"/>
                  </a:lnTo>
                  <a:lnTo>
                    <a:pt x="0" y="17272"/>
                  </a:lnTo>
                  <a:lnTo>
                    <a:pt x="1397" y="12700"/>
                  </a:lnTo>
                  <a:lnTo>
                    <a:pt x="4319" y="9272"/>
                  </a:lnTo>
                  <a:lnTo>
                    <a:pt x="7240" y="5716"/>
                  </a:lnTo>
                  <a:lnTo>
                    <a:pt x="11558" y="3429"/>
                  </a:lnTo>
                  <a:lnTo>
                    <a:pt x="15875" y="1144"/>
                  </a:lnTo>
                  <a:lnTo>
                    <a:pt x="20194" y="0"/>
                  </a:lnTo>
                  <a:lnTo>
                    <a:pt x="25908" y="0"/>
                  </a:lnTo>
                  <a:lnTo>
                    <a:pt x="31623" y="0"/>
                  </a:lnTo>
                  <a:lnTo>
                    <a:pt x="35942" y="1144"/>
                  </a:lnTo>
                  <a:lnTo>
                    <a:pt x="40259" y="3429"/>
                  </a:lnTo>
                  <a:lnTo>
                    <a:pt x="44578" y="5716"/>
                  </a:lnTo>
                  <a:lnTo>
                    <a:pt x="47498" y="9272"/>
                  </a:lnTo>
                  <a:lnTo>
                    <a:pt x="50420" y="12700"/>
                  </a:lnTo>
                  <a:lnTo>
                    <a:pt x="51817" y="17272"/>
                  </a:lnTo>
                  <a:lnTo>
                    <a:pt x="51817" y="20701"/>
                  </a:lnTo>
                  <a:lnTo>
                    <a:pt x="51817" y="25400"/>
                  </a:lnTo>
                  <a:lnTo>
                    <a:pt x="50420" y="29972"/>
                  </a:lnTo>
                  <a:lnTo>
                    <a:pt x="47498" y="33401"/>
                  </a:lnTo>
                  <a:lnTo>
                    <a:pt x="44578" y="35815"/>
                  </a:lnTo>
                  <a:lnTo>
                    <a:pt x="40259" y="39244"/>
                  </a:lnTo>
                  <a:lnTo>
                    <a:pt x="35942" y="40387"/>
                  </a:lnTo>
                  <a:lnTo>
                    <a:pt x="31623" y="41529"/>
                  </a:lnTo>
                  <a:lnTo>
                    <a:pt x="25908" y="42672"/>
                  </a:lnTo>
                  <a:close/>
                  <a:moveTo>
                    <a:pt x="-5276087" y="2331720"/>
                  </a:moveTo>
                  <a:moveTo>
                    <a:pt x="25908" y="10415"/>
                  </a:moveTo>
                  <a:lnTo>
                    <a:pt x="25908" y="10415"/>
                  </a:lnTo>
                  <a:lnTo>
                    <a:pt x="20194" y="11557"/>
                  </a:lnTo>
                  <a:lnTo>
                    <a:pt x="15875" y="13844"/>
                  </a:lnTo>
                  <a:lnTo>
                    <a:pt x="12955" y="17272"/>
                  </a:lnTo>
                  <a:lnTo>
                    <a:pt x="12955" y="20701"/>
                  </a:lnTo>
                  <a:lnTo>
                    <a:pt x="12955" y="25400"/>
                  </a:lnTo>
                  <a:lnTo>
                    <a:pt x="15875" y="28829"/>
                  </a:lnTo>
                  <a:lnTo>
                    <a:pt x="20194" y="31116"/>
                  </a:lnTo>
                  <a:lnTo>
                    <a:pt x="25908" y="32259"/>
                  </a:lnTo>
                  <a:lnTo>
                    <a:pt x="31623" y="31116"/>
                  </a:lnTo>
                  <a:lnTo>
                    <a:pt x="35942" y="28829"/>
                  </a:lnTo>
                  <a:lnTo>
                    <a:pt x="38862" y="25400"/>
                  </a:lnTo>
                  <a:lnTo>
                    <a:pt x="38862" y="20701"/>
                  </a:lnTo>
                  <a:lnTo>
                    <a:pt x="38862" y="17272"/>
                  </a:lnTo>
                  <a:lnTo>
                    <a:pt x="35942" y="13844"/>
                  </a:lnTo>
                  <a:lnTo>
                    <a:pt x="31623" y="11557"/>
                  </a:lnTo>
                  <a:lnTo>
                    <a:pt x="25908" y="10415"/>
                  </a:lnTo>
                  <a:close/>
                  <a:moveTo>
                    <a:pt x="-5243830" y="2331720"/>
                  </a:moveTo>
                </a:path>
              </a:pathLst>
            </a:custGeom>
            <a:solidFill>
              <a:srgbClr val="FFFFFF">
                <a:alpha val="50195"/>
              </a:srgbClr>
            </a:solidFill>
            <a:ln w="9525">
              <a:noFill/>
            </a:ln>
          </p:spPr>
          <p:style>
            <a:lnRef idx="2">
              <a:schemeClr val="accent1">
                <a:shade val="50000"/>
              </a:schemeClr>
            </a:lnRef>
            <a:fillRef idx="1">
              <a:schemeClr val="accent1"/>
            </a:fillRef>
            <a:effectRef idx="0">
              <a:schemeClr val="accent1"/>
            </a:effectRef>
            <a:fontRef idx="minor">
              <a:schemeClr val="lt1"/>
            </a:fontRef>
          </p:style>
        </p:sp>
      </p:grpSp>
      <p:cxnSp>
        <p:nvCxnSpPr>
          <p:cNvPr id="541" name="Straight Arrow Connector 540">
            <a:extLst>
              <a:ext uri="{FF2B5EF4-FFF2-40B4-BE49-F238E27FC236}">
                <a16:creationId xmlns:a16="http://schemas.microsoft.com/office/drawing/2014/main" id="{7714D845-C988-4F2E-A943-340072F7F9CC}"/>
              </a:ext>
            </a:extLst>
          </p:cNvPr>
          <p:cNvCxnSpPr>
            <a:cxnSpLocks/>
          </p:cNvCxnSpPr>
          <p:nvPr/>
        </p:nvCxnSpPr>
        <p:spPr>
          <a:xfrm>
            <a:off x="8849268" y="3472622"/>
            <a:ext cx="402682" cy="0"/>
          </a:xfrm>
          <a:prstGeom prst="straightConnector1">
            <a:avLst/>
          </a:prstGeom>
          <a:ln w="38100">
            <a:solidFill>
              <a:srgbClr val="188CE5"/>
            </a:solidFill>
            <a:tailEnd type="triangle"/>
          </a:ln>
        </p:spPr>
        <p:style>
          <a:lnRef idx="1">
            <a:schemeClr val="accent1"/>
          </a:lnRef>
          <a:fillRef idx="0">
            <a:schemeClr val="accent1"/>
          </a:fillRef>
          <a:effectRef idx="0">
            <a:schemeClr val="accent1"/>
          </a:effectRef>
          <a:fontRef idx="minor">
            <a:schemeClr val="tx1"/>
          </a:fontRef>
        </p:style>
      </p:cxnSp>
      <p:cxnSp>
        <p:nvCxnSpPr>
          <p:cNvPr id="542" name="Straight Arrow Connector 541">
            <a:extLst>
              <a:ext uri="{FF2B5EF4-FFF2-40B4-BE49-F238E27FC236}">
                <a16:creationId xmlns:a16="http://schemas.microsoft.com/office/drawing/2014/main" id="{28973CB7-639E-4E37-B4D9-8469590B3B05}"/>
              </a:ext>
            </a:extLst>
          </p:cNvPr>
          <p:cNvCxnSpPr>
            <a:cxnSpLocks/>
          </p:cNvCxnSpPr>
          <p:nvPr/>
        </p:nvCxnSpPr>
        <p:spPr>
          <a:xfrm>
            <a:off x="6249684" y="3468460"/>
            <a:ext cx="1500433" cy="0"/>
          </a:xfrm>
          <a:prstGeom prst="straightConnector1">
            <a:avLst/>
          </a:prstGeom>
          <a:ln w="38100">
            <a:solidFill>
              <a:srgbClr val="188CE5"/>
            </a:solidFill>
            <a:tailEnd type="triangle"/>
          </a:ln>
        </p:spPr>
        <p:style>
          <a:lnRef idx="1">
            <a:schemeClr val="accent1"/>
          </a:lnRef>
          <a:fillRef idx="0">
            <a:schemeClr val="accent1"/>
          </a:fillRef>
          <a:effectRef idx="0">
            <a:schemeClr val="accent1"/>
          </a:effectRef>
          <a:fontRef idx="minor">
            <a:schemeClr val="tx1"/>
          </a:fontRef>
        </p:style>
      </p:cxnSp>
      <p:sp>
        <p:nvSpPr>
          <p:cNvPr id="455" name="Title 1">
            <a:extLst>
              <a:ext uri="{FF2B5EF4-FFF2-40B4-BE49-F238E27FC236}">
                <a16:creationId xmlns:a16="http://schemas.microsoft.com/office/drawing/2014/main" id="{9EDF8DCB-7609-4555-826B-3ACFD4D85C43}"/>
              </a:ext>
            </a:extLst>
          </p:cNvPr>
          <p:cNvSpPr txBox="1">
            <a:spLocks/>
          </p:cNvSpPr>
          <p:nvPr/>
        </p:nvSpPr>
        <p:spPr>
          <a:xfrm>
            <a:off x="616900" y="525116"/>
            <a:ext cx="6489856" cy="590550"/>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399" b="1" i="0" u="none" strike="noStrike" kern="1200" cap="none" spc="0" normalizeH="0" baseline="0" noProof="0" dirty="0">
                <a:ln>
                  <a:noFill/>
                </a:ln>
                <a:solidFill>
                  <a:srgbClr val="FFE600"/>
                </a:solidFill>
                <a:effectLst/>
                <a:uLnTx/>
                <a:uFillTx/>
                <a:latin typeface="EYInterstate Light" panose="02000506000000020004" pitchFamily="2" charset="0"/>
                <a:ea typeface="+mj-ea"/>
                <a:cs typeface="Arial" pitchFamily="34" charset="0"/>
              </a:rPr>
              <a:t>The hydrogen ecosystem and its value chain</a:t>
            </a:r>
          </a:p>
        </p:txBody>
      </p:sp>
      <p:sp>
        <p:nvSpPr>
          <p:cNvPr id="1570" name="Rectangle 1570"/>
          <p:cNvSpPr/>
          <p:nvPr/>
        </p:nvSpPr>
        <p:spPr>
          <a:xfrm>
            <a:off x="3272082" y="3335453"/>
            <a:ext cx="1563899" cy="246990"/>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5" b="1" i="0" u="none" strike="noStrike" kern="1200" cap="none" spc="0" normalizeH="0" baseline="0" noProof="0" dirty="0">
              <a:ln>
                <a:noFill/>
              </a:ln>
              <a:solidFill>
                <a:srgbClr val="FFE600"/>
              </a:solidFill>
              <a:effectLst/>
              <a:uLnTx/>
              <a:uFillTx/>
              <a:latin typeface="EYInterstate-LightBold"/>
              <a:ea typeface="+mn-ea"/>
              <a:cs typeface="+mn-cs"/>
            </a:endParaRPr>
          </a:p>
        </p:txBody>
      </p:sp>
      <p:grpSp>
        <p:nvGrpSpPr>
          <p:cNvPr id="6" name="Group 5">
            <a:extLst>
              <a:ext uri="{FF2B5EF4-FFF2-40B4-BE49-F238E27FC236}">
                <a16:creationId xmlns:a16="http://schemas.microsoft.com/office/drawing/2014/main" id="{724A98EE-B8CB-405C-91E5-CCB9C849D12D}"/>
              </a:ext>
            </a:extLst>
          </p:cNvPr>
          <p:cNvGrpSpPr/>
          <p:nvPr/>
        </p:nvGrpSpPr>
        <p:grpSpPr>
          <a:xfrm>
            <a:off x="3237105" y="3045780"/>
            <a:ext cx="1814541" cy="694329"/>
            <a:chOff x="3237105" y="3045780"/>
            <a:chExt cx="1814541" cy="694329"/>
          </a:xfrm>
        </p:grpSpPr>
        <p:sp>
          <p:nvSpPr>
            <p:cNvPr id="400" name="Freeform 1308">
              <a:extLst>
                <a:ext uri="{FF2B5EF4-FFF2-40B4-BE49-F238E27FC236}">
                  <a16:creationId xmlns:a16="http://schemas.microsoft.com/office/drawing/2014/main" id="{400F5801-BE03-4DF2-90A9-FDA9CC1354BD}"/>
                </a:ext>
              </a:extLst>
            </p:cNvPr>
            <p:cNvSpPr/>
            <p:nvPr/>
          </p:nvSpPr>
          <p:spPr>
            <a:xfrm>
              <a:off x="3237105" y="3217741"/>
              <a:ext cx="1814541" cy="522368"/>
            </a:xfrm>
            <a:prstGeom prst="flowChartMagneticDrum">
              <a:avLst/>
            </a:prstGeom>
            <a:solidFill>
              <a:srgbClr val="188CE5"/>
            </a:solidFill>
            <a:ln w="317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E600"/>
                  </a:solidFill>
                  <a:effectLst/>
                  <a:uLnTx/>
                  <a:uFillTx/>
                  <a:latin typeface="EYInterstate-LightBold"/>
                  <a:ea typeface="+mn-ea"/>
                  <a:cs typeface="+mn-cs"/>
                </a:rPr>
                <a:t>Hydrogen - H</a:t>
              </a:r>
              <a:r>
                <a:rPr kumimoji="0" lang="en-US" sz="1400" b="1" i="0" u="none" strike="noStrike" kern="1200" cap="none" spc="0" normalizeH="0" baseline="-25000" noProof="0" dirty="0">
                  <a:ln>
                    <a:noFill/>
                  </a:ln>
                  <a:solidFill>
                    <a:srgbClr val="FFE600"/>
                  </a:solidFill>
                  <a:effectLst/>
                  <a:uLnTx/>
                  <a:uFillTx/>
                  <a:latin typeface="EYInterstate-LightBold"/>
                  <a:ea typeface="+mn-ea"/>
                  <a:cs typeface="+mn-cs"/>
                </a:rPr>
                <a:t>2</a:t>
              </a:r>
            </a:p>
          </p:txBody>
        </p:sp>
        <p:sp>
          <p:nvSpPr>
            <p:cNvPr id="401" name="Freeform 1310">
              <a:extLst>
                <a:ext uri="{FF2B5EF4-FFF2-40B4-BE49-F238E27FC236}">
                  <a16:creationId xmlns:a16="http://schemas.microsoft.com/office/drawing/2014/main" id="{5634C31E-DD15-4F26-8A1D-519249C1A58F}"/>
                </a:ext>
              </a:extLst>
            </p:cNvPr>
            <p:cNvSpPr/>
            <p:nvPr/>
          </p:nvSpPr>
          <p:spPr>
            <a:xfrm>
              <a:off x="3930507" y="3045780"/>
              <a:ext cx="368606" cy="145180"/>
            </a:xfrm>
            <a:custGeom>
              <a:avLst/>
              <a:gdLst/>
              <a:ahLst/>
              <a:cxnLst/>
              <a:rect l="0" t="0" r="0" b="0"/>
              <a:pathLst>
                <a:path w="60960" h="27431">
                  <a:moveTo>
                    <a:pt x="60960" y="27431"/>
                  </a:moveTo>
                  <a:lnTo>
                    <a:pt x="0" y="27431"/>
                  </a:lnTo>
                  <a:lnTo>
                    <a:pt x="0" y="10160"/>
                  </a:lnTo>
                  <a:lnTo>
                    <a:pt x="0" y="6095"/>
                  </a:lnTo>
                  <a:lnTo>
                    <a:pt x="2159" y="3048"/>
                  </a:lnTo>
                  <a:lnTo>
                    <a:pt x="5461" y="1016"/>
                  </a:lnTo>
                  <a:lnTo>
                    <a:pt x="9780" y="0"/>
                  </a:lnTo>
                  <a:lnTo>
                    <a:pt x="51182" y="0"/>
                  </a:lnTo>
                  <a:lnTo>
                    <a:pt x="55499" y="1016"/>
                  </a:lnTo>
                  <a:lnTo>
                    <a:pt x="58801" y="3048"/>
                  </a:lnTo>
                  <a:lnTo>
                    <a:pt x="60960" y="6095"/>
                  </a:lnTo>
                  <a:lnTo>
                    <a:pt x="60960" y="10160"/>
                  </a:lnTo>
                  <a:lnTo>
                    <a:pt x="60960" y="27431"/>
                  </a:lnTo>
                  <a:close/>
                  <a:moveTo>
                    <a:pt x="-2350007" y="5148071"/>
                  </a:moveTo>
                  <a:moveTo>
                    <a:pt x="9780" y="18287"/>
                  </a:moveTo>
                  <a:lnTo>
                    <a:pt x="51182" y="18287"/>
                  </a:lnTo>
                  <a:lnTo>
                    <a:pt x="51182" y="10160"/>
                  </a:lnTo>
                  <a:lnTo>
                    <a:pt x="9780" y="9143"/>
                  </a:lnTo>
                  <a:lnTo>
                    <a:pt x="9780" y="18287"/>
                  </a:lnTo>
                  <a:close/>
                  <a:moveTo>
                    <a:pt x="-2340863" y="5148071"/>
                  </a:moveTo>
                </a:path>
              </a:pathLst>
            </a:custGeom>
            <a:solidFill>
              <a:srgbClr val="188CE5"/>
            </a:solidFill>
            <a:ln w="6350">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grpSp>
      <p:sp>
        <p:nvSpPr>
          <p:cNvPr id="402" name="Footer Placeholder 2">
            <a:extLst>
              <a:ext uri="{FF2B5EF4-FFF2-40B4-BE49-F238E27FC236}">
                <a16:creationId xmlns:a16="http://schemas.microsoft.com/office/drawing/2014/main" id="{7FB24092-0B19-4A96-B8DE-10456A18762F}"/>
              </a:ext>
            </a:extLst>
          </p:cNvPr>
          <p:cNvSpPr txBox="1">
            <a:spLocks/>
          </p:cNvSpPr>
          <p:nvPr/>
        </p:nvSpPr>
        <p:spPr>
          <a:xfrm>
            <a:off x="4553753" y="6471244"/>
            <a:ext cx="3367734" cy="180000"/>
          </a:xfrm>
          <a:prstGeom prst="rect">
            <a:avLst/>
          </a:prstGeom>
        </p:spPr>
        <p:txBody>
          <a:bodyPr/>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Page </a:t>
            </a:r>
            <a:fld id="{F1BC30E3-FFE5-4B91-AA19-87A149EBB9EE}" type="slidenum">
              <a:rPr smtClean="0"/>
              <a:pPr/>
              <a:t>7</a:t>
            </a:fld>
            <a:r>
              <a:rPr lang="en-US" dirty="0"/>
              <a:t> | Draft</a:t>
            </a:r>
          </a:p>
        </p:txBody>
      </p:sp>
    </p:spTree>
    <p:extLst>
      <p:ext uri="{BB962C8B-B14F-4D97-AF65-F5344CB8AC3E}">
        <p14:creationId xmlns:p14="http://schemas.microsoft.com/office/powerpoint/2010/main" val="269648317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68"/>
                                        </p:tgtEl>
                                        <p:attrNameLst>
                                          <p:attrName>style.visibility</p:attrName>
                                        </p:attrNameLst>
                                      </p:cBhvr>
                                      <p:to>
                                        <p:strVal val="visible"/>
                                      </p:to>
                                    </p:set>
                                    <p:animEffect transition="in" filter="fade">
                                      <p:cBhvr>
                                        <p:cTn id="7" dur="500"/>
                                        <p:tgtEl>
                                          <p:spTgt spid="156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75"/>
                                        </p:tgtEl>
                                        <p:attrNameLst>
                                          <p:attrName>style.visibility</p:attrName>
                                        </p:attrNameLst>
                                      </p:cBhvr>
                                      <p:to>
                                        <p:strVal val="visible"/>
                                      </p:to>
                                    </p:set>
                                    <p:animEffect transition="in" filter="fade">
                                      <p:cBhvr>
                                        <p:cTn id="11" dur="500"/>
                                        <p:tgtEl>
                                          <p:spTgt spid="475"/>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4" repeatCount="2000" fill="hold" nodeType="clickEffect">
                                  <p:stCondLst>
                                    <p:cond delay="0"/>
                                  </p:stCondLst>
                                  <p:childTnLst>
                                    <p:set>
                                      <p:cBhvr>
                                        <p:cTn id="15" dur="1" fill="hold">
                                          <p:stCondLst>
                                            <p:cond delay="0"/>
                                          </p:stCondLst>
                                        </p:cTn>
                                        <p:tgtEl>
                                          <p:spTgt spid="460"/>
                                        </p:tgtEl>
                                        <p:attrNameLst>
                                          <p:attrName>style.visibility</p:attrName>
                                        </p:attrNameLst>
                                      </p:cBhvr>
                                      <p:to>
                                        <p:strVal val="visible"/>
                                      </p:to>
                                    </p:set>
                                    <p:animEffect transition="in" filter="wipe(down)">
                                      <p:cBhvr>
                                        <p:cTn id="16" dur="1500"/>
                                        <p:tgtEl>
                                          <p:spTgt spid="460"/>
                                        </p:tgtEl>
                                      </p:cBhvr>
                                    </p:animEffect>
                                  </p:childTnLst>
                                  <p:subTnLst>
                                    <p:animClr clrSpc="rgb" dir="cw">
                                      <p:cBhvr override="childStyle">
                                        <p:cTn dur="1" fill="hold" display="0" masterRel="nextClick" afterEffect="1"/>
                                        <p:tgtEl>
                                          <p:spTgt spid="460"/>
                                        </p:tgtEl>
                                        <p:attrNameLst>
                                          <p:attrName>ppt_c</p:attrName>
                                        </p:attrNameLst>
                                      </p:cBhvr>
                                      <p:to>
                                        <a:srgbClr val="4BA9FF"/>
                                      </p:to>
                                    </p:animClr>
                                  </p:subTnLst>
                                </p:cTn>
                              </p:par>
                              <p:par>
                                <p:cTn id="17" presetID="22" presetClass="entr" presetSubtype="8" repeatCount="2000" fill="hold" nodeType="withEffect">
                                  <p:stCondLst>
                                    <p:cond delay="750"/>
                                  </p:stCondLst>
                                  <p:childTnLst>
                                    <p:set>
                                      <p:cBhvr>
                                        <p:cTn id="18" dur="1" fill="hold">
                                          <p:stCondLst>
                                            <p:cond delay="0"/>
                                          </p:stCondLst>
                                        </p:cTn>
                                        <p:tgtEl>
                                          <p:spTgt spid="521"/>
                                        </p:tgtEl>
                                        <p:attrNameLst>
                                          <p:attrName>style.visibility</p:attrName>
                                        </p:attrNameLst>
                                      </p:cBhvr>
                                      <p:to>
                                        <p:strVal val="visible"/>
                                      </p:to>
                                    </p:set>
                                    <p:animEffect transition="in" filter="wipe(left)">
                                      <p:cBhvr>
                                        <p:cTn id="19" dur="1500"/>
                                        <p:tgtEl>
                                          <p:spTgt spid="521"/>
                                        </p:tgtEl>
                                      </p:cBhvr>
                                    </p:animEffect>
                                  </p:childTnLst>
                                  <p:subTnLst>
                                    <p:animClr clrSpc="rgb" dir="cw">
                                      <p:cBhvr override="childStyle">
                                        <p:cTn dur="1" fill="hold" display="0" masterRel="nextClick" afterEffect="1"/>
                                        <p:tgtEl>
                                          <p:spTgt spid="521"/>
                                        </p:tgtEl>
                                        <p:attrNameLst>
                                          <p:attrName>ppt_c</p:attrName>
                                        </p:attrNameLst>
                                      </p:cBhvr>
                                      <p:to>
                                        <a:srgbClr val="4BA9FF"/>
                                      </p:to>
                                    </p:animClr>
                                  </p:sub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5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10" presetClass="entr" presetSubtype="0" fill="hold" grpId="0" nodeType="withEffect">
                                  <p:stCondLst>
                                    <p:cond delay="500"/>
                                  </p:stCondLst>
                                  <p:childTnLst>
                                    <p:set>
                                      <p:cBhvr>
                                        <p:cTn id="26" dur="1" fill="hold">
                                          <p:stCondLst>
                                            <p:cond delay="0"/>
                                          </p:stCondLst>
                                        </p:cTn>
                                        <p:tgtEl>
                                          <p:spTgt spid="1416"/>
                                        </p:tgtEl>
                                        <p:attrNameLst>
                                          <p:attrName>style.visibility</p:attrName>
                                        </p:attrNameLst>
                                      </p:cBhvr>
                                      <p:to>
                                        <p:strVal val="visible"/>
                                      </p:to>
                                    </p:set>
                                    <p:animEffect transition="in" filter="fade">
                                      <p:cBhvr>
                                        <p:cTn id="27" dur="500"/>
                                        <p:tgtEl>
                                          <p:spTgt spid="1416"/>
                                        </p:tgtEl>
                                      </p:cBhvr>
                                    </p:animEffect>
                                  </p:childTnLst>
                                </p:cTn>
                              </p:par>
                              <p:par>
                                <p:cTn id="28" presetID="22" presetClass="entr" presetSubtype="8" fill="hold" nodeType="withEffect">
                                  <p:stCondLst>
                                    <p:cond delay="0"/>
                                  </p:stCondLst>
                                  <p:childTnLst>
                                    <p:set>
                                      <p:cBhvr>
                                        <p:cTn id="29" dur="1" fill="hold">
                                          <p:stCondLst>
                                            <p:cond delay="0"/>
                                          </p:stCondLst>
                                        </p:cTn>
                                        <p:tgtEl>
                                          <p:spTgt spid="471"/>
                                        </p:tgtEl>
                                        <p:attrNameLst>
                                          <p:attrName>style.visibility</p:attrName>
                                        </p:attrNameLst>
                                      </p:cBhvr>
                                      <p:to>
                                        <p:strVal val="visible"/>
                                      </p:to>
                                    </p:set>
                                    <p:animEffect transition="in" filter="wipe(left)">
                                      <p:cBhvr>
                                        <p:cTn id="30" dur="1500"/>
                                        <p:tgtEl>
                                          <p:spTgt spid="471"/>
                                        </p:tgtEl>
                                      </p:cBhvr>
                                    </p:animEffect>
                                  </p:childTnLst>
                                  <p:subTnLst>
                                    <p:animClr clrSpc="rgb" dir="cw">
                                      <p:cBhvr override="childStyle">
                                        <p:cTn dur="1" fill="hold" display="0" masterRel="nextClick" afterEffect="1"/>
                                        <p:tgtEl>
                                          <p:spTgt spid="471"/>
                                        </p:tgtEl>
                                        <p:attrNameLst>
                                          <p:attrName>ppt_c</p:attrName>
                                        </p:attrNameLst>
                                      </p:cBhvr>
                                      <p:to>
                                        <a:srgbClr val="4BA9FF"/>
                                      </p:to>
                                    </p:animClr>
                                  </p:subTnLst>
                                </p:cTn>
                              </p:par>
                            </p:childTnLst>
                          </p:cTn>
                        </p:par>
                        <p:par>
                          <p:cTn id="31" fill="hold">
                            <p:stCondLst>
                              <p:cond delay="1500"/>
                            </p:stCondLst>
                            <p:childTnLst>
                              <p:par>
                                <p:cTn id="32" presetID="22" presetClass="entr" presetSubtype="4" repeatCount="2000" fill="hold" nodeType="afterEffect">
                                  <p:stCondLst>
                                    <p:cond delay="0"/>
                                  </p:stCondLst>
                                  <p:childTnLst>
                                    <p:set>
                                      <p:cBhvr>
                                        <p:cTn id="33" dur="1" fill="hold">
                                          <p:stCondLst>
                                            <p:cond delay="0"/>
                                          </p:stCondLst>
                                        </p:cTn>
                                        <p:tgtEl>
                                          <p:spTgt spid="479"/>
                                        </p:tgtEl>
                                        <p:attrNameLst>
                                          <p:attrName>style.visibility</p:attrName>
                                        </p:attrNameLst>
                                      </p:cBhvr>
                                      <p:to>
                                        <p:strVal val="visible"/>
                                      </p:to>
                                    </p:set>
                                    <p:animEffect transition="in" filter="wipe(down)">
                                      <p:cBhvr>
                                        <p:cTn id="34" dur="1500"/>
                                        <p:tgtEl>
                                          <p:spTgt spid="479"/>
                                        </p:tgtEl>
                                      </p:cBhvr>
                                    </p:animEffect>
                                  </p:childTnLst>
                                  <p:subTnLst>
                                    <p:animClr clrSpc="rgb" dir="cw">
                                      <p:cBhvr override="childStyle">
                                        <p:cTn dur="1" fill="hold" display="0" masterRel="nextClick" afterEffect="1"/>
                                        <p:tgtEl>
                                          <p:spTgt spid="479"/>
                                        </p:tgtEl>
                                        <p:attrNameLst>
                                          <p:attrName>ppt_c</p:attrName>
                                        </p:attrNameLst>
                                      </p:cBhvr>
                                      <p:to>
                                        <a:srgbClr val="4BA9FF"/>
                                      </p:to>
                                    </p:animClr>
                                  </p:subTnLst>
                                </p:cTn>
                              </p:par>
                            </p:childTnLst>
                          </p:cTn>
                        </p:par>
                      </p:childTnLst>
                    </p:cTn>
                  </p:par>
                  <p:par>
                    <p:cTn id="35" fill="hold">
                      <p:stCondLst>
                        <p:cond delay="indefinite"/>
                      </p:stCondLst>
                      <p:childTnLst>
                        <p:par>
                          <p:cTn id="36" fill="hold">
                            <p:stCondLst>
                              <p:cond delay="0"/>
                            </p:stCondLst>
                            <p:childTnLst>
                              <p:par>
                                <p:cTn id="37" presetID="22" presetClass="entr" presetSubtype="1" repeatCount="2000" fill="hold" nodeType="clickEffect">
                                  <p:stCondLst>
                                    <p:cond delay="0"/>
                                  </p:stCondLst>
                                  <p:childTnLst>
                                    <p:set>
                                      <p:cBhvr>
                                        <p:cTn id="38" dur="1" fill="hold">
                                          <p:stCondLst>
                                            <p:cond delay="0"/>
                                          </p:stCondLst>
                                        </p:cTn>
                                        <p:tgtEl>
                                          <p:spTgt spid="44"/>
                                        </p:tgtEl>
                                        <p:attrNameLst>
                                          <p:attrName>style.visibility</p:attrName>
                                        </p:attrNameLst>
                                      </p:cBhvr>
                                      <p:to>
                                        <p:strVal val="visible"/>
                                      </p:to>
                                    </p:set>
                                    <p:animEffect transition="in" filter="wipe(up)">
                                      <p:cBhvr>
                                        <p:cTn id="39" dur="1500"/>
                                        <p:tgtEl>
                                          <p:spTgt spid="44"/>
                                        </p:tgtEl>
                                      </p:cBhvr>
                                    </p:animEffect>
                                  </p:childTnLst>
                                  <p:subTnLst>
                                    <p:animClr clrSpc="rgb" dir="cw">
                                      <p:cBhvr override="childStyle">
                                        <p:cTn dur="1" fill="hold" display="0" masterRel="nextClick" afterEffect="1"/>
                                        <p:tgtEl>
                                          <p:spTgt spid="44"/>
                                        </p:tgtEl>
                                        <p:attrNameLst>
                                          <p:attrName>ppt_c</p:attrName>
                                        </p:attrNameLst>
                                      </p:cBhvr>
                                      <p:to>
                                        <a:srgbClr val="4BA9FF"/>
                                      </p:to>
                                    </p:animClr>
                                  </p:subTnLst>
                                </p:cTn>
                              </p:par>
                              <p:par>
                                <p:cTn id="40" presetID="10" presetClass="entr" presetSubtype="0" repeatCount="2000" fill="hold" nodeType="withEffect">
                                  <p:stCondLst>
                                    <p:cond delay="0"/>
                                  </p:stCondLst>
                                  <p:childTnLst>
                                    <p:set>
                                      <p:cBhvr>
                                        <p:cTn id="41" dur="1" fill="hold">
                                          <p:stCondLst>
                                            <p:cond delay="0"/>
                                          </p:stCondLst>
                                        </p:cTn>
                                        <p:tgtEl>
                                          <p:spTgt spid="492"/>
                                        </p:tgtEl>
                                        <p:attrNameLst>
                                          <p:attrName>style.visibility</p:attrName>
                                        </p:attrNameLst>
                                      </p:cBhvr>
                                      <p:to>
                                        <p:strVal val="visible"/>
                                      </p:to>
                                    </p:set>
                                    <p:animEffect transition="in" filter="fade">
                                      <p:cBhvr>
                                        <p:cTn id="42" dur="1500"/>
                                        <p:tgtEl>
                                          <p:spTgt spid="492"/>
                                        </p:tgtEl>
                                      </p:cBhvr>
                                    </p:animEffect>
                                  </p:childTnLst>
                                  <p:subTnLst>
                                    <p:animClr clrSpc="rgb" dir="cw">
                                      <p:cBhvr override="childStyle">
                                        <p:cTn dur="1" fill="hold" display="0" masterRel="nextClick" afterEffect="1"/>
                                        <p:tgtEl>
                                          <p:spTgt spid="492"/>
                                        </p:tgtEl>
                                        <p:attrNameLst>
                                          <p:attrName>ppt_c</p:attrName>
                                        </p:attrNameLst>
                                      </p:cBhvr>
                                      <p:to>
                                        <a:srgbClr val="4BA9FF"/>
                                      </p:to>
                                    </p:animClr>
                                  </p:subTnLst>
                                </p:cTn>
                              </p:par>
                            </p:childTnLst>
                          </p:cTn>
                        </p:par>
                      </p:childTnLst>
                    </p:cTn>
                  </p:par>
                  <p:par>
                    <p:cTn id="43" fill="hold">
                      <p:stCondLst>
                        <p:cond delay="indefinite"/>
                      </p:stCondLst>
                      <p:childTnLst>
                        <p:par>
                          <p:cTn id="44" fill="hold">
                            <p:stCondLst>
                              <p:cond delay="0"/>
                            </p:stCondLst>
                            <p:childTnLst>
                              <p:par>
                                <p:cTn id="45" presetID="22" presetClass="entr" presetSubtype="8" repeatCount="2000" fill="hold" nodeType="clickEffect">
                                  <p:stCondLst>
                                    <p:cond delay="0"/>
                                  </p:stCondLst>
                                  <p:childTnLst>
                                    <p:set>
                                      <p:cBhvr>
                                        <p:cTn id="46" dur="1" fill="hold">
                                          <p:stCondLst>
                                            <p:cond delay="0"/>
                                          </p:stCondLst>
                                        </p:cTn>
                                        <p:tgtEl>
                                          <p:spTgt spid="494"/>
                                        </p:tgtEl>
                                        <p:attrNameLst>
                                          <p:attrName>style.visibility</p:attrName>
                                        </p:attrNameLst>
                                      </p:cBhvr>
                                      <p:to>
                                        <p:strVal val="visible"/>
                                      </p:to>
                                    </p:set>
                                    <p:animEffect transition="in" filter="wipe(left)">
                                      <p:cBhvr>
                                        <p:cTn id="47" dur="1500"/>
                                        <p:tgtEl>
                                          <p:spTgt spid="494"/>
                                        </p:tgtEl>
                                      </p:cBhvr>
                                    </p:animEffect>
                                  </p:childTnLst>
                                  <p:subTnLst>
                                    <p:animClr clrSpc="rgb" dir="cw">
                                      <p:cBhvr override="childStyle">
                                        <p:cTn dur="1" fill="hold" display="0" masterRel="nextClick" afterEffect="1"/>
                                        <p:tgtEl>
                                          <p:spTgt spid="494"/>
                                        </p:tgtEl>
                                        <p:attrNameLst>
                                          <p:attrName>ppt_c</p:attrName>
                                        </p:attrNameLst>
                                      </p:cBhvr>
                                      <p:to>
                                        <a:srgbClr val="4BA9FF"/>
                                      </p:to>
                                    </p:animClr>
                                  </p:subTnLst>
                                </p:cTn>
                              </p:par>
                              <p:par>
                                <p:cTn id="48" presetID="10" presetClass="entr" presetSubtype="0" fill="hold" nodeType="withEffect">
                                  <p:stCondLst>
                                    <p:cond delay="500"/>
                                  </p:stCondLst>
                                  <p:childTnLst>
                                    <p:set>
                                      <p:cBhvr>
                                        <p:cTn id="49" dur="1" fill="hold">
                                          <p:stCondLst>
                                            <p:cond delay="0"/>
                                          </p:stCondLst>
                                        </p:cTn>
                                        <p:tgtEl>
                                          <p:spTgt spid="5"/>
                                        </p:tgtEl>
                                        <p:attrNameLst>
                                          <p:attrName>style.visibility</p:attrName>
                                        </p:attrNameLst>
                                      </p:cBhvr>
                                      <p:to>
                                        <p:strVal val="visible"/>
                                      </p:to>
                                    </p:set>
                                    <p:animEffect transition="in" filter="fade">
                                      <p:cBhvr>
                                        <p:cTn id="50" dur="500"/>
                                        <p:tgtEl>
                                          <p:spTgt spid="5"/>
                                        </p:tgtEl>
                                      </p:cBhvr>
                                    </p:animEffect>
                                  </p:childTnLst>
                                </p:cTn>
                              </p:par>
                              <p:par>
                                <p:cTn id="51" presetID="10" presetClass="entr" presetSubtype="0" repeatCount="2000" fill="hold" nodeType="withEffect">
                                  <p:stCondLst>
                                    <p:cond delay="250"/>
                                  </p:stCondLst>
                                  <p:childTnLst>
                                    <p:set>
                                      <p:cBhvr>
                                        <p:cTn id="52" dur="1" fill="hold">
                                          <p:stCondLst>
                                            <p:cond delay="0"/>
                                          </p:stCondLst>
                                        </p:cTn>
                                        <p:tgtEl>
                                          <p:spTgt spid="493"/>
                                        </p:tgtEl>
                                        <p:attrNameLst>
                                          <p:attrName>style.visibility</p:attrName>
                                        </p:attrNameLst>
                                      </p:cBhvr>
                                      <p:to>
                                        <p:strVal val="visible"/>
                                      </p:to>
                                    </p:set>
                                    <p:animEffect transition="in" filter="fade">
                                      <p:cBhvr>
                                        <p:cTn id="53" dur="1500"/>
                                        <p:tgtEl>
                                          <p:spTgt spid="493"/>
                                        </p:tgtEl>
                                      </p:cBhvr>
                                    </p:animEffect>
                                  </p:childTnLst>
                                  <p:subTnLst>
                                    <p:animClr clrSpc="rgb" dir="cw">
                                      <p:cBhvr override="childStyle">
                                        <p:cTn dur="1" fill="hold" display="0" masterRel="nextClick" afterEffect="1"/>
                                        <p:tgtEl>
                                          <p:spTgt spid="493"/>
                                        </p:tgtEl>
                                        <p:attrNameLst>
                                          <p:attrName>ppt_c</p:attrName>
                                        </p:attrNameLst>
                                      </p:cBhvr>
                                      <p:to>
                                        <a:srgbClr val="4BA9FF"/>
                                      </p:to>
                                    </p:animClr>
                                  </p:subTnLst>
                                </p:cTn>
                              </p:par>
                              <p:par>
                                <p:cTn id="54" presetID="10" presetClass="entr" presetSubtype="0" fill="hold" grpId="0" nodeType="withEffect">
                                  <p:stCondLst>
                                    <p:cond delay="0"/>
                                  </p:stCondLst>
                                  <p:childTnLst>
                                    <p:set>
                                      <p:cBhvr>
                                        <p:cTn id="55" dur="1" fill="hold">
                                          <p:stCondLst>
                                            <p:cond delay="0"/>
                                          </p:stCondLst>
                                        </p:cTn>
                                        <p:tgtEl>
                                          <p:spTgt spid="1590"/>
                                        </p:tgtEl>
                                        <p:attrNameLst>
                                          <p:attrName>style.visibility</p:attrName>
                                        </p:attrNameLst>
                                      </p:cBhvr>
                                      <p:to>
                                        <p:strVal val="visible"/>
                                      </p:to>
                                    </p:set>
                                    <p:animEffect transition="in" filter="fade">
                                      <p:cBhvr>
                                        <p:cTn id="56" dur="500"/>
                                        <p:tgtEl>
                                          <p:spTgt spid="1590"/>
                                        </p:tgtEl>
                                      </p:cBhvr>
                                    </p:animEffect>
                                  </p:childTnLst>
                                </p:cTn>
                              </p:par>
                            </p:childTnLst>
                          </p:cTn>
                        </p:par>
                      </p:childTnLst>
                    </p:cTn>
                  </p:par>
                  <p:par>
                    <p:cTn id="57" fill="hold">
                      <p:stCondLst>
                        <p:cond delay="indefinite"/>
                      </p:stCondLst>
                      <p:childTnLst>
                        <p:par>
                          <p:cTn id="58" fill="hold">
                            <p:stCondLst>
                              <p:cond delay="0"/>
                            </p:stCondLst>
                            <p:childTnLst>
                              <p:par>
                                <p:cTn id="59" presetID="22" presetClass="entr" presetSubtype="4" repeatCount="2000" fill="hold" nodeType="clickEffect">
                                  <p:stCondLst>
                                    <p:cond delay="0"/>
                                  </p:stCondLst>
                                  <p:childTnLst>
                                    <p:set>
                                      <p:cBhvr>
                                        <p:cTn id="60" dur="1" fill="hold">
                                          <p:stCondLst>
                                            <p:cond delay="0"/>
                                          </p:stCondLst>
                                        </p:cTn>
                                        <p:tgtEl>
                                          <p:spTgt spid="490"/>
                                        </p:tgtEl>
                                        <p:attrNameLst>
                                          <p:attrName>style.visibility</p:attrName>
                                        </p:attrNameLst>
                                      </p:cBhvr>
                                      <p:to>
                                        <p:strVal val="visible"/>
                                      </p:to>
                                    </p:set>
                                    <p:animEffect transition="in" filter="wipe(down)">
                                      <p:cBhvr>
                                        <p:cTn id="61" dur="1500"/>
                                        <p:tgtEl>
                                          <p:spTgt spid="490"/>
                                        </p:tgtEl>
                                      </p:cBhvr>
                                    </p:animEffect>
                                  </p:childTnLst>
                                  <p:subTnLst>
                                    <p:animClr clrSpc="rgb" dir="cw">
                                      <p:cBhvr override="childStyle">
                                        <p:cTn dur="1" fill="hold" display="0" masterRel="nextClick" afterEffect="1"/>
                                        <p:tgtEl>
                                          <p:spTgt spid="490"/>
                                        </p:tgtEl>
                                        <p:attrNameLst>
                                          <p:attrName>ppt_c</p:attrName>
                                        </p:attrNameLst>
                                      </p:cBhvr>
                                      <p:to>
                                        <a:srgbClr val="4BA9FF"/>
                                      </p:to>
                                    </p:animClr>
                                  </p:subTnLst>
                                </p:cTn>
                              </p:par>
                              <p:par>
                                <p:cTn id="62" presetID="22" presetClass="entr" presetSubtype="4" fill="hold" nodeType="withEffect">
                                  <p:stCondLst>
                                    <p:cond delay="500"/>
                                  </p:stCondLst>
                                  <p:childTnLst>
                                    <p:set>
                                      <p:cBhvr>
                                        <p:cTn id="63" dur="1" fill="hold">
                                          <p:stCondLst>
                                            <p:cond delay="0"/>
                                          </p:stCondLst>
                                        </p:cTn>
                                        <p:tgtEl>
                                          <p:spTgt spid="6"/>
                                        </p:tgtEl>
                                        <p:attrNameLst>
                                          <p:attrName>style.visibility</p:attrName>
                                        </p:attrNameLst>
                                      </p:cBhvr>
                                      <p:to>
                                        <p:strVal val="visible"/>
                                      </p:to>
                                    </p:set>
                                    <p:animEffect transition="in" filter="wipe(down)">
                                      <p:cBhvr>
                                        <p:cTn id="64" dur="500"/>
                                        <p:tgtEl>
                                          <p:spTgt spid="6"/>
                                        </p:tgtEl>
                                      </p:cBhvr>
                                    </p:animEffect>
                                  </p:childTnLst>
                                </p:cTn>
                              </p:par>
                            </p:childTnLst>
                          </p:cTn>
                        </p:par>
                        <p:par>
                          <p:cTn id="65" fill="hold">
                            <p:stCondLst>
                              <p:cond delay="3000"/>
                            </p:stCondLst>
                            <p:childTnLst>
                              <p:par>
                                <p:cTn id="66" presetID="22" presetClass="entr" presetSubtype="8" repeatCount="2000" fill="hold" nodeType="afterEffect">
                                  <p:stCondLst>
                                    <p:cond delay="0"/>
                                  </p:stCondLst>
                                  <p:childTnLst>
                                    <p:set>
                                      <p:cBhvr>
                                        <p:cTn id="67" dur="1" fill="hold">
                                          <p:stCondLst>
                                            <p:cond delay="0"/>
                                          </p:stCondLst>
                                        </p:cTn>
                                        <p:tgtEl>
                                          <p:spTgt spid="497"/>
                                        </p:tgtEl>
                                        <p:attrNameLst>
                                          <p:attrName>style.visibility</p:attrName>
                                        </p:attrNameLst>
                                      </p:cBhvr>
                                      <p:to>
                                        <p:strVal val="visible"/>
                                      </p:to>
                                    </p:set>
                                    <p:animEffect transition="in" filter="wipe(left)">
                                      <p:cBhvr>
                                        <p:cTn id="68" dur="1500"/>
                                        <p:tgtEl>
                                          <p:spTgt spid="497"/>
                                        </p:tgtEl>
                                      </p:cBhvr>
                                    </p:animEffect>
                                  </p:childTnLst>
                                  <p:subTnLst>
                                    <p:animClr clrSpc="rgb" dir="cw">
                                      <p:cBhvr override="childStyle">
                                        <p:cTn dur="1" fill="hold" display="0" masterRel="nextClick" afterEffect="1"/>
                                        <p:tgtEl>
                                          <p:spTgt spid="497"/>
                                        </p:tgtEl>
                                        <p:attrNameLst>
                                          <p:attrName>ppt_c</p:attrName>
                                        </p:attrNameLst>
                                      </p:cBhvr>
                                      <p:to>
                                        <a:srgbClr val="4BA9FF"/>
                                      </p:to>
                                    </p:animClr>
                                  </p:subTnLst>
                                </p:cTn>
                              </p:par>
                            </p:childTnLst>
                          </p:cTn>
                        </p:par>
                        <p:par>
                          <p:cTn id="69" fill="hold">
                            <p:stCondLst>
                              <p:cond delay="6000"/>
                            </p:stCondLst>
                            <p:childTnLst>
                              <p:par>
                                <p:cTn id="70" presetID="10" presetClass="entr" presetSubtype="0" fill="hold" grpId="0" nodeType="afterEffect">
                                  <p:stCondLst>
                                    <p:cond delay="0"/>
                                  </p:stCondLst>
                                  <p:childTnLst>
                                    <p:set>
                                      <p:cBhvr>
                                        <p:cTn id="71" dur="1" fill="hold">
                                          <p:stCondLst>
                                            <p:cond delay="0"/>
                                          </p:stCondLst>
                                        </p:cTn>
                                        <p:tgtEl>
                                          <p:spTgt spid="33"/>
                                        </p:tgtEl>
                                        <p:attrNameLst>
                                          <p:attrName>style.visibility</p:attrName>
                                        </p:attrNameLst>
                                      </p:cBhvr>
                                      <p:to>
                                        <p:strVal val="visible"/>
                                      </p:to>
                                    </p:set>
                                    <p:animEffect transition="in" filter="fade">
                                      <p:cBhvr>
                                        <p:cTn id="72" dur="500"/>
                                        <p:tgtEl>
                                          <p:spTgt spid="33"/>
                                        </p:tgtEl>
                                      </p:cBhvr>
                                    </p:animEffect>
                                  </p:childTnLst>
                                </p:cTn>
                              </p:par>
                            </p:childTnLst>
                          </p:cTn>
                        </p:par>
                      </p:childTnLst>
                    </p:cTn>
                  </p:par>
                  <p:par>
                    <p:cTn id="73" fill="hold">
                      <p:stCondLst>
                        <p:cond delay="indefinite"/>
                      </p:stCondLst>
                      <p:childTnLst>
                        <p:par>
                          <p:cTn id="74" fill="hold">
                            <p:stCondLst>
                              <p:cond delay="0"/>
                            </p:stCondLst>
                            <p:childTnLst>
                              <p:par>
                                <p:cTn id="75" presetID="53" presetClass="entr" presetSubtype="16" fill="hold" nodeType="clickEffect">
                                  <p:stCondLst>
                                    <p:cond delay="0"/>
                                  </p:stCondLst>
                                  <p:childTnLst>
                                    <p:set>
                                      <p:cBhvr>
                                        <p:cTn id="76" dur="1" fill="hold">
                                          <p:stCondLst>
                                            <p:cond delay="0"/>
                                          </p:stCondLst>
                                        </p:cTn>
                                        <p:tgtEl>
                                          <p:spTgt spid="51"/>
                                        </p:tgtEl>
                                        <p:attrNameLst>
                                          <p:attrName>style.visibility</p:attrName>
                                        </p:attrNameLst>
                                      </p:cBhvr>
                                      <p:to>
                                        <p:strVal val="visible"/>
                                      </p:to>
                                    </p:set>
                                    <p:anim calcmode="lin" valueType="num">
                                      <p:cBhvr>
                                        <p:cTn id="77" dur="500" fill="hold"/>
                                        <p:tgtEl>
                                          <p:spTgt spid="51"/>
                                        </p:tgtEl>
                                        <p:attrNameLst>
                                          <p:attrName>ppt_w</p:attrName>
                                        </p:attrNameLst>
                                      </p:cBhvr>
                                      <p:tavLst>
                                        <p:tav tm="0">
                                          <p:val>
                                            <p:fltVal val="0"/>
                                          </p:val>
                                        </p:tav>
                                        <p:tav tm="100000">
                                          <p:val>
                                            <p:strVal val="#ppt_w"/>
                                          </p:val>
                                        </p:tav>
                                      </p:tavLst>
                                    </p:anim>
                                    <p:anim calcmode="lin" valueType="num">
                                      <p:cBhvr>
                                        <p:cTn id="78" dur="500" fill="hold"/>
                                        <p:tgtEl>
                                          <p:spTgt spid="51"/>
                                        </p:tgtEl>
                                        <p:attrNameLst>
                                          <p:attrName>ppt_h</p:attrName>
                                        </p:attrNameLst>
                                      </p:cBhvr>
                                      <p:tavLst>
                                        <p:tav tm="0">
                                          <p:val>
                                            <p:fltVal val="0"/>
                                          </p:val>
                                        </p:tav>
                                        <p:tav tm="100000">
                                          <p:val>
                                            <p:strVal val="#ppt_h"/>
                                          </p:val>
                                        </p:tav>
                                      </p:tavLst>
                                    </p:anim>
                                    <p:animEffect transition="in" filter="fade">
                                      <p:cBhvr>
                                        <p:cTn id="79" dur="500"/>
                                        <p:tgtEl>
                                          <p:spTgt spid="51"/>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1591"/>
                                        </p:tgtEl>
                                        <p:attrNameLst>
                                          <p:attrName>style.visibility</p:attrName>
                                        </p:attrNameLst>
                                      </p:cBhvr>
                                      <p:to>
                                        <p:strVal val="visible"/>
                                      </p:to>
                                    </p:set>
                                    <p:animEffect transition="in" filter="fade">
                                      <p:cBhvr>
                                        <p:cTn id="82" dur="500"/>
                                        <p:tgtEl>
                                          <p:spTgt spid="1591"/>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8" fill="hold" nodeType="clickEffect">
                                  <p:stCondLst>
                                    <p:cond delay="0"/>
                                  </p:stCondLst>
                                  <p:childTnLst>
                                    <p:set>
                                      <p:cBhvr>
                                        <p:cTn id="86" dur="1" fill="hold">
                                          <p:stCondLst>
                                            <p:cond delay="0"/>
                                          </p:stCondLst>
                                        </p:cTn>
                                        <p:tgtEl>
                                          <p:spTgt spid="542"/>
                                        </p:tgtEl>
                                        <p:attrNameLst>
                                          <p:attrName>style.visibility</p:attrName>
                                        </p:attrNameLst>
                                      </p:cBhvr>
                                      <p:to>
                                        <p:strVal val="visible"/>
                                      </p:to>
                                    </p:set>
                                    <p:animEffect transition="in" filter="wipe(left)">
                                      <p:cBhvr>
                                        <p:cTn id="87" dur="500"/>
                                        <p:tgtEl>
                                          <p:spTgt spid="542"/>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nodeType="clickEffect">
                                  <p:stCondLst>
                                    <p:cond delay="0"/>
                                  </p:stCondLst>
                                  <p:childTnLst>
                                    <p:set>
                                      <p:cBhvr>
                                        <p:cTn id="91" dur="1" fill="hold">
                                          <p:stCondLst>
                                            <p:cond delay="0"/>
                                          </p:stCondLst>
                                        </p:cTn>
                                        <p:tgtEl>
                                          <p:spTgt spid="42"/>
                                        </p:tgtEl>
                                        <p:attrNameLst>
                                          <p:attrName>style.visibility</p:attrName>
                                        </p:attrNameLst>
                                      </p:cBhvr>
                                      <p:to>
                                        <p:strVal val="visible"/>
                                      </p:to>
                                    </p:set>
                                    <p:animEffect transition="in" filter="fade">
                                      <p:cBhvr>
                                        <p:cTn id="92" dur="500"/>
                                        <p:tgtEl>
                                          <p:spTgt spid="42"/>
                                        </p:tgtEl>
                                      </p:cBhvr>
                                    </p:animEffect>
                                  </p:childTnLst>
                                </p:cTn>
                              </p:par>
                            </p:childTnLst>
                          </p:cTn>
                        </p:par>
                      </p:childTnLst>
                    </p:cTn>
                  </p:par>
                  <p:par>
                    <p:cTn id="93" fill="hold">
                      <p:stCondLst>
                        <p:cond delay="indefinite"/>
                      </p:stCondLst>
                      <p:childTnLst>
                        <p:par>
                          <p:cTn id="94" fill="hold">
                            <p:stCondLst>
                              <p:cond delay="0"/>
                            </p:stCondLst>
                            <p:childTnLst>
                              <p:par>
                                <p:cTn id="95" presetID="22" presetClass="entr" presetSubtype="4" repeatCount="2000" fill="hold" nodeType="clickEffect">
                                  <p:stCondLst>
                                    <p:cond delay="0"/>
                                  </p:stCondLst>
                                  <p:childTnLst>
                                    <p:set>
                                      <p:cBhvr>
                                        <p:cTn id="96" dur="1" fill="hold">
                                          <p:stCondLst>
                                            <p:cond delay="0"/>
                                          </p:stCondLst>
                                        </p:cTn>
                                        <p:tgtEl>
                                          <p:spTgt spid="547"/>
                                        </p:tgtEl>
                                        <p:attrNameLst>
                                          <p:attrName>style.visibility</p:attrName>
                                        </p:attrNameLst>
                                      </p:cBhvr>
                                      <p:to>
                                        <p:strVal val="visible"/>
                                      </p:to>
                                    </p:set>
                                    <p:animEffect transition="in" filter="wipe(down)">
                                      <p:cBhvr>
                                        <p:cTn id="97" dur="1500"/>
                                        <p:tgtEl>
                                          <p:spTgt spid="547"/>
                                        </p:tgtEl>
                                      </p:cBhvr>
                                    </p:animEffect>
                                  </p:childTnLst>
                                  <p:subTnLst>
                                    <p:animClr clrSpc="rgb" dir="cw">
                                      <p:cBhvr override="childStyle">
                                        <p:cTn dur="1" fill="hold" display="0" masterRel="nextClick" afterEffect="1"/>
                                        <p:tgtEl>
                                          <p:spTgt spid="547"/>
                                        </p:tgtEl>
                                        <p:attrNameLst>
                                          <p:attrName>ppt_c</p:attrName>
                                        </p:attrNameLst>
                                      </p:cBhvr>
                                      <p:to>
                                        <a:srgbClr val="4BA9FF"/>
                                      </p:to>
                                    </p:animClr>
                                  </p:subTnLst>
                                </p:cTn>
                              </p:par>
                              <p:par>
                                <p:cTn id="98" presetID="10" presetClass="entr" presetSubtype="0" fill="hold" nodeType="withEffect">
                                  <p:stCondLst>
                                    <p:cond delay="500"/>
                                  </p:stCondLst>
                                  <p:childTnLst>
                                    <p:set>
                                      <p:cBhvr>
                                        <p:cTn id="99" dur="1" fill="hold">
                                          <p:stCondLst>
                                            <p:cond delay="0"/>
                                          </p:stCondLst>
                                        </p:cTn>
                                        <p:tgtEl>
                                          <p:spTgt spid="10"/>
                                        </p:tgtEl>
                                        <p:attrNameLst>
                                          <p:attrName>style.visibility</p:attrName>
                                        </p:attrNameLst>
                                      </p:cBhvr>
                                      <p:to>
                                        <p:strVal val="visible"/>
                                      </p:to>
                                    </p:set>
                                    <p:animEffect transition="in" filter="fade">
                                      <p:cBhvr>
                                        <p:cTn id="100" dur="500"/>
                                        <p:tgtEl>
                                          <p:spTgt spid="10"/>
                                        </p:tgtEl>
                                      </p:cBhvr>
                                    </p:animEffect>
                                  </p:childTnLst>
                                </p:cTn>
                              </p:par>
                              <p:par>
                                <p:cTn id="101" presetID="10" presetClass="entr" presetSubtype="0" fill="hold" grpId="0" nodeType="withEffect">
                                  <p:stCondLst>
                                    <p:cond delay="500"/>
                                  </p:stCondLst>
                                  <p:childTnLst>
                                    <p:set>
                                      <p:cBhvr>
                                        <p:cTn id="102" dur="1" fill="hold">
                                          <p:stCondLst>
                                            <p:cond delay="0"/>
                                          </p:stCondLst>
                                        </p:cTn>
                                        <p:tgtEl>
                                          <p:spTgt spid="1592"/>
                                        </p:tgtEl>
                                        <p:attrNameLst>
                                          <p:attrName>style.visibility</p:attrName>
                                        </p:attrNameLst>
                                      </p:cBhvr>
                                      <p:to>
                                        <p:strVal val="visible"/>
                                      </p:to>
                                    </p:set>
                                    <p:animEffect transition="in" filter="fade">
                                      <p:cBhvr>
                                        <p:cTn id="103" dur="500"/>
                                        <p:tgtEl>
                                          <p:spTgt spid="1592"/>
                                        </p:tgtEl>
                                      </p:cBhvr>
                                    </p:animEffect>
                                  </p:childTnLst>
                                </p:cTn>
                              </p:par>
                            </p:childTnLst>
                          </p:cTn>
                        </p:par>
                      </p:childTnLst>
                    </p:cTn>
                  </p:par>
                  <p:par>
                    <p:cTn id="104" fill="hold">
                      <p:stCondLst>
                        <p:cond delay="indefinite"/>
                      </p:stCondLst>
                      <p:childTnLst>
                        <p:par>
                          <p:cTn id="105" fill="hold">
                            <p:stCondLst>
                              <p:cond delay="0"/>
                            </p:stCondLst>
                            <p:childTnLst>
                              <p:par>
                                <p:cTn id="106" presetID="22" presetClass="entr" presetSubtype="8" fill="hold" nodeType="clickEffect">
                                  <p:stCondLst>
                                    <p:cond delay="0"/>
                                  </p:stCondLst>
                                  <p:childTnLst>
                                    <p:set>
                                      <p:cBhvr>
                                        <p:cTn id="107" dur="1" fill="hold">
                                          <p:stCondLst>
                                            <p:cond delay="0"/>
                                          </p:stCondLst>
                                        </p:cTn>
                                        <p:tgtEl>
                                          <p:spTgt spid="541"/>
                                        </p:tgtEl>
                                        <p:attrNameLst>
                                          <p:attrName>style.visibility</p:attrName>
                                        </p:attrNameLst>
                                      </p:cBhvr>
                                      <p:to>
                                        <p:strVal val="visible"/>
                                      </p:to>
                                    </p:set>
                                    <p:animEffect transition="in" filter="wipe(left)">
                                      <p:cBhvr>
                                        <p:cTn id="108" dur="1500"/>
                                        <p:tgtEl>
                                          <p:spTgt spid="541"/>
                                        </p:tgtEl>
                                      </p:cBhvr>
                                    </p:animEffect>
                                  </p:childTnLst>
                                  <p:subTnLst>
                                    <p:animClr clrSpc="rgb" dir="cw">
                                      <p:cBhvr override="childStyle">
                                        <p:cTn dur="1" fill="hold" display="0" masterRel="nextClick" afterEffect="1"/>
                                        <p:tgtEl>
                                          <p:spTgt spid="541"/>
                                        </p:tgtEl>
                                        <p:attrNameLst>
                                          <p:attrName>ppt_c</p:attrName>
                                        </p:attrNameLst>
                                      </p:cBhvr>
                                      <p:to>
                                        <a:srgbClr val="4BA9FF"/>
                                      </p:to>
                                    </p:animClr>
                                  </p:subTnLst>
                                </p:cTn>
                              </p:par>
                            </p:childTnLst>
                          </p:cTn>
                        </p:par>
                        <p:par>
                          <p:cTn id="109" fill="hold">
                            <p:stCondLst>
                              <p:cond delay="1500"/>
                            </p:stCondLst>
                            <p:childTnLst>
                              <p:par>
                                <p:cTn id="110" presetID="22" presetClass="entr" presetSubtype="8" fill="hold" nodeType="afterEffect">
                                  <p:stCondLst>
                                    <p:cond delay="0"/>
                                  </p:stCondLst>
                                  <p:childTnLst>
                                    <p:set>
                                      <p:cBhvr>
                                        <p:cTn id="111" dur="1" fill="hold">
                                          <p:stCondLst>
                                            <p:cond delay="0"/>
                                          </p:stCondLst>
                                        </p:cTn>
                                        <p:tgtEl>
                                          <p:spTgt spid="536"/>
                                        </p:tgtEl>
                                        <p:attrNameLst>
                                          <p:attrName>style.visibility</p:attrName>
                                        </p:attrNameLst>
                                      </p:cBhvr>
                                      <p:to>
                                        <p:strVal val="visible"/>
                                      </p:to>
                                    </p:set>
                                    <p:animEffect transition="in" filter="wipe(left)">
                                      <p:cBhvr>
                                        <p:cTn id="112" dur="1500"/>
                                        <p:tgtEl>
                                          <p:spTgt spid="536"/>
                                        </p:tgtEl>
                                      </p:cBhvr>
                                    </p:animEffect>
                                  </p:childTnLst>
                                  <p:subTnLst>
                                    <p:animClr clrSpc="rgb" dir="cw">
                                      <p:cBhvr override="childStyle">
                                        <p:cTn dur="1" fill="hold" display="0" masterRel="nextClick" afterEffect="1"/>
                                        <p:tgtEl>
                                          <p:spTgt spid="536"/>
                                        </p:tgtEl>
                                        <p:attrNameLst>
                                          <p:attrName>ppt_c</p:attrName>
                                        </p:attrNameLst>
                                      </p:cBhvr>
                                      <p:to>
                                        <a:srgbClr val="4BA9FF"/>
                                      </p:to>
                                    </p:animClr>
                                  </p:subTnLst>
                                </p:cTn>
                              </p:par>
                            </p:childTnLst>
                          </p:cTn>
                        </p:par>
                        <p:par>
                          <p:cTn id="113" fill="hold">
                            <p:stCondLst>
                              <p:cond delay="3000"/>
                            </p:stCondLst>
                            <p:childTnLst>
                              <p:par>
                                <p:cTn id="114" presetID="10" presetClass="entr" presetSubtype="0" fill="hold" grpId="0" nodeType="afterEffect">
                                  <p:stCondLst>
                                    <p:cond delay="0"/>
                                  </p:stCondLst>
                                  <p:childTnLst>
                                    <p:set>
                                      <p:cBhvr>
                                        <p:cTn id="115" dur="1" fill="hold">
                                          <p:stCondLst>
                                            <p:cond delay="0"/>
                                          </p:stCondLst>
                                        </p:cTn>
                                        <p:tgtEl>
                                          <p:spTgt spid="452"/>
                                        </p:tgtEl>
                                        <p:attrNameLst>
                                          <p:attrName>style.visibility</p:attrName>
                                        </p:attrNameLst>
                                      </p:cBhvr>
                                      <p:to>
                                        <p:strVal val="visible"/>
                                      </p:to>
                                    </p:set>
                                    <p:animEffect transition="in" filter="fade">
                                      <p:cBhvr>
                                        <p:cTn id="116" dur="500"/>
                                        <p:tgtEl>
                                          <p:spTgt spid="452"/>
                                        </p:tgtEl>
                                      </p:cBhvr>
                                    </p:animEffect>
                                  </p:childTnLst>
                                </p:cTn>
                              </p:par>
                            </p:childTnLst>
                          </p:cTn>
                        </p:par>
                        <p:par>
                          <p:cTn id="117" fill="hold">
                            <p:stCondLst>
                              <p:cond delay="3500"/>
                            </p:stCondLst>
                            <p:childTnLst>
                              <p:par>
                                <p:cTn id="118" presetID="10" presetClass="entr" presetSubtype="0" fill="hold" nodeType="afterEffect">
                                  <p:stCondLst>
                                    <p:cond delay="0"/>
                                  </p:stCondLst>
                                  <p:childTnLst>
                                    <p:set>
                                      <p:cBhvr>
                                        <p:cTn id="119" dur="1" fill="hold">
                                          <p:stCondLst>
                                            <p:cond delay="0"/>
                                          </p:stCondLst>
                                        </p:cTn>
                                        <p:tgtEl>
                                          <p:spTgt spid="13"/>
                                        </p:tgtEl>
                                        <p:attrNameLst>
                                          <p:attrName>style.visibility</p:attrName>
                                        </p:attrNameLst>
                                      </p:cBhvr>
                                      <p:to>
                                        <p:strVal val="visible"/>
                                      </p:to>
                                    </p:set>
                                    <p:animEffect transition="in" filter="fade">
                                      <p:cBhvr>
                                        <p:cTn id="120" dur="500"/>
                                        <p:tgtEl>
                                          <p:spTgt spid="13"/>
                                        </p:tgtEl>
                                      </p:cBhvr>
                                    </p:animEffect>
                                  </p:childTnLst>
                                </p:cTn>
                              </p:par>
                            </p:childTnLst>
                          </p:cTn>
                        </p:par>
                      </p:childTnLst>
                    </p:cTn>
                  </p:par>
                  <p:par>
                    <p:cTn id="121" fill="hold">
                      <p:stCondLst>
                        <p:cond delay="indefinite"/>
                      </p:stCondLst>
                      <p:childTnLst>
                        <p:par>
                          <p:cTn id="122" fill="hold">
                            <p:stCondLst>
                              <p:cond delay="0"/>
                            </p:stCondLst>
                            <p:childTnLst>
                              <p:par>
                                <p:cTn id="123" presetID="22" presetClass="entr" presetSubtype="8" fill="hold" nodeType="clickEffect">
                                  <p:stCondLst>
                                    <p:cond delay="0"/>
                                  </p:stCondLst>
                                  <p:childTnLst>
                                    <p:set>
                                      <p:cBhvr>
                                        <p:cTn id="124" dur="1" fill="hold">
                                          <p:stCondLst>
                                            <p:cond delay="0"/>
                                          </p:stCondLst>
                                        </p:cTn>
                                        <p:tgtEl>
                                          <p:spTgt spid="481"/>
                                        </p:tgtEl>
                                        <p:attrNameLst>
                                          <p:attrName>style.visibility</p:attrName>
                                        </p:attrNameLst>
                                      </p:cBhvr>
                                      <p:to>
                                        <p:strVal val="visible"/>
                                      </p:to>
                                    </p:set>
                                    <p:animEffect transition="in" filter="wipe(left)">
                                      <p:cBhvr>
                                        <p:cTn id="125" dur="500"/>
                                        <p:tgtEl>
                                          <p:spTgt spid="481"/>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1569"/>
                                        </p:tgtEl>
                                        <p:attrNameLst>
                                          <p:attrName>style.visibility</p:attrName>
                                        </p:attrNameLst>
                                      </p:cBhvr>
                                      <p:to>
                                        <p:strVal val="visible"/>
                                      </p:to>
                                    </p:set>
                                    <p:animEffect transition="in" filter="fade">
                                      <p:cBhvr>
                                        <p:cTn id="128" dur="500"/>
                                        <p:tgtEl>
                                          <p:spTgt spid="1569"/>
                                        </p:tgtEl>
                                      </p:cBhvr>
                                    </p:animEffect>
                                  </p:childTnLst>
                                </p:cTn>
                              </p:par>
                            </p:childTnLst>
                          </p:cTn>
                        </p:par>
                        <p:par>
                          <p:cTn id="129" fill="hold">
                            <p:stCondLst>
                              <p:cond delay="500"/>
                            </p:stCondLst>
                            <p:childTnLst>
                              <p:par>
                                <p:cTn id="130" presetID="10" presetClass="entr" presetSubtype="0" fill="hold" nodeType="afterEffect">
                                  <p:stCondLst>
                                    <p:cond delay="0"/>
                                  </p:stCondLst>
                                  <p:childTnLst>
                                    <p:set>
                                      <p:cBhvr>
                                        <p:cTn id="131" dur="1" fill="hold">
                                          <p:stCondLst>
                                            <p:cond delay="0"/>
                                          </p:stCondLst>
                                        </p:cTn>
                                        <p:tgtEl>
                                          <p:spTgt spid="14"/>
                                        </p:tgtEl>
                                        <p:attrNameLst>
                                          <p:attrName>style.visibility</p:attrName>
                                        </p:attrNameLst>
                                      </p:cBhvr>
                                      <p:to>
                                        <p:strVal val="visible"/>
                                      </p:to>
                                    </p:set>
                                    <p:animEffect transition="in" filter="fade">
                                      <p:cBhvr>
                                        <p:cTn id="132" dur="500"/>
                                        <p:tgtEl>
                                          <p:spTgt spid="14"/>
                                        </p:tgtEl>
                                      </p:cBhvr>
                                    </p:animEffect>
                                  </p:childTnLst>
                                </p:cTn>
                              </p:par>
                            </p:childTnLst>
                          </p:cTn>
                        </p:par>
                      </p:childTnLst>
                    </p:cTn>
                  </p:par>
                  <p:par>
                    <p:cTn id="133" fill="hold">
                      <p:stCondLst>
                        <p:cond delay="indefinite"/>
                      </p:stCondLst>
                      <p:childTnLst>
                        <p:par>
                          <p:cTn id="134" fill="hold">
                            <p:stCondLst>
                              <p:cond delay="0"/>
                            </p:stCondLst>
                            <p:childTnLst>
                              <p:par>
                                <p:cTn id="135" presetID="22" presetClass="entr" presetSubtype="8" fill="hold" nodeType="clickEffect">
                                  <p:stCondLst>
                                    <p:cond delay="0"/>
                                  </p:stCondLst>
                                  <p:childTnLst>
                                    <p:set>
                                      <p:cBhvr>
                                        <p:cTn id="136" dur="1" fill="hold">
                                          <p:stCondLst>
                                            <p:cond delay="0"/>
                                          </p:stCondLst>
                                        </p:cTn>
                                        <p:tgtEl>
                                          <p:spTgt spid="20"/>
                                        </p:tgtEl>
                                        <p:attrNameLst>
                                          <p:attrName>style.visibility</p:attrName>
                                        </p:attrNameLst>
                                      </p:cBhvr>
                                      <p:to>
                                        <p:strVal val="visible"/>
                                      </p:to>
                                    </p:set>
                                    <p:animEffect transition="in" filter="wipe(left)">
                                      <p:cBhvr>
                                        <p:cTn id="137" dur="500"/>
                                        <p:tgtEl>
                                          <p:spTgt spid="20"/>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1567"/>
                                        </p:tgtEl>
                                        <p:attrNameLst>
                                          <p:attrName>style.visibility</p:attrName>
                                        </p:attrNameLst>
                                      </p:cBhvr>
                                      <p:to>
                                        <p:strVal val="visible"/>
                                      </p:to>
                                    </p:set>
                                    <p:animEffect transition="in" filter="fade">
                                      <p:cBhvr>
                                        <p:cTn id="140" dur="500"/>
                                        <p:tgtEl>
                                          <p:spTgt spid="1567"/>
                                        </p:tgtEl>
                                      </p:cBhvr>
                                    </p:animEffect>
                                  </p:childTnLst>
                                </p:cTn>
                              </p:par>
                            </p:childTnLst>
                          </p:cTn>
                        </p:par>
                        <p:par>
                          <p:cTn id="141" fill="hold">
                            <p:stCondLst>
                              <p:cond delay="500"/>
                            </p:stCondLst>
                            <p:childTnLst>
                              <p:par>
                                <p:cTn id="142" presetID="10" presetClass="entr" presetSubtype="0" fill="hold" nodeType="afterEffect">
                                  <p:stCondLst>
                                    <p:cond delay="0"/>
                                  </p:stCondLst>
                                  <p:childTnLst>
                                    <p:set>
                                      <p:cBhvr>
                                        <p:cTn id="143" dur="1" fill="hold">
                                          <p:stCondLst>
                                            <p:cond delay="0"/>
                                          </p:stCondLst>
                                        </p:cTn>
                                        <p:tgtEl>
                                          <p:spTgt spid="12"/>
                                        </p:tgtEl>
                                        <p:attrNameLst>
                                          <p:attrName>style.visibility</p:attrName>
                                        </p:attrNameLst>
                                      </p:cBhvr>
                                      <p:to>
                                        <p:strVal val="visible"/>
                                      </p:to>
                                    </p:set>
                                    <p:animEffect transition="in" filter="fade">
                                      <p:cBhvr>
                                        <p:cTn id="14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16" grpId="0" animBg="1"/>
      <p:bldP spid="1567" grpId="0" animBg="1"/>
      <p:bldP spid="1569" grpId="0" animBg="1"/>
      <p:bldP spid="1590" grpId="0" animBg="1"/>
      <p:bldP spid="1591" grpId="0" animBg="1"/>
      <p:bldP spid="1592" grpId="0" animBg="1"/>
      <p:bldP spid="1568" grpId="0"/>
      <p:bldP spid="452" grpId="0" animBg="1"/>
      <p:bldP spid="3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a:extLst>
              <a:ext uri="{FF2B5EF4-FFF2-40B4-BE49-F238E27FC236}">
                <a16:creationId xmlns:a16="http://schemas.microsoft.com/office/drawing/2014/main" id="{46814168-5465-409E-910F-8594004FEE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8" name="Object 47" hidden="1">
                        <a:extLst>
                          <a:ext uri="{FF2B5EF4-FFF2-40B4-BE49-F238E27FC236}">
                            <a16:creationId xmlns:a16="http://schemas.microsoft.com/office/drawing/2014/main" id="{46814168-5465-409E-910F-8594004FEE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9A7C3F-A8AA-4E18-8552-EB5DFA9AFC89}"/>
              </a:ext>
            </a:extLst>
          </p:cNvPr>
          <p:cNvSpPr>
            <a:spLocks noGrp="1"/>
          </p:cNvSpPr>
          <p:nvPr>
            <p:ph type="title" idx="4294967295"/>
          </p:nvPr>
        </p:nvSpPr>
        <p:spPr>
          <a:xfrm>
            <a:off x="616900" y="525116"/>
            <a:ext cx="10972800" cy="590550"/>
          </a:xfrm>
        </p:spPr>
        <p:txBody>
          <a:bodyPr vert="horz"/>
          <a:lstStyle/>
          <a:p>
            <a:r>
              <a:rPr lang="en-US" b="1" dirty="0">
                <a:solidFill>
                  <a:schemeClr val="tx2"/>
                </a:solidFill>
              </a:rPr>
              <a:t>Hierarchy Overview</a:t>
            </a:r>
          </a:p>
        </p:txBody>
      </p:sp>
      <p:sp>
        <p:nvSpPr>
          <p:cNvPr id="7" name="Rectangle 6">
            <a:extLst>
              <a:ext uri="{FF2B5EF4-FFF2-40B4-BE49-F238E27FC236}">
                <a16:creationId xmlns:a16="http://schemas.microsoft.com/office/drawing/2014/main" id="{204949BB-2621-43ED-8655-C9A818A90E99}"/>
              </a:ext>
            </a:extLst>
          </p:cNvPr>
          <p:cNvSpPr/>
          <p:nvPr/>
        </p:nvSpPr>
        <p:spPr>
          <a:xfrm>
            <a:off x="2233129" y="1219592"/>
            <a:ext cx="9349273" cy="354563"/>
          </a:xfrm>
          <a:prstGeom prst="rect">
            <a:avLst/>
          </a:prstGeom>
          <a:solidFill>
            <a:schemeClr val="bg2">
              <a:lumMod val="75000"/>
              <a:lumOff val="25000"/>
            </a:schemeClr>
          </a:solidFill>
          <a:ln w="9525">
            <a:solidFill>
              <a:schemeClr val="bg2">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Company A</a:t>
            </a:r>
          </a:p>
        </p:txBody>
      </p:sp>
      <p:sp>
        <p:nvSpPr>
          <p:cNvPr id="8" name="Rectangle 7">
            <a:extLst>
              <a:ext uri="{FF2B5EF4-FFF2-40B4-BE49-F238E27FC236}">
                <a16:creationId xmlns:a16="http://schemas.microsoft.com/office/drawing/2014/main" id="{3791C4CC-A226-4525-A146-95B481BCAE1F}"/>
              </a:ext>
            </a:extLst>
          </p:cNvPr>
          <p:cNvSpPr/>
          <p:nvPr/>
        </p:nvSpPr>
        <p:spPr>
          <a:xfrm>
            <a:off x="2233128" y="1857181"/>
            <a:ext cx="2834640" cy="35456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Hydrogen with SMR &amp; Water-Gas Shift</a:t>
            </a:r>
          </a:p>
        </p:txBody>
      </p:sp>
      <p:sp>
        <p:nvSpPr>
          <p:cNvPr id="9" name="Rectangle 8">
            <a:extLst>
              <a:ext uri="{FF2B5EF4-FFF2-40B4-BE49-F238E27FC236}">
                <a16:creationId xmlns:a16="http://schemas.microsoft.com/office/drawing/2014/main" id="{7F50AD99-B110-4384-A35F-0F454C815F78}"/>
              </a:ext>
            </a:extLst>
          </p:cNvPr>
          <p:cNvSpPr/>
          <p:nvPr/>
        </p:nvSpPr>
        <p:spPr>
          <a:xfrm>
            <a:off x="5490445" y="1857181"/>
            <a:ext cx="2834640" cy="35456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Hydrogen with SMR</a:t>
            </a:r>
          </a:p>
        </p:txBody>
      </p:sp>
      <p:sp>
        <p:nvSpPr>
          <p:cNvPr id="10" name="Rectangle 9">
            <a:extLst>
              <a:ext uri="{FF2B5EF4-FFF2-40B4-BE49-F238E27FC236}">
                <a16:creationId xmlns:a16="http://schemas.microsoft.com/office/drawing/2014/main" id="{0C0D3A5A-84A1-4893-BC4A-D61C602C3C8E}"/>
              </a:ext>
            </a:extLst>
          </p:cNvPr>
          <p:cNvSpPr/>
          <p:nvPr/>
        </p:nvSpPr>
        <p:spPr>
          <a:xfrm>
            <a:off x="8747762" y="1857181"/>
            <a:ext cx="2834640" cy="354563"/>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100% Dairy Biomethane SMR</a:t>
            </a:r>
          </a:p>
        </p:txBody>
      </p:sp>
      <p:sp>
        <p:nvSpPr>
          <p:cNvPr id="11" name="Rectangle 10">
            <a:extLst>
              <a:ext uri="{FF2B5EF4-FFF2-40B4-BE49-F238E27FC236}">
                <a16:creationId xmlns:a16="http://schemas.microsoft.com/office/drawing/2014/main" id="{C55FE5BA-5400-469E-8145-18399A62E408}"/>
              </a:ext>
            </a:extLst>
          </p:cNvPr>
          <p:cNvSpPr/>
          <p:nvPr/>
        </p:nvSpPr>
        <p:spPr>
          <a:xfrm>
            <a:off x="755696" y="2403734"/>
            <a:ext cx="1241055" cy="2950590"/>
          </a:xfrm>
          <a:prstGeom prst="rect">
            <a:avLst/>
          </a:prstGeom>
          <a:solidFill>
            <a:schemeClr val="bg2">
              <a:lumMod val="75000"/>
              <a:lumOff val="25000"/>
            </a:schemeClr>
          </a:solidFill>
          <a:ln w="9525">
            <a:solidFill>
              <a:schemeClr val="bg2">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Processes</a:t>
            </a:r>
          </a:p>
        </p:txBody>
      </p:sp>
      <p:sp>
        <p:nvSpPr>
          <p:cNvPr id="12" name="Rectangle 11">
            <a:extLst>
              <a:ext uri="{FF2B5EF4-FFF2-40B4-BE49-F238E27FC236}">
                <a16:creationId xmlns:a16="http://schemas.microsoft.com/office/drawing/2014/main" id="{139158B0-243A-4943-8CDC-1AFD6B766E3B}"/>
              </a:ext>
            </a:extLst>
          </p:cNvPr>
          <p:cNvSpPr/>
          <p:nvPr/>
        </p:nvSpPr>
        <p:spPr>
          <a:xfrm>
            <a:off x="2233128" y="2399461"/>
            <a:ext cx="2834640" cy="278425"/>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EYInterstate Light"/>
                <a:ea typeface="+mn-ea"/>
                <a:cs typeface="+mn-cs"/>
              </a:rPr>
              <a:t>Steam Methane Reformation</a:t>
            </a:r>
          </a:p>
        </p:txBody>
      </p:sp>
      <p:sp>
        <p:nvSpPr>
          <p:cNvPr id="13" name="Rectangle 12">
            <a:extLst>
              <a:ext uri="{FF2B5EF4-FFF2-40B4-BE49-F238E27FC236}">
                <a16:creationId xmlns:a16="http://schemas.microsoft.com/office/drawing/2014/main" id="{DE9A9C2B-F667-4E33-98AE-5D23742187FE}"/>
              </a:ext>
            </a:extLst>
          </p:cNvPr>
          <p:cNvSpPr/>
          <p:nvPr/>
        </p:nvSpPr>
        <p:spPr>
          <a:xfrm>
            <a:off x="2233128" y="2781809"/>
            <a:ext cx="2834640" cy="278425"/>
          </a:xfrm>
          <a:prstGeom prst="rect">
            <a:avLst/>
          </a:prstGeom>
          <a:no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SMR + Water-Gas Shift</a:t>
            </a:r>
          </a:p>
        </p:txBody>
      </p:sp>
      <p:sp>
        <p:nvSpPr>
          <p:cNvPr id="14" name="Rectangle 13">
            <a:extLst>
              <a:ext uri="{FF2B5EF4-FFF2-40B4-BE49-F238E27FC236}">
                <a16:creationId xmlns:a16="http://schemas.microsoft.com/office/drawing/2014/main" id="{E2AF2127-93F7-4D01-B341-DB509E6F677D}"/>
              </a:ext>
            </a:extLst>
          </p:cNvPr>
          <p:cNvSpPr/>
          <p:nvPr/>
        </p:nvSpPr>
        <p:spPr>
          <a:xfrm>
            <a:off x="2233128" y="3164157"/>
            <a:ext cx="2834640" cy="278425"/>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EYInterstate Light"/>
                <a:ea typeface="+mn-ea"/>
                <a:cs typeface="+mn-cs"/>
              </a:rPr>
              <a:t>Water-Gas Shift Reaction</a:t>
            </a:r>
          </a:p>
        </p:txBody>
      </p:sp>
      <p:sp>
        <p:nvSpPr>
          <p:cNvPr id="15" name="Rectangle 14">
            <a:extLst>
              <a:ext uri="{FF2B5EF4-FFF2-40B4-BE49-F238E27FC236}">
                <a16:creationId xmlns:a16="http://schemas.microsoft.com/office/drawing/2014/main" id="{47018A10-F58E-4FB8-8B83-E5B233202ED7}"/>
              </a:ext>
            </a:extLst>
          </p:cNvPr>
          <p:cNvSpPr/>
          <p:nvPr/>
        </p:nvSpPr>
        <p:spPr>
          <a:xfrm>
            <a:off x="2233128" y="3546505"/>
            <a:ext cx="2834640" cy="27842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Hydrogen Liquification</a:t>
            </a:r>
          </a:p>
        </p:txBody>
      </p:sp>
      <p:sp>
        <p:nvSpPr>
          <p:cNvPr id="16" name="Rectangle 15">
            <a:extLst>
              <a:ext uri="{FF2B5EF4-FFF2-40B4-BE49-F238E27FC236}">
                <a16:creationId xmlns:a16="http://schemas.microsoft.com/office/drawing/2014/main" id="{5EC59EDA-C8FC-4FFB-98CF-A2347D59CDCA}"/>
              </a:ext>
            </a:extLst>
          </p:cNvPr>
          <p:cNvSpPr/>
          <p:nvPr/>
        </p:nvSpPr>
        <p:spPr>
          <a:xfrm>
            <a:off x="2233128" y="3928853"/>
            <a:ext cx="2834640" cy="27842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Sequestration</a:t>
            </a:r>
          </a:p>
        </p:txBody>
      </p:sp>
      <p:sp>
        <p:nvSpPr>
          <p:cNvPr id="17" name="Rectangle 16">
            <a:extLst>
              <a:ext uri="{FF2B5EF4-FFF2-40B4-BE49-F238E27FC236}">
                <a16:creationId xmlns:a16="http://schemas.microsoft.com/office/drawing/2014/main" id="{C71265DC-45A8-4BC8-AA34-753C442F8006}"/>
              </a:ext>
            </a:extLst>
          </p:cNvPr>
          <p:cNvSpPr/>
          <p:nvPr/>
        </p:nvSpPr>
        <p:spPr>
          <a:xfrm>
            <a:off x="2233128" y="4311201"/>
            <a:ext cx="2834640" cy="27842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Storage</a:t>
            </a:r>
          </a:p>
        </p:txBody>
      </p:sp>
      <p:sp>
        <p:nvSpPr>
          <p:cNvPr id="18" name="Rectangle 17">
            <a:extLst>
              <a:ext uri="{FF2B5EF4-FFF2-40B4-BE49-F238E27FC236}">
                <a16:creationId xmlns:a16="http://schemas.microsoft.com/office/drawing/2014/main" id="{A1ADAEB0-28C6-4666-B1DD-89421427402D}"/>
              </a:ext>
            </a:extLst>
          </p:cNvPr>
          <p:cNvSpPr/>
          <p:nvPr/>
        </p:nvSpPr>
        <p:spPr>
          <a:xfrm>
            <a:off x="2233128" y="4693549"/>
            <a:ext cx="2834640" cy="27842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Transport</a:t>
            </a:r>
          </a:p>
        </p:txBody>
      </p:sp>
      <p:sp>
        <p:nvSpPr>
          <p:cNvPr id="19" name="Rectangle 18">
            <a:extLst>
              <a:ext uri="{FF2B5EF4-FFF2-40B4-BE49-F238E27FC236}">
                <a16:creationId xmlns:a16="http://schemas.microsoft.com/office/drawing/2014/main" id="{2EAE0B04-B5FA-4CE6-9C18-5B194D483794}"/>
              </a:ext>
            </a:extLst>
          </p:cNvPr>
          <p:cNvSpPr/>
          <p:nvPr/>
        </p:nvSpPr>
        <p:spPr>
          <a:xfrm>
            <a:off x="2233128" y="5075900"/>
            <a:ext cx="2834640" cy="27842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Distribution</a:t>
            </a:r>
          </a:p>
        </p:txBody>
      </p:sp>
      <p:sp>
        <p:nvSpPr>
          <p:cNvPr id="28" name="Rectangle 27">
            <a:extLst>
              <a:ext uri="{FF2B5EF4-FFF2-40B4-BE49-F238E27FC236}">
                <a16:creationId xmlns:a16="http://schemas.microsoft.com/office/drawing/2014/main" id="{7F2904F7-0E9B-40DE-B9E7-4E279CB56F13}"/>
              </a:ext>
            </a:extLst>
          </p:cNvPr>
          <p:cNvSpPr/>
          <p:nvPr/>
        </p:nvSpPr>
        <p:spPr>
          <a:xfrm>
            <a:off x="5490445" y="2399460"/>
            <a:ext cx="2834640" cy="278425"/>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Steam Methane Reformation</a:t>
            </a:r>
          </a:p>
        </p:txBody>
      </p:sp>
      <p:sp>
        <p:nvSpPr>
          <p:cNvPr id="29" name="Rectangle 28">
            <a:extLst>
              <a:ext uri="{FF2B5EF4-FFF2-40B4-BE49-F238E27FC236}">
                <a16:creationId xmlns:a16="http://schemas.microsoft.com/office/drawing/2014/main" id="{63EFCBDD-8F2C-4C32-A3BA-5FF9EE665C50}"/>
              </a:ext>
            </a:extLst>
          </p:cNvPr>
          <p:cNvSpPr/>
          <p:nvPr/>
        </p:nvSpPr>
        <p:spPr>
          <a:xfrm>
            <a:off x="5490445" y="2781808"/>
            <a:ext cx="2834640" cy="278425"/>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EYInterstate Light"/>
                <a:ea typeface="+mn-ea"/>
                <a:cs typeface="+mn-cs"/>
              </a:rPr>
              <a:t>SMR + Water-Gas Shift</a:t>
            </a:r>
          </a:p>
        </p:txBody>
      </p:sp>
      <p:sp>
        <p:nvSpPr>
          <p:cNvPr id="30" name="Rectangle 29">
            <a:extLst>
              <a:ext uri="{FF2B5EF4-FFF2-40B4-BE49-F238E27FC236}">
                <a16:creationId xmlns:a16="http://schemas.microsoft.com/office/drawing/2014/main" id="{CFF26602-AF91-4C51-A297-7498E5F51261}"/>
              </a:ext>
            </a:extLst>
          </p:cNvPr>
          <p:cNvSpPr/>
          <p:nvPr/>
        </p:nvSpPr>
        <p:spPr>
          <a:xfrm>
            <a:off x="5490445" y="3164156"/>
            <a:ext cx="2834640" cy="278425"/>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EYInterstate Light"/>
                <a:ea typeface="+mn-ea"/>
                <a:cs typeface="+mn-cs"/>
              </a:rPr>
              <a:t>Water-Gas Shift Reaction</a:t>
            </a:r>
          </a:p>
        </p:txBody>
      </p:sp>
      <p:sp>
        <p:nvSpPr>
          <p:cNvPr id="31" name="Rectangle 30">
            <a:extLst>
              <a:ext uri="{FF2B5EF4-FFF2-40B4-BE49-F238E27FC236}">
                <a16:creationId xmlns:a16="http://schemas.microsoft.com/office/drawing/2014/main" id="{15CA0ECE-4576-48ED-8141-9F124FD1DE3A}"/>
              </a:ext>
            </a:extLst>
          </p:cNvPr>
          <p:cNvSpPr/>
          <p:nvPr/>
        </p:nvSpPr>
        <p:spPr>
          <a:xfrm>
            <a:off x="5490445" y="3546504"/>
            <a:ext cx="2834640" cy="27842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Hydrogen Liquification</a:t>
            </a:r>
          </a:p>
        </p:txBody>
      </p:sp>
      <p:sp>
        <p:nvSpPr>
          <p:cNvPr id="32" name="Rectangle 31">
            <a:extLst>
              <a:ext uri="{FF2B5EF4-FFF2-40B4-BE49-F238E27FC236}">
                <a16:creationId xmlns:a16="http://schemas.microsoft.com/office/drawing/2014/main" id="{84BB7D67-357E-4950-B29A-9F45C4F6C4B8}"/>
              </a:ext>
            </a:extLst>
          </p:cNvPr>
          <p:cNvSpPr/>
          <p:nvPr/>
        </p:nvSpPr>
        <p:spPr>
          <a:xfrm>
            <a:off x="5490445" y="3928852"/>
            <a:ext cx="2834640" cy="27842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Sequestration</a:t>
            </a:r>
          </a:p>
        </p:txBody>
      </p:sp>
      <p:sp>
        <p:nvSpPr>
          <p:cNvPr id="33" name="Rectangle 32">
            <a:extLst>
              <a:ext uri="{FF2B5EF4-FFF2-40B4-BE49-F238E27FC236}">
                <a16:creationId xmlns:a16="http://schemas.microsoft.com/office/drawing/2014/main" id="{EE4852FA-0581-4011-B998-5D82F06070DB}"/>
              </a:ext>
            </a:extLst>
          </p:cNvPr>
          <p:cNvSpPr/>
          <p:nvPr/>
        </p:nvSpPr>
        <p:spPr>
          <a:xfrm>
            <a:off x="5490445" y="4311200"/>
            <a:ext cx="2834640" cy="27842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Storage</a:t>
            </a:r>
          </a:p>
        </p:txBody>
      </p:sp>
      <p:sp>
        <p:nvSpPr>
          <p:cNvPr id="34" name="Rectangle 33">
            <a:extLst>
              <a:ext uri="{FF2B5EF4-FFF2-40B4-BE49-F238E27FC236}">
                <a16:creationId xmlns:a16="http://schemas.microsoft.com/office/drawing/2014/main" id="{D96FF84E-350D-424F-B0D4-CBD926DB6FDF}"/>
              </a:ext>
            </a:extLst>
          </p:cNvPr>
          <p:cNvSpPr/>
          <p:nvPr/>
        </p:nvSpPr>
        <p:spPr>
          <a:xfrm>
            <a:off x="5490445" y="4693548"/>
            <a:ext cx="2834640" cy="27842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Transport</a:t>
            </a:r>
          </a:p>
        </p:txBody>
      </p:sp>
      <p:sp>
        <p:nvSpPr>
          <p:cNvPr id="35" name="Rectangle 34">
            <a:extLst>
              <a:ext uri="{FF2B5EF4-FFF2-40B4-BE49-F238E27FC236}">
                <a16:creationId xmlns:a16="http://schemas.microsoft.com/office/drawing/2014/main" id="{3EA88E5D-D486-415D-8933-59B3D84A3B43}"/>
              </a:ext>
            </a:extLst>
          </p:cNvPr>
          <p:cNvSpPr/>
          <p:nvPr/>
        </p:nvSpPr>
        <p:spPr>
          <a:xfrm>
            <a:off x="5490445" y="5075899"/>
            <a:ext cx="2834640" cy="27842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Distribution</a:t>
            </a:r>
          </a:p>
        </p:txBody>
      </p:sp>
      <p:sp>
        <p:nvSpPr>
          <p:cNvPr id="36" name="Rectangle 35">
            <a:extLst>
              <a:ext uri="{FF2B5EF4-FFF2-40B4-BE49-F238E27FC236}">
                <a16:creationId xmlns:a16="http://schemas.microsoft.com/office/drawing/2014/main" id="{E16D88CB-2341-4BB9-ADC6-4E81BAF09CE7}"/>
              </a:ext>
            </a:extLst>
          </p:cNvPr>
          <p:cNvSpPr/>
          <p:nvPr/>
        </p:nvSpPr>
        <p:spPr>
          <a:xfrm>
            <a:off x="8747762" y="2399460"/>
            <a:ext cx="2834640" cy="278425"/>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EYInterstate Light"/>
                <a:ea typeface="+mn-ea"/>
                <a:cs typeface="+mn-cs"/>
              </a:rPr>
              <a:t>Steam Methane Reformation</a:t>
            </a:r>
          </a:p>
        </p:txBody>
      </p:sp>
      <p:sp>
        <p:nvSpPr>
          <p:cNvPr id="37" name="Rectangle 36">
            <a:extLst>
              <a:ext uri="{FF2B5EF4-FFF2-40B4-BE49-F238E27FC236}">
                <a16:creationId xmlns:a16="http://schemas.microsoft.com/office/drawing/2014/main" id="{9B0D318C-6835-4B70-80C3-8DD014F6EB27}"/>
              </a:ext>
            </a:extLst>
          </p:cNvPr>
          <p:cNvSpPr/>
          <p:nvPr/>
        </p:nvSpPr>
        <p:spPr>
          <a:xfrm>
            <a:off x="8747762" y="2781808"/>
            <a:ext cx="2834640" cy="278425"/>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lumMod val="50000"/>
                  </a:prstClr>
                </a:solidFill>
                <a:effectLst/>
                <a:uLnTx/>
                <a:uFillTx/>
                <a:latin typeface="EYInterstate Light"/>
                <a:ea typeface="+mn-ea"/>
                <a:cs typeface="+mn-cs"/>
              </a:rPr>
              <a:t>SMR + Water-Gas Shift</a:t>
            </a:r>
          </a:p>
        </p:txBody>
      </p:sp>
      <p:sp>
        <p:nvSpPr>
          <p:cNvPr id="38" name="Rectangle 37">
            <a:extLst>
              <a:ext uri="{FF2B5EF4-FFF2-40B4-BE49-F238E27FC236}">
                <a16:creationId xmlns:a16="http://schemas.microsoft.com/office/drawing/2014/main" id="{BF6C008A-E201-44DF-A751-64F66B2230C1}"/>
              </a:ext>
            </a:extLst>
          </p:cNvPr>
          <p:cNvSpPr/>
          <p:nvPr/>
        </p:nvSpPr>
        <p:spPr>
          <a:xfrm>
            <a:off x="8747762" y="3164156"/>
            <a:ext cx="2834640" cy="278425"/>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Water-Gas Shift Reaction</a:t>
            </a:r>
          </a:p>
        </p:txBody>
      </p:sp>
      <p:sp>
        <p:nvSpPr>
          <p:cNvPr id="39" name="Rectangle 38">
            <a:extLst>
              <a:ext uri="{FF2B5EF4-FFF2-40B4-BE49-F238E27FC236}">
                <a16:creationId xmlns:a16="http://schemas.microsoft.com/office/drawing/2014/main" id="{AC399A60-0E6A-4D41-ABB2-294B22B450FD}"/>
              </a:ext>
            </a:extLst>
          </p:cNvPr>
          <p:cNvSpPr/>
          <p:nvPr/>
        </p:nvSpPr>
        <p:spPr>
          <a:xfrm>
            <a:off x="8747762" y="3546504"/>
            <a:ext cx="2834640" cy="27842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Hydrogen Liquification</a:t>
            </a:r>
          </a:p>
        </p:txBody>
      </p:sp>
      <p:sp>
        <p:nvSpPr>
          <p:cNvPr id="40" name="Rectangle 39">
            <a:extLst>
              <a:ext uri="{FF2B5EF4-FFF2-40B4-BE49-F238E27FC236}">
                <a16:creationId xmlns:a16="http://schemas.microsoft.com/office/drawing/2014/main" id="{7A0A74F7-634C-4501-8CD5-2D9198F3C8BD}"/>
              </a:ext>
            </a:extLst>
          </p:cNvPr>
          <p:cNvSpPr/>
          <p:nvPr/>
        </p:nvSpPr>
        <p:spPr>
          <a:xfrm>
            <a:off x="8747762" y="3928852"/>
            <a:ext cx="2834640" cy="27842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Sequestration</a:t>
            </a:r>
          </a:p>
        </p:txBody>
      </p:sp>
      <p:sp>
        <p:nvSpPr>
          <p:cNvPr id="41" name="Rectangle 40">
            <a:extLst>
              <a:ext uri="{FF2B5EF4-FFF2-40B4-BE49-F238E27FC236}">
                <a16:creationId xmlns:a16="http://schemas.microsoft.com/office/drawing/2014/main" id="{6EB5FBD2-1CD5-4351-8F42-CA6117106BF6}"/>
              </a:ext>
            </a:extLst>
          </p:cNvPr>
          <p:cNvSpPr/>
          <p:nvPr/>
        </p:nvSpPr>
        <p:spPr>
          <a:xfrm>
            <a:off x="8747762" y="4311200"/>
            <a:ext cx="2834640" cy="27842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Storage</a:t>
            </a:r>
          </a:p>
        </p:txBody>
      </p:sp>
      <p:sp>
        <p:nvSpPr>
          <p:cNvPr id="42" name="Rectangle 41">
            <a:extLst>
              <a:ext uri="{FF2B5EF4-FFF2-40B4-BE49-F238E27FC236}">
                <a16:creationId xmlns:a16="http://schemas.microsoft.com/office/drawing/2014/main" id="{51E7FF69-9F38-4089-AEBB-BCF32B9E1A0E}"/>
              </a:ext>
            </a:extLst>
          </p:cNvPr>
          <p:cNvSpPr/>
          <p:nvPr/>
        </p:nvSpPr>
        <p:spPr>
          <a:xfrm>
            <a:off x="8747762" y="4693548"/>
            <a:ext cx="2834640" cy="27842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Transport</a:t>
            </a:r>
          </a:p>
        </p:txBody>
      </p:sp>
      <p:sp>
        <p:nvSpPr>
          <p:cNvPr id="43" name="Rectangle 42">
            <a:extLst>
              <a:ext uri="{FF2B5EF4-FFF2-40B4-BE49-F238E27FC236}">
                <a16:creationId xmlns:a16="http://schemas.microsoft.com/office/drawing/2014/main" id="{179F2DDF-F147-41DA-AB54-206A4619F66E}"/>
              </a:ext>
            </a:extLst>
          </p:cNvPr>
          <p:cNvSpPr/>
          <p:nvPr/>
        </p:nvSpPr>
        <p:spPr>
          <a:xfrm>
            <a:off x="8747762" y="5075899"/>
            <a:ext cx="2834640" cy="27842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Distribution</a:t>
            </a:r>
          </a:p>
        </p:txBody>
      </p:sp>
      <p:sp>
        <p:nvSpPr>
          <p:cNvPr id="44" name="Rectangle 43">
            <a:extLst>
              <a:ext uri="{FF2B5EF4-FFF2-40B4-BE49-F238E27FC236}">
                <a16:creationId xmlns:a16="http://schemas.microsoft.com/office/drawing/2014/main" id="{1CFA3863-E1CA-49D6-8A5E-142707BDD4A4}"/>
              </a:ext>
            </a:extLst>
          </p:cNvPr>
          <p:cNvSpPr/>
          <p:nvPr/>
        </p:nvSpPr>
        <p:spPr>
          <a:xfrm>
            <a:off x="770470" y="1856766"/>
            <a:ext cx="1226281" cy="354562"/>
          </a:xfrm>
          <a:prstGeom prst="rect">
            <a:avLst/>
          </a:prstGeom>
          <a:solidFill>
            <a:schemeClr val="bg2">
              <a:lumMod val="75000"/>
              <a:lumOff val="25000"/>
            </a:schemeClr>
          </a:solidFill>
          <a:ln w="9525">
            <a:solidFill>
              <a:schemeClr val="bg2">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Value Chain</a:t>
            </a:r>
          </a:p>
        </p:txBody>
      </p:sp>
      <p:sp>
        <p:nvSpPr>
          <p:cNvPr id="45" name="Rectangle 44">
            <a:extLst>
              <a:ext uri="{FF2B5EF4-FFF2-40B4-BE49-F238E27FC236}">
                <a16:creationId xmlns:a16="http://schemas.microsoft.com/office/drawing/2014/main" id="{2035AA76-125A-4BE8-8C37-2B6CBE46A6C6}"/>
              </a:ext>
            </a:extLst>
          </p:cNvPr>
          <p:cNvSpPr/>
          <p:nvPr/>
        </p:nvSpPr>
        <p:spPr>
          <a:xfrm>
            <a:off x="770470" y="1219592"/>
            <a:ext cx="1226281" cy="354562"/>
          </a:xfrm>
          <a:prstGeom prst="rect">
            <a:avLst/>
          </a:prstGeom>
          <a:solidFill>
            <a:schemeClr val="bg2">
              <a:lumMod val="75000"/>
              <a:lumOff val="25000"/>
            </a:schemeClr>
          </a:solidFill>
          <a:ln w="9525">
            <a:solidFill>
              <a:schemeClr val="bg2">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Operations</a:t>
            </a:r>
          </a:p>
        </p:txBody>
      </p:sp>
      <p:sp>
        <p:nvSpPr>
          <p:cNvPr id="46" name="Rectangle 45">
            <a:extLst>
              <a:ext uri="{FF2B5EF4-FFF2-40B4-BE49-F238E27FC236}">
                <a16:creationId xmlns:a16="http://schemas.microsoft.com/office/drawing/2014/main" id="{01DE7932-859C-4D9F-B86F-CFF498A38AA3}"/>
              </a:ext>
            </a:extLst>
          </p:cNvPr>
          <p:cNvSpPr/>
          <p:nvPr/>
        </p:nvSpPr>
        <p:spPr>
          <a:xfrm>
            <a:off x="2155372" y="1744823"/>
            <a:ext cx="3013788" cy="3778898"/>
          </a:xfrm>
          <a:prstGeom prst="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7" name="Footer Placeholder 2">
            <a:extLst>
              <a:ext uri="{FF2B5EF4-FFF2-40B4-BE49-F238E27FC236}">
                <a16:creationId xmlns:a16="http://schemas.microsoft.com/office/drawing/2014/main" id="{78F5830A-2164-4C00-8B5E-CFBFB10931EF}"/>
              </a:ext>
            </a:extLst>
          </p:cNvPr>
          <p:cNvSpPr txBox="1">
            <a:spLocks/>
          </p:cNvSpPr>
          <p:nvPr/>
        </p:nvSpPr>
        <p:spPr>
          <a:xfrm>
            <a:off x="4553753" y="6471244"/>
            <a:ext cx="3367734" cy="180000"/>
          </a:xfrm>
          <a:prstGeom prst="rect">
            <a:avLst/>
          </a:prstGeom>
        </p:spPr>
        <p:txBody>
          <a:bodyPr/>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Page </a:t>
            </a:r>
            <a:fld id="{F1BC30E3-FFE5-4B91-AA19-87A149EBB9EE}" type="slidenum">
              <a:rPr smtClean="0"/>
              <a:pPr/>
              <a:t>8</a:t>
            </a:fld>
            <a:r>
              <a:rPr lang="en-US" dirty="0"/>
              <a:t> | Draft</a:t>
            </a:r>
          </a:p>
        </p:txBody>
      </p:sp>
    </p:spTree>
    <p:extLst>
      <p:ext uri="{BB962C8B-B14F-4D97-AF65-F5344CB8AC3E}">
        <p14:creationId xmlns:p14="http://schemas.microsoft.com/office/powerpoint/2010/main" val="4372078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F4D63370-03C1-4E16-B5DB-07C318B515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1" name="Object 30" hidden="1">
                        <a:extLst>
                          <a:ext uri="{FF2B5EF4-FFF2-40B4-BE49-F238E27FC236}">
                            <a16:creationId xmlns:a16="http://schemas.microsoft.com/office/drawing/2014/main" id="{F4D63370-03C1-4E16-B5DB-07C318B515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Title 1">
            <a:extLst>
              <a:ext uri="{FF2B5EF4-FFF2-40B4-BE49-F238E27FC236}">
                <a16:creationId xmlns:a16="http://schemas.microsoft.com/office/drawing/2014/main" id="{0FBB08C9-45AA-4DBC-B363-C39FFAE56EB6}"/>
              </a:ext>
            </a:extLst>
          </p:cNvPr>
          <p:cNvSpPr txBox="1">
            <a:spLocks/>
          </p:cNvSpPr>
          <p:nvPr/>
        </p:nvSpPr>
        <p:spPr>
          <a:xfrm>
            <a:off x="609600" y="536257"/>
            <a:ext cx="10972800" cy="590550"/>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US" sz="2399" b="1" i="0" u="none" strike="noStrike" kern="1200" cap="none" spc="0" normalizeH="0" baseline="0" noProof="0" dirty="0">
                <a:ln>
                  <a:noFill/>
                </a:ln>
                <a:solidFill>
                  <a:srgbClr val="FFE600"/>
                </a:solidFill>
                <a:effectLst/>
                <a:uLnTx/>
                <a:uFillTx/>
                <a:latin typeface="EYInterstate Light" panose="02000506000000020004" pitchFamily="2" charset="0"/>
                <a:ea typeface="+mj-ea"/>
                <a:cs typeface="Arial" pitchFamily="34" charset="0"/>
              </a:rPr>
              <a:t>Process Flow - </a:t>
            </a:r>
            <a:r>
              <a:rPr kumimoji="0" lang="en-US" sz="2400" b="1" i="0" u="none" strike="noStrike" kern="1200" cap="none" spc="0" normalizeH="0" baseline="0" noProof="0" dirty="0">
                <a:ln>
                  <a:noFill/>
                </a:ln>
                <a:solidFill>
                  <a:srgbClr val="FFE600"/>
                </a:solidFill>
                <a:effectLst/>
                <a:uLnTx/>
                <a:uFillTx/>
                <a:latin typeface="EYInterstate Light" panose="02000506000000020004" pitchFamily="2" charset="0"/>
                <a:ea typeface="+mj-ea"/>
                <a:cs typeface="Arial" pitchFamily="34" charset="0"/>
              </a:rPr>
              <a:t>Hydrogen with SMR &amp; Water-Gas Shift</a:t>
            </a:r>
            <a:endParaRPr kumimoji="0" lang="en-US" sz="2399" b="1" i="0" u="none" strike="noStrike" kern="1200" cap="none" spc="0" normalizeH="0" baseline="0" noProof="0" dirty="0">
              <a:ln>
                <a:noFill/>
              </a:ln>
              <a:solidFill>
                <a:srgbClr val="FFE600"/>
              </a:solidFill>
              <a:effectLst/>
              <a:uLnTx/>
              <a:uFillTx/>
              <a:latin typeface="EYInterstate Light" panose="02000506000000020004" pitchFamily="2" charset="0"/>
              <a:ea typeface="+mj-ea"/>
              <a:cs typeface="Arial" pitchFamily="34" charset="0"/>
            </a:endParaRPr>
          </a:p>
        </p:txBody>
      </p:sp>
      <p:sp>
        <p:nvSpPr>
          <p:cNvPr id="32" name="Rectangle 31">
            <a:extLst>
              <a:ext uri="{FF2B5EF4-FFF2-40B4-BE49-F238E27FC236}">
                <a16:creationId xmlns:a16="http://schemas.microsoft.com/office/drawing/2014/main" id="{05DEEC1C-E32F-4F67-8D84-E6EB551A47EA}"/>
              </a:ext>
            </a:extLst>
          </p:cNvPr>
          <p:cNvSpPr/>
          <p:nvPr/>
        </p:nvSpPr>
        <p:spPr>
          <a:xfrm>
            <a:off x="10539092" y="352124"/>
            <a:ext cx="653290" cy="193899"/>
          </a:xfrm>
          <a:prstGeom prst="rect">
            <a:avLst/>
          </a:prstGeom>
          <a:solidFill>
            <a:schemeClr val="accent1">
              <a:lumMod val="40000"/>
              <a:lumOff val="6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2E38"/>
                </a:solidFill>
                <a:effectLst/>
                <a:uLnTx/>
                <a:uFillTx/>
                <a:latin typeface="EYInterstate Light"/>
                <a:ea typeface="+mn-ea"/>
                <a:cs typeface="+mn-cs"/>
              </a:rPr>
              <a:t>Process</a:t>
            </a:r>
          </a:p>
        </p:txBody>
      </p:sp>
      <p:sp>
        <p:nvSpPr>
          <p:cNvPr id="33" name="Rectangle 32">
            <a:extLst>
              <a:ext uri="{FF2B5EF4-FFF2-40B4-BE49-F238E27FC236}">
                <a16:creationId xmlns:a16="http://schemas.microsoft.com/office/drawing/2014/main" id="{722A36CA-2E6C-42EA-BAE4-4CF0A15886D2}"/>
              </a:ext>
            </a:extLst>
          </p:cNvPr>
          <p:cNvSpPr/>
          <p:nvPr/>
        </p:nvSpPr>
        <p:spPr>
          <a:xfrm>
            <a:off x="11375199" y="353463"/>
            <a:ext cx="653290" cy="19389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EYInterstate Light"/>
                <a:ea typeface="+mn-ea"/>
                <a:cs typeface="+mn-cs"/>
              </a:rPr>
              <a:t>Storage</a:t>
            </a:r>
          </a:p>
        </p:txBody>
      </p:sp>
      <p:grpSp>
        <p:nvGrpSpPr>
          <p:cNvPr id="34" name="Group 33">
            <a:extLst>
              <a:ext uri="{FF2B5EF4-FFF2-40B4-BE49-F238E27FC236}">
                <a16:creationId xmlns:a16="http://schemas.microsoft.com/office/drawing/2014/main" id="{5A29CF4E-B6D4-482E-9A85-FEA446803F5F}"/>
              </a:ext>
            </a:extLst>
          </p:cNvPr>
          <p:cNvGrpSpPr/>
          <p:nvPr/>
        </p:nvGrpSpPr>
        <p:grpSpPr>
          <a:xfrm>
            <a:off x="8788347" y="351757"/>
            <a:ext cx="1023432" cy="154658"/>
            <a:chOff x="7559030" y="5965502"/>
            <a:chExt cx="1023432" cy="154658"/>
          </a:xfrm>
        </p:grpSpPr>
        <p:cxnSp>
          <p:nvCxnSpPr>
            <p:cNvPr id="35" name="Straight Arrow Connector 34">
              <a:extLst>
                <a:ext uri="{FF2B5EF4-FFF2-40B4-BE49-F238E27FC236}">
                  <a16:creationId xmlns:a16="http://schemas.microsoft.com/office/drawing/2014/main" id="{C83790C6-5474-406C-A23F-E4B242F488B6}"/>
                </a:ext>
              </a:extLst>
            </p:cNvPr>
            <p:cNvCxnSpPr>
              <a:cxnSpLocks/>
            </p:cNvCxnSpPr>
            <p:nvPr/>
          </p:nvCxnSpPr>
          <p:spPr>
            <a:xfrm>
              <a:off x="7559030" y="6062451"/>
              <a:ext cx="274353" cy="3297"/>
            </a:xfrm>
            <a:prstGeom prst="straightConnector1">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7753E42C-5FF8-4D22-A0FF-0AFAB5FA78A9}"/>
                </a:ext>
              </a:extLst>
            </p:cNvPr>
            <p:cNvSpPr txBox="1"/>
            <p:nvPr/>
          </p:nvSpPr>
          <p:spPr>
            <a:xfrm>
              <a:off x="7929172" y="5965502"/>
              <a:ext cx="653290" cy="15465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900" b="0" i="0" u="none" strike="noStrike" kern="1200" cap="none" spc="0" normalizeH="0" baseline="0" noProof="0" dirty="0">
                  <a:ln>
                    <a:noFill/>
                  </a:ln>
                  <a:solidFill>
                    <a:prstClr val="white"/>
                  </a:solidFill>
                  <a:effectLst/>
                  <a:uLnTx/>
                  <a:uFillTx/>
                  <a:latin typeface="EYInterstate Light"/>
                  <a:ea typeface="+mn-ea"/>
                  <a:cs typeface="+mn-cs"/>
                </a:rPr>
                <a:t>Liquid</a:t>
              </a:r>
            </a:p>
          </p:txBody>
        </p:sp>
      </p:grpSp>
      <p:grpSp>
        <p:nvGrpSpPr>
          <p:cNvPr id="37" name="Group 36">
            <a:extLst>
              <a:ext uri="{FF2B5EF4-FFF2-40B4-BE49-F238E27FC236}">
                <a16:creationId xmlns:a16="http://schemas.microsoft.com/office/drawing/2014/main" id="{D0806753-7710-4B4C-A163-B0CCFF2D3C12}"/>
              </a:ext>
            </a:extLst>
          </p:cNvPr>
          <p:cNvGrpSpPr/>
          <p:nvPr/>
        </p:nvGrpSpPr>
        <p:grpSpPr>
          <a:xfrm>
            <a:off x="9722472" y="351757"/>
            <a:ext cx="1020855" cy="154658"/>
            <a:chOff x="8500221" y="5972665"/>
            <a:chExt cx="1020855" cy="154658"/>
          </a:xfrm>
        </p:grpSpPr>
        <p:cxnSp>
          <p:nvCxnSpPr>
            <p:cNvPr id="38" name="Straight Arrow Connector 37">
              <a:extLst>
                <a:ext uri="{FF2B5EF4-FFF2-40B4-BE49-F238E27FC236}">
                  <a16:creationId xmlns:a16="http://schemas.microsoft.com/office/drawing/2014/main" id="{25424D7C-95B5-4B78-AB1F-0EB4EFD448D8}"/>
                </a:ext>
              </a:extLst>
            </p:cNvPr>
            <p:cNvCxnSpPr>
              <a:cxnSpLocks/>
            </p:cNvCxnSpPr>
            <p:nvPr/>
          </p:nvCxnSpPr>
          <p:spPr>
            <a:xfrm>
              <a:off x="8500221" y="6062452"/>
              <a:ext cx="274320" cy="7087"/>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C294079B-D564-4567-A359-5B5EF6E7CF05}"/>
                </a:ext>
              </a:extLst>
            </p:cNvPr>
            <p:cNvSpPr txBox="1"/>
            <p:nvPr/>
          </p:nvSpPr>
          <p:spPr>
            <a:xfrm>
              <a:off x="8867786" y="5972665"/>
              <a:ext cx="653290" cy="15465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900" b="0" i="0" u="none" strike="noStrike" kern="1200" cap="none" spc="0" normalizeH="0" baseline="0" noProof="0" dirty="0">
                  <a:ln>
                    <a:noFill/>
                  </a:ln>
                  <a:solidFill>
                    <a:prstClr val="white"/>
                  </a:solidFill>
                  <a:effectLst/>
                  <a:uLnTx/>
                  <a:uFillTx/>
                  <a:latin typeface="EYInterstate Light"/>
                  <a:ea typeface="+mn-ea"/>
                  <a:cs typeface="+mn-cs"/>
                </a:rPr>
                <a:t>Gas</a:t>
              </a:r>
            </a:p>
          </p:txBody>
        </p:sp>
      </p:grpSp>
      <p:sp>
        <p:nvSpPr>
          <p:cNvPr id="40" name="TextBox 39">
            <a:extLst>
              <a:ext uri="{FF2B5EF4-FFF2-40B4-BE49-F238E27FC236}">
                <a16:creationId xmlns:a16="http://schemas.microsoft.com/office/drawing/2014/main" id="{D4D67613-A14E-4274-9797-F4CD22B8C1BC}"/>
              </a:ext>
            </a:extLst>
          </p:cNvPr>
          <p:cNvSpPr txBox="1"/>
          <p:nvPr/>
        </p:nvSpPr>
        <p:spPr>
          <a:xfrm>
            <a:off x="8788347" y="54064"/>
            <a:ext cx="36195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Key</a:t>
            </a:r>
          </a:p>
        </p:txBody>
      </p:sp>
      <p:cxnSp>
        <p:nvCxnSpPr>
          <p:cNvPr id="41" name="Straight Connector 40">
            <a:extLst>
              <a:ext uri="{FF2B5EF4-FFF2-40B4-BE49-F238E27FC236}">
                <a16:creationId xmlns:a16="http://schemas.microsoft.com/office/drawing/2014/main" id="{32657DE3-F92E-41DF-A7C1-FA595918A363}"/>
              </a:ext>
            </a:extLst>
          </p:cNvPr>
          <p:cNvCxnSpPr>
            <a:cxnSpLocks/>
          </p:cNvCxnSpPr>
          <p:nvPr/>
        </p:nvCxnSpPr>
        <p:spPr>
          <a:xfrm flipH="1">
            <a:off x="8792772" y="232620"/>
            <a:ext cx="269928" cy="0"/>
          </a:xfrm>
          <a:prstGeom prst="line">
            <a:avLst/>
          </a:prstGeom>
          <a:ln w="9525">
            <a:solidFill>
              <a:schemeClr val="bg2">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C3EADE57-82A8-4422-A549-80215682CFE4}"/>
              </a:ext>
            </a:extLst>
          </p:cNvPr>
          <p:cNvSpPr/>
          <p:nvPr/>
        </p:nvSpPr>
        <p:spPr>
          <a:xfrm>
            <a:off x="1949115" y="1812997"/>
            <a:ext cx="1349229" cy="734663"/>
          </a:xfrm>
          <a:prstGeom prst="rect">
            <a:avLst/>
          </a:prstGeom>
          <a:solidFill>
            <a:schemeClr val="bg1">
              <a:lumMod val="7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SMR + Water Gas Shift</a:t>
            </a:r>
          </a:p>
        </p:txBody>
      </p:sp>
      <p:sp>
        <p:nvSpPr>
          <p:cNvPr id="44" name="TextBox 43">
            <a:extLst>
              <a:ext uri="{FF2B5EF4-FFF2-40B4-BE49-F238E27FC236}">
                <a16:creationId xmlns:a16="http://schemas.microsoft.com/office/drawing/2014/main" id="{9E5ED25A-C90E-4C78-80BC-F791AB46FD4A}"/>
              </a:ext>
            </a:extLst>
          </p:cNvPr>
          <p:cNvSpPr txBox="1"/>
          <p:nvPr/>
        </p:nvSpPr>
        <p:spPr>
          <a:xfrm>
            <a:off x="787226" y="1867814"/>
            <a:ext cx="553673" cy="193899"/>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CH</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4</a:t>
            </a:r>
          </a:p>
        </p:txBody>
      </p:sp>
      <p:sp>
        <p:nvSpPr>
          <p:cNvPr id="45" name="TextBox 44">
            <a:extLst>
              <a:ext uri="{FF2B5EF4-FFF2-40B4-BE49-F238E27FC236}">
                <a16:creationId xmlns:a16="http://schemas.microsoft.com/office/drawing/2014/main" id="{57998143-050F-4C5E-AA0A-B71553A5F0CF}"/>
              </a:ext>
            </a:extLst>
          </p:cNvPr>
          <p:cNvSpPr txBox="1"/>
          <p:nvPr/>
        </p:nvSpPr>
        <p:spPr>
          <a:xfrm>
            <a:off x="812393" y="2277566"/>
            <a:ext cx="503339"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2 H</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2</a:t>
            </a: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0</a:t>
            </a:r>
          </a:p>
        </p:txBody>
      </p:sp>
      <p:cxnSp>
        <p:nvCxnSpPr>
          <p:cNvPr id="46" name="Straight Arrow Connector 45">
            <a:extLst>
              <a:ext uri="{FF2B5EF4-FFF2-40B4-BE49-F238E27FC236}">
                <a16:creationId xmlns:a16="http://schemas.microsoft.com/office/drawing/2014/main" id="{7399449C-72CF-4E54-83C2-49A46B513383}"/>
              </a:ext>
            </a:extLst>
          </p:cNvPr>
          <p:cNvCxnSpPr>
            <a:cxnSpLocks/>
            <a:stCxn id="44" idx="3"/>
          </p:cNvCxnSpPr>
          <p:nvPr/>
        </p:nvCxnSpPr>
        <p:spPr>
          <a:xfrm flipV="1">
            <a:off x="1340899" y="1964763"/>
            <a:ext cx="536896" cy="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F930EAA8-E666-437F-9001-BD226E4A6091}"/>
              </a:ext>
            </a:extLst>
          </p:cNvPr>
          <p:cNvCxnSpPr>
            <a:cxnSpLocks/>
          </p:cNvCxnSpPr>
          <p:nvPr/>
        </p:nvCxnSpPr>
        <p:spPr>
          <a:xfrm>
            <a:off x="1315732" y="2376199"/>
            <a:ext cx="514539" cy="0"/>
          </a:xfrm>
          <a:prstGeom prst="straightConnector1">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81BD59B7-ACE6-4794-ACE8-069DD6644644}"/>
              </a:ext>
            </a:extLst>
          </p:cNvPr>
          <p:cNvCxnSpPr/>
          <p:nvPr/>
        </p:nvCxnSpPr>
        <p:spPr>
          <a:xfrm flipV="1">
            <a:off x="3417188" y="1968445"/>
            <a:ext cx="562063" cy="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D106FD7F-4319-4049-A389-8EDEC127B87C}"/>
              </a:ext>
            </a:extLst>
          </p:cNvPr>
          <p:cNvCxnSpPr>
            <a:cxnSpLocks/>
          </p:cNvCxnSpPr>
          <p:nvPr/>
        </p:nvCxnSpPr>
        <p:spPr>
          <a:xfrm>
            <a:off x="3417188" y="2374516"/>
            <a:ext cx="562063" cy="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DC218FFC-9434-4181-8D2C-C0C2EFC509BE}"/>
              </a:ext>
            </a:extLst>
          </p:cNvPr>
          <p:cNvSpPr txBox="1"/>
          <p:nvPr/>
        </p:nvSpPr>
        <p:spPr>
          <a:xfrm>
            <a:off x="4098095" y="1867814"/>
            <a:ext cx="503339"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2 CO</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2</a:t>
            </a:r>
          </a:p>
        </p:txBody>
      </p:sp>
      <p:sp>
        <p:nvSpPr>
          <p:cNvPr id="51" name="TextBox 50">
            <a:extLst>
              <a:ext uri="{FF2B5EF4-FFF2-40B4-BE49-F238E27FC236}">
                <a16:creationId xmlns:a16="http://schemas.microsoft.com/office/drawing/2014/main" id="{A8A3CAA4-001F-4A8E-9A12-90697965F775}"/>
              </a:ext>
            </a:extLst>
          </p:cNvPr>
          <p:cNvSpPr txBox="1"/>
          <p:nvPr/>
        </p:nvSpPr>
        <p:spPr>
          <a:xfrm>
            <a:off x="4098095" y="2277566"/>
            <a:ext cx="503339"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4 H</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2</a:t>
            </a:r>
          </a:p>
        </p:txBody>
      </p:sp>
      <p:sp>
        <p:nvSpPr>
          <p:cNvPr id="52" name="Rectangle 51">
            <a:extLst>
              <a:ext uri="{FF2B5EF4-FFF2-40B4-BE49-F238E27FC236}">
                <a16:creationId xmlns:a16="http://schemas.microsoft.com/office/drawing/2014/main" id="{B253F07F-CCB6-4015-8BFD-CF0A5A002A6E}"/>
              </a:ext>
            </a:extLst>
          </p:cNvPr>
          <p:cNvSpPr/>
          <p:nvPr/>
        </p:nvSpPr>
        <p:spPr>
          <a:xfrm>
            <a:off x="9140257" y="1755693"/>
            <a:ext cx="1874939" cy="427839"/>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Sequestration</a:t>
            </a:r>
          </a:p>
        </p:txBody>
      </p:sp>
      <p:sp>
        <p:nvSpPr>
          <p:cNvPr id="53" name="Rectangle 52">
            <a:extLst>
              <a:ext uri="{FF2B5EF4-FFF2-40B4-BE49-F238E27FC236}">
                <a16:creationId xmlns:a16="http://schemas.microsoft.com/office/drawing/2014/main" id="{49B01999-565F-4EA5-B30F-A82A39C118F0}"/>
              </a:ext>
            </a:extLst>
          </p:cNvPr>
          <p:cNvSpPr/>
          <p:nvPr/>
        </p:nvSpPr>
        <p:spPr>
          <a:xfrm>
            <a:off x="5076810" y="3310311"/>
            <a:ext cx="1517009" cy="427839"/>
          </a:xfrm>
          <a:prstGeom prst="rect">
            <a:avLst/>
          </a:prstGeom>
          <a:solidFill>
            <a:schemeClr val="bg1">
              <a:lumMod val="7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Hydrogen Liquefaction</a:t>
            </a:r>
          </a:p>
        </p:txBody>
      </p:sp>
      <p:cxnSp>
        <p:nvCxnSpPr>
          <p:cNvPr id="54" name="Connector: Elbow 53">
            <a:extLst>
              <a:ext uri="{FF2B5EF4-FFF2-40B4-BE49-F238E27FC236}">
                <a16:creationId xmlns:a16="http://schemas.microsoft.com/office/drawing/2014/main" id="{301E7EA7-D6CD-4972-B11A-E8823BE3FD8E}"/>
              </a:ext>
            </a:extLst>
          </p:cNvPr>
          <p:cNvCxnSpPr>
            <a:cxnSpLocks/>
            <a:stCxn id="51" idx="3"/>
            <a:endCxn id="53" idx="1"/>
          </p:cNvCxnSpPr>
          <p:nvPr/>
        </p:nvCxnSpPr>
        <p:spPr>
          <a:xfrm>
            <a:off x="4601434" y="2374516"/>
            <a:ext cx="475376" cy="1149715"/>
          </a:xfrm>
          <a:prstGeom prst="bentConnector3">
            <a:avLst>
              <a:gd name="adj1" fmla="val 50000"/>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A0865519-D153-4E44-881C-0621535A989A}"/>
              </a:ext>
            </a:extLst>
          </p:cNvPr>
          <p:cNvSpPr/>
          <p:nvPr/>
        </p:nvSpPr>
        <p:spPr>
          <a:xfrm>
            <a:off x="9140258" y="2533002"/>
            <a:ext cx="1874939" cy="427839"/>
          </a:xfrm>
          <a:prstGeom prst="rect">
            <a:avLst/>
          </a:prstGeom>
          <a:no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Storage</a:t>
            </a:r>
          </a:p>
        </p:txBody>
      </p:sp>
      <p:cxnSp>
        <p:nvCxnSpPr>
          <p:cNvPr id="56" name="Connector: Elbow 55">
            <a:extLst>
              <a:ext uri="{FF2B5EF4-FFF2-40B4-BE49-F238E27FC236}">
                <a16:creationId xmlns:a16="http://schemas.microsoft.com/office/drawing/2014/main" id="{64BCBE33-1720-469E-9D14-754ECA48CF3F}"/>
              </a:ext>
            </a:extLst>
          </p:cNvPr>
          <p:cNvCxnSpPr>
            <a:cxnSpLocks/>
            <a:stCxn id="51" idx="3"/>
            <a:endCxn id="55" idx="1"/>
          </p:cNvCxnSpPr>
          <p:nvPr/>
        </p:nvCxnSpPr>
        <p:spPr>
          <a:xfrm>
            <a:off x="4601434" y="2374516"/>
            <a:ext cx="4538824" cy="372406"/>
          </a:xfrm>
          <a:prstGeom prst="bentConnector3">
            <a:avLst>
              <a:gd name="adj1" fmla="val 50000"/>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76D33E88-527A-4F1F-BF17-253E9CEA4AC6}"/>
              </a:ext>
            </a:extLst>
          </p:cNvPr>
          <p:cNvCxnSpPr>
            <a:cxnSpLocks/>
            <a:stCxn id="50" idx="3"/>
            <a:endCxn id="52" idx="1"/>
          </p:cNvCxnSpPr>
          <p:nvPr/>
        </p:nvCxnSpPr>
        <p:spPr>
          <a:xfrm>
            <a:off x="4601434" y="1964764"/>
            <a:ext cx="4538823" cy="4849"/>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4059D6B9-948A-4C20-979D-E424B304B29D}"/>
              </a:ext>
            </a:extLst>
          </p:cNvPr>
          <p:cNvSpPr/>
          <p:nvPr/>
        </p:nvSpPr>
        <p:spPr>
          <a:xfrm>
            <a:off x="9140257" y="3310311"/>
            <a:ext cx="1874939" cy="427839"/>
          </a:xfrm>
          <a:prstGeom prst="rect">
            <a:avLst/>
          </a:prstGeom>
          <a:no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Transport (Ship)</a:t>
            </a:r>
          </a:p>
        </p:txBody>
      </p:sp>
      <p:sp>
        <p:nvSpPr>
          <p:cNvPr id="59" name="Rectangle 58">
            <a:extLst>
              <a:ext uri="{FF2B5EF4-FFF2-40B4-BE49-F238E27FC236}">
                <a16:creationId xmlns:a16="http://schemas.microsoft.com/office/drawing/2014/main" id="{8046C148-36D3-463C-A0A9-1D43F2B472EE}"/>
              </a:ext>
            </a:extLst>
          </p:cNvPr>
          <p:cNvSpPr/>
          <p:nvPr/>
        </p:nvSpPr>
        <p:spPr>
          <a:xfrm>
            <a:off x="9140256" y="4087620"/>
            <a:ext cx="1874939" cy="427839"/>
          </a:xfrm>
          <a:prstGeom prst="rect">
            <a:avLst/>
          </a:prstGeom>
          <a:no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Distribute (Pipeline)</a:t>
            </a:r>
          </a:p>
        </p:txBody>
      </p:sp>
      <p:sp>
        <p:nvSpPr>
          <p:cNvPr id="60" name="TextBox 59">
            <a:extLst>
              <a:ext uri="{FF2B5EF4-FFF2-40B4-BE49-F238E27FC236}">
                <a16:creationId xmlns:a16="http://schemas.microsoft.com/office/drawing/2014/main" id="{B9507091-3DEC-46D6-8AAC-51EDB21F3F2C}"/>
              </a:ext>
            </a:extLst>
          </p:cNvPr>
          <p:cNvSpPr txBox="1"/>
          <p:nvPr/>
        </p:nvSpPr>
        <p:spPr>
          <a:xfrm>
            <a:off x="6781888" y="3296746"/>
            <a:ext cx="65329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2.4 LH</a:t>
            </a:r>
            <a:r>
              <a:rPr kumimoji="0" lang="en-US" sz="1200" b="0" i="0" u="none" strike="noStrike" kern="1200" cap="none" spc="0" normalizeH="0" baseline="-25000" noProof="0" dirty="0">
                <a:ln>
                  <a:noFill/>
                </a:ln>
                <a:solidFill>
                  <a:prstClr val="white"/>
                </a:solidFill>
                <a:effectLst/>
                <a:uLnTx/>
                <a:uFillTx/>
                <a:latin typeface="EYInterstate Light"/>
                <a:ea typeface="+mn-ea"/>
                <a:cs typeface="+mn-cs"/>
              </a:rPr>
              <a:t>2</a:t>
            </a:r>
          </a:p>
        </p:txBody>
      </p:sp>
      <p:cxnSp>
        <p:nvCxnSpPr>
          <p:cNvPr id="61" name="Connector: Elbow 60">
            <a:extLst>
              <a:ext uri="{FF2B5EF4-FFF2-40B4-BE49-F238E27FC236}">
                <a16:creationId xmlns:a16="http://schemas.microsoft.com/office/drawing/2014/main" id="{BEF503FD-7B21-4166-BD60-4A100E57206F}"/>
              </a:ext>
            </a:extLst>
          </p:cNvPr>
          <p:cNvCxnSpPr>
            <a:cxnSpLocks/>
            <a:stCxn id="53" idx="3"/>
            <a:endCxn id="59" idx="1"/>
          </p:cNvCxnSpPr>
          <p:nvPr/>
        </p:nvCxnSpPr>
        <p:spPr>
          <a:xfrm>
            <a:off x="6593819" y="3524231"/>
            <a:ext cx="2546437" cy="777309"/>
          </a:xfrm>
          <a:prstGeom prst="bentConnector3">
            <a:avLst>
              <a:gd name="adj1" fmla="val 50000"/>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376486D0-544A-4CC5-81F6-067F118E3FFE}"/>
              </a:ext>
            </a:extLst>
          </p:cNvPr>
          <p:cNvCxnSpPr>
            <a:cxnSpLocks/>
            <a:stCxn id="53" idx="3"/>
            <a:endCxn id="58" idx="1"/>
          </p:cNvCxnSpPr>
          <p:nvPr/>
        </p:nvCxnSpPr>
        <p:spPr>
          <a:xfrm>
            <a:off x="6593819" y="3524231"/>
            <a:ext cx="2546438" cy="0"/>
          </a:xfrm>
          <a:prstGeom prst="straightConnector1">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D44FA344-DFBE-4550-A90C-C98780E72DA8}"/>
              </a:ext>
            </a:extLst>
          </p:cNvPr>
          <p:cNvCxnSpPr>
            <a:cxnSpLocks/>
            <a:stCxn id="53" idx="3"/>
            <a:endCxn id="55" idx="1"/>
          </p:cNvCxnSpPr>
          <p:nvPr/>
        </p:nvCxnSpPr>
        <p:spPr>
          <a:xfrm flipV="1">
            <a:off x="6593819" y="2746922"/>
            <a:ext cx="2546439" cy="777309"/>
          </a:xfrm>
          <a:prstGeom prst="bentConnector3">
            <a:avLst>
              <a:gd name="adj1" fmla="val 50000"/>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2" name="Footer Placeholder 2">
            <a:extLst>
              <a:ext uri="{FF2B5EF4-FFF2-40B4-BE49-F238E27FC236}">
                <a16:creationId xmlns:a16="http://schemas.microsoft.com/office/drawing/2014/main" id="{87F1E476-9D3E-46B6-A546-2458B7E4982A}"/>
              </a:ext>
            </a:extLst>
          </p:cNvPr>
          <p:cNvSpPr txBox="1">
            <a:spLocks/>
          </p:cNvSpPr>
          <p:nvPr/>
        </p:nvSpPr>
        <p:spPr>
          <a:xfrm>
            <a:off x="4553753" y="6471244"/>
            <a:ext cx="3367734" cy="180000"/>
          </a:xfrm>
          <a:prstGeom prst="rect">
            <a:avLst/>
          </a:prstGeom>
        </p:spPr>
        <p:txBody>
          <a:bodyPr/>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Page </a:t>
            </a:r>
            <a:fld id="{F1BC30E3-FFE5-4B91-AA19-87A149EBB9EE}" type="slidenum">
              <a:rPr smtClean="0"/>
              <a:pPr/>
              <a:t>9</a:t>
            </a:fld>
            <a:r>
              <a:rPr lang="en-US" dirty="0"/>
              <a:t> | Draft</a:t>
            </a:r>
          </a:p>
        </p:txBody>
      </p:sp>
    </p:spTree>
    <p:extLst>
      <p:ext uri="{BB962C8B-B14F-4D97-AF65-F5344CB8AC3E}">
        <p14:creationId xmlns:p14="http://schemas.microsoft.com/office/powerpoint/2010/main" val="1268014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672DE5AC431C745AA3F82D34046E288" ma:contentTypeVersion="22" ma:contentTypeDescription="Create a new document." ma:contentTypeScope="" ma:versionID="396e12328a1a117127723a00bc5ab76d">
  <xsd:schema xmlns:xsd="http://www.w3.org/2001/XMLSchema" xmlns:xs="http://www.w3.org/2001/XMLSchema" xmlns:p="http://schemas.microsoft.com/office/2006/metadata/properties" xmlns:ns1="http://schemas.microsoft.com/sharepoint/v3" xmlns:ns2="33a40ce1-546b-487d-8e60-2602d59bfd58" xmlns:ns3="8e1a88f5-a30b-4770-b94e-216774b6a81e" xmlns:ns4="230e9df3-be65-4c73-a93b-d1236ebd677e" targetNamespace="http://schemas.microsoft.com/office/2006/metadata/properties" ma:root="true" ma:fieldsID="9a024780f81ae2a2531e461cc557b464" ns1:_="" ns2:_="" ns3:_="" ns4:_="">
    <xsd:import namespace="http://schemas.microsoft.com/sharepoint/v3"/>
    <xsd:import namespace="33a40ce1-546b-487d-8e60-2602d59bfd58"/>
    <xsd:import namespace="8e1a88f5-a30b-4770-b94e-216774b6a81e"/>
    <xsd:import namespace="230e9df3-be65-4c73-a93b-d1236ebd677e"/>
    <xsd:element name="properties">
      <xsd:complexType>
        <xsd:sequence>
          <xsd:element name="documentManagement">
            <xsd:complexType>
              <xsd:all>
                <xsd:element ref="ns2:SharedWithDetails" minOccurs="0"/>
                <xsd:element ref="ns2:SharedWithUsers" minOccurs="0"/>
                <xsd:element ref="ns2:LastSharedByUser" minOccurs="0"/>
                <xsd:element ref="ns2:LastSharedByTime" minOccurs="0"/>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1:_ip_UnifiedCompliancePolicyProperties" minOccurs="0"/>
                <xsd:element ref="ns1:_ip_UnifiedCompliancePolicyUIAction" minOccurs="0"/>
                <xsd:element ref="ns3:MediaLengthInSeconds" minOccurs="0"/>
                <xsd:element ref="ns3:MediaServiceSearchProperties" minOccurs="0"/>
                <xsd:element ref="ns3:MediaServiceDocTags" minOccurs="0"/>
                <xsd:element ref="ns3: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3a40ce1-546b-487d-8e60-2602d59bfd58" elementFormDefault="qualified">
    <xsd:import namespace="http://schemas.microsoft.com/office/2006/documentManagement/types"/>
    <xsd:import namespace="http://schemas.microsoft.com/office/infopath/2007/PartnerControls"/>
    <xsd:element name="SharedWithDetails" ma:index="8" nillable="true" ma:displayName="Shared With Details" ma:internalName="SharedWithDetails" ma:readOnly="true">
      <xsd:simpleType>
        <xsd:restriction base="dms:Note">
          <xsd:maxLength value="255"/>
        </xsd:restriction>
      </xsd:simpleType>
    </xsd:element>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astSharedByUser" ma:index="10" nillable="true" ma:displayName="Last Shared By User"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8e1a88f5-a30b-4770-b94e-216774b6a81e" elementFormDefault="qualified">
    <xsd:import namespace="http://schemas.microsoft.com/office/2006/documentManagement/types"/>
    <xsd:import namespace="http://schemas.microsoft.com/office/infopath/2007/PartnerControls"/>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LengthInSeconds" ma:index="24" nillable="true" ma:displayName="Length (seconds)" ma:internalName="MediaLengthInSeconds" ma:readOnly="true">
      <xsd:simpleType>
        <xsd:restriction base="dms:Unknown"/>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DocTags" ma:index="26" nillable="true" ma:displayName="MediaServiceDocTags" ma:hidden="true" ma:internalName="MediaServiceDocTags" ma:readOnly="true">
      <xsd:simpleType>
        <xsd:restriction base="dms:Note"/>
      </xsd:simpleType>
    </xsd:element>
    <xsd:element name="lcf76f155ced4ddcb4097134ff3c332f" ma:index="28"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9" nillable="true" ma:displayName="Taxonomy Catch All Column" ma:hidden="true" ma:list="{f2af2438-7967-4ca1-8b1e-ee17ba794102}" ma:internalName="TaxCatchAll" ma:showField="CatchAllData" ma:web="33a40ce1-546b-487d-8e60-2602d59bfd5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8e1a88f5-a30b-4770-b94e-216774b6a81e">
      <Terms xmlns="http://schemas.microsoft.com/office/infopath/2007/PartnerControls"/>
    </lcf76f155ced4ddcb4097134ff3c332f>
    <TaxCatchAll xmlns="230e9df3-be65-4c73-a93b-d1236ebd677e"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D56309CF-05CA-4180-AC31-2993448267B6}"/>
</file>

<file path=customXml/itemProps2.xml><?xml version="1.0" encoding="utf-8"?>
<ds:datastoreItem xmlns:ds="http://schemas.openxmlformats.org/officeDocument/2006/customXml" ds:itemID="{F9EBD27D-8560-460F-A3A8-C65F954126B8}">
  <ds:schemaRefs>
    <ds:schemaRef ds:uri="http://schemas.microsoft.com/sharepoint/v3/contenttype/forms"/>
  </ds:schemaRefs>
</ds:datastoreItem>
</file>

<file path=customXml/itemProps3.xml><?xml version="1.0" encoding="utf-8"?>
<ds:datastoreItem xmlns:ds="http://schemas.openxmlformats.org/officeDocument/2006/customXml" ds:itemID="{57540B17-FE2B-4B48-9FE9-2223535ED4D6}">
  <ds:schemaRefs>
    <ds:schemaRef ds:uri="http://purl.org/dc/elements/1.1/"/>
    <ds:schemaRef ds:uri="http://www.w3.org/XML/1998/namespace"/>
    <ds:schemaRef ds:uri="http://schemas.microsoft.com/office/2006/metadata/properties"/>
    <ds:schemaRef ds:uri="http://schemas.microsoft.com/office/2006/documentManagement/types"/>
    <ds:schemaRef ds:uri="http://schemas.openxmlformats.org/package/2006/metadata/core-properties"/>
    <ds:schemaRef ds:uri="e24e5699-bb0d-43c6-9ad9-5e3c2d641559"/>
    <ds:schemaRef ds:uri="http://purl.org/dc/terms/"/>
    <ds:schemaRef ds:uri="http://purl.org/dc/dcmitype/"/>
    <ds:schemaRef ds:uri="http://schemas.microsoft.com/office/infopath/2007/PartnerControls"/>
    <ds:schemaRef ds:uri="d8171714-9c75-47a9-a0e2-87a5a1451a55"/>
  </ds:schemaRefs>
</ds:datastoreItem>
</file>

<file path=docProps/app.xml><?xml version="1.0" encoding="utf-8"?>
<Properties xmlns="http://schemas.openxmlformats.org/officeDocument/2006/extended-properties" xmlns:vt="http://schemas.openxmlformats.org/officeDocument/2006/docPropsVTypes">
  <Template/>
  <TotalTime>9</TotalTime>
  <Words>3138</Words>
  <Application>Microsoft Office PowerPoint</Application>
  <PresentationFormat>Widescreen</PresentationFormat>
  <Paragraphs>822</Paragraphs>
  <Slides>23</Slides>
  <Notes>2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3" baseType="lpstr">
      <vt:lpstr>Arial</vt:lpstr>
      <vt:lpstr>Arial-BoldMT</vt:lpstr>
      <vt:lpstr>Calibri</vt:lpstr>
      <vt:lpstr>EYInterstate</vt:lpstr>
      <vt:lpstr>EYInterstate Light</vt:lpstr>
      <vt:lpstr>EYInterstate-Light</vt:lpstr>
      <vt:lpstr>EYInterstate-LightBold</vt:lpstr>
      <vt:lpstr>Georgia</vt:lpstr>
      <vt:lpstr>EY dark background</vt:lpstr>
      <vt:lpstr>think-cell Slide</vt:lpstr>
      <vt:lpstr>PowerPoint Presentation</vt:lpstr>
      <vt:lpstr>PowerPoint Presentation</vt:lpstr>
      <vt:lpstr>PowerPoint Presentation</vt:lpstr>
      <vt:lpstr>Building out the enabling infrastructure:  the road to decarbonization starts with low carbon H2</vt:lpstr>
      <vt:lpstr>PowerPoint Presentation</vt:lpstr>
      <vt:lpstr>PowerPoint Presentation</vt:lpstr>
      <vt:lpstr>PowerPoint Presentation</vt:lpstr>
      <vt:lpstr>Hierarchy Overview</vt:lpstr>
      <vt:lpstr>PowerPoint Presentation</vt:lpstr>
      <vt:lpstr>Step 1:  Obtain inputs for SMR + water-gas shift process (methane + steam) </vt:lpstr>
      <vt:lpstr>Step 2:  Execute SMR &amp; water-gas shift proc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amp;A</vt:lpstr>
      <vt:lpstr>PowerPoint Presentation</vt:lpstr>
      <vt:lpstr>PowerPoint Presentation</vt:lpstr>
      <vt:lpstr>Appendix</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ana Grandmont</dc:creator>
  <cp:lastModifiedBy>Mariana Grandmont</cp:lastModifiedBy>
  <cp:revision>1</cp:revision>
  <dcterms:created xsi:type="dcterms:W3CDTF">2023-02-03T22:45:10Z</dcterms:created>
  <dcterms:modified xsi:type="dcterms:W3CDTF">2023-02-03T22:54: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E9A6F5ABA108E41A880D3D54B74DF89</vt:lpwstr>
  </property>
  <property fmtid="{D5CDD505-2E9C-101B-9397-08002B2CF9AE}" pid="3" name="MediaServiceImageTags">
    <vt:lpwstr/>
  </property>
</Properties>
</file>